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2.xml" ContentType="application/vnd.openxmlformats-officedocument.drawingml.char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3.xml" ContentType="application/vnd.openxmlformats-officedocument.drawingml.chart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4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8"/>
  </p:notesMasterIdLst>
  <p:handoutMasterIdLst>
    <p:handoutMasterId r:id="rId9"/>
  </p:handoutMasterIdLst>
  <p:sldIdLst>
    <p:sldId id="5594" r:id="rId2"/>
    <p:sldId id="494" r:id="rId3"/>
    <p:sldId id="497" r:id="rId4"/>
    <p:sldId id="5608" r:id="rId5"/>
    <p:sldId id="5614" r:id="rId6"/>
    <p:sldId id="490" r:id="rId7"/>
  </p:sldIdLst>
  <p:sldSz cx="12192000" cy="6858000"/>
  <p:notesSz cx="6808788" cy="9940925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0" userDrawn="1">
          <p15:clr>
            <a:srgbClr val="A4A3A4"/>
          </p15:clr>
        </p15:guide>
        <p15:guide id="2" pos="4226" userDrawn="1">
          <p15:clr>
            <a:srgbClr val="A4A3A4"/>
          </p15:clr>
        </p15:guide>
        <p15:guide id="3" pos="7310" userDrawn="1">
          <p15:clr>
            <a:srgbClr val="A4A3A4"/>
          </p15:clr>
        </p15:guide>
        <p15:guide id="4" orient="horz" pos="663" userDrawn="1">
          <p15:clr>
            <a:srgbClr val="A4A3A4"/>
          </p15:clr>
        </p15:guide>
        <p15:guide id="5" orient="horz" pos="709" userDrawn="1">
          <p15:clr>
            <a:srgbClr val="A4A3A4"/>
          </p15:clr>
        </p15:guide>
        <p15:guide id="6" orient="horz" pos="1956" userDrawn="1">
          <p15:clr>
            <a:srgbClr val="A4A3A4"/>
          </p15:clr>
        </p15:guide>
        <p15:guide id="7" orient="horz" pos="1049" userDrawn="1">
          <p15:clr>
            <a:srgbClr val="A4A3A4"/>
          </p15:clr>
        </p15:guide>
        <p15:guide id="8" orient="horz" pos="3657" userDrawn="1">
          <p15:clr>
            <a:srgbClr val="A4A3A4"/>
          </p15:clr>
        </p15:guide>
        <p15:guide id="9" orient="horz" pos="1979" userDrawn="1">
          <p15:clr>
            <a:srgbClr val="A4A3A4"/>
          </p15:clr>
        </p15:guide>
        <p15:guide id="10" orient="horz" pos="3271" userDrawn="1">
          <p15:clr>
            <a:srgbClr val="A4A3A4"/>
          </p15:clr>
        </p15:guide>
        <p15:guide id="11" pos="111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0000"/>
    <a:srgbClr val="25B4FF"/>
    <a:srgbClr val="FF530D"/>
    <a:srgbClr val="D9D9D9"/>
    <a:srgbClr val="AABECA"/>
    <a:srgbClr val="027223"/>
    <a:srgbClr val="43B02A"/>
    <a:srgbClr val="007770"/>
    <a:srgbClr val="FE8A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973" autoAdjust="0"/>
    <p:restoredTop sz="96400" autoAdjust="0"/>
  </p:normalViewPr>
  <p:slideViewPr>
    <p:cSldViewPr snapToGrid="0">
      <p:cViewPr varScale="1">
        <p:scale>
          <a:sx n="114" d="100"/>
          <a:sy n="114" d="100"/>
        </p:scale>
        <p:origin x="156" y="102"/>
      </p:cViewPr>
      <p:guideLst>
        <p:guide orient="horz" pos="150"/>
        <p:guide pos="4226"/>
        <p:guide pos="7310"/>
        <p:guide orient="horz" pos="663"/>
        <p:guide orient="horz" pos="709"/>
        <p:guide orient="horz" pos="1956"/>
        <p:guide orient="horz" pos="1049"/>
        <p:guide orient="horz" pos="3657"/>
        <p:guide orient="horz" pos="1979"/>
        <p:guide orient="horz" pos="3271"/>
        <p:guide pos="111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6883"/>
    </p:cViewPr>
  </p:sorterViewPr>
  <p:notesViewPr>
    <p:cSldViewPr snapToGrid="0">
      <p:cViewPr varScale="1">
        <p:scale>
          <a:sx n="83" d="100"/>
          <a:sy n="83" d="100"/>
        </p:scale>
        <p:origin x="381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0829145728643219E-2"/>
          <c:y val="3.3184428844926617E-2"/>
          <c:w val="0.91896984924623115"/>
          <c:h val="0.93363114231014688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25B4FF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D88-4E0F-B871-28D484AFB10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9525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D88-4E0F-B871-28D484AFB106}"/>
              </c:ext>
            </c:extLst>
          </c:dPt>
          <c:dLbls>
            <c:dLbl>
              <c:idx val="0"/>
              <c:layout>
                <c:manualLayout>
                  <c:x val="0.16457286432160803"/>
                  <c:y val="-1.02105934907466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D88-4E0F-B871-28D484AFB106}"/>
                </c:ext>
              </c:extLst>
            </c:dLbl>
            <c:dLbl>
              <c:idx val="1"/>
              <c:layout>
                <c:manualLayout>
                  <c:x val="-0.16457286432160803"/>
                  <c:y val="1.02105934907466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+mn-lt"/>
                      <a:ea typeface="+mj-ea"/>
                      <a:cs typeface="+mj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D88-4E0F-B871-28D484AFB10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48</c:v>
                </c:pt>
                <c:pt idx="1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D88-4E0F-B871-28D484AFB1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102639296187684"/>
          <c:y val="4.924242424242424E-2"/>
          <c:w val="0.69794721407624638"/>
          <c:h val="0.9015151515151514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DBE-41D7-8941-F523A10D9B8E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DBE-41D7-8941-F523A10D9B8E}"/>
              </c:ext>
            </c:extLst>
          </c:dPt>
          <c:dLbls>
            <c:dLbl>
              <c:idx val="0"/>
              <c:layout>
                <c:manualLayout>
                  <c:x val="9.5307917888563048E-2"/>
                  <c:y val="-5.2083333333333336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DBE-41D7-8941-F523A10D9B8E}"/>
                </c:ext>
              </c:extLst>
            </c:dLbl>
            <c:dLbl>
              <c:idx val="1"/>
              <c:layout>
                <c:manualLayout>
                  <c:x val="-9.5307917888563048E-2"/>
                  <c:y val="4.7348484848484848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DBE-41D7-8941-F523A10D9B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General</c:formatCode>
                <c:ptCount val="2"/>
                <c:pt idx="0">
                  <c:v>37.877906259959467</c:v>
                </c:pt>
                <c:pt idx="1">
                  <c:v>62.122093740040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DBE-41D7-8941-F523A10D9B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863277224321541E-2"/>
          <c:y val="2.3465703971119134E-2"/>
          <c:w val="0.96427344555135697"/>
          <c:h val="0.9530685920577617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2BF-4141-94FE-F4F5B024BC3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2BF-4141-94FE-F4F5B024BC3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2BF-4141-94FE-F4F5B024BC3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2BF-4141-94FE-F4F5B024BC34}"/>
                </c:ext>
              </c:extLst>
            </c:dLbl>
            <c:dLbl>
              <c:idx val="4"/>
              <c:layout>
                <c:manualLayout>
                  <c:x val="-3.435245620061834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2BF-4141-94FE-F4F5B024BC34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92BF-4141-94FE-F4F5B024B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H$1</c:f>
              <c:numCache>
                <c:formatCode>General</c:formatCode>
                <c:ptCount val="8"/>
                <c:pt idx="0">
                  <c:v>29.7</c:v>
                </c:pt>
                <c:pt idx="1">
                  <c:v>25</c:v>
                </c:pt>
                <c:pt idx="2">
                  <c:v>18.899999999999999</c:v>
                </c:pt>
                <c:pt idx="3">
                  <c:v>11.200000000000001</c:v>
                </c:pt>
                <c:pt idx="4">
                  <c:v>7.6</c:v>
                </c:pt>
                <c:pt idx="5">
                  <c:v>6.3</c:v>
                </c:pt>
                <c:pt idx="6">
                  <c:v>1.2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2BF-4141-94FE-F4F5B024BC34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2BF-4141-94FE-F4F5B024BC3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2BF-4141-94FE-F4F5B024BC3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2BF-4141-94FE-F4F5B024BC34}"/>
                </c:ext>
              </c:extLst>
            </c:dLbl>
            <c:dLbl>
              <c:idx val="3"/>
              <c:layout>
                <c:manualLayout>
                  <c:x val="-3.435245620061834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2BF-4141-94FE-F4F5B024BC3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92BF-4141-94FE-F4F5B024BC34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92BF-4141-94FE-F4F5B024BC34}"/>
                </c:ext>
              </c:extLst>
            </c:dLbl>
            <c:dLbl>
              <c:idx val="6"/>
              <c:layout>
                <c:manualLayout>
                  <c:x val="-3.435245620061834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92BF-4141-94FE-F4F5B024BC34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92BF-4141-94FE-F4F5B024B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H$2</c:f>
              <c:numCache>
                <c:formatCode>General</c:formatCode>
                <c:ptCount val="8"/>
                <c:pt idx="0">
                  <c:v>54.2</c:v>
                </c:pt>
                <c:pt idx="1">
                  <c:v>53.300000000000004</c:v>
                </c:pt>
                <c:pt idx="2">
                  <c:v>58.199999999999989</c:v>
                </c:pt>
                <c:pt idx="3">
                  <c:v>54.6</c:v>
                </c:pt>
                <c:pt idx="4">
                  <c:v>48.099999999999994</c:v>
                </c:pt>
                <c:pt idx="5">
                  <c:v>42.9</c:v>
                </c:pt>
                <c:pt idx="6">
                  <c:v>24.5</c:v>
                </c:pt>
                <c:pt idx="7">
                  <c:v>1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92BF-4141-94FE-F4F5B024BC34}"/>
            </c:ext>
          </c:extLst>
        </c:ser>
        <c:ser>
          <c:idx val="2"/>
          <c:order val="2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92BF-4141-94FE-F4F5B024BC3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92BF-4141-94FE-F4F5B024BC34}"/>
                </c:ext>
              </c:extLst>
            </c:dLbl>
            <c:dLbl>
              <c:idx val="2"/>
              <c:layout>
                <c:manualLayout>
                  <c:x val="-3.435245620061834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92BF-4141-94FE-F4F5B024BC3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92BF-4141-94FE-F4F5B024BC3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92BF-4141-94FE-F4F5B024BC34}"/>
                </c:ext>
              </c:extLst>
            </c:dLbl>
            <c:dLbl>
              <c:idx val="5"/>
              <c:layout>
                <c:manualLayout>
                  <c:x val="-3.435245620061834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92BF-4141-94FE-F4F5B024BC34}"/>
                </c:ext>
              </c:extLst>
            </c:dLbl>
            <c:dLbl>
              <c:idx val="6"/>
              <c:layout>
                <c:manualLayout>
                  <c:x val="-3.4352456200618345E-4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92BF-4141-94FE-F4F5B024BC34}"/>
                </c:ext>
              </c:extLst>
            </c:dLbl>
            <c:dLbl>
              <c:idx val="7"/>
              <c:layout>
                <c:manualLayout>
                  <c:x val="0"/>
                  <c:y val="0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92BF-4141-94FE-F4F5B024BC3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H$3</c:f>
              <c:numCache>
                <c:formatCode>General</c:formatCode>
                <c:ptCount val="8"/>
                <c:pt idx="0">
                  <c:v>16.100000000000001</c:v>
                </c:pt>
                <c:pt idx="1">
                  <c:v>21.299999999999997</c:v>
                </c:pt>
                <c:pt idx="2">
                  <c:v>21.699999999999996</c:v>
                </c:pt>
                <c:pt idx="3">
                  <c:v>30.599999999999994</c:v>
                </c:pt>
                <c:pt idx="4">
                  <c:v>44.300000000000004</c:v>
                </c:pt>
                <c:pt idx="5">
                  <c:v>50.7</c:v>
                </c:pt>
                <c:pt idx="6">
                  <c:v>70.7</c:v>
                </c:pt>
                <c:pt idx="7">
                  <c:v>81.6999999999999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92BF-4141-94FE-F4F5B024BC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64590992"/>
        <c:axId val="1"/>
      </c:barChart>
      <c:catAx>
        <c:axId val="5645909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645909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679417122040074E-2"/>
          <c:y val="2.3820430600091615E-2"/>
          <c:w val="0.95264116575591984"/>
          <c:h val="0.9523591387998167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3"/>
            <c:invertIfNegative val="0"/>
            <c:bubble3D val="0"/>
            <c:spPr>
              <a:pattFill prst="pct50">
                <a:fgClr>
                  <a:schemeClr val="tx1"/>
                </a:fgClr>
                <a:bgClr>
                  <a:schemeClr val="bg1"/>
                </a:bgClr>
              </a:patt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38FB-4494-B593-ECF5E42044D6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39.200000000000003</c:v>
                </c:pt>
                <c:pt idx="1">
                  <c:v>23.100000000000005</c:v>
                </c:pt>
                <c:pt idx="2">
                  <c:v>0.5</c:v>
                </c:pt>
                <c:pt idx="3">
                  <c:v>47.5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8FB-4494-B593-ECF5E42044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88482704"/>
        <c:axId val="1"/>
      </c:barChart>
      <c:catAx>
        <c:axId val="6884827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7.599999999999994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88482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2261306532663317E-2"/>
          <c:y val="4.6804680468046804E-2"/>
          <c:w val="0.89547738693467338"/>
          <c:h val="0.9063906390639063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83.333333333333329</c:v>
                </c:pt>
                <c:pt idx="1">
                  <c:v>50</c:v>
                </c:pt>
                <c:pt idx="2">
                  <c:v>40.476190476190474</c:v>
                </c:pt>
                <c:pt idx="3">
                  <c:v>33.333333333333329</c:v>
                </c:pt>
                <c:pt idx="4">
                  <c:v>30.952380952380953</c:v>
                </c:pt>
                <c:pt idx="5">
                  <c:v>14.285714285714285</c:v>
                </c:pt>
                <c:pt idx="6">
                  <c:v>9.5238095238095237</c:v>
                </c:pt>
                <c:pt idx="7">
                  <c:v>7.14285714285714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95-4EFE-9553-029DB78C7F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02667424"/>
        <c:axId val="1"/>
      </c:barChart>
      <c:catAx>
        <c:axId val="60266742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3.33333333333332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6026674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871635610766045"/>
          <c:y val="4.5296167247386762E-2"/>
          <c:w val="0.72049689440993792"/>
          <c:h val="0.9094076655052264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B24-4F87-8FEA-E775ED6EB93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B24-4F87-8FEA-E775ED6EB93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2B24-4F87-8FEA-E775ED6EB93A}"/>
              </c:ext>
            </c:extLst>
          </c:dPt>
          <c:dLbls>
            <c:dLbl>
              <c:idx val="0"/>
              <c:layout>
                <c:manualLayout>
                  <c:x val="1.725327812284334E-2"/>
                  <c:y val="-6.9686411149825784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2B24-4F87-8FEA-E775ED6EB93A}"/>
                </c:ext>
              </c:extLst>
            </c:dLbl>
            <c:dLbl>
              <c:idx val="1"/>
              <c:layout>
                <c:manualLayout>
                  <c:x val="-1.2422360248447204E-2"/>
                  <c:y val="1.219512195121951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2B24-4F87-8FEA-E775ED6EB93A}"/>
                </c:ext>
              </c:extLst>
            </c:dLbl>
            <c:dLbl>
              <c:idx val="2"/>
              <c:layout>
                <c:manualLayout>
                  <c:x val="-1.1732229123533472E-2"/>
                  <c:y val="-2.7874564459930314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2B24-4F87-8FEA-E775ED6EB93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42.857142857142854</c:v>
                </c:pt>
                <c:pt idx="1">
                  <c:v>40.476190476190474</c:v>
                </c:pt>
                <c:pt idx="2">
                  <c:v>16.6666666666666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B24-4F87-8FEA-E775ED6EB9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581" y="298792"/>
            <a:ext cx="3731216" cy="392934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79581" y="714556"/>
            <a:ext cx="3731216" cy="167301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2/12/2021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79581" y="9376174"/>
            <a:ext cx="2805220" cy="26840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37466" y="9376174"/>
            <a:ext cx="1184666" cy="26840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5066436" y="304858"/>
            <a:ext cx="1288434" cy="386722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7722" y="352076"/>
            <a:ext cx="3667667" cy="44734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7725" y="876097"/>
            <a:ext cx="2950475" cy="26840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2/1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659188" y="7539038"/>
            <a:ext cx="2871787" cy="1616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4319" y="1404157"/>
            <a:ext cx="6040152" cy="5616623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9149" y="9376174"/>
            <a:ext cx="898760" cy="26840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163272" y="304858"/>
            <a:ext cx="1288434" cy="386722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D9F4A6-D775-4860-AA6E-F070A746E0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77159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Sticker Placeholder 12">
            <a:extLst>
              <a:ext uri="{FF2B5EF4-FFF2-40B4-BE49-F238E27FC236}">
                <a16:creationId xmlns:a16="http://schemas.microsoft.com/office/drawing/2014/main" id="{259D1F1E-3CAC-49FF-990A-1EF0491CEB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7009" y="43374"/>
            <a:ext cx="11246237" cy="1661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tabLst>
                <a:tab pos="269875" algn="l"/>
              </a:tabLst>
              <a:defRPr sz="1200" b="1" cap="all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2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7" name="Note Placeholder 11">
            <a:extLst>
              <a:ext uri="{FF2B5EF4-FFF2-40B4-BE49-F238E27FC236}">
                <a16:creationId xmlns:a16="http://schemas.microsoft.com/office/drawing/2014/main" id="{E825C46F-2744-47EF-8BD6-DDF7C33756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7012" y="6118280"/>
            <a:ext cx="11246241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buNone/>
              <a:defRPr sz="800">
                <a:latin typeface="Arial Narrow" panose="020B0606020202030204" pitchFamily="34" charset="0"/>
              </a:defRPr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dirty="0"/>
              <a:t>Note</a:t>
            </a:r>
          </a:p>
        </p:txBody>
      </p:sp>
      <p:sp>
        <p:nvSpPr>
          <p:cNvPr id="5" name="Source Placeholder 10">
            <a:extLst>
              <a:ext uri="{FF2B5EF4-FFF2-40B4-BE49-F238E27FC236}">
                <a16:creationId xmlns:a16="http://schemas.microsoft.com/office/drawing/2014/main" id="{C8A771B2-EB7B-43E6-9833-2DF81417A8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800"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77012" y="1124076"/>
            <a:ext cx="1124624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7012" y="237000"/>
            <a:ext cx="11246241" cy="773799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477013" y="6552000"/>
            <a:ext cx="7560000" cy="12311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/>
            </a:lvl1pPr>
          </a:lstStyle>
          <a:p>
            <a:r>
              <a:rPr lang="en-US" dirty="0"/>
              <a:t>IQVIA • Genesis • Market Research on </a:t>
            </a:r>
            <a:r>
              <a:rPr lang="en-US" dirty="0" err="1"/>
              <a:t>Behcet</a:t>
            </a:r>
            <a:r>
              <a:rPr lang="en-US" dirty="0"/>
              <a:t> disease • December 2020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5B39E0C-4BEE-4F91-AE69-3336BE88E58B}"/>
              </a:ext>
            </a:extLst>
          </p:cNvPr>
          <p:cNvSpPr txBox="1">
            <a:spLocks/>
          </p:cNvSpPr>
          <p:nvPr userDrawn="1"/>
        </p:nvSpPr>
        <p:spPr bwMode="white">
          <a:xfrm>
            <a:off x="11723254" y="6555209"/>
            <a:ext cx="353088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800" b="0" smtClean="0">
                <a:solidFill>
                  <a:srgbClr val="959CA0"/>
                </a:solidFill>
              </a:rPr>
              <a:t>‹#›</a:t>
            </a:fld>
            <a:endParaRPr lang="en-US" sz="800" b="0" dirty="0">
              <a:solidFill>
                <a:srgbClr val="959CA0"/>
              </a:solidFill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5E326D98-CA48-4A16-8B08-48402B6AFC7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376299" y="6474454"/>
            <a:ext cx="1143000" cy="2159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349652C-4ACE-4941-9F68-A3F7497F3A3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75694" y="6425213"/>
            <a:ext cx="696650" cy="299437"/>
          </a:xfrm>
          <a:prstGeom prst="rect">
            <a:avLst/>
          </a:prstGeom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85268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C991E-2207-47BC-B339-BE413C8646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893408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477013" y="6556296"/>
            <a:ext cx="75600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5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chart" Target="../charts/chart1.xml"/><Relationship Id="rId4" Type="http://schemas.openxmlformats.org/officeDocument/2006/relationships/tags" Target="../tags/tag6.xml"/><Relationship Id="rId9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2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tags" Target="../tags/tag15.xml"/><Relationship Id="rId11" Type="http://schemas.openxmlformats.org/officeDocument/2006/relationships/chart" Target="../charts/chart2.xml"/><Relationship Id="rId5" Type="http://schemas.openxmlformats.org/officeDocument/2006/relationships/tags" Target="../tags/tag14.xml"/><Relationship Id="rId10" Type="http://schemas.openxmlformats.org/officeDocument/2006/relationships/image" Target="../media/image6.png"/><Relationship Id="rId4" Type="http://schemas.openxmlformats.org/officeDocument/2006/relationships/tags" Target="../tags/tag13.xml"/><Relationship Id="rId9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tags" Target="../tags/tag27.xml"/><Relationship Id="rId18" Type="http://schemas.openxmlformats.org/officeDocument/2006/relationships/tags" Target="../tags/tag32.xml"/><Relationship Id="rId26" Type="http://schemas.openxmlformats.org/officeDocument/2006/relationships/tags" Target="../tags/tag40.xml"/><Relationship Id="rId3" Type="http://schemas.openxmlformats.org/officeDocument/2006/relationships/tags" Target="../tags/tag17.xml"/><Relationship Id="rId21" Type="http://schemas.openxmlformats.org/officeDocument/2006/relationships/tags" Target="../tags/tag35.xml"/><Relationship Id="rId7" Type="http://schemas.openxmlformats.org/officeDocument/2006/relationships/tags" Target="../tags/tag21.xml"/><Relationship Id="rId12" Type="http://schemas.openxmlformats.org/officeDocument/2006/relationships/tags" Target="../tags/tag26.xml"/><Relationship Id="rId17" Type="http://schemas.openxmlformats.org/officeDocument/2006/relationships/tags" Target="../tags/tag31.xml"/><Relationship Id="rId25" Type="http://schemas.openxmlformats.org/officeDocument/2006/relationships/tags" Target="../tags/tag39.xml"/><Relationship Id="rId2" Type="http://schemas.openxmlformats.org/officeDocument/2006/relationships/tags" Target="../tags/tag16.xml"/><Relationship Id="rId16" Type="http://schemas.openxmlformats.org/officeDocument/2006/relationships/tags" Target="../tags/tag30.xml"/><Relationship Id="rId20" Type="http://schemas.openxmlformats.org/officeDocument/2006/relationships/tags" Target="../tags/tag34.xml"/><Relationship Id="rId29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6" Type="http://schemas.openxmlformats.org/officeDocument/2006/relationships/tags" Target="../tags/tag20.xml"/><Relationship Id="rId11" Type="http://schemas.openxmlformats.org/officeDocument/2006/relationships/tags" Target="../tags/tag25.xml"/><Relationship Id="rId24" Type="http://schemas.openxmlformats.org/officeDocument/2006/relationships/tags" Target="../tags/tag38.xml"/><Relationship Id="rId32" Type="http://schemas.openxmlformats.org/officeDocument/2006/relationships/chart" Target="../charts/chart3.xml"/><Relationship Id="rId5" Type="http://schemas.openxmlformats.org/officeDocument/2006/relationships/tags" Target="../tags/tag19.xml"/><Relationship Id="rId15" Type="http://schemas.openxmlformats.org/officeDocument/2006/relationships/tags" Target="../tags/tag29.xml"/><Relationship Id="rId23" Type="http://schemas.openxmlformats.org/officeDocument/2006/relationships/tags" Target="../tags/tag37.xml"/><Relationship Id="rId28" Type="http://schemas.openxmlformats.org/officeDocument/2006/relationships/tags" Target="../tags/tag42.xml"/><Relationship Id="rId10" Type="http://schemas.openxmlformats.org/officeDocument/2006/relationships/tags" Target="../tags/tag24.xml"/><Relationship Id="rId19" Type="http://schemas.openxmlformats.org/officeDocument/2006/relationships/tags" Target="../tags/tag33.xml"/><Relationship Id="rId31" Type="http://schemas.openxmlformats.org/officeDocument/2006/relationships/image" Target="../media/image5.emf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tags" Target="../tags/tag28.xml"/><Relationship Id="rId22" Type="http://schemas.openxmlformats.org/officeDocument/2006/relationships/tags" Target="../tags/tag36.xml"/><Relationship Id="rId27" Type="http://schemas.openxmlformats.org/officeDocument/2006/relationships/tags" Target="../tags/tag41.xml"/><Relationship Id="rId30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slideLayout" Target="../slideLayouts/slideLayout1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2" Type="http://schemas.openxmlformats.org/officeDocument/2006/relationships/tags" Target="../tags/tag43.xml"/><Relationship Id="rId16" Type="http://schemas.openxmlformats.org/officeDocument/2006/relationships/chart" Target="../charts/chart4.xml"/><Relationship Id="rId1" Type="http://schemas.openxmlformats.org/officeDocument/2006/relationships/vmlDrawing" Target="../drawings/vmlDrawing7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5" Type="http://schemas.openxmlformats.org/officeDocument/2006/relationships/image" Target="../media/image5.emf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26" Type="http://schemas.openxmlformats.org/officeDocument/2006/relationships/oleObject" Target="../embeddings/oleObject8.bin"/><Relationship Id="rId3" Type="http://schemas.openxmlformats.org/officeDocument/2006/relationships/tags" Target="../tags/tag55.xml"/><Relationship Id="rId21" Type="http://schemas.openxmlformats.org/officeDocument/2006/relationships/tags" Target="../tags/tag73.xml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5" Type="http://schemas.openxmlformats.org/officeDocument/2006/relationships/slideLayout" Target="../slideLayouts/slideLayout1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tags" Target="../tags/tag72.xml"/><Relationship Id="rId29" Type="http://schemas.openxmlformats.org/officeDocument/2006/relationships/chart" Target="../charts/chart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24" Type="http://schemas.openxmlformats.org/officeDocument/2006/relationships/tags" Target="../tags/tag76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23" Type="http://schemas.openxmlformats.org/officeDocument/2006/relationships/tags" Target="../tags/tag75.xml"/><Relationship Id="rId28" Type="http://schemas.openxmlformats.org/officeDocument/2006/relationships/chart" Target="../charts/chart5.xml"/><Relationship Id="rId10" Type="http://schemas.openxmlformats.org/officeDocument/2006/relationships/tags" Target="../tags/tag62.xml"/><Relationship Id="rId19" Type="http://schemas.openxmlformats.org/officeDocument/2006/relationships/tags" Target="../tags/tag71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Relationship Id="rId22" Type="http://schemas.openxmlformats.org/officeDocument/2006/relationships/tags" Target="../tags/tag74.xml"/><Relationship Id="rId27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9848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63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26E747-FD94-4552-8F91-A7D37DB875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: IQVIA PMR (December 2020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Physicians profiling</a:t>
            </a:r>
            <a:endParaRPr lang="el-G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7012" y="237000"/>
            <a:ext cx="11519518" cy="773799"/>
          </a:xfrm>
        </p:spPr>
        <p:txBody>
          <a:bodyPr/>
          <a:lstStyle/>
          <a:p>
            <a:r>
              <a:rPr lang="en-US" dirty="0"/>
              <a:t>150 Rheumatologists all over Greece participated in the survey (40% of total Rheumatologists)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77013" y="6552000"/>
            <a:ext cx="7560000" cy="123111"/>
          </a:xfrm>
        </p:spPr>
        <p:txBody>
          <a:bodyPr/>
          <a:lstStyle/>
          <a:p>
            <a:r>
              <a:rPr lang="en-US" dirty="0"/>
              <a:t>IQVIA • Genesis • Market Research on </a:t>
            </a:r>
            <a:r>
              <a:rPr lang="en-US" dirty="0" err="1"/>
              <a:t>Behcet</a:t>
            </a:r>
            <a:r>
              <a:rPr lang="en-US" dirty="0"/>
              <a:t> disease • December 2020</a:t>
            </a:r>
          </a:p>
        </p:txBody>
      </p:sp>
      <p:sp>
        <p:nvSpPr>
          <p:cNvPr id="143" name="Freeform 9">
            <a:extLst>
              <a:ext uri="{FF2B5EF4-FFF2-40B4-BE49-F238E27FC236}">
                <a16:creationId xmlns:a16="http://schemas.microsoft.com/office/drawing/2014/main" id="{54433354-DFE4-422F-B977-B10B34477FFE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762875" y="5033963"/>
            <a:ext cx="304800" cy="207673"/>
          </a:xfrm>
          <a:custGeom>
            <a:avLst/>
            <a:gdLst/>
            <a:ahLst/>
            <a:cxnLst>
              <a:cxn ang="0">
                <a:pos x="431" y="61"/>
              </a:cxn>
              <a:cxn ang="0">
                <a:pos x="392" y="247"/>
              </a:cxn>
              <a:cxn ang="0">
                <a:pos x="356" y="398"/>
              </a:cxn>
              <a:cxn ang="0">
                <a:pos x="307" y="465"/>
              </a:cxn>
              <a:cxn ang="0">
                <a:pos x="258" y="477"/>
              </a:cxn>
              <a:cxn ang="0">
                <a:pos x="231" y="455"/>
              </a:cxn>
              <a:cxn ang="0">
                <a:pos x="206" y="389"/>
              </a:cxn>
              <a:cxn ang="0">
                <a:pos x="120" y="323"/>
              </a:cxn>
              <a:cxn ang="0">
                <a:pos x="83" y="325"/>
              </a:cxn>
              <a:cxn ang="0">
                <a:pos x="68" y="366"/>
              </a:cxn>
              <a:cxn ang="0">
                <a:pos x="79" y="383"/>
              </a:cxn>
              <a:cxn ang="0">
                <a:pos x="92" y="417"/>
              </a:cxn>
              <a:cxn ang="0">
                <a:pos x="84" y="516"/>
              </a:cxn>
              <a:cxn ang="0">
                <a:pos x="45" y="593"/>
              </a:cxn>
              <a:cxn ang="0">
                <a:pos x="2" y="668"/>
              </a:cxn>
              <a:cxn ang="0">
                <a:pos x="10" y="725"/>
              </a:cxn>
              <a:cxn ang="0">
                <a:pos x="57" y="805"/>
              </a:cxn>
              <a:cxn ang="0">
                <a:pos x="104" y="989"/>
              </a:cxn>
              <a:cxn ang="0">
                <a:pos x="162" y="1077"/>
              </a:cxn>
              <a:cxn ang="0">
                <a:pos x="226" y="1158"/>
              </a:cxn>
              <a:cxn ang="0">
                <a:pos x="261" y="1171"/>
              </a:cxn>
              <a:cxn ang="0">
                <a:pos x="322" y="1120"/>
              </a:cxn>
              <a:cxn ang="0">
                <a:pos x="384" y="1085"/>
              </a:cxn>
              <a:cxn ang="0">
                <a:pos x="465" y="1086"/>
              </a:cxn>
              <a:cxn ang="0">
                <a:pos x="621" y="1125"/>
              </a:cxn>
              <a:cxn ang="0">
                <a:pos x="900" y="1160"/>
              </a:cxn>
              <a:cxn ang="0">
                <a:pos x="1039" y="1206"/>
              </a:cxn>
              <a:cxn ang="0">
                <a:pos x="1085" y="1240"/>
              </a:cxn>
              <a:cxn ang="0">
                <a:pos x="1212" y="1242"/>
              </a:cxn>
              <a:cxn ang="0">
                <a:pos x="1378" y="1225"/>
              </a:cxn>
              <a:cxn ang="0">
                <a:pos x="1390" y="1264"/>
              </a:cxn>
              <a:cxn ang="0">
                <a:pos x="1423" y="1282"/>
              </a:cxn>
              <a:cxn ang="0">
                <a:pos x="1516" y="1279"/>
              </a:cxn>
              <a:cxn ang="0">
                <a:pos x="1563" y="1205"/>
              </a:cxn>
              <a:cxn ang="0">
                <a:pos x="1544" y="1123"/>
              </a:cxn>
              <a:cxn ang="0">
                <a:pos x="1548" y="1065"/>
              </a:cxn>
              <a:cxn ang="0">
                <a:pos x="1560" y="1013"/>
              </a:cxn>
              <a:cxn ang="0">
                <a:pos x="1570" y="993"/>
              </a:cxn>
              <a:cxn ang="0">
                <a:pos x="1582" y="963"/>
              </a:cxn>
              <a:cxn ang="0">
                <a:pos x="1592" y="931"/>
              </a:cxn>
              <a:cxn ang="0">
                <a:pos x="1609" y="898"/>
              </a:cxn>
              <a:cxn ang="0">
                <a:pos x="1622" y="878"/>
              </a:cxn>
              <a:cxn ang="0">
                <a:pos x="1662" y="846"/>
              </a:cxn>
              <a:cxn ang="0">
                <a:pos x="1582" y="796"/>
              </a:cxn>
              <a:cxn ang="0">
                <a:pos x="1440" y="749"/>
              </a:cxn>
              <a:cxn ang="0">
                <a:pos x="1438" y="581"/>
              </a:cxn>
              <a:cxn ang="0">
                <a:pos x="1419" y="549"/>
              </a:cxn>
              <a:cxn ang="0">
                <a:pos x="1355" y="546"/>
              </a:cxn>
              <a:cxn ang="0">
                <a:pos x="1196" y="573"/>
              </a:cxn>
              <a:cxn ang="0">
                <a:pos x="1181" y="468"/>
              </a:cxn>
              <a:cxn ang="0">
                <a:pos x="1221" y="425"/>
              </a:cxn>
              <a:cxn ang="0">
                <a:pos x="1341" y="315"/>
              </a:cxn>
              <a:cxn ang="0">
                <a:pos x="1182" y="278"/>
              </a:cxn>
              <a:cxn ang="0">
                <a:pos x="1003" y="367"/>
              </a:cxn>
              <a:cxn ang="0">
                <a:pos x="833" y="423"/>
              </a:cxn>
              <a:cxn ang="0">
                <a:pos x="722" y="429"/>
              </a:cxn>
              <a:cxn ang="0">
                <a:pos x="633" y="389"/>
              </a:cxn>
              <a:cxn ang="0">
                <a:pos x="568" y="290"/>
              </a:cxn>
              <a:cxn ang="0">
                <a:pos x="534" y="118"/>
              </a:cxn>
              <a:cxn ang="0">
                <a:pos x="506" y="4"/>
              </a:cxn>
              <a:cxn ang="0">
                <a:pos x="450" y="35"/>
              </a:cxn>
            </a:cxnLst>
            <a:rect l="0" t="0" r="r" b="b"/>
            <a:pathLst>
              <a:path w="1667" h="1286">
                <a:moveTo>
                  <a:pt x="450" y="35"/>
                </a:moveTo>
                <a:lnTo>
                  <a:pt x="447" y="35"/>
                </a:lnTo>
                <a:lnTo>
                  <a:pt x="444" y="37"/>
                </a:lnTo>
                <a:lnTo>
                  <a:pt x="441" y="41"/>
                </a:lnTo>
                <a:lnTo>
                  <a:pt x="438" y="47"/>
                </a:lnTo>
                <a:lnTo>
                  <a:pt x="431" y="61"/>
                </a:lnTo>
                <a:lnTo>
                  <a:pt x="424" y="80"/>
                </a:lnTo>
                <a:lnTo>
                  <a:pt x="419" y="104"/>
                </a:lnTo>
                <a:lnTo>
                  <a:pt x="412" y="129"/>
                </a:lnTo>
                <a:lnTo>
                  <a:pt x="407" y="157"/>
                </a:lnTo>
                <a:lnTo>
                  <a:pt x="401" y="186"/>
                </a:lnTo>
                <a:lnTo>
                  <a:pt x="392" y="247"/>
                </a:lnTo>
                <a:lnTo>
                  <a:pt x="384" y="302"/>
                </a:lnTo>
                <a:lnTo>
                  <a:pt x="379" y="347"/>
                </a:lnTo>
                <a:lnTo>
                  <a:pt x="377" y="377"/>
                </a:lnTo>
                <a:lnTo>
                  <a:pt x="373" y="379"/>
                </a:lnTo>
                <a:lnTo>
                  <a:pt x="366" y="387"/>
                </a:lnTo>
                <a:lnTo>
                  <a:pt x="356" y="398"/>
                </a:lnTo>
                <a:lnTo>
                  <a:pt x="346" y="412"/>
                </a:lnTo>
                <a:lnTo>
                  <a:pt x="327" y="439"/>
                </a:lnTo>
                <a:lnTo>
                  <a:pt x="315" y="455"/>
                </a:lnTo>
                <a:lnTo>
                  <a:pt x="314" y="459"/>
                </a:lnTo>
                <a:lnTo>
                  <a:pt x="311" y="462"/>
                </a:lnTo>
                <a:lnTo>
                  <a:pt x="307" y="465"/>
                </a:lnTo>
                <a:lnTo>
                  <a:pt x="302" y="468"/>
                </a:lnTo>
                <a:lnTo>
                  <a:pt x="290" y="473"/>
                </a:lnTo>
                <a:lnTo>
                  <a:pt x="277" y="477"/>
                </a:lnTo>
                <a:lnTo>
                  <a:pt x="270" y="478"/>
                </a:lnTo>
                <a:lnTo>
                  <a:pt x="264" y="478"/>
                </a:lnTo>
                <a:lnTo>
                  <a:pt x="258" y="477"/>
                </a:lnTo>
                <a:lnTo>
                  <a:pt x="254" y="474"/>
                </a:lnTo>
                <a:lnTo>
                  <a:pt x="249" y="471"/>
                </a:lnTo>
                <a:lnTo>
                  <a:pt x="246" y="468"/>
                </a:lnTo>
                <a:lnTo>
                  <a:pt x="244" y="462"/>
                </a:lnTo>
                <a:lnTo>
                  <a:pt x="242" y="455"/>
                </a:lnTo>
                <a:lnTo>
                  <a:pt x="231" y="455"/>
                </a:lnTo>
                <a:lnTo>
                  <a:pt x="231" y="448"/>
                </a:lnTo>
                <a:lnTo>
                  <a:pt x="229" y="440"/>
                </a:lnTo>
                <a:lnTo>
                  <a:pt x="227" y="431"/>
                </a:lnTo>
                <a:lnTo>
                  <a:pt x="225" y="423"/>
                </a:lnTo>
                <a:lnTo>
                  <a:pt x="216" y="406"/>
                </a:lnTo>
                <a:lnTo>
                  <a:pt x="206" y="389"/>
                </a:lnTo>
                <a:lnTo>
                  <a:pt x="193" y="375"/>
                </a:lnTo>
                <a:lnTo>
                  <a:pt x="180" y="360"/>
                </a:lnTo>
                <a:lnTo>
                  <a:pt x="165" y="347"/>
                </a:lnTo>
                <a:lnTo>
                  <a:pt x="150" y="337"/>
                </a:lnTo>
                <a:lnTo>
                  <a:pt x="134" y="328"/>
                </a:lnTo>
                <a:lnTo>
                  <a:pt x="120" y="323"/>
                </a:lnTo>
                <a:lnTo>
                  <a:pt x="113" y="320"/>
                </a:lnTo>
                <a:lnTo>
                  <a:pt x="106" y="319"/>
                </a:lnTo>
                <a:lnTo>
                  <a:pt x="100" y="319"/>
                </a:lnTo>
                <a:lnTo>
                  <a:pt x="94" y="320"/>
                </a:lnTo>
                <a:lnTo>
                  <a:pt x="88" y="323"/>
                </a:lnTo>
                <a:lnTo>
                  <a:pt x="83" y="325"/>
                </a:lnTo>
                <a:lnTo>
                  <a:pt x="79" y="329"/>
                </a:lnTo>
                <a:lnTo>
                  <a:pt x="75" y="334"/>
                </a:lnTo>
                <a:lnTo>
                  <a:pt x="73" y="339"/>
                </a:lnTo>
                <a:lnTo>
                  <a:pt x="70" y="347"/>
                </a:lnTo>
                <a:lnTo>
                  <a:pt x="68" y="356"/>
                </a:lnTo>
                <a:lnTo>
                  <a:pt x="68" y="366"/>
                </a:lnTo>
                <a:lnTo>
                  <a:pt x="72" y="366"/>
                </a:lnTo>
                <a:lnTo>
                  <a:pt x="75" y="367"/>
                </a:lnTo>
                <a:lnTo>
                  <a:pt x="77" y="369"/>
                </a:lnTo>
                <a:lnTo>
                  <a:pt x="78" y="372"/>
                </a:lnTo>
                <a:lnTo>
                  <a:pt x="79" y="377"/>
                </a:lnTo>
                <a:lnTo>
                  <a:pt x="79" y="383"/>
                </a:lnTo>
                <a:lnTo>
                  <a:pt x="83" y="383"/>
                </a:lnTo>
                <a:lnTo>
                  <a:pt x="85" y="385"/>
                </a:lnTo>
                <a:lnTo>
                  <a:pt x="87" y="388"/>
                </a:lnTo>
                <a:lnTo>
                  <a:pt x="88" y="393"/>
                </a:lnTo>
                <a:lnTo>
                  <a:pt x="91" y="404"/>
                </a:lnTo>
                <a:lnTo>
                  <a:pt x="92" y="417"/>
                </a:lnTo>
                <a:lnTo>
                  <a:pt x="92" y="444"/>
                </a:lnTo>
                <a:lnTo>
                  <a:pt x="91" y="461"/>
                </a:lnTo>
                <a:lnTo>
                  <a:pt x="91" y="475"/>
                </a:lnTo>
                <a:lnTo>
                  <a:pt x="89" y="490"/>
                </a:lnTo>
                <a:lnTo>
                  <a:pt x="87" y="503"/>
                </a:lnTo>
                <a:lnTo>
                  <a:pt x="84" y="516"/>
                </a:lnTo>
                <a:lnTo>
                  <a:pt x="81" y="527"/>
                </a:lnTo>
                <a:lnTo>
                  <a:pt x="76" y="538"/>
                </a:lnTo>
                <a:lnTo>
                  <a:pt x="72" y="548"/>
                </a:lnTo>
                <a:lnTo>
                  <a:pt x="67" y="558"/>
                </a:lnTo>
                <a:lnTo>
                  <a:pt x="56" y="576"/>
                </a:lnTo>
                <a:lnTo>
                  <a:pt x="45" y="593"/>
                </a:lnTo>
                <a:lnTo>
                  <a:pt x="34" y="607"/>
                </a:lnTo>
                <a:lnTo>
                  <a:pt x="24" y="623"/>
                </a:lnTo>
                <a:lnTo>
                  <a:pt x="14" y="637"/>
                </a:lnTo>
                <a:lnTo>
                  <a:pt x="7" y="653"/>
                </a:lnTo>
                <a:lnTo>
                  <a:pt x="4" y="661"/>
                </a:lnTo>
                <a:lnTo>
                  <a:pt x="2" y="668"/>
                </a:lnTo>
                <a:lnTo>
                  <a:pt x="1" y="676"/>
                </a:lnTo>
                <a:lnTo>
                  <a:pt x="0" y="685"/>
                </a:lnTo>
                <a:lnTo>
                  <a:pt x="1" y="694"/>
                </a:lnTo>
                <a:lnTo>
                  <a:pt x="4" y="704"/>
                </a:lnTo>
                <a:lnTo>
                  <a:pt x="6" y="714"/>
                </a:lnTo>
                <a:lnTo>
                  <a:pt x="10" y="725"/>
                </a:lnTo>
                <a:lnTo>
                  <a:pt x="16" y="737"/>
                </a:lnTo>
                <a:lnTo>
                  <a:pt x="22" y="749"/>
                </a:lnTo>
                <a:lnTo>
                  <a:pt x="30" y="762"/>
                </a:lnTo>
                <a:lnTo>
                  <a:pt x="40" y="776"/>
                </a:lnTo>
                <a:lnTo>
                  <a:pt x="49" y="789"/>
                </a:lnTo>
                <a:lnTo>
                  <a:pt x="57" y="805"/>
                </a:lnTo>
                <a:lnTo>
                  <a:pt x="64" y="821"/>
                </a:lnTo>
                <a:lnTo>
                  <a:pt x="69" y="839"/>
                </a:lnTo>
                <a:lnTo>
                  <a:pt x="79" y="877"/>
                </a:lnTo>
                <a:lnTo>
                  <a:pt x="87" y="916"/>
                </a:lnTo>
                <a:lnTo>
                  <a:pt x="95" y="954"/>
                </a:lnTo>
                <a:lnTo>
                  <a:pt x="104" y="989"/>
                </a:lnTo>
                <a:lnTo>
                  <a:pt x="110" y="1004"/>
                </a:lnTo>
                <a:lnTo>
                  <a:pt x="115" y="1018"/>
                </a:lnTo>
                <a:lnTo>
                  <a:pt x="122" y="1030"/>
                </a:lnTo>
                <a:lnTo>
                  <a:pt x="130" y="1040"/>
                </a:lnTo>
                <a:lnTo>
                  <a:pt x="146" y="1058"/>
                </a:lnTo>
                <a:lnTo>
                  <a:pt x="162" y="1077"/>
                </a:lnTo>
                <a:lnTo>
                  <a:pt x="178" y="1096"/>
                </a:lnTo>
                <a:lnTo>
                  <a:pt x="191" y="1115"/>
                </a:lnTo>
                <a:lnTo>
                  <a:pt x="203" y="1133"/>
                </a:lnTo>
                <a:lnTo>
                  <a:pt x="216" y="1147"/>
                </a:lnTo>
                <a:lnTo>
                  <a:pt x="220" y="1154"/>
                </a:lnTo>
                <a:lnTo>
                  <a:pt x="226" y="1158"/>
                </a:lnTo>
                <a:lnTo>
                  <a:pt x="230" y="1163"/>
                </a:lnTo>
                <a:lnTo>
                  <a:pt x="235" y="1165"/>
                </a:lnTo>
                <a:lnTo>
                  <a:pt x="242" y="1168"/>
                </a:lnTo>
                <a:lnTo>
                  <a:pt x="249" y="1171"/>
                </a:lnTo>
                <a:lnTo>
                  <a:pt x="256" y="1171"/>
                </a:lnTo>
                <a:lnTo>
                  <a:pt x="261" y="1171"/>
                </a:lnTo>
                <a:lnTo>
                  <a:pt x="267" y="1170"/>
                </a:lnTo>
                <a:lnTo>
                  <a:pt x="273" y="1167"/>
                </a:lnTo>
                <a:lnTo>
                  <a:pt x="277" y="1165"/>
                </a:lnTo>
                <a:lnTo>
                  <a:pt x="281" y="1162"/>
                </a:lnTo>
                <a:lnTo>
                  <a:pt x="300" y="1143"/>
                </a:lnTo>
                <a:lnTo>
                  <a:pt x="322" y="1120"/>
                </a:lnTo>
                <a:lnTo>
                  <a:pt x="334" y="1109"/>
                </a:lnTo>
                <a:lnTo>
                  <a:pt x="347" y="1099"/>
                </a:lnTo>
                <a:lnTo>
                  <a:pt x="355" y="1095"/>
                </a:lnTo>
                <a:lnTo>
                  <a:pt x="364" y="1090"/>
                </a:lnTo>
                <a:lnTo>
                  <a:pt x="374" y="1087"/>
                </a:lnTo>
                <a:lnTo>
                  <a:pt x="384" y="1085"/>
                </a:lnTo>
                <a:lnTo>
                  <a:pt x="395" y="1083"/>
                </a:lnTo>
                <a:lnTo>
                  <a:pt x="407" y="1081"/>
                </a:lnTo>
                <a:lnTo>
                  <a:pt x="420" y="1080"/>
                </a:lnTo>
                <a:lnTo>
                  <a:pt x="433" y="1081"/>
                </a:lnTo>
                <a:lnTo>
                  <a:pt x="449" y="1084"/>
                </a:lnTo>
                <a:lnTo>
                  <a:pt x="465" y="1086"/>
                </a:lnTo>
                <a:lnTo>
                  <a:pt x="482" y="1090"/>
                </a:lnTo>
                <a:lnTo>
                  <a:pt x="501" y="1096"/>
                </a:lnTo>
                <a:lnTo>
                  <a:pt x="528" y="1104"/>
                </a:lnTo>
                <a:lnTo>
                  <a:pt x="557" y="1112"/>
                </a:lnTo>
                <a:lnTo>
                  <a:pt x="588" y="1118"/>
                </a:lnTo>
                <a:lnTo>
                  <a:pt x="621" y="1125"/>
                </a:lnTo>
                <a:lnTo>
                  <a:pt x="654" y="1132"/>
                </a:lnTo>
                <a:lnTo>
                  <a:pt x="688" y="1137"/>
                </a:lnTo>
                <a:lnTo>
                  <a:pt x="724" y="1142"/>
                </a:lnTo>
                <a:lnTo>
                  <a:pt x="758" y="1146"/>
                </a:lnTo>
                <a:lnTo>
                  <a:pt x="830" y="1154"/>
                </a:lnTo>
                <a:lnTo>
                  <a:pt x="900" y="1160"/>
                </a:lnTo>
                <a:lnTo>
                  <a:pt x="967" y="1162"/>
                </a:lnTo>
                <a:lnTo>
                  <a:pt x="1029" y="1163"/>
                </a:lnTo>
                <a:lnTo>
                  <a:pt x="1029" y="1176"/>
                </a:lnTo>
                <a:lnTo>
                  <a:pt x="1032" y="1187"/>
                </a:lnTo>
                <a:lnTo>
                  <a:pt x="1035" y="1198"/>
                </a:lnTo>
                <a:lnTo>
                  <a:pt x="1039" y="1206"/>
                </a:lnTo>
                <a:lnTo>
                  <a:pt x="1044" y="1214"/>
                </a:lnTo>
                <a:lnTo>
                  <a:pt x="1051" y="1221"/>
                </a:lnTo>
                <a:lnTo>
                  <a:pt x="1058" y="1227"/>
                </a:lnTo>
                <a:lnTo>
                  <a:pt x="1066" y="1232"/>
                </a:lnTo>
                <a:lnTo>
                  <a:pt x="1075" y="1237"/>
                </a:lnTo>
                <a:lnTo>
                  <a:pt x="1085" y="1240"/>
                </a:lnTo>
                <a:lnTo>
                  <a:pt x="1095" y="1242"/>
                </a:lnTo>
                <a:lnTo>
                  <a:pt x="1106" y="1244"/>
                </a:lnTo>
                <a:lnTo>
                  <a:pt x="1131" y="1247"/>
                </a:lnTo>
                <a:lnTo>
                  <a:pt x="1157" y="1247"/>
                </a:lnTo>
                <a:lnTo>
                  <a:pt x="1185" y="1245"/>
                </a:lnTo>
                <a:lnTo>
                  <a:pt x="1212" y="1242"/>
                </a:lnTo>
                <a:lnTo>
                  <a:pt x="1242" y="1239"/>
                </a:lnTo>
                <a:lnTo>
                  <a:pt x="1271" y="1235"/>
                </a:lnTo>
                <a:lnTo>
                  <a:pt x="1300" y="1231"/>
                </a:lnTo>
                <a:lnTo>
                  <a:pt x="1327" y="1228"/>
                </a:lnTo>
                <a:lnTo>
                  <a:pt x="1353" y="1225"/>
                </a:lnTo>
                <a:lnTo>
                  <a:pt x="1378" y="1225"/>
                </a:lnTo>
                <a:lnTo>
                  <a:pt x="1378" y="1233"/>
                </a:lnTo>
                <a:lnTo>
                  <a:pt x="1379" y="1241"/>
                </a:lnTo>
                <a:lnTo>
                  <a:pt x="1381" y="1248"/>
                </a:lnTo>
                <a:lnTo>
                  <a:pt x="1383" y="1254"/>
                </a:lnTo>
                <a:lnTo>
                  <a:pt x="1387" y="1260"/>
                </a:lnTo>
                <a:lnTo>
                  <a:pt x="1390" y="1264"/>
                </a:lnTo>
                <a:lnTo>
                  <a:pt x="1394" y="1269"/>
                </a:lnTo>
                <a:lnTo>
                  <a:pt x="1399" y="1272"/>
                </a:lnTo>
                <a:lnTo>
                  <a:pt x="1404" y="1276"/>
                </a:lnTo>
                <a:lnTo>
                  <a:pt x="1410" y="1279"/>
                </a:lnTo>
                <a:lnTo>
                  <a:pt x="1417" y="1280"/>
                </a:lnTo>
                <a:lnTo>
                  <a:pt x="1423" y="1282"/>
                </a:lnTo>
                <a:lnTo>
                  <a:pt x="1437" y="1285"/>
                </a:lnTo>
                <a:lnTo>
                  <a:pt x="1452" y="1286"/>
                </a:lnTo>
                <a:lnTo>
                  <a:pt x="1468" y="1285"/>
                </a:lnTo>
                <a:lnTo>
                  <a:pt x="1484" y="1283"/>
                </a:lnTo>
                <a:lnTo>
                  <a:pt x="1500" y="1281"/>
                </a:lnTo>
                <a:lnTo>
                  <a:pt x="1516" y="1279"/>
                </a:lnTo>
                <a:lnTo>
                  <a:pt x="1547" y="1272"/>
                </a:lnTo>
                <a:lnTo>
                  <a:pt x="1574" y="1267"/>
                </a:lnTo>
                <a:lnTo>
                  <a:pt x="1572" y="1243"/>
                </a:lnTo>
                <a:lnTo>
                  <a:pt x="1569" y="1223"/>
                </a:lnTo>
                <a:lnTo>
                  <a:pt x="1565" y="1213"/>
                </a:lnTo>
                <a:lnTo>
                  <a:pt x="1563" y="1205"/>
                </a:lnTo>
                <a:lnTo>
                  <a:pt x="1560" y="1198"/>
                </a:lnTo>
                <a:lnTo>
                  <a:pt x="1555" y="1191"/>
                </a:lnTo>
                <a:lnTo>
                  <a:pt x="1553" y="1182"/>
                </a:lnTo>
                <a:lnTo>
                  <a:pt x="1550" y="1166"/>
                </a:lnTo>
                <a:lnTo>
                  <a:pt x="1546" y="1145"/>
                </a:lnTo>
                <a:lnTo>
                  <a:pt x="1544" y="1123"/>
                </a:lnTo>
                <a:lnTo>
                  <a:pt x="1543" y="1102"/>
                </a:lnTo>
                <a:lnTo>
                  <a:pt x="1543" y="1083"/>
                </a:lnTo>
                <a:lnTo>
                  <a:pt x="1544" y="1075"/>
                </a:lnTo>
                <a:lnTo>
                  <a:pt x="1545" y="1069"/>
                </a:lnTo>
                <a:lnTo>
                  <a:pt x="1546" y="1066"/>
                </a:lnTo>
                <a:lnTo>
                  <a:pt x="1548" y="1065"/>
                </a:lnTo>
                <a:lnTo>
                  <a:pt x="1550" y="1055"/>
                </a:lnTo>
                <a:lnTo>
                  <a:pt x="1551" y="1046"/>
                </a:lnTo>
                <a:lnTo>
                  <a:pt x="1553" y="1037"/>
                </a:lnTo>
                <a:lnTo>
                  <a:pt x="1555" y="1029"/>
                </a:lnTo>
                <a:lnTo>
                  <a:pt x="1557" y="1021"/>
                </a:lnTo>
                <a:lnTo>
                  <a:pt x="1560" y="1013"/>
                </a:lnTo>
                <a:lnTo>
                  <a:pt x="1562" y="1006"/>
                </a:lnTo>
                <a:lnTo>
                  <a:pt x="1562" y="998"/>
                </a:lnTo>
                <a:lnTo>
                  <a:pt x="1564" y="998"/>
                </a:lnTo>
                <a:lnTo>
                  <a:pt x="1566" y="997"/>
                </a:lnTo>
                <a:lnTo>
                  <a:pt x="1569" y="995"/>
                </a:lnTo>
                <a:lnTo>
                  <a:pt x="1570" y="993"/>
                </a:lnTo>
                <a:lnTo>
                  <a:pt x="1572" y="989"/>
                </a:lnTo>
                <a:lnTo>
                  <a:pt x="1574" y="983"/>
                </a:lnTo>
                <a:lnTo>
                  <a:pt x="1575" y="972"/>
                </a:lnTo>
                <a:lnTo>
                  <a:pt x="1575" y="964"/>
                </a:lnTo>
                <a:lnTo>
                  <a:pt x="1579" y="964"/>
                </a:lnTo>
                <a:lnTo>
                  <a:pt x="1582" y="963"/>
                </a:lnTo>
                <a:lnTo>
                  <a:pt x="1583" y="961"/>
                </a:lnTo>
                <a:lnTo>
                  <a:pt x="1585" y="959"/>
                </a:lnTo>
                <a:lnTo>
                  <a:pt x="1588" y="952"/>
                </a:lnTo>
                <a:lnTo>
                  <a:pt x="1589" y="944"/>
                </a:lnTo>
                <a:lnTo>
                  <a:pt x="1590" y="937"/>
                </a:lnTo>
                <a:lnTo>
                  <a:pt x="1592" y="931"/>
                </a:lnTo>
                <a:lnTo>
                  <a:pt x="1594" y="929"/>
                </a:lnTo>
                <a:lnTo>
                  <a:pt x="1596" y="926"/>
                </a:lnTo>
                <a:lnTo>
                  <a:pt x="1599" y="925"/>
                </a:lnTo>
                <a:lnTo>
                  <a:pt x="1602" y="924"/>
                </a:lnTo>
                <a:lnTo>
                  <a:pt x="1605" y="911"/>
                </a:lnTo>
                <a:lnTo>
                  <a:pt x="1609" y="898"/>
                </a:lnTo>
                <a:lnTo>
                  <a:pt x="1611" y="897"/>
                </a:lnTo>
                <a:lnTo>
                  <a:pt x="1613" y="896"/>
                </a:lnTo>
                <a:lnTo>
                  <a:pt x="1615" y="893"/>
                </a:lnTo>
                <a:lnTo>
                  <a:pt x="1618" y="891"/>
                </a:lnTo>
                <a:lnTo>
                  <a:pt x="1621" y="884"/>
                </a:lnTo>
                <a:lnTo>
                  <a:pt x="1622" y="878"/>
                </a:lnTo>
                <a:lnTo>
                  <a:pt x="1629" y="872"/>
                </a:lnTo>
                <a:lnTo>
                  <a:pt x="1636" y="865"/>
                </a:lnTo>
                <a:lnTo>
                  <a:pt x="1642" y="858"/>
                </a:lnTo>
                <a:lnTo>
                  <a:pt x="1656" y="858"/>
                </a:lnTo>
                <a:lnTo>
                  <a:pt x="1662" y="852"/>
                </a:lnTo>
                <a:lnTo>
                  <a:pt x="1662" y="846"/>
                </a:lnTo>
                <a:lnTo>
                  <a:pt x="1665" y="834"/>
                </a:lnTo>
                <a:lnTo>
                  <a:pt x="1666" y="816"/>
                </a:lnTo>
                <a:lnTo>
                  <a:pt x="1667" y="798"/>
                </a:lnTo>
                <a:lnTo>
                  <a:pt x="1638" y="797"/>
                </a:lnTo>
                <a:lnTo>
                  <a:pt x="1610" y="796"/>
                </a:lnTo>
                <a:lnTo>
                  <a:pt x="1582" y="796"/>
                </a:lnTo>
                <a:lnTo>
                  <a:pt x="1553" y="795"/>
                </a:lnTo>
                <a:lnTo>
                  <a:pt x="1525" y="793"/>
                </a:lnTo>
                <a:lnTo>
                  <a:pt x="1496" y="793"/>
                </a:lnTo>
                <a:lnTo>
                  <a:pt x="1468" y="792"/>
                </a:lnTo>
                <a:lnTo>
                  <a:pt x="1439" y="792"/>
                </a:lnTo>
                <a:lnTo>
                  <a:pt x="1440" y="749"/>
                </a:lnTo>
                <a:lnTo>
                  <a:pt x="1440" y="710"/>
                </a:lnTo>
                <a:lnTo>
                  <a:pt x="1441" y="674"/>
                </a:lnTo>
                <a:lnTo>
                  <a:pt x="1442" y="642"/>
                </a:lnTo>
                <a:lnTo>
                  <a:pt x="1441" y="615"/>
                </a:lnTo>
                <a:lnTo>
                  <a:pt x="1440" y="591"/>
                </a:lnTo>
                <a:lnTo>
                  <a:pt x="1438" y="581"/>
                </a:lnTo>
                <a:lnTo>
                  <a:pt x="1436" y="574"/>
                </a:lnTo>
                <a:lnTo>
                  <a:pt x="1434" y="566"/>
                </a:lnTo>
                <a:lnTo>
                  <a:pt x="1430" y="560"/>
                </a:lnTo>
                <a:lnTo>
                  <a:pt x="1427" y="556"/>
                </a:lnTo>
                <a:lnTo>
                  <a:pt x="1423" y="552"/>
                </a:lnTo>
                <a:lnTo>
                  <a:pt x="1419" y="549"/>
                </a:lnTo>
                <a:lnTo>
                  <a:pt x="1416" y="547"/>
                </a:lnTo>
                <a:lnTo>
                  <a:pt x="1406" y="543"/>
                </a:lnTo>
                <a:lnTo>
                  <a:pt x="1396" y="541"/>
                </a:lnTo>
                <a:lnTo>
                  <a:pt x="1383" y="541"/>
                </a:lnTo>
                <a:lnTo>
                  <a:pt x="1370" y="542"/>
                </a:lnTo>
                <a:lnTo>
                  <a:pt x="1355" y="546"/>
                </a:lnTo>
                <a:lnTo>
                  <a:pt x="1340" y="548"/>
                </a:lnTo>
                <a:lnTo>
                  <a:pt x="1305" y="556"/>
                </a:lnTo>
                <a:lnTo>
                  <a:pt x="1265" y="565"/>
                </a:lnTo>
                <a:lnTo>
                  <a:pt x="1243" y="568"/>
                </a:lnTo>
                <a:lnTo>
                  <a:pt x="1219" y="570"/>
                </a:lnTo>
                <a:lnTo>
                  <a:pt x="1196" y="573"/>
                </a:lnTo>
                <a:lnTo>
                  <a:pt x="1170" y="574"/>
                </a:lnTo>
                <a:lnTo>
                  <a:pt x="1170" y="539"/>
                </a:lnTo>
                <a:lnTo>
                  <a:pt x="1172" y="508"/>
                </a:lnTo>
                <a:lnTo>
                  <a:pt x="1173" y="493"/>
                </a:lnTo>
                <a:lnTo>
                  <a:pt x="1177" y="480"/>
                </a:lnTo>
                <a:lnTo>
                  <a:pt x="1181" y="468"/>
                </a:lnTo>
                <a:lnTo>
                  <a:pt x="1187" y="456"/>
                </a:lnTo>
                <a:lnTo>
                  <a:pt x="1195" y="446"/>
                </a:lnTo>
                <a:lnTo>
                  <a:pt x="1204" y="436"/>
                </a:lnTo>
                <a:lnTo>
                  <a:pt x="1209" y="433"/>
                </a:lnTo>
                <a:lnTo>
                  <a:pt x="1215" y="429"/>
                </a:lnTo>
                <a:lnTo>
                  <a:pt x="1221" y="425"/>
                </a:lnTo>
                <a:lnTo>
                  <a:pt x="1229" y="423"/>
                </a:lnTo>
                <a:lnTo>
                  <a:pt x="1245" y="417"/>
                </a:lnTo>
                <a:lnTo>
                  <a:pt x="1264" y="414"/>
                </a:lnTo>
                <a:lnTo>
                  <a:pt x="1285" y="411"/>
                </a:lnTo>
                <a:lnTo>
                  <a:pt x="1310" y="411"/>
                </a:lnTo>
                <a:lnTo>
                  <a:pt x="1341" y="315"/>
                </a:lnTo>
                <a:lnTo>
                  <a:pt x="1304" y="253"/>
                </a:lnTo>
                <a:lnTo>
                  <a:pt x="1279" y="254"/>
                </a:lnTo>
                <a:lnTo>
                  <a:pt x="1255" y="258"/>
                </a:lnTo>
                <a:lnTo>
                  <a:pt x="1230" y="263"/>
                </a:lnTo>
                <a:lnTo>
                  <a:pt x="1206" y="270"/>
                </a:lnTo>
                <a:lnTo>
                  <a:pt x="1182" y="278"/>
                </a:lnTo>
                <a:lnTo>
                  <a:pt x="1159" y="288"/>
                </a:lnTo>
                <a:lnTo>
                  <a:pt x="1137" y="298"/>
                </a:lnTo>
                <a:lnTo>
                  <a:pt x="1113" y="309"/>
                </a:lnTo>
                <a:lnTo>
                  <a:pt x="1068" y="333"/>
                </a:lnTo>
                <a:lnTo>
                  <a:pt x="1024" y="356"/>
                </a:lnTo>
                <a:lnTo>
                  <a:pt x="1003" y="367"/>
                </a:lnTo>
                <a:lnTo>
                  <a:pt x="980" y="377"/>
                </a:lnTo>
                <a:lnTo>
                  <a:pt x="959" y="386"/>
                </a:lnTo>
                <a:lnTo>
                  <a:pt x="938" y="394"/>
                </a:lnTo>
                <a:lnTo>
                  <a:pt x="894" y="407"/>
                </a:lnTo>
                <a:lnTo>
                  <a:pt x="853" y="418"/>
                </a:lnTo>
                <a:lnTo>
                  <a:pt x="833" y="423"/>
                </a:lnTo>
                <a:lnTo>
                  <a:pt x="814" y="426"/>
                </a:lnTo>
                <a:lnTo>
                  <a:pt x="794" y="429"/>
                </a:lnTo>
                <a:lnTo>
                  <a:pt x="776" y="431"/>
                </a:lnTo>
                <a:lnTo>
                  <a:pt x="757" y="431"/>
                </a:lnTo>
                <a:lnTo>
                  <a:pt x="740" y="431"/>
                </a:lnTo>
                <a:lnTo>
                  <a:pt x="722" y="429"/>
                </a:lnTo>
                <a:lnTo>
                  <a:pt x="706" y="425"/>
                </a:lnTo>
                <a:lnTo>
                  <a:pt x="690" y="421"/>
                </a:lnTo>
                <a:lnTo>
                  <a:pt x="674" y="415"/>
                </a:lnTo>
                <a:lnTo>
                  <a:pt x="660" y="408"/>
                </a:lnTo>
                <a:lnTo>
                  <a:pt x="647" y="400"/>
                </a:lnTo>
                <a:lnTo>
                  <a:pt x="633" y="389"/>
                </a:lnTo>
                <a:lnTo>
                  <a:pt x="620" y="377"/>
                </a:lnTo>
                <a:lnTo>
                  <a:pt x="609" y="364"/>
                </a:lnTo>
                <a:lnTo>
                  <a:pt x="597" y="348"/>
                </a:lnTo>
                <a:lnTo>
                  <a:pt x="586" y="330"/>
                </a:lnTo>
                <a:lnTo>
                  <a:pt x="577" y="311"/>
                </a:lnTo>
                <a:lnTo>
                  <a:pt x="568" y="290"/>
                </a:lnTo>
                <a:lnTo>
                  <a:pt x="561" y="267"/>
                </a:lnTo>
                <a:lnTo>
                  <a:pt x="553" y="242"/>
                </a:lnTo>
                <a:lnTo>
                  <a:pt x="547" y="214"/>
                </a:lnTo>
                <a:lnTo>
                  <a:pt x="542" y="185"/>
                </a:lnTo>
                <a:lnTo>
                  <a:pt x="537" y="153"/>
                </a:lnTo>
                <a:lnTo>
                  <a:pt x="534" y="118"/>
                </a:lnTo>
                <a:lnTo>
                  <a:pt x="532" y="81"/>
                </a:lnTo>
                <a:lnTo>
                  <a:pt x="529" y="42"/>
                </a:lnTo>
                <a:lnTo>
                  <a:pt x="529" y="0"/>
                </a:lnTo>
                <a:lnTo>
                  <a:pt x="520" y="1"/>
                </a:lnTo>
                <a:lnTo>
                  <a:pt x="514" y="2"/>
                </a:lnTo>
                <a:lnTo>
                  <a:pt x="506" y="4"/>
                </a:lnTo>
                <a:lnTo>
                  <a:pt x="499" y="6"/>
                </a:lnTo>
                <a:lnTo>
                  <a:pt x="488" y="10"/>
                </a:lnTo>
                <a:lnTo>
                  <a:pt x="478" y="11"/>
                </a:lnTo>
                <a:lnTo>
                  <a:pt x="478" y="28"/>
                </a:lnTo>
                <a:lnTo>
                  <a:pt x="467" y="31"/>
                </a:lnTo>
                <a:lnTo>
                  <a:pt x="450" y="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44" name="Freeform 10">
            <a:extLst>
              <a:ext uri="{FF2B5EF4-FFF2-40B4-BE49-F238E27FC236}">
                <a16:creationId xmlns:a16="http://schemas.microsoft.com/office/drawing/2014/main" id="{05C5BF0C-1733-4277-9441-2E805D89184E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040688" y="5156200"/>
            <a:ext cx="232131" cy="163513"/>
          </a:xfrm>
          <a:custGeom>
            <a:avLst/>
            <a:gdLst/>
            <a:ahLst/>
            <a:cxnLst>
              <a:cxn ang="0">
                <a:pos x="71" y="675"/>
              </a:cxn>
              <a:cxn ang="0">
                <a:pos x="240" y="719"/>
              </a:cxn>
              <a:cxn ang="0">
                <a:pos x="444" y="799"/>
              </a:cxn>
              <a:cxn ang="0">
                <a:pos x="525" y="851"/>
              </a:cxn>
              <a:cxn ang="0">
                <a:pos x="560" y="882"/>
              </a:cxn>
              <a:cxn ang="0">
                <a:pos x="676" y="901"/>
              </a:cxn>
              <a:cxn ang="0">
                <a:pos x="838" y="960"/>
              </a:cxn>
              <a:cxn ang="0">
                <a:pos x="922" y="1011"/>
              </a:cxn>
              <a:cxn ang="0">
                <a:pos x="964" y="964"/>
              </a:cxn>
              <a:cxn ang="0">
                <a:pos x="995" y="949"/>
              </a:cxn>
              <a:cxn ang="0">
                <a:pos x="1019" y="923"/>
              </a:cxn>
              <a:cxn ang="0">
                <a:pos x="999" y="851"/>
              </a:cxn>
              <a:cxn ang="0">
                <a:pos x="959" y="784"/>
              </a:cxn>
              <a:cxn ang="0">
                <a:pos x="969" y="749"/>
              </a:cxn>
              <a:cxn ang="0">
                <a:pos x="984" y="742"/>
              </a:cxn>
              <a:cxn ang="0">
                <a:pos x="998" y="736"/>
              </a:cxn>
              <a:cxn ang="0">
                <a:pos x="1053" y="736"/>
              </a:cxn>
              <a:cxn ang="0">
                <a:pos x="1073" y="746"/>
              </a:cxn>
              <a:cxn ang="0">
                <a:pos x="1111" y="762"/>
              </a:cxn>
              <a:cxn ang="0">
                <a:pos x="1136" y="780"/>
              </a:cxn>
              <a:cxn ang="0">
                <a:pos x="1159" y="798"/>
              </a:cxn>
              <a:cxn ang="0">
                <a:pos x="1192" y="808"/>
              </a:cxn>
              <a:cxn ang="0">
                <a:pos x="1273" y="798"/>
              </a:cxn>
              <a:cxn ang="0">
                <a:pos x="1268" y="735"/>
              </a:cxn>
              <a:cxn ang="0">
                <a:pos x="1274" y="616"/>
              </a:cxn>
              <a:cxn ang="0">
                <a:pos x="1275" y="527"/>
              </a:cxn>
              <a:cxn ang="0">
                <a:pos x="1269" y="514"/>
              </a:cxn>
              <a:cxn ang="0">
                <a:pos x="1252" y="489"/>
              </a:cxn>
              <a:cxn ang="0">
                <a:pos x="1204" y="430"/>
              </a:cxn>
              <a:cxn ang="0">
                <a:pos x="1207" y="406"/>
              </a:cxn>
              <a:cxn ang="0">
                <a:pos x="1231" y="376"/>
              </a:cxn>
              <a:cxn ang="0">
                <a:pos x="1242" y="361"/>
              </a:cxn>
              <a:cxn ang="0">
                <a:pos x="1262" y="334"/>
              </a:cxn>
              <a:cxn ang="0">
                <a:pos x="1262" y="303"/>
              </a:cxn>
              <a:cxn ang="0">
                <a:pos x="1232" y="266"/>
              </a:cxn>
              <a:cxn ang="0">
                <a:pos x="1228" y="252"/>
              </a:cxn>
              <a:cxn ang="0">
                <a:pos x="1223" y="240"/>
              </a:cxn>
              <a:cxn ang="0">
                <a:pos x="1218" y="181"/>
              </a:cxn>
              <a:cxn ang="0">
                <a:pos x="1207" y="143"/>
              </a:cxn>
              <a:cxn ang="0">
                <a:pos x="1125" y="73"/>
              </a:cxn>
              <a:cxn ang="0">
                <a:pos x="1044" y="74"/>
              </a:cxn>
              <a:cxn ang="0">
                <a:pos x="932" y="39"/>
              </a:cxn>
              <a:cxn ang="0">
                <a:pos x="842" y="4"/>
              </a:cxn>
              <a:cxn ang="0">
                <a:pos x="767" y="11"/>
              </a:cxn>
              <a:cxn ang="0">
                <a:pos x="633" y="105"/>
              </a:cxn>
              <a:cxn ang="0">
                <a:pos x="538" y="174"/>
              </a:cxn>
              <a:cxn ang="0">
                <a:pos x="480" y="198"/>
              </a:cxn>
              <a:cxn ang="0">
                <a:pos x="258" y="220"/>
              </a:cxn>
              <a:cxn ang="0">
                <a:pos x="122" y="255"/>
              </a:cxn>
              <a:cxn ang="0">
                <a:pos x="93" y="286"/>
              </a:cxn>
              <a:cxn ang="0">
                <a:pos x="72" y="314"/>
              </a:cxn>
              <a:cxn ang="0">
                <a:pos x="59" y="345"/>
              </a:cxn>
              <a:cxn ang="0">
                <a:pos x="47" y="358"/>
              </a:cxn>
              <a:cxn ang="0">
                <a:pos x="39" y="384"/>
              </a:cxn>
              <a:cxn ang="0">
                <a:pos x="29" y="410"/>
              </a:cxn>
              <a:cxn ang="0">
                <a:pos x="19" y="419"/>
              </a:cxn>
              <a:cxn ang="0">
                <a:pos x="10" y="458"/>
              </a:cxn>
              <a:cxn ang="0">
                <a:pos x="2" y="490"/>
              </a:cxn>
              <a:cxn ang="0">
                <a:pos x="3" y="566"/>
              </a:cxn>
              <a:cxn ang="0">
                <a:pos x="20" y="626"/>
              </a:cxn>
            </a:cxnLst>
            <a:rect l="0" t="0" r="r" b="b"/>
            <a:pathLst>
              <a:path w="1277" h="1011">
                <a:moveTo>
                  <a:pt x="31" y="688"/>
                </a:moveTo>
                <a:lnTo>
                  <a:pt x="43" y="687"/>
                </a:lnTo>
                <a:lnTo>
                  <a:pt x="53" y="685"/>
                </a:lnTo>
                <a:lnTo>
                  <a:pt x="53" y="674"/>
                </a:lnTo>
                <a:lnTo>
                  <a:pt x="71" y="675"/>
                </a:lnTo>
                <a:lnTo>
                  <a:pt x="96" y="680"/>
                </a:lnTo>
                <a:lnTo>
                  <a:pt x="126" y="687"/>
                </a:lnTo>
                <a:lnTo>
                  <a:pt x="161" y="696"/>
                </a:lnTo>
                <a:lnTo>
                  <a:pt x="200" y="707"/>
                </a:lnTo>
                <a:lnTo>
                  <a:pt x="240" y="719"/>
                </a:lnTo>
                <a:lnTo>
                  <a:pt x="282" y="733"/>
                </a:lnTo>
                <a:lnTo>
                  <a:pt x="326" y="749"/>
                </a:lnTo>
                <a:lnTo>
                  <a:pt x="367" y="765"/>
                </a:lnTo>
                <a:lnTo>
                  <a:pt x="407" y="781"/>
                </a:lnTo>
                <a:lnTo>
                  <a:pt x="444" y="799"/>
                </a:lnTo>
                <a:lnTo>
                  <a:pt x="477" y="816"/>
                </a:lnTo>
                <a:lnTo>
                  <a:pt x="491" y="825"/>
                </a:lnTo>
                <a:lnTo>
                  <a:pt x="503" y="834"/>
                </a:lnTo>
                <a:lnTo>
                  <a:pt x="515" y="842"/>
                </a:lnTo>
                <a:lnTo>
                  <a:pt x="525" y="851"/>
                </a:lnTo>
                <a:lnTo>
                  <a:pt x="532" y="858"/>
                </a:lnTo>
                <a:lnTo>
                  <a:pt x="538" y="866"/>
                </a:lnTo>
                <a:lnTo>
                  <a:pt x="541" y="874"/>
                </a:lnTo>
                <a:lnTo>
                  <a:pt x="542" y="882"/>
                </a:lnTo>
                <a:lnTo>
                  <a:pt x="560" y="882"/>
                </a:lnTo>
                <a:lnTo>
                  <a:pt x="577" y="883"/>
                </a:lnTo>
                <a:lnTo>
                  <a:pt x="594" y="885"/>
                </a:lnTo>
                <a:lnTo>
                  <a:pt x="611" y="887"/>
                </a:lnTo>
                <a:lnTo>
                  <a:pt x="644" y="893"/>
                </a:lnTo>
                <a:lnTo>
                  <a:pt x="676" y="901"/>
                </a:lnTo>
                <a:lnTo>
                  <a:pt x="708" y="910"/>
                </a:lnTo>
                <a:lnTo>
                  <a:pt x="737" y="920"/>
                </a:lnTo>
                <a:lnTo>
                  <a:pt x="766" y="930"/>
                </a:lnTo>
                <a:lnTo>
                  <a:pt x="794" y="941"/>
                </a:lnTo>
                <a:lnTo>
                  <a:pt x="838" y="960"/>
                </a:lnTo>
                <a:lnTo>
                  <a:pt x="874" y="978"/>
                </a:lnTo>
                <a:lnTo>
                  <a:pt x="890" y="987"/>
                </a:lnTo>
                <a:lnTo>
                  <a:pt x="902" y="995"/>
                </a:lnTo>
                <a:lnTo>
                  <a:pt x="913" y="1004"/>
                </a:lnTo>
                <a:lnTo>
                  <a:pt x="922" y="1011"/>
                </a:lnTo>
                <a:lnTo>
                  <a:pt x="938" y="995"/>
                </a:lnTo>
                <a:lnTo>
                  <a:pt x="949" y="980"/>
                </a:lnTo>
                <a:lnTo>
                  <a:pt x="957" y="971"/>
                </a:lnTo>
                <a:lnTo>
                  <a:pt x="959" y="966"/>
                </a:lnTo>
                <a:lnTo>
                  <a:pt x="964" y="964"/>
                </a:lnTo>
                <a:lnTo>
                  <a:pt x="969" y="964"/>
                </a:lnTo>
                <a:lnTo>
                  <a:pt x="973" y="962"/>
                </a:lnTo>
                <a:lnTo>
                  <a:pt x="978" y="960"/>
                </a:lnTo>
                <a:lnTo>
                  <a:pt x="987" y="954"/>
                </a:lnTo>
                <a:lnTo>
                  <a:pt x="995" y="949"/>
                </a:lnTo>
                <a:lnTo>
                  <a:pt x="1001" y="942"/>
                </a:lnTo>
                <a:lnTo>
                  <a:pt x="1008" y="938"/>
                </a:lnTo>
                <a:lnTo>
                  <a:pt x="1014" y="933"/>
                </a:lnTo>
                <a:lnTo>
                  <a:pt x="1019" y="932"/>
                </a:lnTo>
                <a:lnTo>
                  <a:pt x="1019" y="923"/>
                </a:lnTo>
                <a:lnTo>
                  <a:pt x="1017" y="913"/>
                </a:lnTo>
                <a:lnTo>
                  <a:pt x="1016" y="903"/>
                </a:lnTo>
                <a:lnTo>
                  <a:pt x="1012" y="892"/>
                </a:lnTo>
                <a:lnTo>
                  <a:pt x="1007" y="871"/>
                </a:lnTo>
                <a:lnTo>
                  <a:pt x="999" y="851"/>
                </a:lnTo>
                <a:lnTo>
                  <a:pt x="986" y="816"/>
                </a:lnTo>
                <a:lnTo>
                  <a:pt x="979" y="798"/>
                </a:lnTo>
                <a:lnTo>
                  <a:pt x="966" y="798"/>
                </a:lnTo>
                <a:lnTo>
                  <a:pt x="963" y="795"/>
                </a:lnTo>
                <a:lnTo>
                  <a:pt x="959" y="784"/>
                </a:lnTo>
                <a:lnTo>
                  <a:pt x="954" y="770"/>
                </a:lnTo>
                <a:lnTo>
                  <a:pt x="952" y="759"/>
                </a:lnTo>
                <a:lnTo>
                  <a:pt x="966" y="759"/>
                </a:lnTo>
                <a:lnTo>
                  <a:pt x="967" y="752"/>
                </a:lnTo>
                <a:lnTo>
                  <a:pt x="969" y="749"/>
                </a:lnTo>
                <a:lnTo>
                  <a:pt x="972" y="747"/>
                </a:lnTo>
                <a:lnTo>
                  <a:pt x="976" y="746"/>
                </a:lnTo>
                <a:lnTo>
                  <a:pt x="979" y="746"/>
                </a:lnTo>
                <a:lnTo>
                  <a:pt x="982" y="745"/>
                </a:lnTo>
                <a:lnTo>
                  <a:pt x="984" y="742"/>
                </a:lnTo>
                <a:lnTo>
                  <a:pt x="986" y="739"/>
                </a:lnTo>
                <a:lnTo>
                  <a:pt x="990" y="739"/>
                </a:lnTo>
                <a:lnTo>
                  <a:pt x="995" y="738"/>
                </a:lnTo>
                <a:lnTo>
                  <a:pt x="997" y="737"/>
                </a:lnTo>
                <a:lnTo>
                  <a:pt x="998" y="736"/>
                </a:lnTo>
                <a:lnTo>
                  <a:pt x="999" y="735"/>
                </a:lnTo>
                <a:lnTo>
                  <a:pt x="999" y="732"/>
                </a:lnTo>
                <a:lnTo>
                  <a:pt x="1016" y="732"/>
                </a:lnTo>
                <a:lnTo>
                  <a:pt x="1040" y="733"/>
                </a:lnTo>
                <a:lnTo>
                  <a:pt x="1053" y="736"/>
                </a:lnTo>
                <a:lnTo>
                  <a:pt x="1063" y="738"/>
                </a:lnTo>
                <a:lnTo>
                  <a:pt x="1067" y="739"/>
                </a:lnTo>
                <a:lnTo>
                  <a:pt x="1069" y="741"/>
                </a:lnTo>
                <a:lnTo>
                  <a:pt x="1072" y="744"/>
                </a:lnTo>
                <a:lnTo>
                  <a:pt x="1073" y="746"/>
                </a:lnTo>
                <a:lnTo>
                  <a:pt x="1082" y="748"/>
                </a:lnTo>
                <a:lnTo>
                  <a:pt x="1095" y="752"/>
                </a:lnTo>
                <a:lnTo>
                  <a:pt x="1102" y="756"/>
                </a:lnTo>
                <a:lnTo>
                  <a:pt x="1107" y="759"/>
                </a:lnTo>
                <a:lnTo>
                  <a:pt x="1111" y="762"/>
                </a:lnTo>
                <a:lnTo>
                  <a:pt x="1113" y="766"/>
                </a:lnTo>
                <a:lnTo>
                  <a:pt x="1125" y="766"/>
                </a:lnTo>
                <a:lnTo>
                  <a:pt x="1127" y="770"/>
                </a:lnTo>
                <a:lnTo>
                  <a:pt x="1131" y="776"/>
                </a:lnTo>
                <a:lnTo>
                  <a:pt x="1136" y="780"/>
                </a:lnTo>
                <a:lnTo>
                  <a:pt x="1142" y="785"/>
                </a:lnTo>
                <a:lnTo>
                  <a:pt x="1149" y="789"/>
                </a:lnTo>
                <a:lnTo>
                  <a:pt x="1154" y="793"/>
                </a:lnTo>
                <a:lnTo>
                  <a:pt x="1158" y="796"/>
                </a:lnTo>
                <a:lnTo>
                  <a:pt x="1159" y="798"/>
                </a:lnTo>
                <a:lnTo>
                  <a:pt x="1179" y="798"/>
                </a:lnTo>
                <a:lnTo>
                  <a:pt x="1180" y="803"/>
                </a:lnTo>
                <a:lnTo>
                  <a:pt x="1183" y="805"/>
                </a:lnTo>
                <a:lnTo>
                  <a:pt x="1187" y="807"/>
                </a:lnTo>
                <a:lnTo>
                  <a:pt x="1192" y="808"/>
                </a:lnTo>
                <a:lnTo>
                  <a:pt x="1207" y="809"/>
                </a:lnTo>
                <a:lnTo>
                  <a:pt x="1222" y="809"/>
                </a:lnTo>
                <a:lnTo>
                  <a:pt x="1252" y="807"/>
                </a:lnTo>
                <a:lnTo>
                  <a:pt x="1266" y="805"/>
                </a:lnTo>
                <a:lnTo>
                  <a:pt x="1273" y="798"/>
                </a:lnTo>
                <a:lnTo>
                  <a:pt x="1273" y="786"/>
                </a:lnTo>
                <a:lnTo>
                  <a:pt x="1271" y="762"/>
                </a:lnTo>
                <a:lnTo>
                  <a:pt x="1270" y="751"/>
                </a:lnTo>
                <a:lnTo>
                  <a:pt x="1269" y="741"/>
                </a:lnTo>
                <a:lnTo>
                  <a:pt x="1268" y="735"/>
                </a:lnTo>
                <a:lnTo>
                  <a:pt x="1266" y="732"/>
                </a:lnTo>
                <a:lnTo>
                  <a:pt x="1267" y="713"/>
                </a:lnTo>
                <a:lnTo>
                  <a:pt x="1268" y="685"/>
                </a:lnTo>
                <a:lnTo>
                  <a:pt x="1271" y="652"/>
                </a:lnTo>
                <a:lnTo>
                  <a:pt x="1274" y="616"/>
                </a:lnTo>
                <a:lnTo>
                  <a:pt x="1276" y="582"/>
                </a:lnTo>
                <a:lnTo>
                  <a:pt x="1277" y="553"/>
                </a:lnTo>
                <a:lnTo>
                  <a:pt x="1277" y="541"/>
                </a:lnTo>
                <a:lnTo>
                  <a:pt x="1276" y="533"/>
                </a:lnTo>
                <a:lnTo>
                  <a:pt x="1275" y="527"/>
                </a:lnTo>
                <a:lnTo>
                  <a:pt x="1273" y="526"/>
                </a:lnTo>
                <a:lnTo>
                  <a:pt x="1273" y="520"/>
                </a:lnTo>
                <a:lnTo>
                  <a:pt x="1271" y="516"/>
                </a:lnTo>
                <a:lnTo>
                  <a:pt x="1270" y="515"/>
                </a:lnTo>
                <a:lnTo>
                  <a:pt x="1269" y="514"/>
                </a:lnTo>
                <a:lnTo>
                  <a:pt x="1268" y="512"/>
                </a:lnTo>
                <a:lnTo>
                  <a:pt x="1266" y="512"/>
                </a:lnTo>
                <a:lnTo>
                  <a:pt x="1266" y="499"/>
                </a:lnTo>
                <a:lnTo>
                  <a:pt x="1261" y="496"/>
                </a:lnTo>
                <a:lnTo>
                  <a:pt x="1252" y="489"/>
                </a:lnTo>
                <a:lnTo>
                  <a:pt x="1241" y="479"/>
                </a:lnTo>
                <a:lnTo>
                  <a:pt x="1230" y="466"/>
                </a:lnTo>
                <a:lnTo>
                  <a:pt x="1218" y="451"/>
                </a:lnTo>
                <a:lnTo>
                  <a:pt x="1209" y="437"/>
                </a:lnTo>
                <a:lnTo>
                  <a:pt x="1204" y="430"/>
                </a:lnTo>
                <a:lnTo>
                  <a:pt x="1201" y="423"/>
                </a:lnTo>
                <a:lnTo>
                  <a:pt x="1200" y="418"/>
                </a:lnTo>
                <a:lnTo>
                  <a:pt x="1199" y="412"/>
                </a:lnTo>
                <a:lnTo>
                  <a:pt x="1202" y="411"/>
                </a:lnTo>
                <a:lnTo>
                  <a:pt x="1207" y="406"/>
                </a:lnTo>
                <a:lnTo>
                  <a:pt x="1211" y="400"/>
                </a:lnTo>
                <a:lnTo>
                  <a:pt x="1217" y="392"/>
                </a:lnTo>
                <a:lnTo>
                  <a:pt x="1222" y="385"/>
                </a:lnTo>
                <a:lnTo>
                  <a:pt x="1228" y="379"/>
                </a:lnTo>
                <a:lnTo>
                  <a:pt x="1231" y="376"/>
                </a:lnTo>
                <a:lnTo>
                  <a:pt x="1233" y="374"/>
                </a:lnTo>
                <a:lnTo>
                  <a:pt x="1237" y="373"/>
                </a:lnTo>
                <a:lnTo>
                  <a:pt x="1239" y="372"/>
                </a:lnTo>
                <a:lnTo>
                  <a:pt x="1240" y="366"/>
                </a:lnTo>
                <a:lnTo>
                  <a:pt x="1242" y="361"/>
                </a:lnTo>
                <a:lnTo>
                  <a:pt x="1246" y="354"/>
                </a:lnTo>
                <a:lnTo>
                  <a:pt x="1250" y="347"/>
                </a:lnTo>
                <a:lnTo>
                  <a:pt x="1255" y="342"/>
                </a:lnTo>
                <a:lnTo>
                  <a:pt x="1259" y="336"/>
                </a:lnTo>
                <a:lnTo>
                  <a:pt x="1262" y="334"/>
                </a:lnTo>
                <a:lnTo>
                  <a:pt x="1266" y="332"/>
                </a:lnTo>
                <a:lnTo>
                  <a:pt x="1266" y="324"/>
                </a:lnTo>
                <a:lnTo>
                  <a:pt x="1265" y="313"/>
                </a:lnTo>
                <a:lnTo>
                  <a:pt x="1264" y="307"/>
                </a:lnTo>
                <a:lnTo>
                  <a:pt x="1262" y="303"/>
                </a:lnTo>
                <a:lnTo>
                  <a:pt x="1261" y="300"/>
                </a:lnTo>
                <a:lnTo>
                  <a:pt x="1259" y="299"/>
                </a:lnTo>
                <a:lnTo>
                  <a:pt x="1259" y="286"/>
                </a:lnTo>
                <a:lnTo>
                  <a:pt x="1246" y="276"/>
                </a:lnTo>
                <a:lnTo>
                  <a:pt x="1232" y="266"/>
                </a:lnTo>
                <a:lnTo>
                  <a:pt x="1232" y="260"/>
                </a:lnTo>
                <a:lnTo>
                  <a:pt x="1231" y="257"/>
                </a:lnTo>
                <a:lnTo>
                  <a:pt x="1231" y="255"/>
                </a:lnTo>
                <a:lnTo>
                  <a:pt x="1229" y="254"/>
                </a:lnTo>
                <a:lnTo>
                  <a:pt x="1228" y="252"/>
                </a:lnTo>
                <a:lnTo>
                  <a:pt x="1226" y="252"/>
                </a:lnTo>
                <a:lnTo>
                  <a:pt x="1226" y="247"/>
                </a:lnTo>
                <a:lnTo>
                  <a:pt x="1225" y="244"/>
                </a:lnTo>
                <a:lnTo>
                  <a:pt x="1225" y="241"/>
                </a:lnTo>
                <a:lnTo>
                  <a:pt x="1223" y="240"/>
                </a:lnTo>
                <a:lnTo>
                  <a:pt x="1221" y="239"/>
                </a:lnTo>
                <a:lnTo>
                  <a:pt x="1219" y="239"/>
                </a:lnTo>
                <a:lnTo>
                  <a:pt x="1219" y="221"/>
                </a:lnTo>
                <a:lnTo>
                  <a:pt x="1218" y="194"/>
                </a:lnTo>
                <a:lnTo>
                  <a:pt x="1218" y="181"/>
                </a:lnTo>
                <a:lnTo>
                  <a:pt x="1217" y="170"/>
                </a:lnTo>
                <a:lnTo>
                  <a:pt x="1214" y="162"/>
                </a:lnTo>
                <a:lnTo>
                  <a:pt x="1212" y="159"/>
                </a:lnTo>
                <a:lnTo>
                  <a:pt x="1211" y="152"/>
                </a:lnTo>
                <a:lnTo>
                  <a:pt x="1207" y="143"/>
                </a:lnTo>
                <a:lnTo>
                  <a:pt x="1201" y="132"/>
                </a:lnTo>
                <a:lnTo>
                  <a:pt x="1194" y="120"/>
                </a:lnTo>
                <a:lnTo>
                  <a:pt x="1177" y="93"/>
                </a:lnTo>
                <a:lnTo>
                  <a:pt x="1158" y="68"/>
                </a:lnTo>
                <a:lnTo>
                  <a:pt x="1125" y="73"/>
                </a:lnTo>
                <a:lnTo>
                  <a:pt x="1095" y="75"/>
                </a:lnTo>
                <a:lnTo>
                  <a:pt x="1082" y="75"/>
                </a:lnTo>
                <a:lnTo>
                  <a:pt x="1068" y="75"/>
                </a:lnTo>
                <a:lnTo>
                  <a:pt x="1055" y="75"/>
                </a:lnTo>
                <a:lnTo>
                  <a:pt x="1044" y="74"/>
                </a:lnTo>
                <a:lnTo>
                  <a:pt x="1024" y="71"/>
                </a:lnTo>
                <a:lnTo>
                  <a:pt x="1003" y="65"/>
                </a:lnTo>
                <a:lnTo>
                  <a:pt x="984" y="59"/>
                </a:lnTo>
                <a:lnTo>
                  <a:pt x="967" y="54"/>
                </a:lnTo>
                <a:lnTo>
                  <a:pt x="932" y="39"/>
                </a:lnTo>
                <a:lnTo>
                  <a:pt x="901" y="25"/>
                </a:lnTo>
                <a:lnTo>
                  <a:pt x="885" y="19"/>
                </a:lnTo>
                <a:lnTo>
                  <a:pt x="871" y="12"/>
                </a:lnTo>
                <a:lnTo>
                  <a:pt x="856" y="8"/>
                </a:lnTo>
                <a:lnTo>
                  <a:pt x="842" y="4"/>
                </a:lnTo>
                <a:lnTo>
                  <a:pt x="828" y="1"/>
                </a:lnTo>
                <a:lnTo>
                  <a:pt x="814" y="0"/>
                </a:lnTo>
                <a:lnTo>
                  <a:pt x="800" y="1"/>
                </a:lnTo>
                <a:lnTo>
                  <a:pt x="787" y="5"/>
                </a:lnTo>
                <a:lnTo>
                  <a:pt x="767" y="11"/>
                </a:lnTo>
                <a:lnTo>
                  <a:pt x="747" y="21"/>
                </a:lnTo>
                <a:lnTo>
                  <a:pt x="728" y="33"/>
                </a:lnTo>
                <a:lnTo>
                  <a:pt x="709" y="45"/>
                </a:lnTo>
                <a:lnTo>
                  <a:pt x="671" y="74"/>
                </a:lnTo>
                <a:lnTo>
                  <a:pt x="633" y="105"/>
                </a:lnTo>
                <a:lnTo>
                  <a:pt x="614" y="121"/>
                </a:lnTo>
                <a:lnTo>
                  <a:pt x="595" y="135"/>
                </a:lnTo>
                <a:lnTo>
                  <a:pt x="576" y="150"/>
                </a:lnTo>
                <a:lnTo>
                  <a:pt x="557" y="163"/>
                </a:lnTo>
                <a:lnTo>
                  <a:pt x="538" y="174"/>
                </a:lnTo>
                <a:lnTo>
                  <a:pt x="519" y="184"/>
                </a:lnTo>
                <a:lnTo>
                  <a:pt x="509" y="189"/>
                </a:lnTo>
                <a:lnTo>
                  <a:pt x="499" y="192"/>
                </a:lnTo>
                <a:lnTo>
                  <a:pt x="490" y="196"/>
                </a:lnTo>
                <a:lnTo>
                  <a:pt x="480" y="198"/>
                </a:lnTo>
                <a:lnTo>
                  <a:pt x="435" y="206"/>
                </a:lnTo>
                <a:lnTo>
                  <a:pt x="391" y="211"/>
                </a:lnTo>
                <a:lnTo>
                  <a:pt x="346" y="216"/>
                </a:lnTo>
                <a:lnTo>
                  <a:pt x="302" y="219"/>
                </a:lnTo>
                <a:lnTo>
                  <a:pt x="258" y="220"/>
                </a:lnTo>
                <a:lnTo>
                  <a:pt x="213" y="220"/>
                </a:lnTo>
                <a:lnTo>
                  <a:pt x="168" y="220"/>
                </a:lnTo>
                <a:lnTo>
                  <a:pt x="124" y="219"/>
                </a:lnTo>
                <a:lnTo>
                  <a:pt x="123" y="237"/>
                </a:lnTo>
                <a:lnTo>
                  <a:pt x="122" y="255"/>
                </a:lnTo>
                <a:lnTo>
                  <a:pt x="119" y="267"/>
                </a:lnTo>
                <a:lnTo>
                  <a:pt x="119" y="273"/>
                </a:lnTo>
                <a:lnTo>
                  <a:pt x="113" y="279"/>
                </a:lnTo>
                <a:lnTo>
                  <a:pt x="99" y="279"/>
                </a:lnTo>
                <a:lnTo>
                  <a:pt x="93" y="286"/>
                </a:lnTo>
                <a:lnTo>
                  <a:pt x="86" y="293"/>
                </a:lnTo>
                <a:lnTo>
                  <a:pt x="79" y="299"/>
                </a:lnTo>
                <a:lnTo>
                  <a:pt x="78" y="305"/>
                </a:lnTo>
                <a:lnTo>
                  <a:pt x="75" y="312"/>
                </a:lnTo>
                <a:lnTo>
                  <a:pt x="72" y="314"/>
                </a:lnTo>
                <a:lnTo>
                  <a:pt x="70" y="317"/>
                </a:lnTo>
                <a:lnTo>
                  <a:pt x="68" y="318"/>
                </a:lnTo>
                <a:lnTo>
                  <a:pt x="66" y="319"/>
                </a:lnTo>
                <a:lnTo>
                  <a:pt x="62" y="332"/>
                </a:lnTo>
                <a:lnTo>
                  <a:pt x="59" y="345"/>
                </a:lnTo>
                <a:lnTo>
                  <a:pt x="56" y="346"/>
                </a:lnTo>
                <a:lnTo>
                  <a:pt x="53" y="347"/>
                </a:lnTo>
                <a:lnTo>
                  <a:pt x="51" y="350"/>
                </a:lnTo>
                <a:lnTo>
                  <a:pt x="49" y="352"/>
                </a:lnTo>
                <a:lnTo>
                  <a:pt x="47" y="358"/>
                </a:lnTo>
                <a:lnTo>
                  <a:pt x="46" y="365"/>
                </a:lnTo>
                <a:lnTo>
                  <a:pt x="45" y="373"/>
                </a:lnTo>
                <a:lnTo>
                  <a:pt x="42" y="380"/>
                </a:lnTo>
                <a:lnTo>
                  <a:pt x="40" y="382"/>
                </a:lnTo>
                <a:lnTo>
                  <a:pt x="39" y="384"/>
                </a:lnTo>
                <a:lnTo>
                  <a:pt x="36" y="385"/>
                </a:lnTo>
                <a:lnTo>
                  <a:pt x="32" y="385"/>
                </a:lnTo>
                <a:lnTo>
                  <a:pt x="32" y="393"/>
                </a:lnTo>
                <a:lnTo>
                  <a:pt x="31" y="404"/>
                </a:lnTo>
                <a:lnTo>
                  <a:pt x="29" y="410"/>
                </a:lnTo>
                <a:lnTo>
                  <a:pt x="27" y="414"/>
                </a:lnTo>
                <a:lnTo>
                  <a:pt x="26" y="416"/>
                </a:lnTo>
                <a:lnTo>
                  <a:pt x="23" y="418"/>
                </a:lnTo>
                <a:lnTo>
                  <a:pt x="21" y="419"/>
                </a:lnTo>
                <a:lnTo>
                  <a:pt x="19" y="419"/>
                </a:lnTo>
                <a:lnTo>
                  <a:pt x="19" y="427"/>
                </a:lnTo>
                <a:lnTo>
                  <a:pt x="17" y="434"/>
                </a:lnTo>
                <a:lnTo>
                  <a:pt x="14" y="442"/>
                </a:lnTo>
                <a:lnTo>
                  <a:pt x="12" y="450"/>
                </a:lnTo>
                <a:lnTo>
                  <a:pt x="10" y="458"/>
                </a:lnTo>
                <a:lnTo>
                  <a:pt x="8" y="467"/>
                </a:lnTo>
                <a:lnTo>
                  <a:pt x="7" y="476"/>
                </a:lnTo>
                <a:lnTo>
                  <a:pt x="5" y="486"/>
                </a:lnTo>
                <a:lnTo>
                  <a:pt x="3" y="487"/>
                </a:lnTo>
                <a:lnTo>
                  <a:pt x="2" y="490"/>
                </a:lnTo>
                <a:lnTo>
                  <a:pt x="1" y="496"/>
                </a:lnTo>
                <a:lnTo>
                  <a:pt x="0" y="504"/>
                </a:lnTo>
                <a:lnTo>
                  <a:pt x="0" y="523"/>
                </a:lnTo>
                <a:lnTo>
                  <a:pt x="1" y="544"/>
                </a:lnTo>
                <a:lnTo>
                  <a:pt x="3" y="566"/>
                </a:lnTo>
                <a:lnTo>
                  <a:pt x="7" y="587"/>
                </a:lnTo>
                <a:lnTo>
                  <a:pt x="10" y="603"/>
                </a:lnTo>
                <a:lnTo>
                  <a:pt x="12" y="612"/>
                </a:lnTo>
                <a:lnTo>
                  <a:pt x="17" y="619"/>
                </a:lnTo>
                <a:lnTo>
                  <a:pt x="20" y="626"/>
                </a:lnTo>
                <a:lnTo>
                  <a:pt x="22" y="634"/>
                </a:lnTo>
                <a:lnTo>
                  <a:pt x="26" y="644"/>
                </a:lnTo>
                <a:lnTo>
                  <a:pt x="29" y="664"/>
                </a:lnTo>
                <a:lnTo>
                  <a:pt x="31" y="6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45" name="Freeform 11">
            <a:extLst>
              <a:ext uri="{FF2B5EF4-FFF2-40B4-BE49-F238E27FC236}">
                <a16:creationId xmlns:a16="http://schemas.microsoft.com/office/drawing/2014/main" id="{84C891CE-A98B-4ED0-8603-5D8A40DB2987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202613" y="5186363"/>
            <a:ext cx="282575" cy="212202"/>
          </a:xfrm>
          <a:custGeom>
            <a:avLst/>
            <a:gdLst/>
            <a:ahLst/>
            <a:cxnLst>
              <a:cxn ang="0">
                <a:pos x="28" y="1028"/>
              </a:cxn>
              <a:cxn ang="0">
                <a:pos x="25" y="1256"/>
              </a:cxn>
              <a:cxn ang="0">
                <a:pos x="38" y="1310"/>
              </a:cxn>
              <a:cxn ang="0">
                <a:pos x="200" y="1207"/>
              </a:cxn>
              <a:cxn ang="0">
                <a:pos x="263" y="1196"/>
              </a:cxn>
              <a:cxn ang="0">
                <a:pos x="310" y="1273"/>
              </a:cxn>
              <a:cxn ang="0">
                <a:pos x="356" y="1322"/>
              </a:cxn>
              <a:cxn ang="0">
                <a:pos x="422" y="1296"/>
              </a:cxn>
              <a:cxn ang="0">
                <a:pos x="570" y="1193"/>
              </a:cxn>
              <a:cxn ang="0">
                <a:pos x="843" y="1185"/>
              </a:cxn>
              <a:cxn ang="0">
                <a:pos x="1040" y="1176"/>
              </a:cxn>
              <a:cxn ang="0">
                <a:pos x="1119" y="1111"/>
              </a:cxn>
              <a:cxn ang="0">
                <a:pos x="1273" y="1082"/>
              </a:cxn>
              <a:cxn ang="0">
                <a:pos x="1517" y="1002"/>
              </a:cxn>
              <a:cxn ang="0">
                <a:pos x="1482" y="920"/>
              </a:cxn>
              <a:cxn ang="0">
                <a:pos x="1463" y="896"/>
              </a:cxn>
              <a:cxn ang="0">
                <a:pos x="1437" y="842"/>
              </a:cxn>
              <a:cxn ang="0">
                <a:pos x="1395" y="762"/>
              </a:cxn>
              <a:cxn ang="0">
                <a:pos x="1404" y="645"/>
              </a:cxn>
              <a:cxn ang="0">
                <a:pos x="1434" y="610"/>
              </a:cxn>
              <a:cxn ang="0">
                <a:pos x="1452" y="590"/>
              </a:cxn>
              <a:cxn ang="0">
                <a:pos x="1491" y="532"/>
              </a:cxn>
              <a:cxn ang="0">
                <a:pos x="1506" y="496"/>
              </a:cxn>
              <a:cxn ang="0">
                <a:pos x="1524" y="367"/>
              </a:cxn>
              <a:cxn ang="0">
                <a:pos x="1506" y="305"/>
              </a:cxn>
              <a:cxn ang="0">
                <a:pos x="1440" y="260"/>
              </a:cxn>
              <a:cxn ang="0">
                <a:pos x="1256" y="293"/>
              </a:cxn>
              <a:cxn ang="0">
                <a:pos x="1152" y="264"/>
              </a:cxn>
              <a:cxn ang="0">
                <a:pos x="875" y="248"/>
              </a:cxn>
              <a:cxn ang="0">
                <a:pos x="691" y="221"/>
              </a:cxn>
              <a:cxn ang="0">
                <a:pos x="587" y="137"/>
              </a:cxn>
              <a:cxn ang="0">
                <a:pos x="558" y="46"/>
              </a:cxn>
              <a:cxn ang="0">
                <a:pos x="496" y="3"/>
              </a:cxn>
              <a:cxn ang="0">
                <a:pos x="343" y="11"/>
              </a:cxn>
              <a:cxn ang="0">
                <a:pos x="285" y="100"/>
              </a:cxn>
              <a:cxn ang="0">
                <a:pos x="297" y="178"/>
              </a:cxn>
              <a:cxn ang="0">
                <a:pos x="304" y="209"/>
              </a:cxn>
              <a:cxn ang="0">
                <a:pos x="324" y="233"/>
              </a:cxn>
              <a:cxn ang="0">
                <a:pos x="344" y="281"/>
              </a:cxn>
              <a:cxn ang="0">
                <a:pos x="320" y="318"/>
              </a:cxn>
              <a:cxn ang="0">
                <a:pos x="300" y="342"/>
              </a:cxn>
              <a:cxn ang="0">
                <a:pos x="279" y="380"/>
              </a:cxn>
              <a:cxn ang="0">
                <a:pos x="339" y="453"/>
              </a:cxn>
              <a:cxn ang="0">
                <a:pos x="351" y="477"/>
              </a:cxn>
              <a:cxn ang="0">
                <a:pos x="352" y="573"/>
              </a:cxn>
              <a:cxn ang="0">
                <a:pos x="348" y="708"/>
              </a:cxn>
              <a:cxn ang="0">
                <a:pos x="285" y="766"/>
              </a:cxn>
              <a:cxn ang="0">
                <a:pos x="236" y="753"/>
              </a:cxn>
              <a:cxn ang="0">
                <a:pos x="203" y="723"/>
              </a:cxn>
              <a:cxn ang="0">
                <a:pos x="151" y="703"/>
              </a:cxn>
              <a:cxn ang="0">
                <a:pos x="94" y="689"/>
              </a:cxn>
              <a:cxn ang="0">
                <a:pos x="64" y="696"/>
              </a:cxn>
              <a:cxn ang="0">
                <a:pos x="45" y="709"/>
              </a:cxn>
              <a:cxn ang="0">
                <a:pos x="57" y="755"/>
              </a:cxn>
              <a:cxn ang="0">
                <a:pos x="97" y="880"/>
              </a:cxn>
              <a:cxn ang="0">
                <a:pos x="56" y="917"/>
              </a:cxn>
              <a:cxn ang="0">
                <a:pos x="16" y="952"/>
              </a:cxn>
            </a:cxnLst>
            <a:rect l="0" t="0" r="r" b="b"/>
            <a:pathLst>
              <a:path w="1561" h="1322">
                <a:moveTo>
                  <a:pt x="0" y="968"/>
                </a:moveTo>
                <a:lnTo>
                  <a:pt x="8" y="977"/>
                </a:lnTo>
                <a:lnTo>
                  <a:pt x="14" y="986"/>
                </a:lnTo>
                <a:lnTo>
                  <a:pt x="19" y="995"/>
                </a:lnTo>
                <a:lnTo>
                  <a:pt x="23" y="1005"/>
                </a:lnTo>
                <a:lnTo>
                  <a:pt x="26" y="1016"/>
                </a:lnTo>
                <a:lnTo>
                  <a:pt x="28" y="1028"/>
                </a:lnTo>
                <a:lnTo>
                  <a:pt x="29" y="1040"/>
                </a:lnTo>
                <a:lnTo>
                  <a:pt x="29" y="1053"/>
                </a:lnTo>
                <a:lnTo>
                  <a:pt x="29" y="1084"/>
                </a:lnTo>
                <a:lnTo>
                  <a:pt x="28" y="1121"/>
                </a:lnTo>
                <a:lnTo>
                  <a:pt x="26" y="1165"/>
                </a:lnTo>
                <a:lnTo>
                  <a:pt x="25" y="1215"/>
                </a:lnTo>
                <a:lnTo>
                  <a:pt x="25" y="1256"/>
                </a:lnTo>
                <a:lnTo>
                  <a:pt x="23" y="1285"/>
                </a:lnTo>
                <a:lnTo>
                  <a:pt x="23" y="1295"/>
                </a:lnTo>
                <a:lnTo>
                  <a:pt x="25" y="1303"/>
                </a:lnTo>
                <a:lnTo>
                  <a:pt x="26" y="1309"/>
                </a:lnTo>
                <a:lnTo>
                  <a:pt x="29" y="1311"/>
                </a:lnTo>
                <a:lnTo>
                  <a:pt x="32" y="1312"/>
                </a:lnTo>
                <a:lnTo>
                  <a:pt x="38" y="1310"/>
                </a:lnTo>
                <a:lnTo>
                  <a:pt x="45" y="1307"/>
                </a:lnTo>
                <a:lnTo>
                  <a:pt x="54" y="1301"/>
                </a:lnTo>
                <a:lnTo>
                  <a:pt x="78" y="1284"/>
                </a:lnTo>
                <a:lnTo>
                  <a:pt x="112" y="1261"/>
                </a:lnTo>
                <a:lnTo>
                  <a:pt x="147" y="1237"/>
                </a:lnTo>
                <a:lnTo>
                  <a:pt x="183" y="1216"/>
                </a:lnTo>
                <a:lnTo>
                  <a:pt x="200" y="1207"/>
                </a:lnTo>
                <a:lnTo>
                  <a:pt x="215" y="1200"/>
                </a:lnTo>
                <a:lnTo>
                  <a:pt x="230" y="1195"/>
                </a:lnTo>
                <a:lnTo>
                  <a:pt x="242" y="1193"/>
                </a:lnTo>
                <a:lnTo>
                  <a:pt x="248" y="1192"/>
                </a:lnTo>
                <a:lnTo>
                  <a:pt x="253" y="1193"/>
                </a:lnTo>
                <a:lnTo>
                  <a:pt x="258" y="1194"/>
                </a:lnTo>
                <a:lnTo>
                  <a:pt x="263" y="1196"/>
                </a:lnTo>
                <a:lnTo>
                  <a:pt x="268" y="1199"/>
                </a:lnTo>
                <a:lnTo>
                  <a:pt x="272" y="1204"/>
                </a:lnTo>
                <a:lnTo>
                  <a:pt x="277" y="1209"/>
                </a:lnTo>
                <a:lnTo>
                  <a:pt x="281" y="1215"/>
                </a:lnTo>
                <a:lnTo>
                  <a:pt x="290" y="1231"/>
                </a:lnTo>
                <a:lnTo>
                  <a:pt x="299" y="1250"/>
                </a:lnTo>
                <a:lnTo>
                  <a:pt x="310" y="1273"/>
                </a:lnTo>
                <a:lnTo>
                  <a:pt x="323" y="1300"/>
                </a:lnTo>
                <a:lnTo>
                  <a:pt x="327" y="1307"/>
                </a:lnTo>
                <a:lnTo>
                  <a:pt x="332" y="1312"/>
                </a:lnTo>
                <a:lnTo>
                  <a:pt x="337" y="1317"/>
                </a:lnTo>
                <a:lnTo>
                  <a:pt x="343" y="1320"/>
                </a:lnTo>
                <a:lnTo>
                  <a:pt x="349" y="1322"/>
                </a:lnTo>
                <a:lnTo>
                  <a:pt x="356" y="1322"/>
                </a:lnTo>
                <a:lnTo>
                  <a:pt x="363" y="1322"/>
                </a:lnTo>
                <a:lnTo>
                  <a:pt x="371" y="1321"/>
                </a:lnTo>
                <a:lnTo>
                  <a:pt x="378" y="1319"/>
                </a:lnTo>
                <a:lnTo>
                  <a:pt x="386" y="1315"/>
                </a:lnTo>
                <a:lnTo>
                  <a:pt x="395" y="1312"/>
                </a:lnTo>
                <a:lnTo>
                  <a:pt x="404" y="1308"/>
                </a:lnTo>
                <a:lnTo>
                  <a:pt x="422" y="1296"/>
                </a:lnTo>
                <a:lnTo>
                  <a:pt x="441" y="1284"/>
                </a:lnTo>
                <a:lnTo>
                  <a:pt x="478" y="1256"/>
                </a:lnTo>
                <a:lnTo>
                  <a:pt x="513" y="1228"/>
                </a:lnTo>
                <a:lnTo>
                  <a:pt x="530" y="1216"/>
                </a:lnTo>
                <a:lnTo>
                  <a:pt x="545" y="1206"/>
                </a:lnTo>
                <a:lnTo>
                  <a:pt x="558" y="1198"/>
                </a:lnTo>
                <a:lnTo>
                  <a:pt x="570" y="1193"/>
                </a:lnTo>
                <a:lnTo>
                  <a:pt x="591" y="1187"/>
                </a:lnTo>
                <a:lnTo>
                  <a:pt x="614" y="1184"/>
                </a:lnTo>
                <a:lnTo>
                  <a:pt x="639" y="1182"/>
                </a:lnTo>
                <a:lnTo>
                  <a:pt x="664" y="1180"/>
                </a:lnTo>
                <a:lnTo>
                  <a:pt x="721" y="1180"/>
                </a:lnTo>
                <a:lnTo>
                  <a:pt x="781" y="1183"/>
                </a:lnTo>
                <a:lnTo>
                  <a:pt x="843" y="1185"/>
                </a:lnTo>
                <a:lnTo>
                  <a:pt x="903" y="1187"/>
                </a:lnTo>
                <a:lnTo>
                  <a:pt x="932" y="1188"/>
                </a:lnTo>
                <a:lnTo>
                  <a:pt x="961" y="1187"/>
                </a:lnTo>
                <a:lnTo>
                  <a:pt x="988" y="1186"/>
                </a:lnTo>
                <a:lnTo>
                  <a:pt x="1014" y="1183"/>
                </a:lnTo>
                <a:lnTo>
                  <a:pt x="1028" y="1180"/>
                </a:lnTo>
                <a:lnTo>
                  <a:pt x="1040" y="1176"/>
                </a:lnTo>
                <a:lnTo>
                  <a:pt x="1052" y="1170"/>
                </a:lnTo>
                <a:lnTo>
                  <a:pt x="1062" y="1165"/>
                </a:lnTo>
                <a:lnTo>
                  <a:pt x="1078" y="1150"/>
                </a:lnTo>
                <a:lnTo>
                  <a:pt x="1094" y="1135"/>
                </a:lnTo>
                <a:lnTo>
                  <a:pt x="1102" y="1127"/>
                </a:lnTo>
                <a:lnTo>
                  <a:pt x="1110" y="1119"/>
                </a:lnTo>
                <a:lnTo>
                  <a:pt x="1119" y="1111"/>
                </a:lnTo>
                <a:lnTo>
                  <a:pt x="1127" y="1105"/>
                </a:lnTo>
                <a:lnTo>
                  <a:pt x="1139" y="1099"/>
                </a:lnTo>
                <a:lnTo>
                  <a:pt x="1150" y="1094"/>
                </a:lnTo>
                <a:lnTo>
                  <a:pt x="1163" y="1091"/>
                </a:lnTo>
                <a:lnTo>
                  <a:pt x="1179" y="1089"/>
                </a:lnTo>
                <a:lnTo>
                  <a:pt x="1226" y="1086"/>
                </a:lnTo>
                <a:lnTo>
                  <a:pt x="1273" y="1082"/>
                </a:lnTo>
                <a:lnTo>
                  <a:pt x="1321" y="1080"/>
                </a:lnTo>
                <a:lnTo>
                  <a:pt x="1369" y="1078"/>
                </a:lnTo>
                <a:lnTo>
                  <a:pt x="1417" y="1075"/>
                </a:lnTo>
                <a:lnTo>
                  <a:pt x="1465" y="1074"/>
                </a:lnTo>
                <a:lnTo>
                  <a:pt x="1513" y="1072"/>
                </a:lnTo>
                <a:lnTo>
                  <a:pt x="1561" y="1071"/>
                </a:lnTo>
                <a:lnTo>
                  <a:pt x="1517" y="1002"/>
                </a:lnTo>
                <a:lnTo>
                  <a:pt x="1516" y="992"/>
                </a:lnTo>
                <a:lnTo>
                  <a:pt x="1513" y="978"/>
                </a:lnTo>
                <a:lnTo>
                  <a:pt x="1508" y="965"/>
                </a:lnTo>
                <a:lnTo>
                  <a:pt x="1503" y="952"/>
                </a:lnTo>
                <a:lnTo>
                  <a:pt x="1496" y="939"/>
                </a:lnTo>
                <a:lnTo>
                  <a:pt x="1489" y="928"/>
                </a:lnTo>
                <a:lnTo>
                  <a:pt x="1482" y="920"/>
                </a:lnTo>
                <a:lnTo>
                  <a:pt x="1477" y="916"/>
                </a:lnTo>
                <a:lnTo>
                  <a:pt x="1476" y="910"/>
                </a:lnTo>
                <a:lnTo>
                  <a:pt x="1472" y="904"/>
                </a:lnTo>
                <a:lnTo>
                  <a:pt x="1471" y="900"/>
                </a:lnTo>
                <a:lnTo>
                  <a:pt x="1469" y="898"/>
                </a:lnTo>
                <a:lnTo>
                  <a:pt x="1466" y="896"/>
                </a:lnTo>
                <a:lnTo>
                  <a:pt x="1463" y="896"/>
                </a:lnTo>
                <a:lnTo>
                  <a:pt x="1462" y="892"/>
                </a:lnTo>
                <a:lnTo>
                  <a:pt x="1460" y="889"/>
                </a:lnTo>
                <a:lnTo>
                  <a:pt x="1457" y="884"/>
                </a:lnTo>
                <a:lnTo>
                  <a:pt x="1452" y="879"/>
                </a:lnTo>
                <a:lnTo>
                  <a:pt x="1444" y="869"/>
                </a:lnTo>
                <a:lnTo>
                  <a:pt x="1437" y="862"/>
                </a:lnTo>
                <a:lnTo>
                  <a:pt x="1437" y="842"/>
                </a:lnTo>
                <a:lnTo>
                  <a:pt x="1431" y="836"/>
                </a:lnTo>
                <a:lnTo>
                  <a:pt x="1423" y="825"/>
                </a:lnTo>
                <a:lnTo>
                  <a:pt x="1417" y="817"/>
                </a:lnTo>
                <a:lnTo>
                  <a:pt x="1410" y="809"/>
                </a:lnTo>
                <a:lnTo>
                  <a:pt x="1407" y="795"/>
                </a:lnTo>
                <a:lnTo>
                  <a:pt x="1400" y="773"/>
                </a:lnTo>
                <a:lnTo>
                  <a:pt x="1395" y="762"/>
                </a:lnTo>
                <a:lnTo>
                  <a:pt x="1391" y="752"/>
                </a:lnTo>
                <a:lnTo>
                  <a:pt x="1386" y="745"/>
                </a:lnTo>
                <a:lnTo>
                  <a:pt x="1384" y="743"/>
                </a:lnTo>
                <a:lnTo>
                  <a:pt x="1384" y="669"/>
                </a:lnTo>
                <a:lnTo>
                  <a:pt x="1393" y="659"/>
                </a:lnTo>
                <a:lnTo>
                  <a:pt x="1403" y="649"/>
                </a:lnTo>
                <a:lnTo>
                  <a:pt x="1404" y="645"/>
                </a:lnTo>
                <a:lnTo>
                  <a:pt x="1408" y="640"/>
                </a:lnTo>
                <a:lnTo>
                  <a:pt x="1412" y="637"/>
                </a:lnTo>
                <a:lnTo>
                  <a:pt x="1417" y="636"/>
                </a:lnTo>
                <a:lnTo>
                  <a:pt x="1417" y="622"/>
                </a:lnTo>
                <a:lnTo>
                  <a:pt x="1430" y="622"/>
                </a:lnTo>
                <a:lnTo>
                  <a:pt x="1431" y="617"/>
                </a:lnTo>
                <a:lnTo>
                  <a:pt x="1434" y="610"/>
                </a:lnTo>
                <a:lnTo>
                  <a:pt x="1437" y="607"/>
                </a:lnTo>
                <a:lnTo>
                  <a:pt x="1439" y="605"/>
                </a:lnTo>
                <a:lnTo>
                  <a:pt x="1441" y="603"/>
                </a:lnTo>
                <a:lnTo>
                  <a:pt x="1443" y="602"/>
                </a:lnTo>
                <a:lnTo>
                  <a:pt x="1444" y="598"/>
                </a:lnTo>
                <a:lnTo>
                  <a:pt x="1448" y="593"/>
                </a:lnTo>
                <a:lnTo>
                  <a:pt x="1452" y="590"/>
                </a:lnTo>
                <a:lnTo>
                  <a:pt x="1457" y="589"/>
                </a:lnTo>
                <a:lnTo>
                  <a:pt x="1463" y="582"/>
                </a:lnTo>
                <a:lnTo>
                  <a:pt x="1463" y="569"/>
                </a:lnTo>
                <a:lnTo>
                  <a:pt x="1490" y="542"/>
                </a:lnTo>
                <a:lnTo>
                  <a:pt x="1490" y="538"/>
                </a:lnTo>
                <a:lnTo>
                  <a:pt x="1491" y="533"/>
                </a:lnTo>
                <a:lnTo>
                  <a:pt x="1491" y="532"/>
                </a:lnTo>
                <a:lnTo>
                  <a:pt x="1494" y="530"/>
                </a:lnTo>
                <a:lnTo>
                  <a:pt x="1495" y="530"/>
                </a:lnTo>
                <a:lnTo>
                  <a:pt x="1497" y="529"/>
                </a:lnTo>
                <a:lnTo>
                  <a:pt x="1497" y="510"/>
                </a:lnTo>
                <a:lnTo>
                  <a:pt x="1500" y="507"/>
                </a:lnTo>
                <a:lnTo>
                  <a:pt x="1503" y="503"/>
                </a:lnTo>
                <a:lnTo>
                  <a:pt x="1506" y="496"/>
                </a:lnTo>
                <a:lnTo>
                  <a:pt x="1509" y="487"/>
                </a:lnTo>
                <a:lnTo>
                  <a:pt x="1515" y="469"/>
                </a:lnTo>
                <a:lnTo>
                  <a:pt x="1517" y="456"/>
                </a:lnTo>
                <a:lnTo>
                  <a:pt x="1530" y="456"/>
                </a:lnTo>
                <a:lnTo>
                  <a:pt x="1530" y="369"/>
                </a:lnTo>
                <a:lnTo>
                  <a:pt x="1527" y="368"/>
                </a:lnTo>
                <a:lnTo>
                  <a:pt x="1524" y="367"/>
                </a:lnTo>
                <a:lnTo>
                  <a:pt x="1522" y="363"/>
                </a:lnTo>
                <a:lnTo>
                  <a:pt x="1518" y="359"/>
                </a:lnTo>
                <a:lnTo>
                  <a:pt x="1515" y="348"/>
                </a:lnTo>
                <a:lnTo>
                  <a:pt x="1511" y="336"/>
                </a:lnTo>
                <a:lnTo>
                  <a:pt x="1509" y="323"/>
                </a:lnTo>
                <a:lnTo>
                  <a:pt x="1508" y="313"/>
                </a:lnTo>
                <a:lnTo>
                  <a:pt x="1506" y="305"/>
                </a:lnTo>
                <a:lnTo>
                  <a:pt x="1504" y="302"/>
                </a:lnTo>
                <a:lnTo>
                  <a:pt x="1504" y="276"/>
                </a:lnTo>
                <a:lnTo>
                  <a:pt x="1500" y="273"/>
                </a:lnTo>
                <a:lnTo>
                  <a:pt x="1495" y="267"/>
                </a:lnTo>
                <a:lnTo>
                  <a:pt x="1488" y="259"/>
                </a:lnTo>
                <a:lnTo>
                  <a:pt x="1480" y="247"/>
                </a:lnTo>
                <a:lnTo>
                  <a:pt x="1440" y="260"/>
                </a:lnTo>
                <a:lnTo>
                  <a:pt x="1400" y="271"/>
                </a:lnTo>
                <a:lnTo>
                  <a:pt x="1361" y="280"/>
                </a:lnTo>
                <a:lnTo>
                  <a:pt x="1324" y="288"/>
                </a:lnTo>
                <a:lnTo>
                  <a:pt x="1305" y="290"/>
                </a:lnTo>
                <a:lnTo>
                  <a:pt x="1288" y="292"/>
                </a:lnTo>
                <a:lnTo>
                  <a:pt x="1271" y="293"/>
                </a:lnTo>
                <a:lnTo>
                  <a:pt x="1256" y="293"/>
                </a:lnTo>
                <a:lnTo>
                  <a:pt x="1241" y="292"/>
                </a:lnTo>
                <a:lnTo>
                  <a:pt x="1228" y="291"/>
                </a:lnTo>
                <a:lnTo>
                  <a:pt x="1216" y="288"/>
                </a:lnTo>
                <a:lnTo>
                  <a:pt x="1204" y="283"/>
                </a:lnTo>
                <a:lnTo>
                  <a:pt x="1188" y="275"/>
                </a:lnTo>
                <a:lnTo>
                  <a:pt x="1171" y="270"/>
                </a:lnTo>
                <a:lnTo>
                  <a:pt x="1152" y="264"/>
                </a:lnTo>
                <a:lnTo>
                  <a:pt x="1133" y="260"/>
                </a:lnTo>
                <a:lnTo>
                  <a:pt x="1114" y="256"/>
                </a:lnTo>
                <a:lnTo>
                  <a:pt x="1094" y="254"/>
                </a:lnTo>
                <a:lnTo>
                  <a:pt x="1073" y="252"/>
                </a:lnTo>
                <a:lnTo>
                  <a:pt x="1052" y="251"/>
                </a:lnTo>
                <a:lnTo>
                  <a:pt x="964" y="248"/>
                </a:lnTo>
                <a:lnTo>
                  <a:pt x="875" y="248"/>
                </a:lnTo>
                <a:lnTo>
                  <a:pt x="832" y="247"/>
                </a:lnTo>
                <a:lnTo>
                  <a:pt x="789" y="243"/>
                </a:lnTo>
                <a:lnTo>
                  <a:pt x="768" y="241"/>
                </a:lnTo>
                <a:lnTo>
                  <a:pt x="748" y="237"/>
                </a:lnTo>
                <a:lnTo>
                  <a:pt x="728" y="233"/>
                </a:lnTo>
                <a:lnTo>
                  <a:pt x="709" y="227"/>
                </a:lnTo>
                <a:lnTo>
                  <a:pt x="691" y="221"/>
                </a:lnTo>
                <a:lnTo>
                  <a:pt x="673" y="213"/>
                </a:lnTo>
                <a:lnTo>
                  <a:pt x="656" y="204"/>
                </a:lnTo>
                <a:lnTo>
                  <a:pt x="641" y="194"/>
                </a:lnTo>
                <a:lnTo>
                  <a:pt x="625" y="182"/>
                </a:lnTo>
                <a:lnTo>
                  <a:pt x="612" y="168"/>
                </a:lnTo>
                <a:lnTo>
                  <a:pt x="598" y="154"/>
                </a:lnTo>
                <a:lnTo>
                  <a:pt x="587" y="137"/>
                </a:lnTo>
                <a:lnTo>
                  <a:pt x="580" y="126"/>
                </a:lnTo>
                <a:lnTo>
                  <a:pt x="576" y="116"/>
                </a:lnTo>
                <a:lnTo>
                  <a:pt x="573" y="105"/>
                </a:lnTo>
                <a:lnTo>
                  <a:pt x="570" y="94"/>
                </a:lnTo>
                <a:lnTo>
                  <a:pt x="566" y="74"/>
                </a:lnTo>
                <a:lnTo>
                  <a:pt x="561" y="55"/>
                </a:lnTo>
                <a:lnTo>
                  <a:pt x="558" y="46"/>
                </a:lnTo>
                <a:lnTo>
                  <a:pt x="554" y="38"/>
                </a:lnTo>
                <a:lnTo>
                  <a:pt x="549" y="30"/>
                </a:lnTo>
                <a:lnTo>
                  <a:pt x="543" y="23"/>
                </a:lnTo>
                <a:lnTo>
                  <a:pt x="534" y="16"/>
                </a:lnTo>
                <a:lnTo>
                  <a:pt x="524" y="11"/>
                </a:lnTo>
                <a:lnTo>
                  <a:pt x="511" y="6"/>
                </a:lnTo>
                <a:lnTo>
                  <a:pt x="496" y="3"/>
                </a:lnTo>
                <a:lnTo>
                  <a:pt x="483" y="1"/>
                </a:lnTo>
                <a:lnTo>
                  <a:pt x="471" y="1"/>
                </a:lnTo>
                <a:lnTo>
                  <a:pt x="458" y="0"/>
                </a:lnTo>
                <a:lnTo>
                  <a:pt x="443" y="1"/>
                </a:lnTo>
                <a:lnTo>
                  <a:pt x="411" y="2"/>
                </a:lnTo>
                <a:lnTo>
                  <a:pt x="377" y="6"/>
                </a:lnTo>
                <a:lnTo>
                  <a:pt x="343" y="11"/>
                </a:lnTo>
                <a:lnTo>
                  <a:pt x="307" y="15"/>
                </a:lnTo>
                <a:lnTo>
                  <a:pt x="270" y="21"/>
                </a:lnTo>
                <a:lnTo>
                  <a:pt x="236" y="25"/>
                </a:lnTo>
                <a:lnTo>
                  <a:pt x="255" y="50"/>
                </a:lnTo>
                <a:lnTo>
                  <a:pt x="272" y="77"/>
                </a:lnTo>
                <a:lnTo>
                  <a:pt x="279" y="89"/>
                </a:lnTo>
                <a:lnTo>
                  <a:pt x="285" y="100"/>
                </a:lnTo>
                <a:lnTo>
                  <a:pt x="289" y="109"/>
                </a:lnTo>
                <a:lnTo>
                  <a:pt x="290" y="116"/>
                </a:lnTo>
                <a:lnTo>
                  <a:pt x="292" y="119"/>
                </a:lnTo>
                <a:lnTo>
                  <a:pt x="295" y="127"/>
                </a:lnTo>
                <a:lnTo>
                  <a:pt x="296" y="138"/>
                </a:lnTo>
                <a:lnTo>
                  <a:pt x="296" y="151"/>
                </a:lnTo>
                <a:lnTo>
                  <a:pt x="297" y="178"/>
                </a:lnTo>
                <a:lnTo>
                  <a:pt x="297" y="196"/>
                </a:lnTo>
                <a:lnTo>
                  <a:pt x="299" y="196"/>
                </a:lnTo>
                <a:lnTo>
                  <a:pt x="301" y="197"/>
                </a:lnTo>
                <a:lnTo>
                  <a:pt x="303" y="198"/>
                </a:lnTo>
                <a:lnTo>
                  <a:pt x="303" y="201"/>
                </a:lnTo>
                <a:lnTo>
                  <a:pt x="304" y="204"/>
                </a:lnTo>
                <a:lnTo>
                  <a:pt x="304" y="209"/>
                </a:lnTo>
                <a:lnTo>
                  <a:pt x="306" y="209"/>
                </a:lnTo>
                <a:lnTo>
                  <a:pt x="307" y="211"/>
                </a:lnTo>
                <a:lnTo>
                  <a:pt x="309" y="212"/>
                </a:lnTo>
                <a:lnTo>
                  <a:pt x="309" y="214"/>
                </a:lnTo>
                <a:lnTo>
                  <a:pt x="310" y="217"/>
                </a:lnTo>
                <a:lnTo>
                  <a:pt x="310" y="223"/>
                </a:lnTo>
                <a:lnTo>
                  <a:pt x="324" y="233"/>
                </a:lnTo>
                <a:lnTo>
                  <a:pt x="337" y="243"/>
                </a:lnTo>
                <a:lnTo>
                  <a:pt x="337" y="256"/>
                </a:lnTo>
                <a:lnTo>
                  <a:pt x="339" y="257"/>
                </a:lnTo>
                <a:lnTo>
                  <a:pt x="340" y="260"/>
                </a:lnTo>
                <a:lnTo>
                  <a:pt x="342" y="264"/>
                </a:lnTo>
                <a:lnTo>
                  <a:pt x="343" y="270"/>
                </a:lnTo>
                <a:lnTo>
                  <a:pt x="344" y="281"/>
                </a:lnTo>
                <a:lnTo>
                  <a:pt x="344" y="289"/>
                </a:lnTo>
                <a:lnTo>
                  <a:pt x="340" y="291"/>
                </a:lnTo>
                <a:lnTo>
                  <a:pt x="337" y="293"/>
                </a:lnTo>
                <a:lnTo>
                  <a:pt x="333" y="299"/>
                </a:lnTo>
                <a:lnTo>
                  <a:pt x="328" y="304"/>
                </a:lnTo>
                <a:lnTo>
                  <a:pt x="324" y="311"/>
                </a:lnTo>
                <a:lnTo>
                  <a:pt x="320" y="318"/>
                </a:lnTo>
                <a:lnTo>
                  <a:pt x="318" y="323"/>
                </a:lnTo>
                <a:lnTo>
                  <a:pt x="317" y="329"/>
                </a:lnTo>
                <a:lnTo>
                  <a:pt x="315" y="330"/>
                </a:lnTo>
                <a:lnTo>
                  <a:pt x="311" y="331"/>
                </a:lnTo>
                <a:lnTo>
                  <a:pt x="309" y="333"/>
                </a:lnTo>
                <a:lnTo>
                  <a:pt x="306" y="336"/>
                </a:lnTo>
                <a:lnTo>
                  <a:pt x="300" y="342"/>
                </a:lnTo>
                <a:lnTo>
                  <a:pt x="295" y="349"/>
                </a:lnTo>
                <a:lnTo>
                  <a:pt x="289" y="357"/>
                </a:lnTo>
                <a:lnTo>
                  <a:pt x="285" y="363"/>
                </a:lnTo>
                <a:lnTo>
                  <a:pt x="280" y="368"/>
                </a:lnTo>
                <a:lnTo>
                  <a:pt x="277" y="369"/>
                </a:lnTo>
                <a:lnTo>
                  <a:pt x="278" y="375"/>
                </a:lnTo>
                <a:lnTo>
                  <a:pt x="279" y="380"/>
                </a:lnTo>
                <a:lnTo>
                  <a:pt x="282" y="387"/>
                </a:lnTo>
                <a:lnTo>
                  <a:pt x="287" y="394"/>
                </a:lnTo>
                <a:lnTo>
                  <a:pt x="296" y="408"/>
                </a:lnTo>
                <a:lnTo>
                  <a:pt x="308" y="423"/>
                </a:lnTo>
                <a:lnTo>
                  <a:pt x="319" y="436"/>
                </a:lnTo>
                <a:lnTo>
                  <a:pt x="330" y="446"/>
                </a:lnTo>
                <a:lnTo>
                  <a:pt x="339" y="453"/>
                </a:lnTo>
                <a:lnTo>
                  <a:pt x="344" y="456"/>
                </a:lnTo>
                <a:lnTo>
                  <a:pt x="344" y="469"/>
                </a:lnTo>
                <a:lnTo>
                  <a:pt x="346" y="469"/>
                </a:lnTo>
                <a:lnTo>
                  <a:pt x="347" y="471"/>
                </a:lnTo>
                <a:lnTo>
                  <a:pt x="348" y="472"/>
                </a:lnTo>
                <a:lnTo>
                  <a:pt x="349" y="473"/>
                </a:lnTo>
                <a:lnTo>
                  <a:pt x="351" y="477"/>
                </a:lnTo>
                <a:lnTo>
                  <a:pt x="351" y="483"/>
                </a:lnTo>
                <a:lnTo>
                  <a:pt x="353" y="484"/>
                </a:lnTo>
                <a:lnTo>
                  <a:pt x="354" y="490"/>
                </a:lnTo>
                <a:lnTo>
                  <a:pt x="355" y="498"/>
                </a:lnTo>
                <a:lnTo>
                  <a:pt x="355" y="510"/>
                </a:lnTo>
                <a:lnTo>
                  <a:pt x="354" y="539"/>
                </a:lnTo>
                <a:lnTo>
                  <a:pt x="352" y="573"/>
                </a:lnTo>
                <a:lnTo>
                  <a:pt x="349" y="609"/>
                </a:lnTo>
                <a:lnTo>
                  <a:pt x="346" y="642"/>
                </a:lnTo>
                <a:lnTo>
                  <a:pt x="345" y="670"/>
                </a:lnTo>
                <a:lnTo>
                  <a:pt x="344" y="689"/>
                </a:lnTo>
                <a:lnTo>
                  <a:pt x="346" y="692"/>
                </a:lnTo>
                <a:lnTo>
                  <a:pt x="347" y="698"/>
                </a:lnTo>
                <a:lnTo>
                  <a:pt x="348" y="708"/>
                </a:lnTo>
                <a:lnTo>
                  <a:pt x="349" y="719"/>
                </a:lnTo>
                <a:lnTo>
                  <a:pt x="351" y="743"/>
                </a:lnTo>
                <a:lnTo>
                  <a:pt x="351" y="755"/>
                </a:lnTo>
                <a:lnTo>
                  <a:pt x="344" y="762"/>
                </a:lnTo>
                <a:lnTo>
                  <a:pt x="330" y="764"/>
                </a:lnTo>
                <a:lnTo>
                  <a:pt x="300" y="766"/>
                </a:lnTo>
                <a:lnTo>
                  <a:pt x="285" y="766"/>
                </a:lnTo>
                <a:lnTo>
                  <a:pt x="270" y="765"/>
                </a:lnTo>
                <a:lnTo>
                  <a:pt x="265" y="764"/>
                </a:lnTo>
                <a:lnTo>
                  <a:pt x="261" y="762"/>
                </a:lnTo>
                <a:lnTo>
                  <a:pt x="258" y="760"/>
                </a:lnTo>
                <a:lnTo>
                  <a:pt x="257" y="755"/>
                </a:lnTo>
                <a:lnTo>
                  <a:pt x="237" y="755"/>
                </a:lnTo>
                <a:lnTo>
                  <a:pt x="236" y="753"/>
                </a:lnTo>
                <a:lnTo>
                  <a:pt x="232" y="750"/>
                </a:lnTo>
                <a:lnTo>
                  <a:pt x="227" y="746"/>
                </a:lnTo>
                <a:lnTo>
                  <a:pt x="220" y="742"/>
                </a:lnTo>
                <a:lnTo>
                  <a:pt x="214" y="737"/>
                </a:lnTo>
                <a:lnTo>
                  <a:pt x="209" y="733"/>
                </a:lnTo>
                <a:lnTo>
                  <a:pt x="205" y="727"/>
                </a:lnTo>
                <a:lnTo>
                  <a:pt x="203" y="723"/>
                </a:lnTo>
                <a:lnTo>
                  <a:pt x="191" y="723"/>
                </a:lnTo>
                <a:lnTo>
                  <a:pt x="189" y="719"/>
                </a:lnTo>
                <a:lnTo>
                  <a:pt x="185" y="716"/>
                </a:lnTo>
                <a:lnTo>
                  <a:pt x="180" y="713"/>
                </a:lnTo>
                <a:lnTo>
                  <a:pt x="173" y="709"/>
                </a:lnTo>
                <a:lnTo>
                  <a:pt x="160" y="705"/>
                </a:lnTo>
                <a:lnTo>
                  <a:pt x="151" y="703"/>
                </a:lnTo>
                <a:lnTo>
                  <a:pt x="150" y="701"/>
                </a:lnTo>
                <a:lnTo>
                  <a:pt x="147" y="698"/>
                </a:lnTo>
                <a:lnTo>
                  <a:pt x="145" y="696"/>
                </a:lnTo>
                <a:lnTo>
                  <a:pt x="141" y="695"/>
                </a:lnTo>
                <a:lnTo>
                  <a:pt x="131" y="693"/>
                </a:lnTo>
                <a:lnTo>
                  <a:pt x="118" y="690"/>
                </a:lnTo>
                <a:lnTo>
                  <a:pt x="94" y="689"/>
                </a:lnTo>
                <a:lnTo>
                  <a:pt x="77" y="689"/>
                </a:lnTo>
                <a:lnTo>
                  <a:pt x="77" y="692"/>
                </a:lnTo>
                <a:lnTo>
                  <a:pt x="76" y="693"/>
                </a:lnTo>
                <a:lnTo>
                  <a:pt x="75" y="694"/>
                </a:lnTo>
                <a:lnTo>
                  <a:pt x="73" y="695"/>
                </a:lnTo>
                <a:lnTo>
                  <a:pt x="68" y="696"/>
                </a:lnTo>
                <a:lnTo>
                  <a:pt x="64" y="696"/>
                </a:lnTo>
                <a:lnTo>
                  <a:pt x="62" y="699"/>
                </a:lnTo>
                <a:lnTo>
                  <a:pt x="60" y="702"/>
                </a:lnTo>
                <a:lnTo>
                  <a:pt x="57" y="703"/>
                </a:lnTo>
                <a:lnTo>
                  <a:pt x="54" y="703"/>
                </a:lnTo>
                <a:lnTo>
                  <a:pt x="50" y="704"/>
                </a:lnTo>
                <a:lnTo>
                  <a:pt x="47" y="706"/>
                </a:lnTo>
                <a:lnTo>
                  <a:pt x="45" y="709"/>
                </a:lnTo>
                <a:lnTo>
                  <a:pt x="44" y="716"/>
                </a:lnTo>
                <a:lnTo>
                  <a:pt x="30" y="716"/>
                </a:lnTo>
                <a:lnTo>
                  <a:pt x="32" y="727"/>
                </a:lnTo>
                <a:lnTo>
                  <a:pt x="37" y="741"/>
                </a:lnTo>
                <a:lnTo>
                  <a:pt x="41" y="752"/>
                </a:lnTo>
                <a:lnTo>
                  <a:pt x="44" y="755"/>
                </a:lnTo>
                <a:lnTo>
                  <a:pt x="57" y="755"/>
                </a:lnTo>
                <a:lnTo>
                  <a:pt x="64" y="773"/>
                </a:lnTo>
                <a:lnTo>
                  <a:pt x="77" y="808"/>
                </a:lnTo>
                <a:lnTo>
                  <a:pt x="85" y="828"/>
                </a:lnTo>
                <a:lnTo>
                  <a:pt x="90" y="849"/>
                </a:lnTo>
                <a:lnTo>
                  <a:pt x="94" y="860"/>
                </a:lnTo>
                <a:lnTo>
                  <a:pt x="95" y="870"/>
                </a:lnTo>
                <a:lnTo>
                  <a:pt x="97" y="880"/>
                </a:lnTo>
                <a:lnTo>
                  <a:pt x="97" y="889"/>
                </a:lnTo>
                <a:lnTo>
                  <a:pt x="92" y="890"/>
                </a:lnTo>
                <a:lnTo>
                  <a:pt x="86" y="895"/>
                </a:lnTo>
                <a:lnTo>
                  <a:pt x="79" y="899"/>
                </a:lnTo>
                <a:lnTo>
                  <a:pt x="73" y="906"/>
                </a:lnTo>
                <a:lnTo>
                  <a:pt x="65" y="911"/>
                </a:lnTo>
                <a:lnTo>
                  <a:pt x="56" y="917"/>
                </a:lnTo>
                <a:lnTo>
                  <a:pt x="51" y="919"/>
                </a:lnTo>
                <a:lnTo>
                  <a:pt x="47" y="921"/>
                </a:lnTo>
                <a:lnTo>
                  <a:pt x="42" y="921"/>
                </a:lnTo>
                <a:lnTo>
                  <a:pt x="37" y="923"/>
                </a:lnTo>
                <a:lnTo>
                  <a:pt x="35" y="928"/>
                </a:lnTo>
                <a:lnTo>
                  <a:pt x="27" y="937"/>
                </a:lnTo>
                <a:lnTo>
                  <a:pt x="16" y="952"/>
                </a:lnTo>
                <a:lnTo>
                  <a:pt x="0" y="968"/>
                </a:lnTo>
                <a:close/>
              </a:path>
            </a:pathLst>
          </a:cu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46" name="Freeform 12">
            <a:extLst>
              <a:ext uri="{FF2B5EF4-FFF2-40B4-BE49-F238E27FC236}">
                <a16:creationId xmlns:a16="http://schemas.microsoft.com/office/drawing/2014/main" id="{FFA6FC3C-0639-4E57-899F-EF07F9F1B426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450263" y="5240338"/>
            <a:ext cx="318802" cy="153988"/>
          </a:xfrm>
          <a:custGeom>
            <a:avLst/>
            <a:gdLst/>
            <a:ahLst/>
            <a:cxnLst>
              <a:cxn ang="0">
                <a:pos x="585" y="914"/>
              </a:cxn>
              <a:cxn ang="0">
                <a:pos x="987" y="920"/>
              </a:cxn>
              <a:cxn ang="0">
                <a:pos x="1170" y="925"/>
              </a:cxn>
              <a:cxn ang="0">
                <a:pos x="1301" y="932"/>
              </a:cxn>
              <a:cxn ang="0">
                <a:pos x="1411" y="903"/>
              </a:cxn>
              <a:cxn ang="0">
                <a:pos x="1446" y="867"/>
              </a:cxn>
              <a:cxn ang="0">
                <a:pos x="1492" y="790"/>
              </a:cxn>
              <a:cxn ang="0">
                <a:pos x="1610" y="668"/>
              </a:cxn>
              <a:cxn ang="0">
                <a:pos x="1640" y="616"/>
              </a:cxn>
              <a:cxn ang="0">
                <a:pos x="1694" y="559"/>
              </a:cxn>
              <a:cxn ang="0">
                <a:pos x="1726" y="504"/>
              </a:cxn>
              <a:cxn ang="0">
                <a:pos x="1737" y="439"/>
              </a:cxn>
              <a:cxn ang="0">
                <a:pos x="1730" y="370"/>
              </a:cxn>
              <a:cxn ang="0">
                <a:pos x="1699" y="277"/>
              </a:cxn>
              <a:cxn ang="0">
                <a:pos x="1664" y="205"/>
              </a:cxn>
              <a:cxn ang="0">
                <a:pos x="1640" y="192"/>
              </a:cxn>
              <a:cxn ang="0">
                <a:pos x="1613" y="200"/>
              </a:cxn>
              <a:cxn ang="0">
                <a:pos x="1582" y="233"/>
              </a:cxn>
              <a:cxn ang="0">
                <a:pos x="1525" y="337"/>
              </a:cxn>
              <a:cxn ang="0">
                <a:pos x="1483" y="399"/>
              </a:cxn>
              <a:cxn ang="0">
                <a:pos x="1448" y="419"/>
              </a:cxn>
              <a:cxn ang="0">
                <a:pos x="1392" y="395"/>
              </a:cxn>
              <a:cxn ang="0">
                <a:pos x="1312" y="355"/>
              </a:cxn>
              <a:cxn ang="0">
                <a:pos x="1228" y="348"/>
              </a:cxn>
              <a:cxn ang="0">
                <a:pos x="1108" y="381"/>
              </a:cxn>
              <a:cxn ang="0">
                <a:pos x="871" y="522"/>
              </a:cxn>
              <a:cxn ang="0">
                <a:pos x="768" y="564"/>
              </a:cxn>
              <a:cxn ang="0">
                <a:pos x="663" y="561"/>
              </a:cxn>
              <a:cxn ang="0">
                <a:pos x="552" y="487"/>
              </a:cxn>
              <a:cxn ang="0">
                <a:pos x="549" y="443"/>
              </a:cxn>
              <a:cxn ang="0">
                <a:pos x="612" y="213"/>
              </a:cxn>
              <a:cxn ang="0">
                <a:pos x="628" y="88"/>
              </a:cxn>
              <a:cxn ang="0">
                <a:pos x="613" y="15"/>
              </a:cxn>
              <a:cxn ang="0">
                <a:pos x="587" y="0"/>
              </a:cxn>
              <a:cxn ang="0">
                <a:pos x="459" y="30"/>
              </a:cxn>
              <a:cxn ang="0">
                <a:pos x="326" y="38"/>
              </a:cxn>
              <a:cxn ang="0">
                <a:pos x="232" y="51"/>
              </a:cxn>
              <a:cxn ang="0">
                <a:pos x="104" y="104"/>
              </a:cxn>
              <a:cxn ang="0">
                <a:pos x="122" y="150"/>
              </a:cxn>
              <a:cxn ang="0">
                <a:pos x="134" y="204"/>
              </a:cxn>
              <a:cxn ang="0">
                <a:pos x="146" y="301"/>
              </a:cxn>
              <a:cxn ang="0">
                <a:pos x="119" y="348"/>
              </a:cxn>
              <a:cxn ang="0">
                <a:pos x="110" y="375"/>
              </a:cxn>
              <a:cxn ang="0">
                <a:pos x="79" y="414"/>
              </a:cxn>
              <a:cxn ang="0">
                <a:pos x="60" y="443"/>
              </a:cxn>
              <a:cxn ang="0">
                <a:pos x="50" y="455"/>
              </a:cxn>
              <a:cxn ang="0">
                <a:pos x="28" y="482"/>
              </a:cxn>
              <a:cxn ang="0">
                <a:pos x="0" y="514"/>
              </a:cxn>
              <a:cxn ang="0">
                <a:pos x="16" y="618"/>
              </a:cxn>
              <a:cxn ang="0">
                <a:pos x="47" y="681"/>
              </a:cxn>
              <a:cxn ang="0">
                <a:pos x="73" y="729"/>
              </a:cxn>
              <a:cxn ang="0">
                <a:pos x="85" y="743"/>
              </a:cxn>
              <a:cxn ang="0">
                <a:pos x="98" y="765"/>
              </a:cxn>
              <a:cxn ang="0">
                <a:pos x="129" y="823"/>
              </a:cxn>
            </a:cxnLst>
            <a:rect l="0" t="0" r="r" b="b"/>
            <a:pathLst>
              <a:path w="1738" h="932">
                <a:moveTo>
                  <a:pt x="177" y="916"/>
                </a:moveTo>
                <a:lnTo>
                  <a:pt x="280" y="915"/>
                </a:lnTo>
                <a:lnTo>
                  <a:pt x="384" y="914"/>
                </a:lnTo>
                <a:lnTo>
                  <a:pt x="486" y="914"/>
                </a:lnTo>
                <a:lnTo>
                  <a:pt x="585" y="914"/>
                </a:lnTo>
                <a:lnTo>
                  <a:pt x="682" y="915"/>
                </a:lnTo>
                <a:lnTo>
                  <a:pt x="775" y="917"/>
                </a:lnTo>
                <a:lnTo>
                  <a:pt x="865" y="918"/>
                </a:lnTo>
                <a:lnTo>
                  <a:pt x="950" y="919"/>
                </a:lnTo>
                <a:lnTo>
                  <a:pt x="987" y="920"/>
                </a:lnTo>
                <a:lnTo>
                  <a:pt x="1025" y="920"/>
                </a:lnTo>
                <a:lnTo>
                  <a:pt x="1062" y="922"/>
                </a:lnTo>
                <a:lnTo>
                  <a:pt x="1100" y="923"/>
                </a:lnTo>
                <a:lnTo>
                  <a:pt x="1135" y="924"/>
                </a:lnTo>
                <a:lnTo>
                  <a:pt x="1170" y="925"/>
                </a:lnTo>
                <a:lnTo>
                  <a:pt x="1202" y="927"/>
                </a:lnTo>
                <a:lnTo>
                  <a:pt x="1231" y="928"/>
                </a:lnTo>
                <a:lnTo>
                  <a:pt x="1257" y="931"/>
                </a:lnTo>
                <a:lnTo>
                  <a:pt x="1279" y="932"/>
                </a:lnTo>
                <a:lnTo>
                  <a:pt x="1301" y="932"/>
                </a:lnTo>
                <a:lnTo>
                  <a:pt x="1321" y="931"/>
                </a:lnTo>
                <a:lnTo>
                  <a:pt x="1341" y="928"/>
                </a:lnTo>
                <a:lnTo>
                  <a:pt x="1362" y="923"/>
                </a:lnTo>
                <a:lnTo>
                  <a:pt x="1386" y="915"/>
                </a:lnTo>
                <a:lnTo>
                  <a:pt x="1411" y="903"/>
                </a:lnTo>
                <a:lnTo>
                  <a:pt x="1418" y="899"/>
                </a:lnTo>
                <a:lnTo>
                  <a:pt x="1425" y="894"/>
                </a:lnTo>
                <a:lnTo>
                  <a:pt x="1431" y="888"/>
                </a:lnTo>
                <a:lnTo>
                  <a:pt x="1436" y="881"/>
                </a:lnTo>
                <a:lnTo>
                  <a:pt x="1446" y="867"/>
                </a:lnTo>
                <a:lnTo>
                  <a:pt x="1455" y="851"/>
                </a:lnTo>
                <a:lnTo>
                  <a:pt x="1464" y="835"/>
                </a:lnTo>
                <a:lnTo>
                  <a:pt x="1472" y="818"/>
                </a:lnTo>
                <a:lnTo>
                  <a:pt x="1482" y="803"/>
                </a:lnTo>
                <a:lnTo>
                  <a:pt x="1492" y="790"/>
                </a:lnTo>
                <a:lnTo>
                  <a:pt x="1530" y="752"/>
                </a:lnTo>
                <a:lnTo>
                  <a:pt x="1568" y="716"/>
                </a:lnTo>
                <a:lnTo>
                  <a:pt x="1585" y="697"/>
                </a:lnTo>
                <a:lnTo>
                  <a:pt x="1602" y="678"/>
                </a:lnTo>
                <a:lnTo>
                  <a:pt x="1610" y="668"/>
                </a:lnTo>
                <a:lnTo>
                  <a:pt x="1618" y="657"/>
                </a:lnTo>
                <a:lnTo>
                  <a:pt x="1624" y="646"/>
                </a:lnTo>
                <a:lnTo>
                  <a:pt x="1630" y="634"/>
                </a:lnTo>
                <a:lnTo>
                  <a:pt x="1634" y="625"/>
                </a:lnTo>
                <a:lnTo>
                  <a:pt x="1640" y="616"/>
                </a:lnTo>
                <a:lnTo>
                  <a:pt x="1646" y="608"/>
                </a:lnTo>
                <a:lnTo>
                  <a:pt x="1652" y="600"/>
                </a:lnTo>
                <a:lnTo>
                  <a:pt x="1666" y="587"/>
                </a:lnTo>
                <a:lnTo>
                  <a:pt x="1679" y="573"/>
                </a:lnTo>
                <a:lnTo>
                  <a:pt x="1694" y="559"/>
                </a:lnTo>
                <a:lnTo>
                  <a:pt x="1706" y="543"/>
                </a:lnTo>
                <a:lnTo>
                  <a:pt x="1712" y="534"/>
                </a:lnTo>
                <a:lnTo>
                  <a:pt x="1717" y="525"/>
                </a:lnTo>
                <a:lnTo>
                  <a:pt x="1722" y="515"/>
                </a:lnTo>
                <a:lnTo>
                  <a:pt x="1726" y="504"/>
                </a:lnTo>
                <a:lnTo>
                  <a:pt x="1729" y="493"/>
                </a:lnTo>
                <a:lnTo>
                  <a:pt x="1732" y="481"/>
                </a:lnTo>
                <a:lnTo>
                  <a:pt x="1735" y="467"/>
                </a:lnTo>
                <a:lnTo>
                  <a:pt x="1736" y="454"/>
                </a:lnTo>
                <a:lnTo>
                  <a:pt x="1737" y="439"/>
                </a:lnTo>
                <a:lnTo>
                  <a:pt x="1738" y="425"/>
                </a:lnTo>
                <a:lnTo>
                  <a:pt x="1737" y="412"/>
                </a:lnTo>
                <a:lnTo>
                  <a:pt x="1736" y="397"/>
                </a:lnTo>
                <a:lnTo>
                  <a:pt x="1734" y="384"/>
                </a:lnTo>
                <a:lnTo>
                  <a:pt x="1730" y="370"/>
                </a:lnTo>
                <a:lnTo>
                  <a:pt x="1726" y="358"/>
                </a:lnTo>
                <a:lnTo>
                  <a:pt x="1723" y="346"/>
                </a:lnTo>
                <a:lnTo>
                  <a:pt x="1713" y="321"/>
                </a:lnTo>
                <a:lnTo>
                  <a:pt x="1705" y="296"/>
                </a:lnTo>
                <a:lnTo>
                  <a:pt x="1699" y="277"/>
                </a:lnTo>
                <a:lnTo>
                  <a:pt x="1694" y="259"/>
                </a:lnTo>
                <a:lnTo>
                  <a:pt x="1687" y="243"/>
                </a:lnTo>
                <a:lnTo>
                  <a:pt x="1679" y="227"/>
                </a:lnTo>
                <a:lnTo>
                  <a:pt x="1671" y="215"/>
                </a:lnTo>
                <a:lnTo>
                  <a:pt x="1664" y="205"/>
                </a:lnTo>
                <a:lnTo>
                  <a:pt x="1659" y="201"/>
                </a:lnTo>
                <a:lnTo>
                  <a:pt x="1655" y="197"/>
                </a:lnTo>
                <a:lnTo>
                  <a:pt x="1650" y="195"/>
                </a:lnTo>
                <a:lnTo>
                  <a:pt x="1646" y="193"/>
                </a:lnTo>
                <a:lnTo>
                  <a:pt x="1640" y="192"/>
                </a:lnTo>
                <a:lnTo>
                  <a:pt x="1636" y="192"/>
                </a:lnTo>
                <a:lnTo>
                  <a:pt x="1630" y="193"/>
                </a:lnTo>
                <a:lnTo>
                  <a:pt x="1624" y="194"/>
                </a:lnTo>
                <a:lnTo>
                  <a:pt x="1619" y="196"/>
                </a:lnTo>
                <a:lnTo>
                  <a:pt x="1613" y="200"/>
                </a:lnTo>
                <a:lnTo>
                  <a:pt x="1608" y="204"/>
                </a:lnTo>
                <a:lnTo>
                  <a:pt x="1601" y="210"/>
                </a:lnTo>
                <a:lnTo>
                  <a:pt x="1595" y="216"/>
                </a:lnTo>
                <a:lnTo>
                  <a:pt x="1589" y="224"/>
                </a:lnTo>
                <a:lnTo>
                  <a:pt x="1582" y="233"/>
                </a:lnTo>
                <a:lnTo>
                  <a:pt x="1575" y="243"/>
                </a:lnTo>
                <a:lnTo>
                  <a:pt x="1561" y="268"/>
                </a:lnTo>
                <a:lnTo>
                  <a:pt x="1546" y="297"/>
                </a:lnTo>
                <a:lnTo>
                  <a:pt x="1535" y="318"/>
                </a:lnTo>
                <a:lnTo>
                  <a:pt x="1525" y="337"/>
                </a:lnTo>
                <a:lnTo>
                  <a:pt x="1516" y="354"/>
                </a:lnTo>
                <a:lnTo>
                  <a:pt x="1507" y="368"/>
                </a:lnTo>
                <a:lnTo>
                  <a:pt x="1498" y="380"/>
                </a:lnTo>
                <a:lnTo>
                  <a:pt x="1490" y="391"/>
                </a:lnTo>
                <a:lnTo>
                  <a:pt x="1483" y="399"/>
                </a:lnTo>
                <a:lnTo>
                  <a:pt x="1476" y="406"/>
                </a:lnTo>
                <a:lnTo>
                  <a:pt x="1468" y="412"/>
                </a:lnTo>
                <a:lnTo>
                  <a:pt x="1461" y="416"/>
                </a:lnTo>
                <a:lnTo>
                  <a:pt x="1455" y="418"/>
                </a:lnTo>
                <a:lnTo>
                  <a:pt x="1448" y="419"/>
                </a:lnTo>
                <a:lnTo>
                  <a:pt x="1441" y="418"/>
                </a:lnTo>
                <a:lnTo>
                  <a:pt x="1435" y="417"/>
                </a:lnTo>
                <a:lnTo>
                  <a:pt x="1428" y="416"/>
                </a:lnTo>
                <a:lnTo>
                  <a:pt x="1421" y="413"/>
                </a:lnTo>
                <a:lnTo>
                  <a:pt x="1392" y="395"/>
                </a:lnTo>
                <a:lnTo>
                  <a:pt x="1357" y="374"/>
                </a:lnTo>
                <a:lnTo>
                  <a:pt x="1346" y="368"/>
                </a:lnTo>
                <a:lnTo>
                  <a:pt x="1335" y="364"/>
                </a:lnTo>
                <a:lnTo>
                  <a:pt x="1324" y="359"/>
                </a:lnTo>
                <a:lnTo>
                  <a:pt x="1312" y="355"/>
                </a:lnTo>
                <a:lnTo>
                  <a:pt x="1298" y="351"/>
                </a:lnTo>
                <a:lnTo>
                  <a:pt x="1284" y="349"/>
                </a:lnTo>
                <a:lnTo>
                  <a:pt x="1269" y="348"/>
                </a:lnTo>
                <a:lnTo>
                  <a:pt x="1254" y="347"/>
                </a:lnTo>
                <a:lnTo>
                  <a:pt x="1228" y="348"/>
                </a:lnTo>
                <a:lnTo>
                  <a:pt x="1204" y="351"/>
                </a:lnTo>
                <a:lnTo>
                  <a:pt x="1179" y="356"/>
                </a:lnTo>
                <a:lnTo>
                  <a:pt x="1154" y="364"/>
                </a:lnTo>
                <a:lnTo>
                  <a:pt x="1131" y="371"/>
                </a:lnTo>
                <a:lnTo>
                  <a:pt x="1108" y="381"/>
                </a:lnTo>
                <a:lnTo>
                  <a:pt x="1085" y="391"/>
                </a:lnTo>
                <a:lnTo>
                  <a:pt x="1063" y="404"/>
                </a:lnTo>
                <a:lnTo>
                  <a:pt x="976" y="456"/>
                </a:lnTo>
                <a:lnTo>
                  <a:pt x="892" y="510"/>
                </a:lnTo>
                <a:lnTo>
                  <a:pt x="871" y="522"/>
                </a:lnTo>
                <a:lnTo>
                  <a:pt x="851" y="533"/>
                </a:lnTo>
                <a:lnTo>
                  <a:pt x="831" y="543"/>
                </a:lnTo>
                <a:lnTo>
                  <a:pt x="810" y="551"/>
                </a:lnTo>
                <a:lnTo>
                  <a:pt x="789" y="559"/>
                </a:lnTo>
                <a:lnTo>
                  <a:pt x="768" y="564"/>
                </a:lnTo>
                <a:lnTo>
                  <a:pt x="748" y="568"/>
                </a:lnTo>
                <a:lnTo>
                  <a:pt x="727" y="570"/>
                </a:lnTo>
                <a:lnTo>
                  <a:pt x="706" y="569"/>
                </a:lnTo>
                <a:lnTo>
                  <a:pt x="685" y="567"/>
                </a:lnTo>
                <a:lnTo>
                  <a:pt x="663" y="561"/>
                </a:lnTo>
                <a:lnTo>
                  <a:pt x="641" y="552"/>
                </a:lnTo>
                <a:lnTo>
                  <a:pt x="620" y="541"/>
                </a:lnTo>
                <a:lnTo>
                  <a:pt x="597" y="527"/>
                </a:lnTo>
                <a:lnTo>
                  <a:pt x="574" y="509"/>
                </a:lnTo>
                <a:lnTo>
                  <a:pt x="552" y="487"/>
                </a:lnTo>
                <a:lnTo>
                  <a:pt x="548" y="483"/>
                </a:lnTo>
                <a:lnTo>
                  <a:pt x="547" y="477"/>
                </a:lnTo>
                <a:lnTo>
                  <a:pt x="547" y="471"/>
                </a:lnTo>
                <a:lnTo>
                  <a:pt x="547" y="463"/>
                </a:lnTo>
                <a:lnTo>
                  <a:pt x="549" y="443"/>
                </a:lnTo>
                <a:lnTo>
                  <a:pt x="555" y="417"/>
                </a:lnTo>
                <a:lnTo>
                  <a:pt x="573" y="357"/>
                </a:lnTo>
                <a:lnTo>
                  <a:pt x="593" y="288"/>
                </a:lnTo>
                <a:lnTo>
                  <a:pt x="603" y="250"/>
                </a:lnTo>
                <a:lnTo>
                  <a:pt x="612" y="213"/>
                </a:lnTo>
                <a:lnTo>
                  <a:pt x="620" y="175"/>
                </a:lnTo>
                <a:lnTo>
                  <a:pt x="625" y="139"/>
                </a:lnTo>
                <a:lnTo>
                  <a:pt x="626" y="121"/>
                </a:lnTo>
                <a:lnTo>
                  <a:pt x="628" y="105"/>
                </a:lnTo>
                <a:lnTo>
                  <a:pt x="628" y="88"/>
                </a:lnTo>
                <a:lnTo>
                  <a:pt x="626" y="71"/>
                </a:lnTo>
                <a:lnTo>
                  <a:pt x="625" y="57"/>
                </a:lnTo>
                <a:lnTo>
                  <a:pt x="622" y="42"/>
                </a:lnTo>
                <a:lnTo>
                  <a:pt x="619" y="28"/>
                </a:lnTo>
                <a:lnTo>
                  <a:pt x="613" y="15"/>
                </a:lnTo>
                <a:lnTo>
                  <a:pt x="610" y="10"/>
                </a:lnTo>
                <a:lnTo>
                  <a:pt x="605" y="5"/>
                </a:lnTo>
                <a:lnTo>
                  <a:pt x="600" y="2"/>
                </a:lnTo>
                <a:lnTo>
                  <a:pt x="594" y="1"/>
                </a:lnTo>
                <a:lnTo>
                  <a:pt x="587" y="0"/>
                </a:lnTo>
                <a:lnTo>
                  <a:pt x="580" y="0"/>
                </a:lnTo>
                <a:lnTo>
                  <a:pt x="572" y="1"/>
                </a:lnTo>
                <a:lnTo>
                  <a:pt x="563" y="3"/>
                </a:lnTo>
                <a:lnTo>
                  <a:pt x="517" y="15"/>
                </a:lnTo>
                <a:lnTo>
                  <a:pt x="459" y="30"/>
                </a:lnTo>
                <a:lnTo>
                  <a:pt x="436" y="33"/>
                </a:lnTo>
                <a:lnTo>
                  <a:pt x="410" y="35"/>
                </a:lnTo>
                <a:lnTo>
                  <a:pt x="383" y="35"/>
                </a:lnTo>
                <a:lnTo>
                  <a:pt x="355" y="37"/>
                </a:lnTo>
                <a:lnTo>
                  <a:pt x="326" y="38"/>
                </a:lnTo>
                <a:lnTo>
                  <a:pt x="296" y="40"/>
                </a:lnTo>
                <a:lnTo>
                  <a:pt x="280" y="42"/>
                </a:lnTo>
                <a:lnTo>
                  <a:pt x="265" y="44"/>
                </a:lnTo>
                <a:lnTo>
                  <a:pt x="249" y="48"/>
                </a:lnTo>
                <a:lnTo>
                  <a:pt x="232" y="51"/>
                </a:lnTo>
                <a:lnTo>
                  <a:pt x="201" y="60"/>
                </a:lnTo>
                <a:lnTo>
                  <a:pt x="168" y="70"/>
                </a:lnTo>
                <a:lnTo>
                  <a:pt x="133" y="81"/>
                </a:lnTo>
                <a:lnTo>
                  <a:pt x="96" y="92"/>
                </a:lnTo>
                <a:lnTo>
                  <a:pt x="104" y="104"/>
                </a:lnTo>
                <a:lnTo>
                  <a:pt x="111" y="112"/>
                </a:lnTo>
                <a:lnTo>
                  <a:pt x="116" y="118"/>
                </a:lnTo>
                <a:lnTo>
                  <a:pt x="120" y="121"/>
                </a:lnTo>
                <a:lnTo>
                  <a:pt x="120" y="147"/>
                </a:lnTo>
                <a:lnTo>
                  <a:pt x="122" y="150"/>
                </a:lnTo>
                <a:lnTo>
                  <a:pt x="124" y="158"/>
                </a:lnTo>
                <a:lnTo>
                  <a:pt x="125" y="168"/>
                </a:lnTo>
                <a:lnTo>
                  <a:pt x="127" y="181"/>
                </a:lnTo>
                <a:lnTo>
                  <a:pt x="131" y="193"/>
                </a:lnTo>
                <a:lnTo>
                  <a:pt x="134" y="204"/>
                </a:lnTo>
                <a:lnTo>
                  <a:pt x="138" y="208"/>
                </a:lnTo>
                <a:lnTo>
                  <a:pt x="140" y="212"/>
                </a:lnTo>
                <a:lnTo>
                  <a:pt x="143" y="213"/>
                </a:lnTo>
                <a:lnTo>
                  <a:pt x="146" y="214"/>
                </a:lnTo>
                <a:lnTo>
                  <a:pt x="146" y="301"/>
                </a:lnTo>
                <a:lnTo>
                  <a:pt x="133" y="301"/>
                </a:lnTo>
                <a:lnTo>
                  <a:pt x="131" y="314"/>
                </a:lnTo>
                <a:lnTo>
                  <a:pt x="125" y="332"/>
                </a:lnTo>
                <a:lnTo>
                  <a:pt x="122" y="341"/>
                </a:lnTo>
                <a:lnTo>
                  <a:pt x="119" y="348"/>
                </a:lnTo>
                <a:lnTo>
                  <a:pt x="116" y="352"/>
                </a:lnTo>
                <a:lnTo>
                  <a:pt x="113" y="355"/>
                </a:lnTo>
                <a:lnTo>
                  <a:pt x="113" y="374"/>
                </a:lnTo>
                <a:lnTo>
                  <a:pt x="111" y="375"/>
                </a:lnTo>
                <a:lnTo>
                  <a:pt x="110" y="375"/>
                </a:lnTo>
                <a:lnTo>
                  <a:pt x="107" y="377"/>
                </a:lnTo>
                <a:lnTo>
                  <a:pt x="107" y="378"/>
                </a:lnTo>
                <a:lnTo>
                  <a:pt x="106" y="383"/>
                </a:lnTo>
                <a:lnTo>
                  <a:pt x="106" y="387"/>
                </a:lnTo>
                <a:lnTo>
                  <a:pt x="79" y="414"/>
                </a:lnTo>
                <a:lnTo>
                  <a:pt x="79" y="427"/>
                </a:lnTo>
                <a:lnTo>
                  <a:pt x="73" y="434"/>
                </a:lnTo>
                <a:lnTo>
                  <a:pt x="68" y="435"/>
                </a:lnTo>
                <a:lnTo>
                  <a:pt x="64" y="438"/>
                </a:lnTo>
                <a:lnTo>
                  <a:pt x="60" y="443"/>
                </a:lnTo>
                <a:lnTo>
                  <a:pt x="59" y="447"/>
                </a:lnTo>
                <a:lnTo>
                  <a:pt x="57" y="448"/>
                </a:lnTo>
                <a:lnTo>
                  <a:pt x="55" y="450"/>
                </a:lnTo>
                <a:lnTo>
                  <a:pt x="53" y="452"/>
                </a:lnTo>
                <a:lnTo>
                  <a:pt x="50" y="455"/>
                </a:lnTo>
                <a:lnTo>
                  <a:pt x="47" y="462"/>
                </a:lnTo>
                <a:lnTo>
                  <a:pt x="46" y="467"/>
                </a:lnTo>
                <a:lnTo>
                  <a:pt x="33" y="467"/>
                </a:lnTo>
                <a:lnTo>
                  <a:pt x="33" y="481"/>
                </a:lnTo>
                <a:lnTo>
                  <a:pt x="28" y="482"/>
                </a:lnTo>
                <a:lnTo>
                  <a:pt x="24" y="485"/>
                </a:lnTo>
                <a:lnTo>
                  <a:pt x="20" y="490"/>
                </a:lnTo>
                <a:lnTo>
                  <a:pt x="19" y="494"/>
                </a:lnTo>
                <a:lnTo>
                  <a:pt x="9" y="504"/>
                </a:lnTo>
                <a:lnTo>
                  <a:pt x="0" y="514"/>
                </a:lnTo>
                <a:lnTo>
                  <a:pt x="0" y="588"/>
                </a:lnTo>
                <a:lnTo>
                  <a:pt x="2" y="590"/>
                </a:lnTo>
                <a:lnTo>
                  <a:pt x="7" y="597"/>
                </a:lnTo>
                <a:lnTo>
                  <a:pt x="11" y="607"/>
                </a:lnTo>
                <a:lnTo>
                  <a:pt x="16" y="618"/>
                </a:lnTo>
                <a:lnTo>
                  <a:pt x="23" y="640"/>
                </a:lnTo>
                <a:lnTo>
                  <a:pt x="26" y="654"/>
                </a:lnTo>
                <a:lnTo>
                  <a:pt x="33" y="662"/>
                </a:lnTo>
                <a:lnTo>
                  <a:pt x="39" y="670"/>
                </a:lnTo>
                <a:lnTo>
                  <a:pt x="47" y="681"/>
                </a:lnTo>
                <a:lnTo>
                  <a:pt x="53" y="687"/>
                </a:lnTo>
                <a:lnTo>
                  <a:pt x="53" y="707"/>
                </a:lnTo>
                <a:lnTo>
                  <a:pt x="60" y="714"/>
                </a:lnTo>
                <a:lnTo>
                  <a:pt x="68" y="724"/>
                </a:lnTo>
                <a:lnTo>
                  <a:pt x="73" y="729"/>
                </a:lnTo>
                <a:lnTo>
                  <a:pt x="76" y="734"/>
                </a:lnTo>
                <a:lnTo>
                  <a:pt x="78" y="737"/>
                </a:lnTo>
                <a:lnTo>
                  <a:pt x="79" y="741"/>
                </a:lnTo>
                <a:lnTo>
                  <a:pt x="82" y="741"/>
                </a:lnTo>
                <a:lnTo>
                  <a:pt x="85" y="743"/>
                </a:lnTo>
                <a:lnTo>
                  <a:pt x="87" y="745"/>
                </a:lnTo>
                <a:lnTo>
                  <a:pt x="88" y="749"/>
                </a:lnTo>
                <a:lnTo>
                  <a:pt x="92" y="755"/>
                </a:lnTo>
                <a:lnTo>
                  <a:pt x="93" y="761"/>
                </a:lnTo>
                <a:lnTo>
                  <a:pt x="98" y="765"/>
                </a:lnTo>
                <a:lnTo>
                  <a:pt x="105" y="773"/>
                </a:lnTo>
                <a:lnTo>
                  <a:pt x="112" y="784"/>
                </a:lnTo>
                <a:lnTo>
                  <a:pt x="119" y="797"/>
                </a:lnTo>
                <a:lnTo>
                  <a:pt x="124" y="810"/>
                </a:lnTo>
                <a:lnTo>
                  <a:pt x="129" y="823"/>
                </a:lnTo>
                <a:lnTo>
                  <a:pt x="132" y="837"/>
                </a:lnTo>
                <a:lnTo>
                  <a:pt x="133" y="847"/>
                </a:lnTo>
                <a:lnTo>
                  <a:pt x="177" y="9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52" name="Freeform 13">
            <a:extLst>
              <a:ext uri="{FF2B5EF4-FFF2-40B4-BE49-F238E27FC236}">
                <a16:creationId xmlns:a16="http://schemas.microsoft.com/office/drawing/2014/main" id="{EE10F4EB-926F-4CFB-8566-13F9C41FA328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651750" y="3730625"/>
            <a:ext cx="637266" cy="438150"/>
          </a:xfrm>
          <a:custGeom>
            <a:avLst/>
            <a:gdLst/>
            <a:ahLst/>
            <a:cxnLst>
              <a:cxn ang="0">
                <a:pos x="390" y="237"/>
              </a:cxn>
              <a:cxn ang="0">
                <a:pos x="276" y="310"/>
              </a:cxn>
              <a:cxn ang="0">
                <a:pos x="198" y="352"/>
              </a:cxn>
              <a:cxn ang="0">
                <a:pos x="51" y="389"/>
              </a:cxn>
              <a:cxn ang="0">
                <a:pos x="0" y="426"/>
              </a:cxn>
              <a:cxn ang="0">
                <a:pos x="167" y="461"/>
              </a:cxn>
              <a:cxn ang="0">
                <a:pos x="262" y="410"/>
              </a:cxn>
              <a:cxn ang="0">
                <a:pos x="366" y="446"/>
              </a:cxn>
              <a:cxn ang="0">
                <a:pos x="621" y="506"/>
              </a:cxn>
              <a:cxn ang="0">
                <a:pos x="728" y="575"/>
              </a:cxn>
              <a:cxn ang="0">
                <a:pos x="809" y="629"/>
              </a:cxn>
              <a:cxn ang="0">
                <a:pos x="912" y="695"/>
              </a:cxn>
              <a:cxn ang="0">
                <a:pos x="974" y="742"/>
              </a:cxn>
              <a:cxn ang="0">
                <a:pos x="1027" y="1030"/>
              </a:cxn>
              <a:cxn ang="0">
                <a:pos x="1126" y="974"/>
              </a:cxn>
              <a:cxn ang="0">
                <a:pos x="1310" y="1136"/>
              </a:cxn>
              <a:cxn ang="0">
                <a:pos x="1531" y="1391"/>
              </a:cxn>
              <a:cxn ang="0">
                <a:pos x="1589" y="1471"/>
              </a:cxn>
              <a:cxn ang="0">
                <a:pos x="1757" y="1567"/>
              </a:cxn>
              <a:cxn ang="0">
                <a:pos x="1975" y="1607"/>
              </a:cxn>
              <a:cxn ang="0">
                <a:pos x="2328" y="1649"/>
              </a:cxn>
              <a:cxn ang="0">
                <a:pos x="2386" y="1751"/>
              </a:cxn>
              <a:cxn ang="0">
                <a:pos x="2448" y="1891"/>
              </a:cxn>
              <a:cxn ang="0">
                <a:pos x="2499" y="2015"/>
              </a:cxn>
              <a:cxn ang="0">
                <a:pos x="2602" y="2099"/>
              </a:cxn>
              <a:cxn ang="0">
                <a:pos x="2700" y="2226"/>
              </a:cxn>
              <a:cxn ang="0">
                <a:pos x="2770" y="2371"/>
              </a:cxn>
              <a:cxn ang="0">
                <a:pos x="2803" y="2449"/>
              </a:cxn>
              <a:cxn ang="0">
                <a:pos x="2890" y="2510"/>
              </a:cxn>
              <a:cxn ang="0">
                <a:pos x="3011" y="2564"/>
              </a:cxn>
              <a:cxn ang="0">
                <a:pos x="3116" y="2588"/>
              </a:cxn>
              <a:cxn ang="0">
                <a:pos x="3204" y="2650"/>
              </a:cxn>
              <a:cxn ang="0">
                <a:pos x="3308" y="2704"/>
              </a:cxn>
              <a:cxn ang="0">
                <a:pos x="3522" y="2627"/>
              </a:cxn>
              <a:cxn ang="0">
                <a:pos x="3468" y="2531"/>
              </a:cxn>
              <a:cxn ang="0">
                <a:pos x="3400" y="2388"/>
              </a:cxn>
              <a:cxn ang="0">
                <a:pos x="3385" y="2176"/>
              </a:cxn>
              <a:cxn ang="0">
                <a:pos x="3226" y="2130"/>
              </a:cxn>
              <a:cxn ang="0">
                <a:pos x="2924" y="2134"/>
              </a:cxn>
              <a:cxn ang="0">
                <a:pos x="2817" y="2025"/>
              </a:cxn>
              <a:cxn ang="0">
                <a:pos x="2686" y="1894"/>
              </a:cxn>
              <a:cxn ang="0">
                <a:pos x="2646" y="1654"/>
              </a:cxn>
              <a:cxn ang="0">
                <a:pos x="2558" y="1522"/>
              </a:cxn>
              <a:cxn ang="0">
                <a:pos x="2489" y="1168"/>
              </a:cxn>
              <a:cxn ang="0">
                <a:pos x="2428" y="1090"/>
              </a:cxn>
              <a:cxn ang="0">
                <a:pos x="2386" y="879"/>
              </a:cxn>
              <a:cxn ang="0">
                <a:pos x="2189" y="842"/>
              </a:cxn>
              <a:cxn ang="0">
                <a:pos x="2076" y="899"/>
              </a:cxn>
              <a:cxn ang="0">
                <a:pos x="1914" y="854"/>
              </a:cxn>
              <a:cxn ang="0">
                <a:pos x="1702" y="748"/>
              </a:cxn>
              <a:cxn ang="0">
                <a:pos x="1586" y="706"/>
              </a:cxn>
              <a:cxn ang="0">
                <a:pos x="1529" y="669"/>
              </a:cxn>
              <a:cxn ang="0">
                <a:pos x="1468" y="634"/>
              </a:cxn>
              <a:cxn ang="0">
                <a:pos x="1315" y="567"/>
              </a:cxn>
              <a:cxn ang="0">
                <a:pos x="1193" y="497"/>
              </a:cxn>
              <a:cxn ang="0">
                <a:pos x="1142" y="347"/>
              </a:cxn>
              <a:cxn ang="0">
                <a:pos x="1121" y="180"/>
              </a:cxn>
              <a:cxn ang="0">
                <a:pos x="1024" y="84"/>
              </a:cxn>
              <a:cxn ang="0">
                <a:pos x="974" y="29"/>
              </a:cxn>
              <a:cxn ang="0">
                <a:pos x="917" y="3"/>
              </a:cxn>
              <a:cxn ang="0">
                <a:pos x="656" y="32"/>
              </a:cxn>
              <a:cxn ang="0">
                <a:pos x="537" y="78"/>
              </a:cxn>
            </a:cxnLst>
            <a:rect l="0" t="0" r="r" b="b"/>
            <a:pathLst>
              <a:path w="3522" h="2714">
                <a:moveTo>
                  <a:pt x="432" y="122"/>
                </a:moveTo>
                <a:lnTo>
                  <a:pt x="416" y="134"/>
                </a:lnTo>
                <a:lnTo>
                  <a:pt x="408" y="140"/>
                </a:lnTo>
                <a:lnTo>
                  <a:pt x="406" y="142"/>
                </a:lnTo>
                <a:lnTo>
                  <a:pt x="404" y="147"/>
                </a:lnTo>
                <a:lnTo>
                  <a:pt x="404" y="151"/>
                </a:lnTo>
                <a:lnTo>
                  <a:pt x="404" y="158"/>
                </a:lnTo>
                <a:lnTo>
                  <a:pt x="401" y="159"/>
                </a:lnTo>
                <a:lnTo>
                  <a:pt x="400" y="164"/>
                </a:lnTo>
                <a:lnTo>
                  <a:pt x="399" y="170"/>
                </a:lnTo>
                <a:lnTo>
                  <a:pt x="398" y="177"/>
                </a:lnTo>
                <a:lnTo>
                  <a:pt x="397" y="192"/>
                </a:lnTo>
                <a:lnTo>
                  <a:pt x="397" y="202"/>
                </a:lnTo>
                <a:lnTo>
                  <a:pt x="394" y="203"/>
                </a:lnTo>
                <a:lnTo>
                  <a:pt x="392" y="206"/>
                </a:lnTo>
                <a:lnTo>
                  <a:pt x="391" y="211"/>
                </a:lnTo>
                <a:lnTo>
                  <a:pt x="390" y="216"/>
                </a:lnTo>
                <a:lnTo>
                  <a:pt x="390" y="228"/>
                </a:lnTo>
                <a:lnTo>
                  <a:pt x="390" y="237"/>
                </a:lnTo>
                <a:lnTo>
                  <a:pt x="383" y="244"/>
                </a:lnTo>
                <a:lnTo>
                  <a:pt x="368" y="260"/>
                </a:lnTo>
                <a:lnTo>
                  <a:pt x="360" y="269"/>
                </a:lnTo>
                <a:lnTo>
                  <a:pt x="353" y="276"/>
                </a:lnTo>
                <a:lnTo>
                  <a:pt x="349" y="283"/>
                </a:lnTo>
                <a:lnTo>
                  <a:pt x="346" y="288"/>
                </a:lnTo>
                <a:lnTo>
                  <a:pt x="341" y="288"/>
                </a:lnTo>
                <a:lnTo>
                  <a:pt x="336" y="289"/>
                </a:lnTo>
                <a:lnTo>
                  <a:pt x="334" y="290"/>
                </a:lnTo>
                <a:lnTo>
                  <a:pt x="333" y="291"/>
                </a:lnTo>
                <a:lnTo>
                  <a:pt x="332" y="293"/>
                </a:lnTo>
                <a:lnTo>
                  <a:pt x="332" y="295"/>
                </a:lnTo>
                <a:lnTo>
                  <a:pt x="288" y="295"/>
                </a:lnTo>
                <a:lnTo>
                  <a:pt x="282" y="302"/>
                </a:lnTo>
                <a:lnTo>
                  <a:pt x="282" y="307"/>
                </a:lnTo>
                <a:lnTo>
                  <a:pt x="281" y="309"/>
                </a:lnTo>
                <a:lnTo>
                  <a:pt x="279" y="309"/>
                </a:lnTo>
                <a:lnTo>
                  <a:pt x="278" y="310"/>
                </a:lnTo>
                <a:lnTo>
                  <a:pt x="276" y="310"/>
                </a:lnTo>
                <a:lnTo>
                  <a:pt x="275" y="310"/>
                </a:lnTo>
                <a:lnTo>
                  <a:pt x="275" y="312"/>
                </a:lnTo>
                <a:lnTo>
                  <a:pt x="274" y="317"/>
                </a:lnTo>
                <a:lnTo>
                  <a:pt x="259" y="317"/>
                </a:lnTo>
                <a:lnTo>
                  <a:pt x="253" y="324"/>
                </a:lnTo>
                <a:lnTo>
                  <a:pt x="253" y="328"/>
                </a:lnTo>
                <a:lnTo>
                  <a:pt x="252" y="330"/>
                </a:lnTo>
                <a:lnTo>
                  <a:pt x="250" y="331"/>
                </a:lnTo>
                <a:lnTo>
                  <a:pt x="249" y="331"/>
                </a:lnTo>
                <a:lnTo>
                  <a:pt x="248" y="331"/>
                </a:lnTo>
                <a:lnTo>
                  <a:pt x="247" y="332"/>
                </a:lnTo>
                <a:lnTo>
                  <a:pt x="246" y="334"/>
                </a:lnTo>
                <a:lnTo>
                  <a:pt x="246" y="338"/>
                </a:lnTo>
                <a:lnTo>
                  <a:pt x="231" y="338"/>
                </a:lnTo>
                <a:lnTo>
                  <a:pt x="230" y="342"/>
                </a:lnTo>
                <a:lnTo>
                  <a:pt x="227" y="346"/>
                </a:lnTo>
                <a:lnTo>
                  <a:pt x="221" y="348"/>
                </a:lnTo>
                <a:lnTo>
                  <a:pt x="215" y="350"/>
                </a:lnTo>
                <a:lnTo>
                  <a:pt x="198" y="352"/>
                </a:lnTo>
                <a:lnTo>
                  <a:pt x="179" y="353"/>
                </a:lnTo>
                <a:lnTo>
                  <a:pt x="140" y="353"/>
                </a:lnTo>
                <a:lnTo>
                  <a:pt x="115" y="352"/>
                </a:lnTo>
                <a:lnTo>
                  <a:pt x="114" y="356"/>
                </a:lnTo>
                <a:lnTo>
                  <a:pt x="111" y="358"/>
                </a:lnTo>
                <a:lnTo>
                  <a:pt x="106" y="360"/>
                </a:lnTo>
                <a:lnTo>
                  <a:pt x="101" y="362"/>
                </a:lnTo>
                <a:lnTo>
                  <a:pt x="89" y="366"/>
                </a:lnTo>
                <a:lnTo>
                  <a:pt x="80" y="367"/>
                </a:lnTo>
                <a:lnTo>
                  <a:pt x="78" y="369"/>
                </a:lnTo>
                <a:lnTo>
                  <a:pt x="75" y="371"/>
                </a:lnTo>
                <a:lnTo>
                  <a:pt x="71" y="373"/>
                </a:lnTo>
                <a:lnTo>
                  <a:pt x="65" y="376"/>
                </a:lnTo>
                <a:lnTo>
                  <a:pt x="60" y="378"/>
                </a:lnTo>
                <a:lnTo>
                  <a:pt x="55" y="380"/>
                </a:lnTo>
                <a:lnTo>
                  <a:pt x="54" y="382"/>
                </a:lnTo>
                <a:lnTo>
                  <a:pt x="52" y="384"/>
                </a:lnTo>
                <a:lnTo>
                  <a:pt x="52" y="386"/>
                </a:lnTo>
                <a:lnTo>
                  <a:pt x="51" y="389"/>
                </a:lnTo>
                <a:lnTo>
                  <a:pt x="43" y="389"/>
                </a:lnTo>
                <a:lnTo>
                  <a:pt x="37" y="390"/>
                </a:lnTo>
                <a:lnTo>
                  <a:pt x="35" y="391"/>
                </a:lnTo>
                <a:lnTo>
                  <a:pt x="35" y="392"/>
                </a:lnTo>
                <a:lnTo>
                  <a:pt x="35" y="394"/>
                </a:lnTo>
                <a:lnTo>
                  <a:pt x="35" y="395"/>
                </a:lnTo>
                <a:lnTo>
                  <a:pt x="33" y="396"/>
                </a:lnTo>
                <a:lnTo>
                  <a:pt x="29" y="396"/>
                </a:lnTo>
                <a:lnTo>
                  <a:pt x="29" y="400"/>
                </a:lnTo>
                <a:lnTo>
                  <a:pt x="28" y="402"/>
                </a:lnTo>
                <a:lnTo>
                  <a:pt x="27" y="402"/>
                </a:lnTo>
                <a:lnTo>
                  <a:pt x="26" y="404"/>
                </a:lnTo>
                <a:lnTo>
                  <a:pt x="24" y="404"/>
                </a:lnTo>
                <a:lnTo>
                  <a:pt x="23" y="404"/>
                </a:lnTo>
                <a:lnTo>
                  <a:pt x="23" y="406"/>
                </a:lnTo>
                <a:lnTo>
                  <a:pt x="22" y="410"/>
                </a:lnTo>
                <a:lnTo>
                  <a:pt x="8" y="410"/>
                </a:lnTo>
                <a:lnTo>
                  <a:pt x="0" y="417"/>
                </a:lnTo>
                <a:lnTo>
                  <a:pt x="0" y="426"/>
                </a:lnTo>
                <a:lnTo>
                  <a:pt x="0" y="439"/>
                </a:lnTo>
                <a:lnTo>
                  <a:pt x="0" y="452"/>
                </a:lnTo>
                <a:lnTo>
                  <a:pt x="0" y="461"/>
                </a:lnTo>
                <a:lnTo>
                  <a:pt x="12" y="464"/>
                </a:lnTo>
                <a:lnTo>
                  <a:pt x="22" y="468"/>
                </a:lnTo>
                <a:lnTo>
                  <a:pt x="23" y="469"/>
                </a:lnTo>
                <a:lnTo>
                  <a:pt x="26" y="471"/>
                </a:lnTo>
                <a:lnTo>
                  <a:pt x="30" y="472"/>
                </a:lnTo>
                <a:lnTo>
                  <a:pt x="36" y="472"/>
                </a:lnTo>
                <a:lnTo>
                  <a:pt x="51" y="474"/>
                </a:lnTo>
                <a:lnTo>
                  <a:pt x="67" y="474"/>
                </a:lnTo>
                <a:lnTo>
                  <a:pt x="101" y="475"/>
                </a:lnTo>
                <a:lnTo>
                  <a:pt x="123" y="475"/>
                </a:lnTo>
                <a:lnTo>
                  <a:pt x="124" y="473"/>
                </a:lnTo>
                <a:lnTo>
                  <a:pt x="129" y="469"/>
                </a:lnTo>
                <a:lnTo>
                  <a:pt x="134" y="467"/>
                </a:lnTo>
                <a:lnTo>
                  <a:pt x="142" y="465"/>
                </a:lnTo>
                <a:lnTo>
                  <a:pt x="157" y="462"/>
                </a:lnTo>
                <a:lnTo>
                  <a:pt x="167" y="461"/>
                </a:lnTo>
                <a:lnTo>
                  <a:pt x="167" y="458"/>
                </a:lnTo>
                <a:lnTo>
                  <a:pt x="168" y="456"/>
                </a:lnTo>
                <a:lnTo>
                  <a:pt x="169" y="455"/>
                </a:lnTo>
                <a:lnTo>
                  <a:pt x="171" y="455"/>
                </a:lnTo>
                <a:lnTo>
                  <a:pt x="176" y="454"/>
                </a:lnTo>
                <a:lnTo>
                  <a:pt x="180" y="454"/>
                </a:lnTo>
                <a:lnTo>
                  <a:pt x="195" y="439"/>
                </a:lnTo>
                <a:lnTo>
                  <a:pt x="202" y="438"/>
                </a:lnTo>
                <a:lnTo>
                  <a:pt x="210" y="437"/>
                </a:lnTo>
                <a:lnTo>
                  <a:pt x="217" y="435"/>
                </a:lnTo>
                <a:lnTo>
                  <a:pt x="224" y="432"/>
                </a:lnTo>
                <a:lnTo>
                  <a:pt x="230" y="429"/>
                </a:lnTo>
                <a:lnTo>
                  <a:pt x="238" y="427"/>
                </a:lnTo>
                <a:lnTo>
                  <a:pt x="245" y="425"/>
                </a:lnTo>
                <a:lnTo>
                  <a:pt x="253" y="425"/>
                </a:lnTo>
                <a:lnTo>
                  <a:pt x="259" y="417"/>
                </a:lnTo>
                <a:lnTo>
                  <a:pt x="260" y="414"/>
                </a:lnTo>
                <a:lnTo>
                  <a:pt x="260" y="411"/>
                </a:lnTo>
                <a:lnTo>
                  <a:pt x="262" y="410"/>
                </a:lnTo>
                <a:lnTo>
                  <a:pt x="264" y="410"/>
                </a:lnTo>
                <a:lnTo>
                  <a:pt x="265" y="410"/>
                </a:lnTo>
                <a:lnTo>
                  <a:pt x="266" y="409"/>
                </a:lnTo>
                <a:lnTo>
                  <a:pt x="267" y="407"/>
                </a:lnTo>
                <a:lnTo>
                  <a:pt x="267" y="404"/>
                </a:lnTo>
                <a:lnTo>
                  <a:pt x="325" y="404"/>
                </a:lnTo>
                <a:lnTo>
                  <a:pt x="325" y="406"/>
                </a:lnTo>
                <a:lnTo>
                  <a:pt x="326" y="407"/>
                </a:lnTo>
                <a:lnTo>
                  <a:pt x="327" y="408"/>
                </a:lnTo>
                <a:lnTo>
                  <a:pt x="330" y="409"/>
                </a:lnTo>
                <a:lnTo>
                  <a:pt x="334" y="410"/>
                </a:lnTo>
                <a:lnTo>
                  <a:pt x="339" y="410"/>
                </a:lnTo>
                <a:lnTo>
                  <a:pt x="340" y="416"/>
                </a:lnTo>
                <a:lnTo>
                  <a:pt x="341" y="421"/>
                </a:lnTo>
                <a:lnTo>
                  <a:pt x="343" y="426"/>
                </a:lnTo>
                <a:lnTo>
                  <a:pt x="346" y="432"/>
                </a:lnTo>
                <a:lnTo>
                  <a:pt x="351" y="439"/>
                </a:lnTo>
                <a:lnTo>
                  <a:pt x="353" y="446"/>
                </a:lnTo>
                <a:lnTo>
                  <a:pt x="366" y="446"/>
                </a:lnTo>
                <a:lnTo>
                  <a:pt x="368" y="450"/>
                </a:lnTo>
                <a:lnTo>
                  <a:pt x="368" y="453"/>
                </a:lnTo>
                <a:lnTo>
                  <a:pt x="369" y="454"/>
                </a:lnTo>
                <a:lnTo>
                  <a:pt x="371" y="454"/>
                </a:lnTo>
                <a:lnTo>
                  <a:pt x="372" y="454"/>
                </a:lnTo>
                <a:lnTo>
                  <a:pt x="373" y="454"/>
                </a:lnTo>
                <a:lnTo>
                  <a:pt x="374" y="456"/>
                </a:lnTo>
                <a:lnTo>
                  <a:pt x="374" y="461"/>
                </a:lnTo>
                <a:lnTo>
                  <a:pt x="498" y="461"/>
                </a:lnTo>
                <a:lnTo>
                  <a:pt x="519" y="461"/>
                </a:lnTo>
                <a:lnTo>
                  <a:pt x="534" y="475"/>
                </a:lnTo>
                <a:lnTo>
                  <a:pt x="555" y="475"/>
                </a:lnTo>
                <a:lnTo>
                  <a:pt x="570" y="490"/>
                </a:lnTo>
                <a:lnTo>
                  <a:pt x="584" y="490"/>
                </a:lnTo>
                <a:lnTo>
                  <a:pt x="589" y="492"/>
                </a:lnTo>
                <a:lnTo>
                  <a:pt x="600" y="496"/>
                </a:lnTo>
                <a:lnTo>
                  <a:pt x="611" y="502"/>
                </a:lnTo>
                <a:lnTo>
                  <a:pt x="620" y="504"/>
                </a:lnTo>
                <a:lnTo>
                  <a:pt x="621" y="506"/>
                </a:lnTo>
                <a:lnTo>
                  <a:pt x="622" y="509"/>
                </a:lnTo>
                <a:lnTo>
                  <a:pt x="624" y="510"/>
                </a:lnTo>
                <a:lnTo>
                  <a:pt x="628" y="512"/>
                </a:lnTo>
                <a:lnTo>
                  <a:pt x="630" y="514"/>
                </a:lnTo>
                <a:lnTo>
                  <a:pt x="632" y="517"/>
                </a:lnTo>
                <a:lnTo>
                  <a:pt x="634" y="521"/>
                </a:lnTo>
                <a:lnTo>
                  <a:pt x="634" y="525"/>
                </a:lnTo>
                <a:lnTo>
                  <a:pt x="647" y="530"/>
                </a:lnTo>
                <a:lnTo>
                  <a:pt x="663" y="533"/>
                </a:lnTo>
                <a:lnTo>
                  <a:pt x="670" y="548"/>
                </a:lnTo>
                <a:lnTo>
                  <a:pt x="677" y="548"/>
                </a:lnTo>
                <a:lnTo>
                  <a:pt x="684" y="550"/>
                </a:lnTo>
                <a:lnTo>
                  <a:pt x="690" y="552"/>
                </a:lnTo>
                <a:lnTo>
                  <a:pt x="698" y="557"/>
                </a:lnTo>
                <a:lnTo>
                  <a:pt x="704" y="561"/>
                </a:lnTo>
                <a:lnTo>
                  <a:pt x="709" y="565"/>
                </a:lnTo>
                <a:lnTo>
                  <a:pt x="713" y="571"/>
                </a:lnTo>
                <a:lnTo>
                  <a:pt x="714" y="575"/>
                </a:lnTo>
                <a:lnTo>
                  <a:pt x="728" y="575"/>
                </a:lnTo>
                <a:lnTo>
                  <a:pt x="736" y="590"/>
                </a:lnTo>
                <a:lnTo>
                  <a:pt x="743" y="598"/>
                </a:lnTo>
                <a:lnTo>
                  <a:pt x="749" y="599"/>
                </a:lnTo>
                <a:lnTo>
                  <a:pt x="756" y="602"/>
                </a:lnTo>
                <a:lnTo>
                  <a:pt x="759" y="605"/>
                </a:lnTo>
                <a:lnTo>
                  <a:pt x="762" y="607"/>
                </a:lnTo>
                <a:lnTo>
                  <a:pt x="764" y="609"/>
                </a:lnTo>
                <a:lnTo>
                  <a:pt x="764" y="612"/>
                </a:lnTo>
                <a:lnTo>
                  <a:pt x="778" y="612"/>
                </a:lnTo>
                <a:lnTo>
                  <a:pt x="780" y="616"/>
                </a:lnTo>
                <a:lnTo>
                  <a:pt x="780" y="618"/>
                </a:lnTo>
                <a:lnTo>
                  <a:pt x="781" y="619"/>
                </a:lnTo>
                <a:lnTo>
                  <a:pt x="782" y="619"/>
                </a:lnTo>
                <a:lnTo>
                  <a:pt x="784" y="619"/>
                </a:lnTo>
                <a:lnTo>
                  <a:pt x="785" y="620"/>
                </a:lnTo>
                <a:lnTo>
                  <a:pt x="785" y="622"/>
                </a:lnTo>
                <a:lnTo>
                  <a:pt x="786" y="627"/>
                </a:lnTo>
                <a:lnTo>
                  <a:pt x="807" y="627"/>
                </a:lnTo>
                <a:lnTo>
                  <a:pt x="809" y="629"/>
                </a:lnTo>
                <a:lnTo>
                  <a:pt x="812" y="631"/>
                </a:lnTo>
                <a:lnTo>
                  <a:pt x="817" y="635"/>
                </a:lnTo>
                <a:lnTo>
                  <a:pt x="823" y="637"/>
                </a:lnTo>
                <a:lnTo>
                  <a:pt x="835" y="639"/>
                </a:lnTo>
                <a:lnTo>
                  <a:pt x="843" y="641"/>
                </a:lnTo>
                <a:lnTo>
                  <a:pt x="844" y="644"/>
                </a:lnTo>
                <a:lnTo>
                  <a:pt x="845" y="646"/>
                </a:lnTo>
                <a:lnTo>
                  <a:pt x="849" y="649"/>
                </a:lnTo>
                <a:lnTo>
                  <a:pt x="851" y="651"/>
                </a:lnTo>
                <a:lnTo>
                  <a:pt x="860" y="657"/>
                </a:lnTo>
                <a:lnTo>
                  <a:pt x="869" y="663"/>
                </a:lnTo>
                <a:lnTo>
                  <a:pt x="878" y="668"/>
                </a:lnTo>
                <a:lnTo>
                  <a:pt x="886" y="674"/>
                </a:lnTo>
                <a:lnTo>
                  <a:pt x="889" y="676"/>
                </a:lnTo>
                <a:lnTo>
                  <a:pt x="892" y="678"/>
                </a:lnTo>
                <a:lnTo>
                  <a:pt x="893" y="682"/>
                </a:lnTo>
                <a:lnTo>
                  <a:pt x="895" y="684"/>
                </a:lnTo>
                <a:lnTo>
                  <a:pt x="901" y="692"/>
                </a:lnTo>
                <a:lnTo>
                  <a:pt x="912" y="695"/>
                </a:lnTo>
                <a:lnTo>
                  <a:pt x="922" y="698"/>
                </a:lnTo>
                <a:lnTo>
                  <a:pt x="924" y="702"/>
                </a:lnTo>
                <a:lnTo>
                  <a:pt x="925" y="705"/>
                </a:lnTo>
                <a:lnTo>
                  <a:pt x="928" y="708"/>
                </a:lnTo>
                <a:lnTo>
                  <a:pt x="931" y="712"/>
                </a:lnTo>
                <a:lnTo>
                  <a:pt x="935" y="715"/>
                </a:lnTo>
                <a:lnTo>
                  <a:pt x="938" y="717"/>
                </a:lnTo>
                <a:lnTo>
                  <a:pt x="941" y="719"/>
                </a:lnTo>
                <a:lnTo>
                  <a:pt x="945" y="721"/>
                </a:lnTo>
                <a:lnTo>
                  <a:pt x="951" y="727"/>
                </a:lnTo>
                <a:lnTo>
                  <a:pt x="951" y="732"/>
                </a:lnTo>
                <a:lnTo>
                  <a:pt x="953" y="734"/>
                </a:lnTo>
                <a:lnTo>
                  <a:pt x="954" y="734"/>
                </a:lnTo>
                <a:lnTo>
                  <a:pt x="955" y="734"/>
                </a:lnTo>
                <a:lnTo>
                  <a:pt x="957" y="735"/>
                </a:lnTo>
                <a:lnTo>
                  <a:pt x="958" y="735"/>
                </a:lnTo>
                <a:lnTo>
                  <a:pt x="958" y="737"/>
                </a:lnTo>
                <a:lnTo>
                  <a:pt x="959" y="742"/>
                </a:lnTo>
                <a:lnTo>
                  <a:pt x="974" y="742"/>
                </a:lnTo>
                <a:lnTo>
                  <a:pt x="980" y="748"/>
                </a:lnTo>
                <a:lnTo>
                  <a:pt x="987" y="756"/>
                </a:lnTo>
                <a:lnTo>
                  <a:pt x="989" y="763"/>
                </a:lnTo>
                <a:lnTo>
                  <a:pt x="992" y="770"/>
                </a:lnTo>
                <a:lnTo>
                  <a:pt x="994" y="773"/>
                </a:lnTo>
                <a:lnTo>
                  <a:pt x="997" y="775"/>
                </a:lnTo>
                <a:lnTo>
                  <a:pt x="999" y="777"/>
                </a:lnTo>
                <a:lnTo>
                  <a:pt x="1002" y="777"/>
                </a:lnTo>
                <a:lnTo>
                  <a:pt x="1009" y="792"/>
                </a:lnTo>
                <a:lnTo>
                  <a:pt x="1009" y="820"/>
                </a:lnTo>
                <a:lnTo>
                  <a:pt x="1009" y="849"/>
                </a:lnTo>
                <a:lnTo>
                  <a:pt x="1009" y="878"/>
                </a:lnTo>
                <a:lnTo>
                  <a:pt x="1009" y="907"/>
                </a:lnTo>
                <a:lnTo>
                  <a:pt x="1009" y="937"/>
                </a:lnTo>
                <a:lnTo>
                  <a:pt x="1009" y="966"/>
                </a:lnTo>
                <a:lnTo>
                  <a:pt x="1009" y="995"/>
                </a:lnTo>
                <a:lnTo>
                  <a:pt x="1009" y="1023"/>
                </a:lnTo>
                <a:lnTo>
                  <a:pt x="1016" y="1030"/>
                </a:lnTo>
                <a:lnTo>
                  <a:pt x="1027" y="1030"/>
                </a:lnTo>
                <a:lnTo>
                  <a:pt x="1039" y="1030"/>
                </a:lnTo>
                <a:lnTo>
                  <a:pt x="1039" y="1015"/>
                </a:lnTo>
                <a:lnTo>
                  <a:pt x="1045" y="1009"/>
                </a:lnTo>
                <a:lnTo>
                  <a:pt x="1051" y="1007"/>
                </a:lnTo>
                <a:lnTo>
                  <a:pt x="1055" y="1004"/>
                </a:lnTo>
                <a:lnTo>
                  <a:pt x="1059" y="1000"/>
                </a:lnTo>
                <a:lnTo>
                  <a:pt x="1060" y="994"/>
                </a:lnTo>
                <a:lnTo>
                  <a:pt x="1074" y="994"/>
                </a:lnTo>
                <a:lnTo>
                  <a:pt x="1074" y="992"/>
                </a:lnTo>
                <a:lnTo>
                  <a:pt x="1075" y="990"/>
                </a:lnTo>
                <a:lnTo>
                  <a:pt x="1076" y="987"/>
                </a:lnTo>
                <a:lnTo>
                  <a:pt x="1079" y="985"/>
                </a:lnTo>
                <a:lnTo>
                  <a:pt x="1084" y="983"/>
                </a:lnTo>
                <a:lnTo>
                  <a:pt x="1090" y="982"/>
                </a:lnTo>
                <a:lnTo>
                  <a:pt x="1104" y="979"/>
                </a:lnTo>
                <a:lnTo>
                  <a:pt x="1118" y="979"/>
                </a:lnTo>
                <a:lnTo>
                  <a:pt x="1119" y="977"/>
                </a:lnTo>
                <a:lnTo>
                  <a:pt x="1121" y="975"/>
                </a:lnTo>
                <a:lnTo>
                  <a:pt x="1126" y="974"/>
                </a:lnTo>
                <a:lnTo>
                  <a:pt x="1132" y="974"/>
                </a:lnTo>
                <a:lnTo>
                  <a:pt x="1147" y="973"/>
                </a:lnTo>
                <a:lnTo>
                  <a:pt x="1165" y="974"/>
                </a:lnTo>
                <a:lnTo>
                  <a:pt x="1196" y="977"/>
                </a:lnTo>
                <a:lnTo>
                  <a:pt x="1212" y="979"/>
                </a:lnTo>
                <a:lnTo>
                  <a:pt x="1212" y="982"/>
                </a:lnTo>
                <a:lnTo>
                  <a:pt x="1214" y="985"/>
                </a:lnTo>
                <a:lnTo>
                  <a:pt x="1216" y="987"/>
                </a:lnTo>
                <a:lnTo>
                  <a:pt x="1218" y="990"/>
                </a:lnTo>
                <a:lnTo>
                  <a:pt x="1223" y="993"/>
                </a:lnTo>
                <a:lnTo>
                  <a:pt x="1225" y="994"/>
                </a:lnTo>
                <a:lnTo>
                  <a:pt x="1225" y="1009"/>
                </a:lnTo>
                <a:lnTo>
                  <a:pt x="1239" y="1009"/>
                </a:lnTo>
                <a:lnTo>
                  <a:pt x="1239" y="1023"/>
                </a:lnTo>
                <a:lnTo>
                  <a:pt x="1239" y="1038"/>
                </a:lnTo>
                <a:lnTo>
                  <a:pt x="1254" y="1131"/>
                </a:lnTo>
                <a:lnTo>
                  <a:pt x="1262" y="1138"/>
                </a:lnTo>
                <a:lnTo>
                  <a:pt x="1286" y="1137"/>
                </a:lnTo>
                <a:lnTo>
                  <a:pt x="1310" y="1136"/>
                </a:lnTo>
                <a:lnTo>
                  <a:pt x="1334" y="1134"/>
                </a:lnTo>
                <a:lnTo>
                  <a:pt x="1359" y="1131"/>
                </a:lnTo>
                <a:lnTo>
                  <a:pt x="1383" y="1128"/>
                </a:lnTo>
                <a:lnTo>
                  <a:pt x="1407" y="1126"/>
                </a:lnTo>
                <a:lnTo>
                  <a:pt x="1431" y="1125"/>
                </a:lnTo>
                <a:lnTo>
                  <a:pt x="1456" y="1123"/>
                </a:lnTo>
                <a:lnTo>
                  <a:pt x="1457" y="1127"/>
                </a:lnTo>
                <a:lnTo>
                  <a:pt x="1460" y="1130"/>
                </a:lnTo>
                <a:lnTo>
                  <a:pt x="1466" y="1134"/>
                </a:lnTo>
                <a:lnTo>
                  <a:pt x="1472" y="1137"/>
                </a:lnTo>
                <a:lnTo>
                  <a:pt x="1484" y="1142"/>
                </a:lnTo>
                <a:lnTo>
                  <a:pt x="1492" y="1145"/>
                </a:lnTo>
                <a:lnTo>
                  <a:pt x="1500" y="1152"/>
                </a:lnTo>
                <a:lnTo>
                  <a:pt x="1501" y="1190"/>
                </a:lnTo>
                <a:lnTo>
                  <a:pt x="1503" y="1227"/>
                </a:lnTo>
                <a:lnTo>
                  <a:pt x="1505" y="1263"/>
                </a:lnTo>
                <a:lnTo>
                  <a:pt x="1506" y="1296"/>
                </a:lnTo>
                <a:lnTo>
                  <a:pt x="1529" y="1390"/>
                </a:lnTo>
                <a:lnTo>
                  <a:pt x="1531" y="1391"/>
                </a:lnTo>
                <a:lnTo>
                  <a:pt x="1533" y="1394"/>
                </a:lnTo>
                <a:lnTo>
                  <a:pt x="1536" y="1397"/>
                </a:lnTo>
                <a:lnTo>
                  <a:pt x="1538" y="1401"/>
                </a:lnTo>
                <a:lnTo>
                  <a:pt x="1541" y="1411"/>
                </a:lnTo>
                <a:lnTo>
                  <a:pt x="1543" y="1419"/>
                </a:lnTo>
                <a:lnTo>
                  <a:pt x="1550" y="1426"/>
                </a:lnTo>
                <a:lnTo>
                  <a:pt x="1556" y="1434"/>
                </a:lnTo>
                <a:lnTo>
                  <a:pt x="1564" y="1440"/>
                </a:lnTo>
                <a:lnTo>
                  <a:pt x="1571" y="1448"/>
                </a:lnTo>
                <a:lnTo>
                  <a:pt x="1575" y="1448"/>
                </a:lnTo>
                <a:lnTo>
                  <a:pt x="1578" y="1449"/>
                </a:lnTo>
                <a:lnTo>
                  <a:pt x="1579" y="1450"/>
                </a:lnTo>
                <a:lnTo>
                  <a:pt x="1579" y="1452"/>
                </a:lnTo>
                <a:lnTo>
                  <a:pt x="1579" y="1453"/>
                </a:lnTo>
                <a:lnTo>
                  <a:pt x="1580" y="1454"/>
                </a:lnTo>
                <a:lnTo>
                  <a:pt x="1582" y="1455"/>
                </a:lnTo>
                <a:lnTo>
                  <a:pt x="1586" y="1455"/>
                </a:lnTo>
                <a:lnTo>
                  <a:pt x="1586" y="1469"/>
                </a:lnTo>
                <a:lnTo>
                  <a:pt x="1589" y="1471"/>
                </a:lnTo>
                <a:lnTo>
                  <a:pt x="1592" y="1474"/>
                </a:lnTo>
                <a:lnTo>
                  <a:pt x="1596" y="1478"/>
                </a:lnTo>
                <a:lnTo>
                  <a:pt x="1599" y="1485"/>
                </a:lnTo>
                <a:lnTo>
                  <a:pt x="1604" y="1496"/>
                </a:lnTo>
                <a:lnTo>
                  <a:pt x="1608" y="1505"/>
                </a:lnTo>
                <a:lnTo>
                  <a:pt x="1611" y="1507"/>
                </a:lnTo>
                <a:lnTo>
                  <a:pt x="1615" y="1511"/>
                </a:lnTo>
                <a:lnTo>
                  <a:pt x="1620" y="1516"/>
                </a:lnTo>
                <a:lnTo>
                  <a:pt x="1625" y="1523"/>
                </a:lnTo>
                <a:lnTo>
                  <a:pt x="1632" y="1535"/>
                </a:lnTo>
                <a:lnTo>
                  <a:pt x="1636" y="1541"/>
                </a:lnTo>
                <a:lnTo>
                  <a:pt x="1641" y="1543"/>
                </a:lnTo>
                <a:lnTo>
                  <a:pt x="1646" y="1546"/>
                </a:lnTo>
                <a:lnTo>
                  <a:pt x="1649" y="1551"/>
                </a:lnTo>
                <a:lnTo>
                  <a:pt x="1650" y="1555"/>
                </a:lnTo>
                <a:lnTo>
                  <a:pt x="1673" y="1557"/>
                </a:lnTo>
                <a:lnTo>
                  <a:pt x="1698" y="1559"/>
                </a:lnTo>
                <a:lnTo>
                  <a:pt x="1726" y="1563"/>
                </a:lnTo>
                <a:lnTo>
                  <a:pt x="1757" y="1567"/>
                </a:lnTo>
                <a:lnTo>
                  <a:pt x="1789" y="1571"/>
                </a:lnTo>
                <a:lnTo>
                  <a:pt x="1819" y="1574"/>
                </a:lnTo>
                <a:lnTo>
                  <a:pt x="1848" y="1577"/>
                </a:lnTo>
                <a:lnTo>
                  <a:pt x="1874" y="1578"/>
                </a:lnTo>
                <a:lnTo>
                  <a:pt x="1875" y="1577"/>
                </a:lnTo>
                <a:lnTo>
                  <a:pt x="1877" y="1575"/>
                </a:lnTo>
                <a:lnTo>
                  <a:pt x="1879" y="1574"/>
                </a:lnTo>
                <a:lnTo>
                  <a:pt x="1884" y="1573"/>
                </a:lnTo>
                <a:lnTo>
                  <a:pt x="1892" y="1572"/>
                </a:lnTo>
                <a:lnTo>
                  <a:pt x="1905" y="1571"/>
                </a:lnTo>
                <a:lnTo>
                  <a:pt x="1928" y="1570"/>
                </a:lnTo>
                <a:lnTo>
                  <a:pt x="1946" y="1570"/>
                </a:lnTo>
                <a:lnTo>
                  <a:pt x="1953" y="1578"/>
                </a:lnTo>
                <a:lnTo>
                  <a:pt x="1956" y="1586"/>
                </a:lnTo>
                <a:lnTo>
                  <a:pt x="1962" y="1594"/>
                </a:lnTo>
                <a:lnTo>
                  <a:pt x="1965" y="1599"/>
                </a:lnTo>
                <a:lnTo>
                  <a:pt x="1968" y="1602"/>
                </a:lnTo>
                <a:lnTo>
                  <a:pt x="1972" y="1606"/>
                </a:lnTo>
                <a:lnTo>
                  <a:pt x="1975" y="1607"/>
                </a:lnTo>
                <a:lnTo>
                  <a:pt x="1982" y="1613"/>
                </a:lnTo>
                <a:lnTo>
                  <a:pt x="1986" y="1625"/>
                </a:lnTo>
                <a:lnTo>
                  <a:pt x="1990" y="1635"/>
                </a:lnTo>
                <a:lnTo>
                  <a:pt x="2024" y="1634"/>
                </a:lnTo>
                <a:lnTo>
                  <a:pt x="2061" y="1631"/>
                </a:lnTo>
                <a:lnTo>
                  <a:pt x="2096" y="1629"/>
                </a:lnTo>
                <a:lnTo>
                  <a:pt x="2126" y="1628"/>
                </a:lnTo>
                <a:lnTo>
                  <a:pt x="2127" y="1626"/>
                </a:lnTo>
                <a:lnTo>
                  <a:pt x="2128" y="1623"/>
                </a:lnTo>
                <a:lnTo>
                  <a:pt x="2131" y="1622"/>
                </a:lnTo>
                <a:lnTo>
                  <a:pt x="2135" y="1620"/>
                </a:lnTo>
                <a:lnTo>
                  <a:pt x="2145" y="1619"/>
                </a:lnTo>
                <a:lnTo>
                  <a:pt x="2158" y="1619"/>
                </a:lnTo>
                <a:lnTo>
                  <a:pt x="2191" y="1622"/>
                </a:lnTo>
                <a:lnTo>
                  <a:pt x="2227" y="1628"/>
                </a:lnTo>
                <a:lnTo>
                  <a:pt x="2264" y="1635"/>
                </a:lnTo>
                <a:lnTo>
                  <a:pt x="2297" y="1642"/>
                </a:lnTo>
                <a:lnTo>
                  <a:pt x="2319" y="1647"/>
                </a:lnTo>
                <a:lnTo>
                  <a:pt x="2328" y="1649"/>
                </a:lnTo>
                <a:lnTo>
                  <a:pt x="2329" y="1655"/>
                </a:lnTo>
                <a:lnTo>
                  <a:pt x="2332" y="1659"/>
                </a:lnTo>
                <a:lnTo>
                  <a:pt x="2337" y="1663"/>
                </a:lnTo>
                <a:lnTo>
                  <a:pt x="2342" y="1664"/>
                </a:lnTo>
                <a:lnTo>
                  <a:pt x="2350" y="1686"/>
                </a:lnTo>
                <a:lnTo>
                  <a:pt x="2364" y="1693"/>
                </a:lnTo>
                <a:lnTo>
                  <a:pt x="2371" y="1700"/>
                </a:lnTo>
                <a:lnTo>
                  <a:pt x="2371" y="1714"/>
                </a:lnTo>
                <a:lnTo>
                  <a:pt x="2374" y="1715"/>
                </a:lnTo>
                <a:lnTo>
                  <a:pt x="2376" y="1717"/>
                </a:lnTo>
                <a:lnTo>
                  <a:pt x="2377" y="1719"/>
                </a:lnTo>
                <a:lnTo>
                  <a:pt x="2378" y="1723"/>
                </a:lnTo>
                <a:lnTo>
                  <a:pt x="2378" y="1729"/>
                </a:lnTo>
                <a:lnTo>
                  <a:pt x="2378" y="1736"/>
                </a:lnTo>
                <a:lnTo>
                  <a:pt x="2380" y="1736"/>
                </a:lnTo>
                <a:lnTo>
                  <a:pt x="2383" y="1738"/>
                </a:lnTo>
                <a:lnTo>
                  <a:pt x="2384" y="1741"/>
                </a:lnTo>
                <a:lnTo>
                  <a:pt x="2385" y="1744"/>
                </a:lnTo>
                <a:lnTo>
                  <a:pt x="2386" y="1751"/>
                </a:lnTo>
                <a:lnTo>
                  <a:pt x="2386" y="1757"/>
                </a:lnTo>
                <a:lnTo>
                  <a:pt x="2400" y="1765"/>
                </a:lnTo>
                <a:lnTo>
                  <a:pt x="2400" y="1780"/>
                </a:lnTo>
                <a:lnTo>
                  <a:pt x="2403" y="1780"/>
                </a:lnTo>
                <a:lnTo>
                  <a:pt x="2404" y="1781"/>
                </a:lnTo>
                <a:lnTo>
                  <a:pt x="2406" y="1782"/>
                </a:lnTo>
                <a:lnTo>
                  <a:pt x="2406" y="1784"/>
                </a:lnTo>
                <a:lnTo>
                  <a:pt x="2407" y="1789"/>
                </a:lnTo>
                <a:lnTo>
                  <a:pt x="2407" y="1793"/>
                </a:lnTo>
                <a:lnTo>
                  <a:pt x="2410" y="1798"/>
                </a:lnTo>
                <a:lnTo>
                  <a:pt x="2416" y="1807"/>
                </a:lnTo>
                <a:lnTo>
                  <a:pt x="2422" y="1820"/>
                </a:lnTo>
                <a:lnTo>
                  <a:pt x="2428" y="1836"/>
                </a:lnTo>
                <a:lnTo>
                  <a:pt x="2434" y="1851"/>
                </a:lnTo>
                <a:lnTo>
                  <a:pt x="2438" y="1867"/>
                </a:lnTo>
                <a:lnTo>
                  <a:pt x="2442" y="1879"/>
                </a:lnTo>
                <a:lnTo>
                  <a:pt x="2443" y="1887"/>
                </a:lnTo>
                <a:lnTo>
                  <a:pt x="2446" y="1888"/>
                </a:lnTo>
                <a:lnTo>
                  <a:pt x="2448" y="1891"/>
                </a:lnTo>
                <a:lnTo>
                  <a:pt x="2451" y="1897"/>
                </a:lnTo>
                <a:lnTo>
                  <a:pt x="2453" y="1902"/>
                </a:lnTo>
                <a:lnTo>
                  <a:pt x="2456" y="1915"/>
                </a:lnTo>
                <a:lnTo>
                  <a:pt x="2457" y="1924"/>
                </a:lnTo>
                <a:lnTo>
                  <a:pt x="2460" y="1924"/>
                </a:lnTo>
                <a:lnTo>
                  <a:pt x="2462" y="1925"/>
                </a:lnTo>
                <a:lnTo>
                  <a:pt x="2463" y="1926"/>
                </a:lnTo>
                <a:lnTo>
                  <a:pt x="2464" y="1928"/>
                </a:lnTo>
                <a:lnTo>
                  <a:pt x="2465" y="1933"/>
                </a:lnTo>
                <a:lnTo>
                  <a:pt x="2465" y="1938"/>
                </a:lnTo>
                <a:lnTo>
                  <a:pt x="2471" y="1944"/>
                </a:lnTo>
                <a:lnTo>
                  <a:pt x="2475" y="1952"/>
                </a:lnTo>
                <a:lnTo>
                  <a:pt x="2481" y="1962"/>
                </a:lnTo>
                <a:lnTo>
                  <a:pt x="2485" y="1971"/>
                </a:lnTo>
                <a:lnTo>
                  <a:pt x="2489" y="1982"/>
                </a:lnTo>
                <a:lnTo>
                  <a:pt x="2491" y="1992"/>
                </a:lnTo>
                <a:lnTo>
                  <a:pt x="2493" y="2001"/>
                </a:lnTo>
                <a:lnTo>
                  <a:pt x="2494" y="2010"/>
                </a:lnTo>
                <a:lnTo>
                  <a:pt x="2499" y="2015"/>
                </a:lnTo>
                <a:lnTo>
                  <a:pt x="2503" y="2021"/>
                </a:lnTo>
                <a:lnTo>
                  <a:pt x="2506" y="2026"/>
                </a:lnTo>
                <a:lnTo>
                  <a:pt x="2510" y="2032"/>
                </a:lnTo>
                <a:lnTo>
                  <a:pt x="2512" y="2039"/>
                </a:lnTo>
                <a:lnTo>
                  <a:pt x="2514" y="2045"/>
                </a:lnTo>
                <a:lnTo>
                  <a:pt x="2515" y="2052"/>
                </a:lnTo>
                <a:lnTo>
                  <a:pt x="2515" y="2060"/>
                </a:lnTo>
                <a:lnTo>
                  <a:pt x="2518" y="2061"/>
                </a:lnTo>
                <a:lnTo>
                  <a:pt x="2520" y="2061"/>
                </a:lnTo>
                <a:lnTo>
                  <a:pt x="2521" y="2063"/>
                </a:lnTo>
                <a:lnTo>
                  <a:pt x="2522" y="2064"/>
                </a:lnTo>
                <a:lnTo>
                  <a:pt x="2522" y="2069"/>
                </a:lnTo>
                <a:lnTo>
                  <a:pt x="2522" y="2074"/>
                </a:lnTo>
                <a:lnTo>
                  <a:pt x="2528" y="2080"/>
                </a:lnTo>
                <a:lnTo>
                  <a:pt x="2532" y="2086"/>
                </a:lnTo>
                <a:lnTo>
                  <a:pt x="2535" y="2091"/>
                </a:lnTo>
                <a:lnTo>
                  <a:pt x="2537" y="2097"/>
                </a:lnTo>
                <a:lnTo>
                  <a:pt x="2601" y="2097"/>
                </a:lnTo>
                <a:lnTo>
                  <a:pt x="2602" y="2099"/>
                </a:lnTo>
                <a:lnTo>
                  <a:pt x="2604" y="2100"/>
                </a:lnTo>
                <a:lnTo>
                  <a:pt x="2607" y="2102"/>
                </a:lnTo>
                <a:lnTo>
                  <a:pt x="2609" y="2104"/>
                </a:lnTo>
                <a:lnTo>
                  <a:pt x="2611" y="2107"/>
                </a:lnTo>
                <a:lnTo>
                  <a:pt x="2614" y="2109"/>
                </a:lnTo>
                <a:lnTo>
                  <a:pt x="2616" y="2113"/>
                </a:lnTo>
                <a:lnTo>
                  <a:pt x="2616" y="2118"/>
                </a:lnTo>
                <a:lnTo>
                  <a:pt x="2620" y="2119"/>
                </a:lnTo>
                <a:lnTo>
                  <a:pt x="2624" y="2121"/>
                </a:lnTo>
                <a:lnTo>
                  <a:pt x="2626" y="2126"/>
                </a:lnTo>
                <a:lnTo>
                  <a:pt x="2629" y="2130"/>
                </a:lnTo>
                <a:lnTo>
                  <a:pt x="2633" y="2144"/>
                </a:lnTo>
                <a:lnTo>
                  <a:pt x="2635" y="2160"/>
                </a:lnTo>
                <a:lnTo>
                  <a:pt x="2637" y="2194"/>
                </a:lnTo>
                <a:lnTo>
                  <a:pt x="2638" y="2218"/>
                </a:lnTo>
                <a:lnTo>
                  <a:pt x="2645" y="2226"/>
                </a:lnTo>
                <a:lnTo>
                  <a:pt x="2663" y="2226"/>
                </a:lnTo>
                <a:lnTo>
                  <a:pt x="2681" y="2226"/>
                </a:lnTo>
                <a:lnTo>
                  <a:pt x="2700" y="2226"/>
                </a:lnTo>
                <a:lnTo>
                  <a:pt x="2717" y="2226"/>
                </a:lnTo>
                <a:lnTo>
                  <a:pt x="2721" y="2236"/>
                </a:lnTo>
                <a:lnTo>
                  <a:pt x="2724" y="2247"/>
                </a:lnTo>
                <a:lnTo>
                  <a:pt x="2732" y="2255"/>
                </a:lnTo>
                <a:lnTo>
                  <a:pt x="2746" y="2262"/>
                </a:lnTo>
                <a:lnTo>
                  <a:pt x="2746" y="2276"/>
                </a:lnTo>
                <a:lnTo>
                  <a:pt x="2750" y="2276"/>
                </a:lnTo>
                <a:lnTo>
                  <a:pt x="2752" y="2277"/>
                </a:lnTo>
                <a:lnTo>
                  <a:pt x="2753" y="2279"/>
                </a:lnTo>
                <a:lnTo>
                  <a:pt x="2753" y="2280"/>
                </a:lnTo>
                <a:lnTo>
                  <a:pt x="2753" y="2281"/>
                </a:lnTo>
                <a:lnTo>
                  <a:pt x="2754" y="2282"/>
                </a:lnTo>
                <a:lnTo>
                  <a:pt x="2757" y="2283"/>
                </a:lnTo>
                <a:lnTo>
                  <a:pt x="2760" y="2283"/>
                </a:lnTo>
                <a:lnTo>
                  <a:pt x="2761" y="2306"/>
                </a:lnTo>
                <a:lnTo>
                  <a:pt x="2764" y="2330"/>
                </a:lnTo>
                <a:lnTo>
                  <a:pt x="2767" y="2351"/>
                </a:lnTo>
                <a:lnTo>
                  <a:pt x="2768" y="2370"/>
                </a:lnTo>
                <a:lnTo>
                  <a:pt x="2770" y="2371"/>
                </a:lnTo>
                <a:lnTo>
                  <a:pt x="2772" y="2373"/>
                </a:lnTo>
                <a:lnTo>
                  <a:pt x="2773" y="2377"/>
                </a:lnTo>
                <a:lnTo>
                  <a:pt x="2774" y="2381"/>
                </a:lnTo>
                <a:lnTo>
                  <a:pt x="2774" y="2391"/>
                </a:lnTo>
                <a:lnTo>
                  <a:pt x="2774" y="2399"/>
                </a:lnTo>
                <a:lnTo>
                  <a:pt x="2778" y="2399"/>
                </a:lnTo>
                <a:lnTo>
                  <a:pt x="2779" y="2401"/>
                </a:lnTo>
                <a:lnTo>
                  <a:pt x="2780" y="2404"/>
                </a:lnTo>
                <a:lnTo>
                  <a:pt x="2781" y="2407"/>
                </a:lnTo>
                <a:lnTo>
                  <a:pt x="2782" y="2414"/>
                </a:lnTo>
                <a:lnTo>
                  <a:pt x="2782" y="2420"/>
                </a:lnTo>
                <a:lnTo>
                  <a:pt x="2784" y="2420"/>
                </a:lnTo>
                <a:lnTo>
                  <a:pt x="2787" y="2421"/>
                </a:lnTo>
                <a:lnTo>
                  <a:pt x="2788" y="2423"/>
                </a:lnTo>
                <a:lnTo>
                  <a:pt x="2789" y="2425"/>
                </a:lnTo>
                <a:lnTo>
                  <a:pt x="2789" y="2429"/>
                </a:lnTo>
                <a:lnTo>
                  <a:pt x="2789" y="2435"/>
                </a:lnTo>
                <a:lnTo>
                  <a:pt x="2803" y="2435"/>
                </a:lnTo>
                <a:lnTo>
                  <a:pt x="2803" y="2449"/>
                </a:lnTo>
                <a:lnTo>
                  <a:pt x="2806" y="2449"/>
                </a:lnTo>
                <a:lnTo>
                  <a:pt x="2808" y="2450"/>
                </a:lnTo>
                <a:lnTo>
                  <a:pt x="2809" y="2452"/>
                </a:lnTo>
                <a:lnTo>
                  <a:pt x="2810" y="2454"/>
                </a:lnTo>
                <a:lnTo>
                  <a:pt x="2811" y="2458"/>
                </a:lnTo>
                <a:lnTo>
                  <a:pt x="2811" y="2464"/>
                </a:lnTo>
                <a:lnTo>
                  <a:pt x="2813" y="2464"/>
                </a:lnTo>
                <a:lnTo>
                  <a:pt x="2815" y="2465"/>
                </a:lnTo>
                <a:lnTo>
                  <a:pt x="2817" y="2466"/>
                </a:lnTo>
                <a:lnTo>
                  <a:pt x="2817" y="2468"/>
                </a:lnTo>
                <a:lnTo>
                  <a:pt x="2818" y="2473"/>
                </a:lnTo>
                <a:lnTo>
                  <a:pt x="2818" y="2478"/>
                </a:lnTo>
                <a:lnTo>
                  <a:pt x="2826" y="2485"/>
                </a:lnTo>
                <a:lnTo>
                  <a:pt x="2836" y="2486"/>
                </a:lnTo>
                <a:lnTo>
                  <a:pt x="2847" y="2490"/>
                </a:lnTo>
                <a:lnTo>
                  <a:pt x="2858" y="2494"/>
                </a:lnTo>
                <a:lnTo>
                  <a:pt x="2868" y="2500"/>
                </a:lnTo>
                <a:lnTo>
                  <a:pt x="2879" y="2505"/>
                </a:lnTo>
                <a:lnTo>
                  <a:pt x="2890" y="2510"/>
                </a:lnTo>
                <a:lnTo>
                  <a:pt x="2901" y="2513"/>
                </a:lnTo>
                <a:lnTo>
                  <a:pt x="2912" y="2514"/>
                </a:lnTo>
                <a:lnTo>
                  <a:pt x="2919" y="2521"/>
                </a:lnTo>
                <a:lnTo>
                  <a:pt x="2921" y="2526"/>
                </a:lnTo>
                <a:lnTo>
                  <a:pt x="2924" y="2531"/>
                </a:lnTo>
                <a:lnTo>
                  <a:pt x="2928" y="2534"/>
                </a:lnTo>
                <a:lnTo>
                  <a:pt x="2933" y="2535"/>
                </a:lnTo>
                <a:lnTo>
                  <a:pt x="2937" y="2546"/>
                </a:lnTo>
                <a:lnTo>
                  <a:pt x="2941" y="2558"/>
                </a:lnTo>
                <a:lnTo>
                  <a:pt x="2949" y="2558"/>
                </a:lnTo>
                <a:lnTo>
                  <a:pt x="2957" y="2560"/>
                </a:lnTo>
                <a:lnTo>
                  <a:pt x="2966" y="2562"/>
                </a:lnTo>
                <a:lnTo>
                  <a:pt x="2975" y="2564"/>
                </a:lnTo>
                <a:lnTo>
                  <a:pt x="2984" y="2567"/>
                </a:lnTo>
                <a:lnTo>
                  <a:pt x="2993" y="2569"/>
                </a:lnTo>
                <a:lnTo>
                  <a:pt x="3001" y="2571"/>
                </a:lnTo>
                <a:lnTo>
                  <a:pt x="3010" y="2571"/>
                </a:lnTo>
                <a:lnTo>
                  <a:pt x="3010" y="2567"/>
                </a:lnTo>
                <a:lnTo>
                  <a:pt x="3011" y="2564"/>
                </a:lnTo>
                <a:lnTo>
                  <a:pt x="3012" y="2564"/>
                </a:lnTo>
                <a:lnTo>
                  <a:pt x="3013" y="2564"/>
                </a:lnTo>
                <a:lnTo>
                  <a:pt x="3014" y="2564"/>
                </a:lnTo>
                <a:lnTo>
                  <a:pt x="3015" y="2563"/>
                </a:lnTo>
                <a:lnTo>
                  <a:pt x="3017" y="2561"/>
                </a:lnTo>
                <a:lnTo>
                  <a:pt x="3017" y="2556"/>
                </a:lnTo>
                <a:lnTo>
                  <a:pt x="3030" y="2555"/>
                </a:lnTo>
                <a:lnTo>
                  <a:pt x="3047" y="2553"/>
                </a:lnTo>
                <a:lnTo>
                  <a:pt x="3065" y="2551"/>
                </a:lnTo>
                <a:lnTo>
                  <a:pt x="3081" y="2550"/>
                </a:lnTo>
                <a:lnTo>
                  <a:pt x="3089" y="2564"/>
                </a:lnTo>
                <a:lnTo>
                  <a:pt x="3099" y="2568"/>
                </a:lnTo>
                <a:lnTo>
                  <a:pt x="3110" y="2571"/>
                </a:lnTo>
                <a:lnTo>
                  <a:pt x="3110" y="2580"/>
                </a:lnTo>
                <a:lnTo>
                  <a:pt x="3112" y="2584"/>
                </a:lnTo>
                <a:lnTo>
                  <a:pt x="3113" y="2587"/>
                </a:lnTo>
                <a:lnTo>
                  <a:pt x="3114" y="2588"/>
                </a:lnTo>
                <a:lnTo>
                  <a:pt x="3115" y="2588"/>
                </a:lnTo>
                <a:lnTo>
                  <a:pt x="3116" y="2588"/>
                </a:lnTo>
                <a:lnTo>
                  <a:pt x="3117" y="2589"/>
                </a:lnTo>
                <a:lnTo>
                  <a:pt x="3117" y="2592"/>
                </a:lnTo>
                <a:lnTo>
                  <a:pt x="3128" y="2597"/>
                </a:lnTo>
                <a:lnTo>
                  <a:pt x="3139" y="2600"/>
                </a:lnTo>
                <a:lnTo>
                  <a:pt x="3139" y="2604"/>
                </a:lnTo>
                <a:lnTo>
                  <a:pt x="3141" y="2607"/>
                </a:lnTo>
                <a:lnTo>
                  <a:pt x="3142" y="2607"/>
                </a:lnTo>
                <a:lnTo>
                  <a:pt x="3143" y="2607"/>
                </a:lnTo>
                <a:lnTo>
                  <a:pt x="3144" y="2608"/>
                </a:lnTo>
                <a:lnTo>
                  <a:pt x="3145" y="2608"/>
                </a:lnTo>
                <a:lnTo>
                  <a:pt x="3146" y="2610"/>
                </a:lnTo>
                <a:lnTo>
                  <a:pt x="3146" y="2615"/>
                </a:lnTo>
                <a:lnTo>
                  <a:pt x="3161" y="2621"/>
                </a:lnTo>
                <a:lnTo>
                  <a:pt x="3166" y="2622"/>
                </a:lnTo>
                <a:lnTo>
                  <a:pt x="3171" y="2626"/>
                </a:lnTo>
                <a:lnTo>
                  <a:pt x="3174" y="2630"/>
                </a:lnTo>
                <a:lnTo>
                  <a:pt x="3175" y="2636"/>
                </a:lnTo>
                <a:lnTo>
                  <a:pt x="3190" y="2636"/>
                </a:lnTo>
                <a:lnTo>
                  <a:pt x="3204" y="2650"/>
                </a:lnTo>
                <a:lnTo>
                  <a:pt x="3219" y="2665"/>
                </a:lnTo>
                <a:lnTo>
                  <a:pt x="3222" y="2666"/>
                </a:lnTo>
                <a:lnTo>
                  <a:pt x="3226" y="2668"/>
                </a:lnTo>
                <a:lnTo>
                  <a:pt x="3232" y="2670"/>
                </a:lnTo>
                <a:lnTo>
                  <a:pt x="3238" y="2675"/>
                </a:lnTo>
                <a:lnTo>
                  <a:pt x="3242" y="2678"/>
                </a:lnTo>
                <a:lnTo>
                  <a:pt x="3247" y="2683"/>
                </a:lnTo>
                <a:lnTo>
                  <a:pt x="3249" y="2686"/>
                </a:lnTo>
                <a:lnTo>
                  <a:pt x="3250" y="2689"/>
                </a:lnTo>
                <a:lnTo>
                  <a:pt x="3261" y="2690"/>
                </a:lnTo>
                <a:lnTo>
                  <a:pt x="3272" y="2693"/>
                </a:lnTo>
                <a:lnTo>
                  <a:pt x="3283" y="2696"/>
                </a:lnTo>
                <a:lnTo>
                  <a:pt x="3293" y="2697"/>
                </a:lnTo>
                <a:lnTo>
                  <a:pt x="3293" y="2699"/>
                </a:lnTo>
                <a:lnTo>
                  <a:pt x="3295" y="2700"/>
                </a:lnTo>
                <a:lnTo>
                  <a:pt x="3297" y="2703"/>
                </a:lnTo>
                <a:lnTo>
                  <a:pt x="3298" y="2703"/>
                </a:lnTo>
                <a:lnTo>
                  <a:pt x="3302" y="2704"/>
                </a:lnTo>
                <a:lnTo>
                  <a:pt x="3308" y="2704"/>
                </a:lnTo>
                <a:lnTo>
                  <a:pt x="3309" y="2706"/>
                </a:lnTo>
                <a:lnTo>
                  <a:pt x="3312" y="2708"/>
                </a:lnTo>
                <a:lnTo>
                  <a:pt x="3318" y="2709"/>
                </a:lnTo>
                <a:lnTo>
                  <a:pt x="3324" y="2711"/>
                </a:lnTo>
                <a:lnTo>
                  <a:pt x="3336" y="2711"/>
                </a:lnTo>
                <a:lnTo>
                  <a:pt x="3344" y="2712"/>
                </a:lnTo>
                <a:lnTo>
                  <a:pt x="3345" y="2713"/>
                </a:lnTo>
                <a:lnTo>
                  <a:pt x="3348" y="2713"/>
                </a:lnTo>
                <a:lnTo>
                  <a:pt x="3353" y="2714"/>
                </a:lnTo>
                <a:lnTo>
                  <a:pt x="3358" y="2714"/>
                </a:lnTo>
                <a:lnTo>
                  <a:pt x="3374" y="2713"/>
                </a:lnTo>
                <a:lnTo>
                  <a:pt x="3392" y="2712"/>
                </a:lnTo>
                <a:lnTo>
                  <a:pt x="3427" y="2707"/>
                </a:lnTo>
                <a:lnTo>
                  <a:pt x="3450" y="2706"/>
                </a:lnTo>
                <a:lnTo>
                  <a:pt x="3463" y="2698"/>
                </a:lnTo>
                <a:lnTo>
                  <a:pt x="3487" y="2688"/>
                </a:lnTo>
                <a:lnTo>
                  <a:pt x="3509" y="2680"/>
                </a:lnTo>
                <a:lnTo>
                  <a:pt x="3522" y="2677"/>
                </a:lnTo>
                <a:lnTo>
                  <a:pt x="3522" y="2627"/>
                </a:lnTo>
                <a:lnTo>
                  <a:pt x="3519" y="2626"/>
                </a:lnTo>
                <a:lnTo>
                  <a:pt x="3517" y="2623"/>
                </a:lnTo>
                <a:lnTo>
                  <a:pt x="3514" y="2620"/>
                </a:lnTo>
                <a:lnTo>
                  <a:pt x="3512" y="2616"/>
                </a:lnTo>
                <a:lnTo>
                  <a:pt x="3509" y="2604"/>
                </a:lnTo>
                <a:lnTo>
                  <a:pt x="3506" y="2592"/>
                </a:lnTo>
                <a:lnTo>
                  <a:pt x="3501" y="2579"/>
                </a:lnTo>
                <a:lnTo>
                  <a:pt x="3498" y="2568"/>
                </a:lnTo>
                <a:lnTo>
                  <a:pt x="3496" y="2563"/>
                </a:lnTo>
                <a:lnTo>
                  <a:pt x="3493" y="2560"/>
                </a:lnTo>
                <a:lnTo>
                  <a:pt x="3491" y="2558"/>
                </a:lnTo>
                <a:lnTo>
                  <a:pt x="3488" y="2558"/>
                </a:lnTo>
                <a:lnTo>
                  <a:pt x="3488" y="2552"/>
                </a:lnTo>
                <a:lnTo>
                  <a:pt x="3484" y="2548"/>
                </a:lnTo>
                <a:lnTo>
                  <a:pt x="3481" y="2544"/>
                </a:lnTo>
                <a:lnTo>
                  <a:pt x="3478" y="2540"/>
                </a:lnTo>
                <a:lnTo>
                  <a:pt x="3473" y="2538"/>
                </a:lnTo>
                <a:lnTo>
                  <a:pt x="3470" y="2534"/>
                </a:lnTo>
                <a:lnTo>
                  <a:pt x="3468" y="2531"/>
                </a:lnTo>
                <a:lnTo>
                  <a:pt x="3466" y="2529"/>
                </a:lnTo>
                <a:lnTo>
                  <a:pt x="3445" y="2529"/>
                </a:lnTo>
                <a:lnTo>
                  <a:pt x="3436" y="2520"/>
                </a:lnTo>
                <a:lnTo>
                  <a:pt x="3424" y="2507"/>
                </a:lnTo>
                <a:lnTo>
                  <a:pt x="3418" y="2501"/>
                </a:lnTo>
                <a:lnTo>
                  <a:pt x="3414" y="2494"/>
                </a:lnTo>
                <a:lnTo>
                  <a:pt x="3411" y="2488"/>
                </a:lnTo>
                <a:lnTo>
                  <a:pt x="3408" y="2485"/>
                </a:lnTo>
                <a:lnTo>
                  <a:pt x="3406" y="2485"/>
                </a:lnTo>
                <a:lnTo>
                  <a:pt x="3404" y="2483"/>
                </a:lnTo>
                <a:lnTo>
                  <a:pt x="3402" y="2479"/>
                </a:lnTo>
                <a:lnTo>
                  <a:pt x="3400" y="2476"/>
                </a:lnTo>
                <a:lnTo>
                  <a:pt x="3396" y="2466"/>
                </a:lnTo>
                <a:lnTo>
                  <a:pt x="3393" y="2455"/>
                </a:lnTo>
                <a:lnTo>
                  <a:pt x="3388" y="2430"/>
                </a:lnTo>
                <a:lnTo>
                  <a:pt x="3387" y="2414"/>
                </a:lnTo>
                <a:lnTo>
                  <a:pt x="3391" y="2410"/>
                </a:lnTo>
                <a:lnTo>
                  <a:pt x="3395" y="2401"/>
                </a:lnTo>
                <a:lnTo>
                  <a:pt x="3400" y="2388"/>
                </a:lnTo>
                <a:lnTo>
                  <a:pt x="3404" y="2373"/>
                </a:lnTo>
                <a:lnTo>
                  <a:pt x="3413" y="2347"/>
                </a:lnTo>
                <a:lnTo>
                  <a:pt x="3416" y="2334"/>
                </a:lnTo>
                <a:lnTo>
                  <a:pt x="3418" y="2332"/>
                </a:lnTo>
                <a:lnTo>
                  <a:pt x="3421" y="2327"/>
                </a:lnTo>
                <a:lnTo>
                  <a:pt x="3422" y="2320"/>
                </a:lnTo>
                <a:lnTo>
                  <a:pt x="3423" y="2311"/>
                </a:lnTo>
                <a:lnTo>
                  <a:pt x="3423" y="2294"/>
                </a:lnTo>
                <a:lnTo>
                  <a:pt x="3423" y="2283"/>
                </a:lnTo>
                <a:lnTo>
                  <a:pt x="3421" y="2283"/>
                </a:lnTo>
                <a:lnTo>
                  <a:pt x="3418" y="2280"/>
                </a:lnTo>
                <a:lnTo>
                  <a:pt x="3415" y="2276"/>
                </a:lnTo>
                <a:lnTo>
                  <a:pt x="3413" y="2272"/>
                </a:lnTo>
                <a:lnTo>
                  <a:pt x="3411" y="2262"/>
                </a:lnTo>
                <a:lnTo>
                  <a:pt x="3408" y="2255"/>
                </a:lnTo>
                <a:lnTo>
                  <a:pt x="3405" y="2236"/>
                </a:lnTo>
                <a:lnTo>
                  <a:pt x="3394" y="2197"/>
                </a:lnTo>
                <a:lnTo>
                  <a:pt x="3389" y="2186"/>
                </a:lnTo>
                <a:lnTo>
                  <a:pt x="3385" y="2176"/>
                </a:lnTo>
                <a:lnTo>
                  <a:pt x="3381" y="2166"/>
                </a:lnTo>
                <a:lnTo>
                  <a:pt x="3376" y="2157"/>
                </a:lnTo>
                <a:lnTo>
                  <a:pt x="3370" y="2150"/>
                </a:lnTo>
                <a:lnTo>
                  <a:pt x="3364" y="2145"/>
                </a:lnTo>
                <a:lnTo>
                  <a:pt x="3362" y="2142"/>
                </a:lnTo>
                <a:lnTo>
                  <a:pt x="3358" y="2140"/>
                </a:lnTo>
                <a:lnTo>
                  <a:pt x="3355" y="2140"/>
                </a:lnTo>
                <a:lnTo>
                  <a:pt x="3352" y="2139"/>
                </a:lnTo>
                <a:lnTo>
                  <a:pt x="3352" y="2136"/>
                </a:lnTo>
                <a:lnTo>
                  <a:pt x="3350" y="2134"/>
                </a:lnTo>
                <a:lnTo>
                  <a:pt x="3349" y="2132"/>
                </a:lnTo>
                <a:lnTo>
                  <a:pt x="3348" y="2132"/>
                </a:lnTo>
                <a:lnTo>
                  <a:pt x="3346" y="2132"/>
                </a:lnTo>
                <a:lnTo>
                  <a:pt x="3345" y="2131"/>
                </a:lnTo>
                <a:lnTo>
                  <a:pt x="3345" y="2129"/>
                </a:lnTo>
                <a:lnTo>
                  <a:pt x="3344" y="2125"/>
                </a:lnTo>
                <a:lnTo>
                  <a:pt x="3229" y="2125"/>
                </a:lnTo>
                <a:lnTo>
                  <a:pt x="3229" y="2128"/>
                </a:lnTo>
                <a:lnTo>
                  <a:pt x="3226" y="2130"/>
                </a:lnTo>
                <a:lnTo>
                  <a:pt x="3223" y="2132"/>
                </a:lnTo>
                <a:lnTo>
                  <a:pt x="3220" y="2135"/>
                </a:lnTo>
                <a:lnTo>
                  <a:pt x="3210" y="2138"/>
                </a:lnTo>
                <a:lnTo>
                  <a:pt x="3195" y="2141"/>
                </a:lnTo>
                <a:lnTo>
                  <a:pt x="3180" y="2145"/>
                </a:lnTo>
                <a:lnTo>
                  <a:pt x="3161" y="2147"/>
                </a:lnTo>
                <a:lnTo>
                  <a:pt x="3141" y="2149"/>
                </a:lnTo>
                <a:lnTo>
                  <a:pt x="3119" y="2150"/>
                </a:lnTo>
                <a:lnTo>
                  <a:pt x="3077" y="2152"/>
                </a:lnTo>
                <a:lnTo>
                  <a:pt x="3037" y="2154"/>
                </a:lnTo>
                <a:lnTo>
                  <a:pt x="3004" y="2154"/>
                </a:lnTo>
                <a:lnTo>
                  <a:pt x="2984" y="2154"/>
                </a:lnTo>
                <a:lnTo>
                  <a:pt x="2975" y="2151"/>
                </a:lnTo>
                <a:lnTo>
                  <a:pt x="2957" y="2147"/>
                </a:lnTo>
                <a:lnTo>
                  <a:pt x="2938" y="2141"/>
                </a:lnTo>
                <a:lnTo>
                  <a:pt x="2926" y="2139"/>
                </a:lnTo>
                <a:lnTo>
                  <a:pt x="2926" y="2137"/>
                </a:lnTo>
                <a:lnTo>
                  <a:pt x="2925" y="2136"/>
                </a:lnTo>
                <a:lnTo>
                  <a:pt x="2924" y="2134"/>
                </a:lnTo>
                <a:lnTo>
                  <a:pt x="2922" y="2134"/>
                </a:lnTo>
                <a:lnTo>
                  <a:pt x="2917" y="2132"/>
                </a:lnTo>
                <a:lnTo>
                  <a:pt x="2912" y="2132"/>
                </a:lnTo>
                <a:lnTo>
                  <a:pt x="2911" y="2127"/>
                </a:lnTo>
                <a:lnTo>
                  <a:pt x="2907" y="2122"/>
                </a:lnTo>
                <a:lnTo>
                  <a:pt x="2903" y="2119"/>
                </a:lnTo>
                <a:lnTo>
                  <a:pt x="2897" y="2118"/>
                </a:lnTo>
                <a:lnTo>
                  <a:pt x="2883" y="2089"/>
                </a:lnTo>
                <a:lnTo>
                  <a:pt x="2876" y="2082"/>
                </a:lnTo>
                <a:lnTo>
                  <a:pt x="2868" y="2068"/>
                </a:lnTo>
                <a:lnTo>
                  <a:pt x="2861" y="2053"/>
                </a:lnTo>
                <a:lnTo>
                  <a:pt x="2854" y="2050"/>
                </a:lnTo>
                <a:lnTo>
                  <a:pt x="2842" y="2042"/>
                </a:lnTo>
                <a:lnTo>
                  <a:pt x="2836" y="2039"/>
                </a:lnTo>
                <a:lnTo>
                  <a:pt x="2830" y="2034"/>
                </a:lnTo>
                <a:lnTo>
                  <a:pt x="2823" y="2032"/>
                </a:lnTo>
                <a:lnTo>
                  <a:pt x="2818" y="2031"/>
                </a:lnTo>
                <a:lnTo>
                  <a:pt x="2818" y="2027"/>
                </a:lnTo>
                <a:lnTo>
                  <a:pt x="2817" y="2025"/>
                </a:lnTo>
                <a:lnTo>
                  <a:pt x="2816" y="2024"/>
                </a:lnTo>
                <a:lnTo>
                  <a:pt x="2815" y="2024"/>
                </a:lnTo>
                <a:lnTo>
                  <a:pt x="2813" y="2024"/>
                </a:lnTo>
                <a:lnTo>
                  <a:pt x="2812" y="2023"/>
                </a:lnTo>
                <a:lnTo>
                  <a:pt x="2811" y="2021"/>
                </a:lnTo>
                <a:lnTo>
                  <a:pt x="2811" y="2017"/>
                </a:lnTo>
                <a:lnTo>
                  <a:pt x="2789" y="2017"/>
                </a:lnTo>
                <a:lnTo>
                  <a:pt x="2787" y="2014"/>
                </a:lnTo>
                <a:lnTo>
                  <a:pt x="2780" y="2012"/>
                </a:lnTo>
                <a:lnTo>
                  <a:pt x="2771" y="2010"/>
                </a:lnTo>
                <a:lnTo>
                  <a:pt x="2760" y="2007"/>
                </a:lnTo>
                <a:lnTo>
                  <a:pt x="2738" y="2004"/>
                </a:lnTo>
                <a:lnTo>
                  <a:pt x="2724" y="2003"/>
                </a:lnTo>
                <a:lnTo>
                  <a:pt x="2717" y="1988"/>
                </a:lnTo>
                <a:lnTo>
                  <a:pt x="2710" y="1981"/>
                </a:lnTo>
                <a:lnTo>
                  <a:pt x="2700" y="1977"/>
                </a:lnTo>
                <a:lnTo>
                  <a:pt x="2688" y="1974"/>
                </a:lnTo>
                <a:lnTo>
                  <a:pt x="2688" y="1895"/>
                </a:lnTo>
                <a:lnTo>
                  <a:pt x="2686" y="1894"/>
                </a:lnTo>
                <a:lnTo>
                  <a:pt x="2684" y="1890"/>
                </a:lnTo>
                <a:lnTo>
                  <a:pt x="2682" y="1886"/>
                </a:lnTo>
                <a:lnTo>
                  <a:pt x="2679" y="1880"/>
                </a:lnTo>
                <a:lnTo>
                  <a:pt x="2677" y="1865"/>
                </a:lnTo>
                <a:lnTo>
                  <a:pt x="2676" y="1847"/>
                </a:lnTo>
                <a:lnTo>
                  <a:pt x="2674" y="1812"/>
                </a:lnTo>
                <a:lnTo>
                  <a:pt x="2674" y="1793"/>
                </a:lnTo>
                <a:lnTo>
                  <a:pt x="2672" y="1785"/>
                </a:lnTo>
                <a:lnTo>
                  <a:pt x="2668" y="1774"/>
                </a:lnTo>
                <a:lnTo>
                  <a:pt x="2666" y="1760"/>
                </a:lnTo>
                <a:lnTo>
                  <a:pt x="2664" y="1743"/>
                </a:lnTo>
                <a:lnTo>
                  <a:pt x="2661" y="1713"/>
                </a:lnTo>
                <a:lnTo>
                  <a:pt x="2659" y="1693"/>
                </a:lnTo>
                <a:lnTo>
                  <a:pt x="2657" y="1692"/>
                </a:lnTo>
                <a:lnTo>
                  <a:pt x="2655" y="1689"/>
                </a:lnTo>
                <a:lnTo>
                  <a:pt x="2653" y="1686"/>
                </a:lnTo>
                <a:lnTo>
                  <a:pt x="2652" y="1680"/>
                </a:lnTo>
                <a:lnTo>
                  <a:pt x="2649" y="1668"/>
                </a:lnTo>
                <a:lnTo>
                  <a:pt x="2646" y="1654"/>
                </a:lnTo>
                <a:lnTo>
                  <a:pt x="2644" y="1646"/>
                </a:lnTo>
                <a:lnTo>
                  <a:pt x="2642" y="1639"/>
                </a:lnTo>
                <a:lnTo>
                  <a:pt x="2639" y="1632"/>
                </a:lnTo>
                <a:lnTo>
                  <a:pt x="2636" y="1626"/>
                </a:lnTo>
                <a:lnTo>
                  <a:pt x="2633" y="1621"/>
                </a:lnTo>
                <a:lnTo>
                  <a:pt x="2628" y="1617"/>
                </a:lnTo>
                <a:lnTo>
                  <a:pt x="2623" y="1615"/>
                </a:lnTo>
                <a:lnTo>
                  <a:pt x="2616" y="1613"/>
                </a:lnTo>
                <a:lnTo>
                  <a:pt x="2616" y="1599"/>
                </a:lnTo>
                <a:lnTo>
                  <a:pt x="2609" y="1592"/>
                </a:lnTo>
                <a:lnTo>
                  <a:pt x="2595" y="1581"/>
                </a:lnTo>
                <a:lnTo>
                  <a:pt x="2580" y="1570"/>
                </a:lnTo>
                <a:lnTo>
                  <a:pt x="2580" y="1555"/>
                </a:lnTo>
                <a:lnTo>
                  <a:pt x="2577" y="1555"/>
                </a:lnTo>
                <a:lnTo>
                  <a:pt x="2572" y="1553"/>
                </a:lnTo>
                <a:lnTo>
                  <a:pt x="2570" y="1551"/>
                </a:lnTo>
                <a:lnTo>
                  <a:pt x="2567" y="1546"/>
                </a:lnTo>
                <a:lnTo>
                  <a:pt x="2561" y="1535"/>
                </a:lnTo>
                <a:lnTo>
                  <a:pt x="2558" y="1522"/>
                </a:lnTo>
                <a:lnTo>
                  <a:pt x="2554" y="1505"/>
                </a:lnTo>
                <a:lnTo>
                  <a:pt x="2552" y="1486"/>
                </a:lnTo>
                <a:lnTo>
                  <a:pt x="2551" y="1465"/>
                </a:lnTo>
                <a:lnTo>
                  <a:pt x="2550" y="1444"/>
                </a:lnTo>
                <a:lnTo>
                  <a:pt x="2549" y="1401"/>
                </a:lnTo>
                <a:lnTo>
                  <a:pt x="2550" y="1361"/>
                </a:lnTo>
                <a:lnTo>
                  <a:pt x="2551" y="1330"/>
                </a:lnTo>
                <a:lnTo>
                  <a:pt x="2551" y="1311"/>
                </a:lnTo>
                <a:lnTo>
                  <a:pt x="2549" y="1309"/>
                </a:lnTo>
                <a:lnTo>
                  <a:pt x="2546" y="1304"/>
                </a:lnTo>
                <a:lnTo>
                  <a:pt x="2541" y="1296"/>
                </a:lnTo>
                <a:lnTo>
                  <a:pt x="2538" y="1289"/>
                </a:lnTo>
                <a:lnTo>
                  <a:pt x="2532" y="1272"/>
                </a:lnTo>
                <a:lnTo>
                  <a:pt x="2530" y="1261"/>
                </a:lnTo>
                <a:lnTo>
                  <a:pt x="2523" y="1246"/>
                </a:lnTo>
                <a:lnTo>
                  <a:pt x="2509" y="1215"/>
                </a:lnTo>
                <a:lnTo>
                  <a:pt x="2500" y="1198"/>
                </a:lnTo>
                <a:lnTo>
                  <a:pt x="2493" y="1182"/>
                </a:lnTo>
                <a:lnTo>
                  <a:pt x="2489" y="1168"/>
                </a:lnTo>
                <a:lnTo>
                  <a:pt x="2486" y="1159"/>
                </a:lnTo>
                <a:lnTo>
                  <a:pt x="2472" y="1152"/>
                </a:lnTo>
                <a:lnTo>
                  <a:pt x="2471" y="1147"/>
                </a:lnTo>
                <a:lnTo>
                  <a:pt x="2469" y="1142"/>
                </a:lnTo>
                <a:lnTo>
                  <a:pt x="2465" y="1138"/>
                </a:lnTo>
                <a:lnTo>
                  <a:pt x="2462" y="1135"/>
                </a:lnTo>
                <a:lnTo>
                  <a:pt x="2457" y="1130"/>
                </a:lnTo>
                <a:lnTo>
                  <a:pt x="2454" y="1126"/>
                </a:lnTo>
                <a:lnTo>
                  <a:pt x="2452" y="1121"/>
                </a:lnTo>
                <a:lnTo>
                  <a:pt x="2451" y="1117"/>
                </a:lnTo>
                <a:lnTo>
                  <a:pt x="2447" y="1116"/>
                </a:lnTo>
                <a:lnTo>
                  <a:pt x="2445" y="1115"/>
                </a:lnTo>
                <a:lnTo>
                  <a:pt x="2443" y="1111"/>
                </a:lnTo>
                <a:lnTo>
                  <a:pt x="2441" y="1108"/>
                </a:lnTo>
                <a:lnTo>
                  <a:pt x="2437" y="1101"/>
                </a:lnTo>
                <a:lnTo>
                  <a:pt x="2436" y="1094"/>
                </a:lnTo>
                <a:lnTo>
                  <a:pt x="2434" y="1094"/>
                </a:lnTo>
                <a:lnTo>
                  <a:pt x="2431" y="1092"/>
                </a:lnTo>
                <a:lnTo>
                  <a:pt x="2428" y="1090"/>
                </a:lnTo>
                <a:lnTo>
                  <a:pt x="2425" y="1087"/>
                </a:lnTo>
                <a:lnTo>
                  <a:pt x="2419" y="1080"/>
                </a:lnTo>
                <a:lnTo>
                  <a:pt x="2415" y="1073"/>
                </a:lnTo>
                <a:lnTo>
                  <a:pt x="2414" y="1043"/>
                </a:lnTo>
                <a:lnTo>
                  <a:pt x="2410" y="1007"/>
                </a:lnTo>
                <a:lnTo>
                  <a:pt x="2408" y="971"/>
                </a:lnTo>
                <a:lnTo>
                  <a:pt x="2407" y="936"/>
                </a:lnTo>
                <a:lnTo>
                  <a:pt x="2405" y="935"/>
                </a:lnTo>
                <a:lnTo>
                  <a:pt x="2402" y="930"/>
                </a:lnTo>
                <a:lnTo>
                  <a:pt x="2399" y="925"/>
                </a:lnTo>
                <a:lnTo>
                  <a:pt x="2397" y="917"/>
                </a:lnTo>
                <a:lnTo>
                  <a:pt x="2394" y="902"/>
                </a:lnTo>
                <a:lnTo>
                  <a:pt x="2393" y="892"/>
                </a:lnTo>
                <a:lnTo>
                  <a:pt x="2390" y="892"/>
                </a:lnTo>
                <a:lnTo>
                  <a:pt x="2389" y="891"/>
                </a:lnTo>
                <a:lnTo>
                  <a:pt x="2387" y="890"/>
                </a:lnTo>
                <a:lnTo>
                  <a:pt x="2387" y="888"/>
                </a:lnTo>
                <a:lnTo>
                  <a:pt x="2386" y="884"/>
                </a:lnTo>
                <a:lnTo>
                  <a:pt x="2386" y="879"/>
                </a:lnTo>
                <a:lnTo>
                  <a:pt x="2384" y="878"/>
                </a:lnTo>
                <a:lnTo>
                  <a:pt x="2381" y="877"/>
                </a:lnTo>
                <a:lnTo>
                  <a:pt x="2380" y="876"/>
                </a:lnTo>
                <a:lnTo>
                  <a:pt x="2379" y="875"/>
                </a:lnTo>
                <a:lnTo>
                  <a:pt x="2378" y="869"/>
                </a:lnTo>
                <a:lnTo>
                  <a:pt x="2378" y="865"/>
                </a:lnTo>
                <a:lnTo>
                  <a:pt x="2364" y="865"/>
                </a:lnTo>
                <a:lnTo>
                  <a:pt x="2364" y="850"/>
                </a:lnTo>
                <a:lnTo>
                  <a:pt x="2359" y="849"/>
                </a:lnTo>
                <a:lnTo>
                  <a:pt x="2354" y="846"/>
                </a:lnTo>
                <a:lnTo>
                  <a:pt x="2348" y="841"/>
                </a:lnTo>
                <a:lnTo>
                  <a:pt x="2342" y="836"/>
                </a:lnTo>
                <a:lnTo>
                  <a:pt x="2320" y="836"/>
                </a:lnTo>
                <a:lnTo>
                  <a:pt x="2298" y="837"/>
                </a:lnTo>
                <a:lnTo>
                  <a:pt x="2275" y="838"/>
                </a:lnTo>
                <a:lnTo>
                  <a:pt x="2253" y="839"/>
                </a:lnTo>
                <a:lnTo>
                  <a:pt x="2231" y="840"/>
                </a:lnTo>
                <a:lnTo>
                  <a:pt x="2210" y="841"/>
                </a:lnTo>
                <a:lnTo>
                  <a:pt x="2189" y="842"/>
                </a:lnTo>
                <a:lnTo>
                  <a:pt x="2169" y="842"/>
                </a:lnTo>
                <a:lnTo>
                  <a:pt x="2155" y="857"/>
                </a:lnTo>
                <a:lnTo>
                  <a:pt x="2140" y="857"/>
                </a:lnTo>
                <a:lnTo>
                  <a:pt x="2140" y="859"/>
                </a:lnTo>
                <a:lnTo>
                  <a:pt x="2139" y="861"/>
                </a:lnTo>
                <a:lnTo>
                  <a:pt x="2137" y="863"/>
                </a:lnTo>
                <a:lnTo>
                  <a:pt x="2135" y="865"/>
                </a:lnTo>
                <a:lnTo>
                  <a:pt x="2129" y="867"/>
                </a:lnTo>
                <a:lnTo>
                  <a:pt x="2122" y="869"/>
                </a:lnTo>
                <a:lnTo>
                  <a:pt x="2116" y="871"/>
                </a:lnTo>
                <a:lnTo>
                  <a:pt x="2110" y="875"/>
                </a:lnTo>
                <a:lnTo>
                  <a:pt x="2108" y="877"/>
                </a:lnTo>
                <a:lnTo>
                  <a:pt x="2106" y="879"/>
                </a:lnTo>
                <a:lnTo>
                  <a:pt x="2105" y="882"/>
                </a:lnTo>
                <a:lnTo>
                  <a:pt x="2105" y="886"/>
                </a:lnTo>
                <a:lnTo>
                  <a:pt x="2098" y="892"/>
                </a:lnTo>
                <a:lnTo>
                  <a:pt x="2090" y="895"/>
                </a:lnTo>
                <a:lnTo>
                  <a:pt x="2080" y="898"/>
                </a:lnTo>
                <a:lnTo>
                  <a:pt x="2076" y="899"/>
                </a:lnTo>
                <a:lnTo>
                  <a:pt x="2072" y="902"/>
                </a:lnTo>
                <a:lnTo>
                  <a:pt x="2070" y="905"/>
                </a:lnTo>
                <a:lnTo>
                  <a:pt x="2069" y="907"/>
                </a:lnTo>
                <a:lnTo>
                  <a:pt x="2052" y="906"/>
                </a:lnTo>
                <a:lnTo>
                  <a:pt x="2036" y="902"/>
                </a:lnTo>
                <a:lnTo>
                  <a:pt x="2021" y="898"/>
                </a:lnTo>
                <a:lnTo>
                  <a:pt x="2004" y="892"/>
                </a:lnTo>
                <a:lnTo>
                  <a:pt x="1990" y="888"/>
                </a:lnTo>
                <a:lnTo>
                  <a:pt x="1974" y="884"/>
                </a:lnTo>
                <a:lnTo>
                  <a:pt x="1959" y="880"/>
                </a:lnTo>
                <a:lnTo>
                  <a:pt x="1946" y="879"/>
                </a:lnTo>
                <a:lnTo>
                  <a:pt x="1945" y="876"/>
                </a:lnTo>
                <a:lnTo>
                  <a:pt x="1944" y="873"/>
                </a:lnTo>
                <a:lnTo>
                  <a:pt x="1942" y="871"/>
                </a:lnTo>
                <a:lnTo>
                  <a:pt x="1938" y="869"/>
                </a:lnTo>
                <a:lnTo>
                  <a:pt x="1930" y="866"/>
                </a:lnTo>
                <a:lnTo>
                  <a:pt x="1925" y="865"/>
                </a:lnTo>
                <a:lnTo>
                  <a:pt x="1922" y="860"/>
                </a:lnTo>
                <a:lnTo>
                  <a:pt x="1914" y="854"/>
                </a:lnTo>
                <a:lnTo>
                  <a:pt x="1904" y="848"/>
                </a:lnTo>
                <a:lnTo>
                  <a:pt x="1891" y="840"/>
                </a:lnTo>
                <a:lnTo>
                  <a:pt x="1867" y="827"/>
                </a:lnTo>
                <a:lnTo>
                  <a:pt x="1852" y="821"/>
                </a:lnTo>
                <a:lnTo>
                  <a:pt x="1850" y="818"/>
                </a:lnTo>
                <a:lnTo>
                  <a:pt x="1843" y="812"/>
                </a:lnTo>
                <a:lnTo>
                  <a:pt x="1833" y="807"/>
                </a:lnTo>
                <a:lnTo>
                  <a:pt x="1822" y="800"/>
                </a:lnTo>
                <a:lnTo>
                  <a:pt x="1801" y="786"/>
                </a:lnTo>
                <a:lnTo>
                  <a:pt x="1788" y="777"/>
                </a:lnTo>
                <a:lnTo>
                  <a:pt x="1776" y="776"/>
                </a:lnTo>
                <a:lnTo>
                  <a:pt x="1766" y="774"/>
                </a:lnTo>
                <a:lnTo>
                  <a:pt x="1755" y="772"/>
                </a:lnTo>
                <a:lnTo>
                  <a:pt x="1744" y="771"/>
                </a:lnTo>
                <a:lnTo>
                  <a:pt x="1742" y="767"/>
                </a:lnTo>
                <a:lnTo>
                  <a:pt x="1735" y="763"/>
                </a:lnTo>
                <a:lnTo>
                  <a:pt x="1725" y="759"/>
                </a:lnTo>
                <a:lnTo>
                  <a:pt x="1714" y="753"/>
                </a:lnTo>
                <a:lnTo>
                  <a:pt x="1702" y="748"/>
                </a:lnTo>
                <a:lnTo>
                  <a:pt x="1689" y="745"/>
                </a:lnTo>
                <a:lnTo>
                  <a:pt x="1679" y="743"/>
                </a:lnTo>
                <a:lnTo>
                  <a:pt x="1673" y="742"/>
                </a:lnTo>
                <a:lnTo>
                  <a:pt x="1671" y="740"/>
                </a:lnTo>
                <a:lnTo>
                  <a:pt x="1670" y="737"/>
                </a:lnTo>
                <a:lnTo>
                  <a:pt x="1667" y="736"/>
                </a:lnTo>
                <a:lnTo>
                  <a:pt x="1664" y="735"/>
                </a:lnTo>
                <a:lnTo>
                  <a:pt x="1657" y="735"/>
                </a:lnTo>
                <a:lnTo>
                  <a:pt x="1650" y="734"/>
                </a:lnTo>
                <a:lnTo>
                  <a:pt x="1636" y="721"/>
                </a:lnTo>
                <a:lnTo>
                  <a:pt x="1626" y="721"/>
                </a:lnTo>
                <a:lnTo>
                  <a:pt x="1615" y="721"/>
                </a:lnTo>
                <a:lnTo>
                  <a:pt x="1615" y="717"/>
                </a:lnTo>
                <a:lnTo>
                  <a:pt x="1612" y="716"/>
                </a:lnTo>
                <a:lnTo>
                  <a:pt x="1610" y="715"/>
                </a:lnTo>
                <a:lnTo>
                  <a:pt x="1607" y="714"/>
                </a:lnTo>
                <a:lnTo>
                  <a:pt x="1599" y="713"/>
                </a:lnTo>
                <a:lnTo>
                  <a:pt x="1593" y="713"/>
                </a:lnTo>
                <a:lnTo>
                  <a:pt x="1586" y="706"/>
                </a:lnTo>
                <a:lnTo>
                  <a:pt x="1586" y="702"/>
                </a:lnTo>
                <a:lnTo>
                  <a:pt x="1584" y="699"/>
                </a:lnTo>
                <a:lnTo>
                  <a:pt x="1583" y="698"/>
                </a:lnTo>
                <a:lnTo>
                  <a:pt x="1582" y="698"/>
                </a:lnTo>
                <a:lnTo>
                  <a:pt x="1581" y="698"/>
                </a:lnTo>
                <a:lnTo>
                  <a:pt x="1580" y="697"/>
                </a:lnTo>
                <a:lnTo>
                  <a:pt x="1579" y="695"/>
                </a:lnTo>
                <a:lnTo>
                  <a:pt x="1579" y="692"/>
                </a:lnTo>
                <a:lnTo>
                  <a:pt x="1572" y="690"/>
                </a:lnTo>
                <a:lnTo>
                  <a:pt x="1565" y="687"/>
                </a:lnTo>
                <a:lnTo>
                  <a:pt x="1562" y="685"/>
                </a:lnTo>
                <a:lnTo>
                  <a:pt x="1560" y="683"/>
                </a:lnTo>
                <a:lnTo>
                  <a:pt x="1558" y="679"/>
                </a:lnTo>
                <a:lnTo>
                  <a:pt x="1556" y="677"/>
                </a:lnTo>
                <a:lnTo>
                  <a:pt x="1535" y="677"/>
                </a:lnTo>
                <a:lnTo>
                  <a:pt x="1535" y="675"/>
                </a:lnTo>
                <a:lnTo>
                  <a:pt x="1533" y="673"/>
                </a:lnTo>
                <a:lnTo>
                  <a:pt x="1531" y="670"/>
                </a:lnTo>
                <a:lnTo>
                  <a:pt x="1529" y="669"/>
                </a:lnTo>
                <a:lnTo>
                  <a:pt x="1525" y="667"/>
                </a:lnTo>
                <a:lnTo>
                  <a:pt x="1523" y="664"/>
                </a:lnTo>
                <a:lnTo>
                  <a:pt x="1522" y="660"/>
                </a:lnTo>
                <a:lnTo>
                  <a:pt x="1521" y="655"/>
                </a:lnTo>
                <a:lnTo>
                  <a:pt x="1506" y="655"/>
                </a:lnTo>
                <a:lnTo>
                  <a:pt x="1506" y="651"/>
                </a:lnTo>
                <a:lnTo>
                  <a:pt x="1505" y="649"/>
                </a:lnTo>
                <a:lnTo>
                  <a:pt x="1504" y="648"/>
                </a:lnTo>
                <a:lnTo>
                  <a:pt x="1503" y="648"/>
                </a:lnTo>
                <a:lnTo>
                  <a:pt x="1502" y="648"/>
                </a:lnTo>
                <a:lnTo>
                  <a:pt x="1501" y="647"/>
                </a:lnTo>
                <a:lnTo>
                  <a:pt x="1500" y="645"/>
                </a:lnTo>
                <a:lnTo>
                  <a:pt x="1500" y="641"/>
                </a:lnTo>
                <a:lnTo>
                  <a:pt x="1477" y="641"/>
                </a:lnTo>
                <a:lnTo>
                  <a:pt x="1477" y="638"/>
                </a:lnTo>
                <a:lnTo>
                  <a:pt x="1476" y="637"/>
                </a:lnTo>
                <a:lnTo>
                  <a:pt x="1475" y="636"/>
                </a:lnTo>
                <a:lnTo>
                  <a:pt x="1473" y="635"/>
                </a:lnTo>
                <a:lnTo>
                  <a:pt x="1468" y="634"/>
                </a:lnTo>
                <a:lnTo>
                  <a:pt x="1464" y="634"/>
                </a:lnTo>
                <a:lnTo>
                  <a:pt x="1460" y="630"/>
                </a:lnTo>
                <a:lnTo>
                  <a:pt x="1454" y="627"/>
                </a:lnTo>
                <a:lnTo>
                  <a:pt x="1445" y="623"/>
                </a:lnTo>
                <a:lnTo>
                  <a:pt x="1434" y="620"/>
                </a:lnTo>
                <a:lnTo>
                  <a:pt x="1411" y="615"/>
                </a:lnTo>
                <a:lnTo>
                  <a:pt x="1398" y="612"/>
                </a:lnTo>
                <a:lnTo>
                  <a:pt x="1385" y="598"/>
                </a:lnTo>
                <a:lnTo>
                  <a:pt x="1378" y="597"/>
                </a:lnTo>
                <a:lnTo>
                  <a:pt x="1372" y="596"/>
                </a:lnTo>
                <a:lnTo>
                  <a:pt x="1366" y="593"/>
                </a:lnTo>
                <a:lnTo>
                  <a:pt x="1359" y="590"/>
                </a:lnTo>
                <a:lnTo>
                  <a:pt x="1345" y="586"/>
                </a:lnTo>
                <a:lnTo>
                  <a:pt x="1333" y="583"/>
                </a:lnTo>
                <a:lnTo>
                  <a:pt x="1333" y="581"/>
                </a:lnTo>
                <a:lnTo>
                  <a:pt x="1331" y="578"/>
                </a:lnTo>
                <a:lnTo>
                  <a:pt x="1329" y="575"/>
                </a:lnTo>
                <a:lnTo>
                  <a:pt x="1324" y="572"/>
                </a:lnTo>
                <a:lnTo>
                  <a:pt x="1315" y="567"/>
                </a:lnTo>
                <a:lnTo>
                  <a:pt x="1305" y="562"/>
                </a:lnTo>
                <a:lnTo>
                  <a:pt x="1294" y="557"/>
                </a:lnTo>
                <a:lnTo>
                  <a:pt x="1285" y="551"/>
                </a:lnTo>
                <a:lnTo>
                  <a:pt x="1281" y="548"/>
                </a:lnTo>
                <a:lnTo>
                  <a:pt x="1279" y="545"/>
                </a:lnTo>
                <a:lnTo>
                  <a:pt x="1276" y="543"/>
                </a:lnTo>
                <a:lnTo>
                  <a:pt x="1276" y="540"/>
                </a:lnTo>
                <a:lnTo>
                  <a:pt x="1254" y="540"/>
                </a:lnTo>
                <a:lnTo>
                  <a:pt x="1254" y="538"/>
                </a:lnTo>
                <a:lnTo>
                  <a:pt x="1253" y="535"/>
                </a:lnTo>
                <a:lnTo>
                  <a:pt x="1252" y="534"/>
                </a:lnTo>
                <a:lnTo>
                  <a:pt x="1249" y="534"/>
                </a:lnTo>
                <a:lnTo>
                  <a:pt x="1245" y="533"/>
                </a:lnTo>
                <a:lnTo>
                  <a:pt x="1239" y="533"/>
                </a:lnTo>
                <a:lnTo>
                  <a:pt x="1229" y="522"/>
                </a:lnTo>
                <a:lnTo>
                  <a:pt x="1218" y="511"/>
                </a:lnTo>
                <a:lnTo>
                  <a:pt x="1204" y="504"/>
                </a:lnTo>
                <a:lnTo>
                  <a:pt x="1199" y="502"/>
                </a:lnTo>
                <a:lnTo>
                  <a:pt x="1193" y="497"/>
                </a:lnTo>
                <a:lnTo>
                  <a:pt x="1185" y="490"/>
                </a:lnTo>
                <a:lnTo>
                  <a:pt x="1175" y="482"/>
                </a:lnTo>
                <a:lnTo>
                  <a:pt x="1157" y="465"/>
                </a:lnTo>
                <a:lnTo>
                  <a:pt x="1146" y="454"/>
                </a:lnTo>
                <a:lnTo>
                  <a:pt x="1146" y="439"/>
                </a:lnTo>
                <a:lnTo>
                  <a:pt x="1143" y="439"/>
                </a:lnTo>
                <a:lnTo>
                  <a:pt x="1142" y="438"/>
                </a:lnTo>
                <a:lnTo>
                  <a:pt x="1141" y="436"/>
                </a:lnTo>
                <a:lnTo>
                  <a:pt x="1140" y="435"/>
                </a:lnTo>
                <a:lnTo>
                  <a:pt x="1139" y="430"/>
                </a:lnTo>
                <a:lnTo>
                  <a:pt x="1139" y="425"/>
                </a:lnTo>
                <a:lnTo>
                  <a:pt x="1138" y="425"/>
                </a:lnTo>
                <a:lnTo>
                  <a:pt x="1137" y="423"/>
                </a:lnTo>
                <a:lnTo>
                  <a:pt x="1136" y="421"/>
                </a:lnTo>
                <a:lnTo>
                  <a:pt x="1136" y="418"/>
                </a:lnTo>
                <a:lnTo>
                  <a:pt x="1136" y="410"/>
                </a:lnTo>
                <a:lnTo>
                  <a:pt x="1136" y="401"/>
                </a:lnTo>
                <a:lnTo>
                  <a:pt x="1138" y="376"/>
                </a:lnTo>
                <a:lnTo>
                  <a:pt x="1142" y="347"/>
                </a:lnTo>
                <a:lnTo>
                  <a:pt x="1147" y="318"/>
                </a:lnTo>
                <a:lnTo>
                  <a:pt x="1151" y="290"/>
                </a:lnTo>
                <a:lnTo>
                  <a:pt x="1155" y="267"/>
                </a:lnTo>
                <a:lnTo>
                  <a:pt x="1156" y="253"/>
                </a:lnTo>
                <a:lnTo>
                  <a:pt x="1153" y="253"/>
                </a:lnTo>
                <a:lnTo>
                  <a:pt x="1152" y="252"/>
                </a:lnTo>
                <a:lnTo>
                  <a:pt x="1150" y="251"/>
                </a:lnTo>
                <a:lnTo>
                  <a:pt x="1150" y="248"/>
                </a:lnTo>
                <a:lnTo>
                  <a:pt x="1149" y="244"/>
                </a:lnTo>
                <a:lnTo>
                  <a:pt x="1149" y="240"/>
                </a:lnTo>
                <a:lnTo>
                  <a:pt x="1135" y="232"/>
                </a:lnTo>
                <a:lnTo>
                  <a:pt x="1133" y="221"/>
                </a:lnTo>
                <a:lnTo>
                  <a:pt x="1131" y="211"/>
                </a:lnTo>
                <a:lnTo>
                  <a:pt x="1128" y="199"/>
                </a:lnTo>
                <a:lnTo>
                  <a:pt x="1127" y="188"/>
                </a:lnTo>
                <a:lnTo>
                  <a:pt x="1124" y="188"/>
                </a:lnTo>
                <a:lnTo>
                  <a:pt x="1123" y="186"/>
                </a:lnTo>
                <a:lnTo>
                  <a:pt x="1122" y="184"/>
                </a:lnTo>
                <a:lnTo>
                  <a:pt x="1121" y="180"/>
                </a:lnTo>
                <a:lnTo>
                  <a:pt x="1120" y="174"/>
                </a:lnTo>
                <a:lnTo>
                  <a:pt x="1120" y="167"/>
                </a:lnTo>
                <a:lnTo>
                  <a:pt x="1116" y="167"/>
                </a:lnTo>
                <a:lnTo>
                  <a:pt x="1113" y="166"/>
                </a:lnTo>
                <a:lnTo>
                  <a:pt x="1113" y="165"/>
                </a:lnTo>
                <a:lnTo>
                  <a:pt x="1113" y="164"/>
                </a:lnTo>
                <a:lnTo>
                  <a:pt x="1112" y="163"/>
                </a:lnTo>
                <a:lnTo>
                  <a:pt x="1112" y="161"/>
                </a:lnTo>
                <a:lnTo>
                  <a:pt x="1110" y="160"/>
                </a:lnTo>
                <a:lnTo>
                  <a:pt x="1105" y="160"/>
                </a:lnTo>
                <a:lnTo>
                  <a:pt x="1107" y="96"/>
                </a:lnTo>
                <a:lnTo>
                  <a:pt x="1099" y="89"/>
                </a:lnTo>
                <a:lnTo>
                  <a:pt x="1092" y="81"/>
                </a:lnTo>
                <a:lnTo>
                  <a:pt x="1082" y="82"/>
                </a:lnTo>
                <a:lnTo>
                  <a:pt x="1060" y="84"/>
                </a:lnTo>
                <a:lnTo>
                  <a:pt x="1037" y="88"/>
                </a:lnTo>
                <a:lnTo>
                  <a:pt x="1026" y="88"/>
                </a:lnTo>
                <a:lnTo>
                  <a:pt x="1026" y="86"/>
                </a:lnTo>
                <a:lnTo>
                  <a:pt x="1024" y="84"/>
                </a:lnTo>
                <a:lnTo>
                  <a:pt x="1022" y="83"/>
                </a:lnTo>
                <a:lnTo>
                  <a:pt x="1018" y="82"/>
                </a:lnTo>
                <a:lnTo>
                  <a:pt x="1012" y="81"/>
                </a:lnTo>
                <a:lnTo>
                  <a:pt x="1005" y="81"/>
                </a:lnTo>
                <a:lnTo>
                  <a:pt x="1005" y="72"/>
                </a:lnTo>
                <a:lnTo>
                  <a:pt x="1003" y="59"/>
                </a:lnTo>
                <a:lnTo>
                  <a:pt x="1002" y="53"/>
                </a:lnTo>
                <a:lnTo>
                  <a:pt x="999" y="48"/>
                </a:lnTo>
                <a:lnTo>
                  <a:pt x="997" y="44"/>
                </a:lnTo>
                <a:lnTo>
                  <a:pt x="995" y="43"/>
                </a:lnTo>
                <a:lnTo>
                  <a:pt x="995" y="39"/>
                </a:lnTo>
                <a:lnTo>
                  <a:pt x="994" y="36"/>
                </a:lnTo>
                <a:lnTo>
                  <a:pt x="993" y="35"/>
                </a:lnTo>
                <a:lnTo>
                  <a:pt x="992" y="35"/>
                </a:lnTo>
                <a:lnTo>
                  <a:pt x="989" y="35"/>
                </a:lnTo>
                <a:lnTo>
                  <a:pt x="988" y="34"/>
                </a:lnTo>
                <a:lnTo>
                  <a:pt x="988" y="33"/>
                </a:lnTo>
                <a:lnTo>
                  <a:pt x="987" y="29"/>
                </a:lnTo>
                <a:lnTo>
                  <a:pt x="974" y="29"/>
                </a:lnTo>
                <a:lnTo>
                  <a:pt x="973" y="24"/>
                </a:lnTo>
                <a:lnTo>
                  <a:pt x="973" y="22"/>
                </a:lnTo>
                <a:lnTo>
                  <a:pt x="970" y="21"/>
                </a:lnTo>
                <a:lnTo>
                  <a:pt x="969" y="21"/>
                </a:lnTo>
                <a:lnTo>
                  <a:pt x="968" y="21"/>
                </a:lnTo>
                <a:lnTo>
                  <a:pt x="967" y="21"/>
                </a:lnTo>
                <a:lnTo>
                  <a:pt x="966" y="19"/>
                </a:lnTo>
                <a:lnTo>
                  <a:pt x="966" y="14"/>
                </a:lnTo>
                <a:lnTo>
                  <a:pt x="951" y="14"/>
                </a:lnTo>
                <a:lnTo>
                  <a:pt x="951" y="12"/>
                </a:lnTo>
                <a:lnTo>
                  <a:pt x="949" y="10"/>
                </a:lnTo>
                <a:lnTo>
                  <a:pt x="947" y="9"/>
                </a:lnTo>
                <a:lnTo>
                  <a:pt x="944" y="7"/>
                </a:lnTo>
                <a:lnTo>
                  <a:pt x="937" y="7"/>
                </a:lnTo>
                <a:lnTo>
                  <a:pt x="930" y="6"/>
                </a:lnTo>
                <a:lnTo>
                  <a:pt x="929" y="5"/>
                </a:lnTo>
                <a:lnTo>
                  <a:pt x="926" y="4"/>
                </a:lnTo>
                <a:lnTo>
                  <a:pt x="922" y="4"/>
                </a:lnTo>
                <a:lnTo>
                  <a:pt x="917" y="3"/>
                </a:lnTo>
                <a:lnTo>
                  <a:pt x="902" y="2"/>
                </a:lnTo>
                <a:lnTo>
                  <a:pt x="884" y="1"/>
                </a:lnTo>
                <a:lnTo>
                  <a:pt x="851" y="0"/>
                </a:lnTo>
                <a:lnTo>
                  <a:pt x="829" y="0"/>
                </a:lnTo>
                <a:lnTo>
                  <a:pt x="829" y="2"/>
                </a:lnTo>
                <a:lnTo>
                  <a:pt x="826" y="4"/>
                </a:lnTo>
                <a:lnTo>
                  <a:pt x="824" y="5"/>
                </a:lnTo>
                <a:lnTo>
                  <a:pt x="821" y="6"/>
                </a:lnTo>
                <a:lnTo>
                  <a:pt x="814" y="6"/>
                </a:lnTo>
                <a:lnTo>
                  <a:pt x="807" y="6"/>
                </a:lnTo>
                <a:lnTo>
                  <a:pt x="806" y="9"/>
                </a:lnTo>
                <a:lnTo>
                  <a:pt x="802" y="10"/>
                </a:lnTo>
                <a:lnTo>
                  <a:pt x="795" y="12"/>
                </a:lnTo>
                <a:lnTo>
                  <a:pt x="786" y="13"/>
                </a:lnTo>
                <a:lnTo>
                  <a:pt x="764" y="16"/>
                </a:lnTo>
                <a:lnTo>
                  <a:pt x="737" y="21"/>
                </a:lnTo>
                <a:lnTo>
                  <a:pt x="686" y="26"/>
                </a:lnTo>
                <a:lnTo>
                  <a:pt x="657" y="29"/>
                </a:lnTo>
                <a:lnTo>
                  <a:pt x="656" y="32"/>
                </a:lnTo>
                <a:lnTo>
                  <a:pt x="653" y="35"/>
                </a:lnTo>
                <a:lnTo>
                  <a:pt x="651" y="39"/>
                </a:lnTo>
                <a:lnTo>
                  <a:pt x="648" y="42"/>
                </a:lnTo>
                <a:lnTo>
                  <a:pt x="644" y="45"/>
                </a:lnTo>
                <a:lnTo>
                  <a:pt x="641" y="48"/>
                </a:lnTo>
                <a:lnTo>
                  <a:pt x="638" y="50"/>
                </a:lnTo>
                <a:lnTo>
                  <a:pt x="634" y="50"/>
                </a:lnTo>
                <a:lnTo>
                  <a:pt x="628" y="58"/>
                </a:lnTo>
                <a:lnTo>
                  <a:pt x="627" y="61"/>
                </a:lnTo>
                <a:lnTo>
                  <a:pt x="627" y="63"/>
                </a:lnTo>
                <a:lnTo>
                  <a:pt x="625" y="64"/>
                </a:lnTo>
                <a:lnTo>
                  <a:pt x="623" y="64"/>
                </a:lnTo>
                <a:lnTo>
                  <a:pt x="622" y="64"/>
                </a:lnTo>
                <a:lnTo>
                  <a:pt x="621" y="65"/>
                </a:lnTo>
                <a:lnTo>
                  <a:pt x="621" y="68"/>
                </a:lnTo>
                <a:lnTo>
                  <a:pt x="620" y="72"/>
                </a:lnTo>
                <a:lnTo>
                  <a:pt x="595" y="73"/>
                </a:lnTo>
                <a:lnTo>
                  <a:pt x="566" y="75"/>
                </a:lnTo>
                <a:lnTo>
                  <a:pt x="537" y="78"/>
                </a:lnTo>
                <a:lnTo>
                  <a:pt x="512" y="79"/>
                </a:lnTo>
                <a:lnTo>
                  <a:pt x="512" y="81"/>
                </a:lnTo>
                <a:lnTo>
                  <a:pt x="510" y="83"/>
                </a:lnTo>
                <a:lnTo>
                  <a:pt x="509" y="84"/>
                </a:lnTo>
                <a:lnTo>
                  <a:pt x="507" y="86"/>
                </a:lnTo>
                <a:lnTo>
                  <a:pt x="503" y="86"/>
                </a:lnTo>
                <a:lnTo>
                  <a:pt x="498" y="86"/>
                </a:lnTo>
                <a:lnTo>
                  <a:pt x="490" y="100"/>
                </a:lnTo>
                <a:lnTo>
                  <a:pt x="484" y="108"/>
                </a:lnTo>
                <a:lnTo>
                  <a:pt x="473" y="108"/>
                </a:lnTo>
                <a:lnTo>
                  <a:pt x="461" y="108"/>
                </a:lnTo>
                <a:lnTo>
                  <a:pt x="461" y="110"/>
                </a:lnTo>
                <a:lnTo>
                  <a:pt x="460" y="112"/>
                </a:lnTo>
                <a:lnTo>
                  <a:pt x="458" y="113"/>
                </a:lnTo>
                <a:lnTo>
                  <a:pt x="456" y="115"/>
                </a:lnTo>
                <a:lnTo>
                  <a:pt x="447" y="118"/>
                </a:lnTo>
                <a:lnTo>
                  <a:pt x="432" y="12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53" name="Freeform 14">
            <a:extLst>
              <a:ext uri="{FF2B5EF4-FFF2-40B4-BE49-F238E27FC236}">
                <a16:creationId xmlns:a16="http://schemas.microsoft.com/office/drawing/2014/main" id="{D2F465E7-3850-4D8B-84F9-46FFD3F528C2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370763" y="4379913"/>
            <a:ext cx="343952" cy="339725"/>
          </a:xfrm>
          <a:custGeom>
            <a:avLst/>
            <a:gdLst/>
            <a:ahLst/>
            <a:cxnLst>
              <a:cxn ang="0">
                <a:pos x="325" y="177"/>
              </a:cxn>
              <a:cxn ang="0">
                <a:pos x="226" y="263"/>
              </a:cxn>
              <a:cxn ang="0">
                <a:pos x="194" y="297"/>
              </a:cxn>
              <a:cxn ang="0">
                <a:pos x="175" y="336"/>
              </a:cxn>
              <a:cxn ang="0">
                <a:pos x="106" y="377"/>
              </a:cxn>
              <a:cxn ang="0">
                <a:pos x="24" y="418"/>
              </a:cxn>
              <a:cxn ang="0">
                <a:pos x="30" y="548"/>
              </a:cxn>
              <a:cxn ang="0">
                <a:pos x="14" y="608"/>
              </a:cxn>
              <a:cxn ang="0">
                <a:pos x="2" y="682"/>
              </a:cxn>
              <a:cxn ang="0">
                <a:pos x="36" y="712"/>
              </a:cxn>
              <a:cxn ang="0">
                <a:pos x="71" y="737"/>
              </a:cxn>
              <a:cxn ang="0">
                <a:pos x="110" y="848"/>
              </a:cxn>
              <a:cxn ang="0">
                <a:pos x="139" y="982"/>
              </a:cxn>
              <a:cxn ang="0">
                <a:pos x="213" y="1100"/>
              </a:cxn>
              <a:cxn ang="0">
                <a:pos x="251" y="1332"/>
              </a:cxn>
              <a:cxn ang="0">
                <a:pos x="283" y="1363"/>
              </a:cxn>
              <a:cxn ang="0">
                <a:pos x="288" y="1403"/>
              </a:cxn>
              <a:cxn ang="0">
                <a:pos x="269" y="1428"/>
              </a:cxn>
              <a:cxn ang="0">
                <a:pos x="220" y="1562"/>
              </a:cxn>
              <a:cxn ang="0">
                <a:pos x="183" y="1907"/>
              </a:cxn>
              <a:cxn ang="0">
                <a:pos x="261" y="1994"/>
              </a:cxn>
              <a:cxn ang="0">
                <a:pos x="372" y="1965"/>
              </a:cxn>
              <a:cxn ang="0">
                <a:pos x="437" y="1925"/>
              </a:cxn>
              <a:cxn ang="0">
                <a:pos x="500" y="1692"/>
              </a:cxn>
              <a:cxn ang="0">
                <a:pos x="549" y="1495"/>
              </a:cxn>
              <a:cxn ang="0">
                <a:pos x="703" y="1261"/>
              </a:cxn>
              <a:cxn ang="0">
                <a:pos x="813" y="1175"/>
              </a:cxn>
              <a:cxn ang="0">
                <a:pos x="989" y="1138"/>
              </a:cxn>
              <a:cxn ang="0">
                <a:pos x="1089" y="1485"/>
              </a:cxn>
              <a:cxn ang="0">
                <a:pos x="1171" y="1519"/>
              </a:cxn>
              <a:cxn ang="0">
                <a:pos x="1227" y="1586"/>
              </a:cxn>
              <a:cxn ang="0">
                <a:pos x="1309" y="1771"/>
              </a:cxn>
              <a:cxn ang="0">
                <a:pos x="1429" y="1821"/>
              </a:cxn>
              <a:cxn ang="0">
                <a:pos x="1517" y="1916"/>
              </a:cxn>
              <a:cxn ang="0">
                <a:pos x="1553" y="1945"/>
              </a:cxn>
              <a:cxn ang="0">
                <a:pos x="1595" y="2003"/>
              </a:cxn>
              <a:cxn ang="0">
                <a:pos x="1667" y="2089"/>
              </a:cxn>
              <a:cxn ang="0">
                <a:pos x="1751" y="2032"/>
              </a:cxn>
              <a:cxn ang="0">
                <a:pos x="1810" y="1989"/>
              </a:cxn>
              <a:cxn ang="0">
                <a:pos x="1833" y="1970"/>
              </a:cxn>
              <a:cxn ang="0">
                <a:pos x="1792" y="1817"/>
              </a:cxn>
              <a:cxn ang="0">
                <a:pos x="1708" y="1751"/>
              </a:cxn>
              <a:cxn ang="0">
                <a:pos x="1649" y="1714"/>
              </a:cxn>
              <a:cxn ang="0">
                <a:pos x="1572" y="1642"/>
              </a:cxn>
              <a:cxn ang="0">
                <a:pos x="1561" y="1461"/>
              </a:cxn>
              <a:cxn ang="0">
                <a:pos x="1620" y="1423"/>
              </a:cxn>
              <a:cxn ang="0">
                <a:pos x="1689" y="1395"/>
              </a:cxn>
              <a:cxn ang="0">
                <a:pos x="1710" y="1337"/>
              </a:cxn>
              <a:cxn ang="0">
                <a:pos x="1696" y="1282"/>
              </a:cxn>
              <a:cxn ang="0">
                <a:pos x="1627" y="1189"/>
              </a:cxn>
              <a:cxn ang="0">
                <a:pos x="1495" y="913"/>
              </a:cxn>
              <a:cxn ang="0">
                <a:pos x="1441" y="802"/>
              </a:cxn>
              <a:cxn ang="0">
                <a:pos x="1342" y="764"/>
              </a:cxn>
              <a:cxn ang="0">
                <a:pos x="1226" y="768"/>
              </a:cxn>
              <a:cxn ang="0">
                <a:pos x="1033" y="744"/>
              </a:cxn>
              <a:cxn ang="0">
                <a:pos x="994" y="708"/>
              </a:cxn>
              <a:cxn ang="0">
                <a:pos x="921" y="683"/>
              </a:cxn>
              <a:cxn ang="0">
                <a:pos x="820" y="435"/>
              </a:cxn>
              <a:cxn ang="0">
                <a:pos x="729" y="283"/>
              </a:cxn>
              <a:cxn ang="0">
                <a:pos x="682" y="69"/>
              </a:cxn>
              <a:cxn ang="0">
                <a:pos x="629" y="1"/>
              </a:cxn>
              <a:cxn ang="0">
                <a:pos x="433" y="4"/>
              </a:cxn>
            </a:cxnLst>
            <a:rect l="0" t="0" r="r" b="b"/>
            <a:pathLst>
              <a:path w="1883" h="2109">
                <a:moveTo>
                  <a:pt x="303" y="7"/>
                </a:moveTo>
                <a:lnTo>
                  <a:pt x="297" y="16"/>
                </a:lnTo>
                <a:lnTo>
                  <a:pt x="295" y="24"/>
                </a:lnTo>
                <a:lnTo>
                  <a:pt x="293" y="35"/>
                </a:lnTo>
                <a:lnTo>
                  <a:pt x="293" y="46"/>
                </a:lnTo>
                <a:lnTo>
                  <a:pt x="294" y="57"/>
                </a:lnTo>
                <a:lnTo>
                  <a:pt x="296" y="68"/>
                </a:lnTo>
                <a:lnTo>
                  <a:pt x="299" y="80"/>
                </a:lnTo>
                <a:lnTo>
                  <a:pt x="303" y="93"/>
                </a:lnTo>
                <a:lnTo>
                  <a:pt x="311" y="117"/>
                </a:lnTo>
                <a:lnTo>
                  <a:pt x="318" y="142"/>
                </a:lnTo>
                <a:lnTo>
                  <a:pt x="321" y="154"/>
                </a:lnTo>
                <a:lnTo>
                  <a:pt x="324" y="166"/>
                </a:lnTo>
                <a:lnTo>
                  <a:pt x="325" y="177"/>
                </a:lnTo>
                <a:lnTo>
                  <a:pt x="326" y="187"/>
                </a:lnTo>
                <a:lnTo>
                  <a:pt x="314" y="201"/>
                </a:lnTo>
                <a:lnTo>
                  <a:pt x="314" y="213"/>
                </a:lnTo>
                <a:lnTo>
                  <a:pt x="307" y="225"/>
                </a:lnTo>
                <a:lnTo>
                  <a:pt x="299" y="229"/>
                </a:lnTo>
                <a:lnTo>
                  <a:pt x="289" y="235"/>
                </a:lnTo>
                <a:lnTo>
                  <a:pt x="284" y="240"/>
                </a:lnTo>
                <a:lnTo>
                  <a:pt x="280" y="244"/>
                </a:lnTo>
                <a:lnTo>
                  <a:pt x="277" y="248"/>
                </a:lnTo>
                <a:lnTo>
                  <a:pt x="276" y="250"/>
                </a:lnTo>
                <a:lnTo>
                  <a:pt x="265" y="252"/>
                </a:lnTo>
                <a:lnTo>
                  <a:pt x="251" y="257"/>
                </a:lnTo>
                <a:lnTo>
                  <a:pt x="237" y="261"/>
                </a:lnTo>
                <a:lnTo>
                  <a:pt x="226" y="263"/>
                </a:lnTo>
                <a:lnTo>
                  <a:pt x="223" y="267"/>
                </a:lnTo>
                <a:lnTo>
                  <a:pt x="220" y="270"/>
                </a:lnTo>
                <a:lnTo>
                  <a:pt x="217" y="272"/>
                </a:lnTo>
                <a:lnTo>
                  <a:pt x="216" y="274"/>
                </a:lnTo>
                <a:lnTo>
                  <a:pt x="213" y="278"/>
                </a:lnTo>
                <a:lnTo>
                  <a:pt x="213" y="281"/>
                </a:lnTo>
                <a:lnTo>
                  <a:pt x="209" y="282"/>
                </a:lnTo>
                <a:lnTo>
                  <a:pt x="205" y="286"/>
                </a:lnTo>
                <a:lnTo>
                  <a:pt x="202" y="289"/>
                </a:lnTo>
                <a:lnTo>
                  <a:pt x="201" y="295"/>
                </a:lnTo>
                <a:lnTo>
                  <a:pt x="197" y="295"/>
                </a:lnTo>
                <a:lnTo>
                  <a:pt x="196" y="295"/>
                </a:lnTo>
                <a:lnTo>
                  <a:pt x="194" y="296"/>
                </a:lnTo>
                <a:lnTo>
                  <a:pt x="194" y="297"/>
                </a:lnTo>
                <a:lnTo>
                  <a:pt x="194" y="298"/>
                </a:lnTo>
                <a:lnTo>
                  <a:pt x="193" y="299"/>
                </a:lnTo>
                <a:lnTo>
                  <a:pt x="192" y="300"/>
                </a:lnTo>
                <a:lnTo>
                  <a:pt x="189" y="300"/>
                </a:lnTo>
                <a:lnTo>
                  <a:pt x="189" y="312"/>
                </a:lnTo>
                <a:lnTo>
                  <a:pt x="187" y="314"/>
                </a:lnTo>
                <a:lnTo>
                  <a:pt x="184" y="315"/>
                </a:lnTo>
                <a:lnTo>
                  <a:pt x="183" y="317"/>
                </a:lnTo>
                <a:lnTo>
                  <a:pt x="183" y="320"/>
                </a:lnTo>
                <a:lnTo>
                  <a:pt x="182" y="326"/>
                </a:lnTo>
                <a:lnTo>
                  <a:pt x="182" y="331"/>
                </a:lnTo>
                <a:lnTo>
                  <a:pt x="180" y="333"/>
                </a:lnTo>
                <a:lnTo>
                  <a:pt x="178" y="334"/>
                </a:lnTo>
                <a:lnTo>
                  <a:pt x="175" y="336"/>
                </a:lnTo>
                <a:lnTo>
                  <a:pt x="173" y="339"/>
                </a:lnTo>
                <a:lnTo>
                  <a:pt x="171" y="345"/>
                </a:lnTo>
                <a:lnTo>
                  <a:pt x="170" y="350"/>
                </a:lnTo>
                <a:lnTo>
                  <a:pt x="165" y="351"/>
                </a:lnTo>
                <a:lnTo>
                  <a:pt x="161" y="355"/>
                </a:lnTo>
                <a:lnTo>
                  <a:pt x="158" y="358"/>
                </a:lnTo>
                <a:lnTo>
                  <a:pt x="158" y="363"/>
                </a:lnTo>
                <a:lnTo>
                  <a:pt x="151" y="369"/>
                </a:lnTo>
                <a:lnTo>
                  <a:pt x="144" y="375"/>
                </a:lnTo>
                <a:lnTo>
                  <a:pt x="136" y="375"/>
                </a:lnTo>
                <a:lnTo>
                  <a:pt x="126" y="375"/>
                </a:lnTo>
                <a:lnTo>
                  <a:pt x="115" y="375"/>
                </a:lnTo>
                <a:lnTo>
                  <a:pt x="107" y="375"/>
                </a:lnTo>
                <a:lnTo>
                  <a:pt x="106" y="377"/>
                </a:lnTo>
                <a:lnTo>
                  <a:pt x="103" y="379"/>
                </a:lnTo>
                <a:lnTo>
                  <a:pt x="98" y="380"/>
                </a:lnTo>
                <a:lnTo>
                  <a:pt x="94" y="380"/>
                </a:lnTo>
                <a:lnTo>
                  <a:pt x="83" y="382"/>
                </a:lnTo>
                <a:lnTo>
                  <a:pt x="76" y="382"/>
                </a:lnTo>
                <a:lnTo>
                  <a:pt x="75" y="384"/>
                </a:lnTo>
                <a:lnTo>
                  <a:pt x="75" y="385"/>
                </a:lnTo>
                <a:lnTo>
                  <a:pt x="74" y="386"/>
                </a:lnTo>
                <a:lnTo>
                  <a:pt x="72" y="387"/>
                </a:lnTo>
                <a:lnTo>
                  <a:pt x="68" y="388"/>
                </a:lnTo>
                <a:lnTo>
                  <a:pt x="64" y="388"/>
                </a:lnTo>
                <a:lnTo>
                  <a:pt x="38" y="413"/>
                </a:lnTo>
                <a:lnTo>
                  <a:pt x="26" y="413"/>
                </a:lnTo>
                <a:lnTo>
                  <a:pt x="24" y="418"/>
                </a:lnTo>
                <a:lnTo>
                  <a:pt x="19" y="425"/>
                </a:lnTo>
                <a:lnTo>
                  <a:pt x="12" y="430"/>
                </a:lnTo>
                <a:lnTo>
                  <a:pt x="7" y="432"/>
                </a:lnTo>
                <a:lnTo>
                  <a:pt x="7" y="500"/>
                </a:lnTo>
                <a:lnTo>
                  <a:pt x="11" y="505"/>
                </a:lnTo>
                <a:lnTo>
                  <a:pt x="16" y="512"/>
                </a:lnTo>
                <a:lnTo>
                  <a:pt x="19" y="514"/>
                </a:lnTo>
                <a:lnTo>
                  <a:pt x="21" y="517"/>
                </a:lnTo>
                <a:lnTo>
                  <a:pt x="24" y="519"/>
                </a:lnTo>
                <a:lnTo>
                  <a:pt x="26" y="519"/>
                </a:lnTo>
                <a:lnTo>
                  <a:pt x="26" y="531"/>
                </a:lnTo>
                <a:lnTo>
                  <a:pt x="28" y="533"/>
                </a:lnTo>
                <a:lnTo>
                  <a:pt x="29" y="540"/>
                </a:lnTo>
                <a:lnTo>
                  <a:pt x="30" y="548"/>
                </a:lnTo>
                <a:lnTo>
                  <a:pt x="31" y="558"/>
                </a:lnTo>
                <a:lnTo>
                  <a:pt x="31" y="577"/>
                </a:lnTo>
                <a:lnTo>
                  <a:pt x="31" y="588"/>
                </a:lnTo>
                <a:lnTo>
                  <a:pt x="28" y="588"/>
                </a:lnTo>
                <a:lnTo>
                  <a:pt x="27" y="589"/>
                </a:lnTo>
                <a:lnTo>
                  <a:pt x="26" y="590"/>
                </a:lnTo>
                <a:lnTo>
                  <a:pt x="26" y="591"/>
                </a:lnTo>
                <a:lnTo>
                  <a:pt x="26" y="593"/>
                </a:lnTo>
                <a:lnTo>
                  <a:pt x="25" y="594"/>
                </a:lnTo>
                <a:lnTo>
                  <a:pt x="24" y="594"/>
                </a:lnTo>
                <a:lnTo>
                  <a:pt x="19" y="594"/>
                </a:lnTo>
                <a:lnTo>
                  <a:pt x="19" y="607"/>
                </a:lnTo>
                <a:lnTo>
                  <a:pt x="16" y="607"/>
                </a:lnTo>
                <a:lnTo>
                  <a:pt x="14" y="608"/>
                </a:lnTo>
                <a:lnTo>
                  <a:pt x="14" y="609"/>
                </a:lnTo>
                <a:lnTo>
                  <a:pt x="14" y="610"/>
                </a:lnTo>
                <a:lnTo>
                  <a:pt x="14" y="612"/>
                </a:lnTo>
                <a:lnTo>
                  <a:pt x="12" y="612"/>
                </a:lnTo>
                <a:lnTo>
                  <a:pt x="10" y="613"/>
                </a:lnTo>
                <a:lnTo>
                  <a:pt x="7" y="613"/>
                </a:lnTo>
                <a:lnTo>
                  <a:pt x="7" y="626"/>
                </a:lnTo>
                <a:lnTo>
                  <a:pt x="5" y="627"/>
                </a:lnTo>
                <a:lnTo>
                  <a:pt x="4" y="634"/>
                </a:lnTo>
                <a:lnTo>
                  <a:pt x="2" y="642"/>
                </a:lnTo>
                <a:lnTo>
                  <a:pt x="1" y="652"/>
                </a:lnTo>
                <a:lnTo>
                  <a:pt x="1" y="671"/>
                </a:lnTo>
                <a:lnTo>
                  <a:pt x="0" y="682"/>
                </a:lnTo>
                <a:lnTo>
                  <a:pt x="2" y="682"/>
                </a:lnTo>
                <a:lnTo>
                  <a:pt x="5" y="683"/>
                </a:lnTo>
                <a:lnTo>
                  <a:pt x="6" y="684"/>
                </a:lnTo>
                <a:lnTo>
                  <a:pt x="6" y="685"/>
                </a:lnTo>
                <a:lnTo>
                  <a:pt x="7" y="690"/>
                </a:lnTo>
                <a:lnTo>
                  <a:pt x="7" y="694"/>
                </a:lnTo>
                <a:lnTo>
                  <a:pt x="9" y="695"/>
                </a:lnTo>
                <a:lnTo>
                  <a:pt x="14" y="699"/>
                </a:lnTo>
                <a:lnTo>
                  <a:pt x="18" y="702"/>
                </a:lnTo>
                <a:lnTo>
                  <a:pt x="19" y="706"/>
                </a:lnTo>
                <a:lnTo>
                  <a:pt x="31" y="706"/>
                </a:lnTo>
                <a:lnTo>
                  <a:pt x="33" y="709"/>
                </a:lnTo>
                <a:lnTo>
                  <a:pt x="33" y="711"/>
                </a:lnTo>
                <a:lnTo>
                  <a:pt x="35" y="712"/>
                </a:lnTo>
                <a:lnTo>
                  <a:pt x="36" y="712"/>
                </a:lnTo>
                <a:lnTo>
                  <a:pt x="40" y="713"/>
                </a:lnTo>
                <a:lnTo>
                  <a:pt x="45" y="713"/>
                </a:lnTo>
                <a:lnTo>
                  <a:pt x="45" y="715"/>
                </a:lnTo>
                <a:lnTo>
                  <a:pt x="46" y="716"/>
                </a:lnTo>
                <a:lnTo>
                  <a:pt x="47" y="718"/>
                </a:lnTo>
                <a:lnTo>
                  <a:pt x="48" y="719"/>
                </a:lnTo>
                <a:lnTo>
                  <a:pt x="53" y="719"/>
                </a:lnTo>
                <a:lnTo>
                  <a:pt x="57" y="720"/>
                </a:lnTo>
                <a:lnTo>
                  <a:pt x="57" y="722"/>
                </a:lnTo>
                <a:lnTo>
                  <a:pt x="59" y="725"/>
                </a:lnTo>
                <a:lnTo>
                  <a:pt x="62" y="728"/>
                </a:lnTo>
                <a:lnTo>
                  <a:pt x="64" y="731"/>
                </a:lnTo>
                <a:lnTo>
                  <a:pt x="67" y="734"/>
                </a:lnTo>
                <a:lnTo>
                  <a:pt x="71" y="737"/>
                </a:lnTo>
                <a:lnTo>
                  <a:pt x="73" y="738"/>
                </a:lnTo>
                <a:lnTo>
                  <a:pt x="76" y="738"/>
                </a:lnTo>
                <a:lnTo>
                  <a:pt x="76" y="751"/>
                </a:lnTo>
                <a:lnTo>
                  <a:pt x="78" y="751"/>
                </a:lnTo>
                <a:lnTo>
                  <a:pt x="81" y="753"/>
                </a:lnTo>
                <a:lnTo>
                  <a:pt x="83" y="758"/>
                </a:lnTo>
                <a:lnTo>
                  <a:pt x="86" y="762"/>
                </a:lnTo>
                <a:lnTo>
                  <a:pt x="91" y="776"/>
                </a:lnTo>
                <a:lnTo>
                  <a:pt x="96" y="790"/>
                </a:lnTo>
                <a:lnTo>
                  <a:pt x="101" y="807"/>
                </a:lnTo>
                <a:lnTo>
                  <a:pt x="104" y="821"/>
                </a:lnTo>
                <a:lnTo>
                  <a:pt x="106" y="835"/>
                </a:lnTo>
                <a:lnTo>
                  <a:pt x="107" y="845"/>
                </a:lnTo>
                <a:lnTo>
                  <a:pt x="110" y="848"/>
                </a:lnTo>
                <a:lnTo>
                  <a:pt x="112" y="858"/>
                </a:lnTo>
                <a:lnTo>
                  <a:pt x="114" y="873"/>
                </a:lnTo>
                <a:lnTo>
                  <a:pt x="115" y="889"/>
                </a:lnTo>
                <a:lnTo>
                  <a:pt x="119" y="923"/>
                </a:lnTo>
                <a:lnTo>
                  <a:pt x="120" y="944"/>
                </a:lnTo>
                <a:lnTo>
                  <a:pt x="122" y="945"/>
                </a:lnTo>
                <a:lnTo>
                  <a:pt x="123" y="949"/>
                </a:lnTo>
                <a:lnTo>
                  <a:pt x="125" y="952"/>
                </a:lnTo>
                <a:lnTo>
                  <a:pt x="126" y="956"/>
                </a:lnTo>
                <a:lnTo>
                  <a:pt x="129" y="962"/>
                </a:lnTo>
                <a:lnTo>
                  <a:pt x="131" y="965"/>
                </a:lnTo>
                <a:lnTo>
                  <a:pt x="134" y="969"/>
                </a:lnTo>
                <a:lnTo>
                  <a:pt x="139" y="970"/>
                </a:lnTo>
                <a:lnTo>
                  <a:pt x="139" y="982"/>
                </a:lnTo>
                <a:lnTo>
                  <a:pt x="143" y="987"/>
                </a:lnTo>
                <a:lnTo>
                  <a:pt x="148" y="991"/>
                </a:lnTo>
                <a:lnTo>
                  <a:pt x="152" y="993"/>
                </a:lnTo>
                <a:lnTo>
                  <a:pt x="158" y="994"/>
                </a:lnTo>
                <a:lnTo>
                  <a:pt x="161" y="1004"/>
                </a:lnTo>
                <a:lnTo>
                  <a:pt x="171" y="1022"/>
                </a:lnTo>
                <a:lnTo>
                  <a:pt x="178" y="1032"/>
                </a:lnTo>
                <a:lnTo>
                  <a:pt x="183" y="1040"/>
                </a:lnTo>
                <a:lnTo>
                  <a:pt x="189" y="1047"/>
                </a:lnTo>
                <a:lnTo>
                  <a:pt x="194" y="1050"/>
                </a:lnTo>
                <a:lnTo>
                  <a:pt x="198" y="1064"/>
                </a:lnTo>
                <a:lnTo>
                  <a:pt x="201" y="1076"/>
                </a:lnTo>
                <a:lnTo>
                  <a:pt x="213" y="1088"/>
                </a:lnTo>
                <a:lnTo>
                  <a:pt x="213" y="1100"/>
                </a:lnTo>
                <a:lnTo>
                  <a:pt x="216" y="1103"/>
                </a:lnTo>
                <a:lnTo>
                  <a:pt x="217" y="1107"/>
                </a:lnTo>
                <a:lnTo>
                  <a:pt x="218" y="1113"/>
                </a:lnTo>
                <a:lnTo>
                  <a:pt x="219" y="1120"/>
                </a:lnTo>
                <a:lnTo>
                  <a:pt x="219" y="1135"/>
                </a:lnTo>
                <a:lnTo>
                  <a:pt x="220" y="1144"/>
                </a:lnTo>
                <a:lnTo>
                  <a:pt x="222" y="1147"/>
                </a:lnTo>
                <a:lnTo>
                  <a:pt x="225" y="1155"/>
                </a:lnTo>
                <a:lnTo>
                  <a:pt x="227" y="1166"/>
                </a:lnTo>
                <a:lnTo>
                  <a:pt x="228" y="1178"/>
                </a:lnTo>
                <a:lnTo>
                  <a:pt x="231" y="1203"/>
                </a:lnTo>
                <a:lnTo>
                  <a:pt x="232" y="1213"/>
                </a:lnTo>
                <a:lnTo>
                  <a:pt x="245" y="1326"/>
                </a:lnTo>
                <a:lnTo>
                  <a:pt x="251" y="1332"/>
                </a:lnTo>
                <a:lnTo>
                  <a:pt x="254" y="1332"/>
                </a:lnTo>
                <a:lnTo>
                  <a:pt x="257" y="1335"/>
                </a:lnTo>
                <a:lnTo>
                  <a:pt x="261" y="1338"/>
                </a:lnTo>
                <a:lnTo>
                  <a:pt x="266" y="1343"/>
                </a:lnTo>
                <a:lnTo>
                  <a:pt x="269" y="1346"/>
                </a:lnTo>
                <a:lnTo>
                  <a:pt x="273" y="1350"/>
                </a:lnTo>
                <a:lnTo>
                  <a:pt x="275" y="1354"/>
                </a:lnTo>
                <a:lnTo>
                  <a:pt x="276" y="1357"/>
                </a:lnTo>
                <a:lnTo>
                  <a:pt x="279" y="1357"/>
                </a:lnTo>
                <a:lnTo>
                  <a:pt x="282" y="1358"/>
                </a:lnTo>
                <a:lnTo>
                  <a:pt x="282" y="1359"/>
                </a:lnTo>
                <a:lnTo>
                  <a:pt x="283" y="1360"/>
                </a:lnTo>
                <a:lnTo>
                  <a:pt x="283" y="1362"/>
                </a:lnTo>
                <a:lnTo>
                  <a:pt x="283" y="1363"/>
                </a:lnTo>
                <a:lnTo>
                  <a:pt x="285" y="1363"/>
                </a:lnTo>
                <a:lnTo>
                  <a:pt x="288" y="1364"/>
                </a:lnTo>
                <a:lnTo>
                  <a:pt x="288" y="1376"/>
                </a:lnTo>
                <a:lnTo>
                  <a:pt x="290" y="1376"/>
                </a:lnTo>
                <a:lnTo>
                  <a:pt x="292" y="1378"/>
                </a:lnTo>
                <a:lnTo>
                  <a:pt x="293" y="1380"/>
                </a:lnTo>
                <a:lnTo>
                  <a:pt x="294" y="1383"/>
                </a:lnTo>
                <a:lnTo>
                  <a:pt x="295" y="1389"/>
                </a:lnTo>
                <a:lnTo>
                  <a:pt x="295" y="1395"/>
                </a:lnTo>
                <a:lnTo>
                  <a:pt x="293" y="1395"/>
                </a:lnTo>
                <a:lnTo>
                  <a:pt x="292" y="1396"/>
                </a:lnTo>
                <a:lnTo>
                  <a:pt x="290" y="1397"/>
                </a:lnTo>
                <a:lnTo>
                  <a:pt x="289" y="1398"/>
                </a:lnTo>
                <a:lnTo>
                  <a:pt x="288" y="1403"/>
                </a:lnTo>
                <a:lnTo>
                  <a:pt x="288" y="1407"/>
                </a:lnTo>
                <a:lnTo>
                  <a:pt x="285" y="1407"/>
                </a:lnTo>
                <a:lnTo>
                  <a:pt x="283" y="1408"/>
                </a:lnTo>
                <a:lnTo>
                  <a:pt x="283" y="1410"/>
                </a:lnTo>
                <a:lnTo>
                  <a:pt x="283" y="1411"/>
                </a:lnTo>
                <a:lnTo>
                  <a:pt x="282" y="1412"/>
                </a:lnTo>
                <a:lnTo>
                  <a:pt x="282" y="1413"/>
                </a:lnTo>
                <a:lnTo>
                  <a:pt x="279" y="1413"/>
                </a:lnTo>
                <a:lnTo>
                  <a:pt x="276" y="1413"/>
                </a:lnTo>
                <a:lnTo>
                  <a:pt x="276" y="1426"/>
                </a:lnTo>
                <a:lnTo>
                  <a:pt x="273" y="1426"/>
                </a:lnTo>
                <a:lnTo>
                  <a:pt x="270" y="1426"/>
                </a:lnTo>
                <a:lnTo>
                  <a:pt x="269" y="1427"/>
                </a:lnTo>
                <a:lnTo>
                  <a:pt x="269" y="1428"/>
                </a:lnTo>
                <a:lnTo>
                  <a:pt x="269" y="1430"/>
                </a:lnTo>
                <a:lnTo>
                  <a:pt x="269" y="1431"/>
                </a:lnTo>
                <a:lnTo>
                  <a:pt x="267" y="1432"/>
                </a:lnTo>
                <a:lnTo>
                  <a:pt x="264" y="1432"/>
                </a:lnTo>
                <a:lnTo>
                  <a:pt x="263" y="1439"/>
                </a:lnTo>
                <a:lnTo>
                  <a:pt x="259" y="1447"/>
                </a:lnTo>
                <a:lnTo>
                  <a:pt x="255" y="1457"/>
                </a:lnTo>
                <a:lnTo>
                  <a:pt x="249" y="1470"/>
                </a:lnTo>
                <a:lnTo>
                  <a:pt x="244" y="1481"/>
                </a:lnTo>
                <a:lnTo>
                  <a:pt x="237" y="1492"/>
                </a:lnTo>
                <a:lnTo>
                  <a:pt x="231" y="1501"/>
                </a:lnTo>
                <a:lnTo>
                  <a:pt x="226" y="1507"/>
                </a:lnTo>
                <a:lnTo>
                  <a:pt x="225" y="1533"/>
                </a:lnTo>
                <a:lnTo>
                  <a:pt x="220" y="1562"/>
                </a:lnTo>
                <a:lnTo>
                  <a:pt x="216" y="1591"/>
                </a:lnTo>
                <a:lnTo>
                  <a:pt x="209" y="1623"/>
                </a:lnTo>
                <a:lnTo>
                  <a:pt x="203" y="1654"/>
                </a:lnTo>
                <a:lnTo>
                  <a:pt x="198" y="1685"/>
                </a:lnTo>
                <a:lnTo>
                  <a:pt x="196" y="1701"/>
                </a:lnTo>
                <a:lnTo>
                  <a:pt x="193" y="1716"/>
                </a:lnTo>
                <a:lnTo>
                  <a:pt x="192" y="1732"/>
                </a:lnTo>
                <a:lnTo>
                  <a:pt x="192" y="1748"/>
                </a:lnTo>
                <a:lnTo>
                  <a:pt x="191" y="1762"/>
                </a:lnTo>
                <a:lnTo>
                  <a:pt x="190" y="1787"/>
                </a:lnTo>
                <a:lnTo>
                  <a:pt x="188" y="1817"/>
                </a:lnTo>
                <a:lnTo>
                  <a:pt x="186" y="1849"/>
                </a:lnTo>
                <a:lnTo>
                  <a:pt x="184" y="1880"/>
                </a:lnTo>
                <a:lnTo>
                  <a:pt x="183" y="1907"/>
                </a:lnTo>
                <a:lnTo>
                  <a:pt x="184" y="1917"/>
                </a:lnTo>
                <a:lnTo>
                  <a:pt x="184" y="1925"/>
                </a:lnTo>
                <a:lnTo>
                  <a:pt x="187" y="1931"/>
                </a:lnTo>
                <a:lnTo>
                  <a:pt x="189" y="1932"/>
                </a:lnTo>
                <a:lnTo>
                  <a:pt x="189" y="1951"/>
                </a:lnTo>
                <a:lnTo>
                  <a:pt x="194" y="1957"/>
                </a:lnTo>
                <a:lnTo>
                  <a:pt x="205" y="1968"/>
                </a:lnTo>
                <a:lnTo>
                  <a:pt x="213" y="1979"/>
                </a:lnTo>
                <a:lnTo>
                  <a:pt x="220" y="1989"/>
                </a:lnTo>
                <a:lnTo>
                  <a:pt x="232" y="1989"/>
                </a:lnTo>
                <a:lnTo>
                  <a:pt x="235" y="1991"/>
                </a:lnTo>
                <a:lnTo>
                  <a:pt x="241" y="1992"/>
                </a:lnTo>
                <a:lnTo>
                  <a:pt x="250" y="1993"/>
                </a:lnTo>
                <a:lnTo>
                  <a:pt x="261" y="1994"/>
                </a:lnTo>
                <a:lnTo>
                  <a:pt x="285" y="1994"/>
                </a:lnTo>
                <a:lnTo>
                  <a:pt x="301" y="1994"/>
                </a:lnTo>
                <a:lnTo>
                  <a:pt x="314" y="1982"/>
                </a:lnTo>
                <a:lnTo>
                  <a:pt x="321" y="1982"/>
                </a:lnTo>
                <a:lnTo>
                  <a:pt x="327" y="1980"/>
                </a:lnTo>
                <a:lnTo>
                  <a:pt x="334" y="1979"/>
                </a:lnTo>
                <a:lnTo>
                  <a:pt x="342" y="1976"/>
                </a:lnTo>
                <a:lnTo>
                  <a:pt x="349" y="1974"/>
                </a:lnTo>
                <a:lnTo>
                  <a:pt x="355" y="1972"/>
                </a:lnTo>
                <a:lnTo>
                  <a:pt x="363" y="1971"/>
                </a:lnTo>
                <a:lnTo>
                  <a:pt x="370" y="1970"/>
                </a:lnTo>
                <a:lnTo>
                  <a:pt x="370" y="1968"/>
                </a:lnTo>
                <a:lnTo>
                  <a:pt x="371" y="1966"/>
                </a:lnTo>
                <a:lnTo>
                  <a:pt x="372" y="1965"/>
                </a:lnTo>
                <a:lnTo>
                  <a:pt x="374" y="1964"/>
                </a:lnTo>
                <a:lnTo>
                  <a:pt x="378" y="1964"/>
                </a:lnTo>
                <a:lnTo>
                  <a:pt x="382" y="1963"/>
                </a:lnTo>
                <a:lnTo>
                  <a:pt x="386" y="1959"/>
                </a:lnTo>
                <a:lnTo>
                  <a:pt x="392" y="1955"/>
                </a:lnTo>
                <a:lnTo>
                  <a:pt x="399" y="1952"/>
                </a:lnTo>
                <a:lnTo>
                  <a:pt x="408" y="1951"/>
                </a:lnTo>
                <a:lnTo>
                  <a:pt x="410" y="1949"/>
                </a:lnTo>
                <a:lnTo>
                  <a:pt x="418" y="1942"/>
                </a:lnTo>
                <a:lnTo>
                  <a:pt x="426" y="1935"/>
                </a:lnTo>
                <a:lnTo>
                  <a:pt x="432" y="1932"/>
                </a:lnTo>
                <a:lnTo>
                  <a:pt x="433" y="1930"/>
                </a:lnTo>
                <a:lnTo>
                  <a:pt x="434" y="1927"/>
                </a:lnTo>
                <a:lnTo>
                  <a:pt x="437" y="1925"/>
                </a:lnTo>
                <a:lnTo>
                  <a:pt x="439" y="1924"/>
                </a:lnTo>
                <a:lnTo>
                  <a:pt x="446" y="1921"/>
                </a:lnTo>
                <a:lnTo>
                  <a:pt x="451" y="1920"/>
                </a:lnTo>
                <a:lnTo>
                  <a:pt x="457" y="1904"/>
                </a:lnTo>
                <a:lnTo>
                  <a:pt x="463" y="1888"/>
                </a:lnTo>
                <a:lnTo>
                  <a:pt x="466" y="1886"/>
                </a:lnTo>
                <a:lnTo>
                  <a:pt x="469" y="1880"/>
                </a:lnTo>
                <a:lnTo>
                  <a:pt x="471" y="1872"/>
                </a:lnTo>
                <a:lnTo>
                  <a:pt x="475" y="1859"/>
                </a:lnTo>
                <a:lnTo>
                  <a:pt x="481" y="1828"/>
                </a:lnTo>
                <a:lnTo>
                  <a:pt x="487" y="1791"/>
                </a:lnTo>
                <a:lnTo>
                  <a:pt x="493" y="1754"/>
                </a:lnTo>
                <a:lnTo>
                  <a:pt x="497" y="1720"/>
                </a:lnTo>
                <a:lnTo>
                  <a:pt x="500" y="1692"/>
                </a:lnTo>
                <a:lnTo>
                  <a:pt x="501" y="1676"/>
                </a:lnTo>
                <a:lnTo>
                  <a:pt x="504" y="1674"/>
                </a:lnTo>
                <a:lnTo>
                  <a:pt x="506" y="1667"/>
                </a:lnTo>
                <a:lnTo>
                  <a:pt x="508" y="1658"/>
                </a:lnTo>
                <a:lnTo>
                  <a:pt x="509" y="1648"/>
                </a:lnTo>
                <a:lnTo>
                  <a:pt x="513" y="1628"/>
                </a:lnTo>
                <a:lnTo>
                  <a:pt x="514" y="1619"/>
                </a:lnTo>
                <a:lnTo>
                  <a:pt x="517" y="1615"/>
                </a:lnTo>
                <a:lnTo>
                  <a:pt x="524" y="1604"/>
                </a:lnTo>
                <a:lnTo>
                  <a:pt x="532" y="1590"/>
                </a:lnTo>
                <a:lnTo>
                  <a:pt x="538" y="1582"/>
                </a:lnTo>
                <a:lnTo>
                  <a:pt x="539" y="1559"/>
                </a:lnTo>
                <a:lnTo>
                  <a:pt x="543" y="1529"/>
                </a:lnTo>
                <a:lnTo>
                  <a:pt x="549" y="1495"/>
                </a:lnTo>
                <a:lnTo>
                  <a:pt x="558" y="1460"/>
                </a:lnTo>
                <a:lnTo>
                  <a:pt x="563" y="1441"/>
                </a:lnTo>
                <a:lnTo>
                  <a:pt x="570" y="1422"/>
                </a:lnTo>
                <a:lnTo>
                  <a:pt x="576" y="1404"/>
                </a:lnTo>
                <a:lnTo>
                  <a:pt x="584" y="1386"/>
                </a:lnTo>
                <a:lnTo>
                  <a:pt x="592" y="1368"/>
                </a:lnTo>
                <a:lnTo>
                  <a:pt x="602" y="1353"/>
                </a:lnTo>
                <a:lnTo>
                  <a:pt x="612" y="1337"/>
                </a:lnTo>
                <a:lnTo>
                  <a:pt x="623" y="1324"/>
                </a:lnTo>
                <a:lnTo>
                  <a:pt x="635" y="1310"/>
                </a:lnTo>
                <a:lnTo>
                  <a:pt x="648" y="1298"/>
                </a:lnTo>
                <a:lnTo>
                  <a:pt x="662" y="1288"/>
                </a:lnTo>
                <a:lnTo>
                  <a:pt x="676" y="1278"/>
                </a:lnTo>
                <a:lnTo>
                  <a:pt x="703" y="1261"/>
                </a:lnTo>
                <a:lnTo>
                  <a:pt x="730" y="1248"/>
                </a:lnTo>
                <a:lnTo>
                  <a:pt x="741" y="1241"/>
                </a:lnTo>
                <a:lnTo>
                  <a:pt x="753" y="1234"/>
                </a:lnTo>
                <a:lnTo>
                  <a:pt x="763" y="1228"/>
                </a:lnTo>
                <a:lnTo>
                  <a:pt x="772" y="1221"/>
                </a:lnTo>
                <a:lnTo>
                  <a:pt x="779" y="1213"/>
                </a:lnTo>
                <a:lnTo>
                  <a:pt x="784" y="1206"/>
                </a:lnTo>
                <a:lnTo>
                  <a:pt x="786" y="1202"/>
                </a:lnTo>
                <a:lnTo>
                  <a:pt x="787" y="1197"/>
                </a:lnTo>
                <a:lnTo>
                  <a:pt x="788" y="1193"/>
                </a:lnTo>
                <a:lnTo>
                  <a:pt x="788" y="1189"/>
                </a:lnTo>
                <a:lnTo>
                  <a:pt x="795" y="1186"/>
                </a:lnTo>
                <a:lnTo>
                  <a:pt x="804" y="1181"/>
                </a:lnTo>
                <a:lnTo>
                  <a:pt x="813" y="1175"/>
                </a:lnTo>
                <a:lnTo>
                  <a:pt x="820" y="1170"/>
                </a:lnTo>
                <a:lnTo>
                  <a:pt x="829" y="1170"/>
                </a:lnTo>
                <a:lnTo>
                  <a:pt x="837" y="1167"/>
                </a:lnTo>
                <a:lnTo>
                  <a:pt x="846" y="1166"/>
                </a:lnTo>
                <a:lnTo>
                  <a:pt x="856" y="1164"/>
                </a:lnTo>
                <a:lnTo>
                  <a:pt x="875" y="1157"/>
                </a:lnTo>
                <a:lnTo>
                  <a:pt x="897" y="1151"/>
                </a:lnTo>
                <a:lnTo>
                  <a:pt x="918" y="1144"/>
                </a:lnTo>
                <a:lnTo>
                  <a:pt x="939" y="1138"/>
                </a:lnTo>
                <a:lnTo>
                  <a:pt x="950" y="1135"/>
                </a:lnTo>
                <a:lnTo>
                  <a:pt x="961" y="1134"/>
                </a:lnTo>
                <a:lnTo>
                  <a:pt x="971" y="1133"/>
                </a:lnTo>
                <a:lnTo>
                  <a:pt x="983" y="1132"/>
                </a:lnTo>
                <a:lnTo>
                  <a:pt x="989" y="1138"/>
                </a:lnTo>
                <a:lnTo>
                  <a:pt x="995" y="1144"/>
                </a:lnTo>
                <a:lnTo>
                  <a:pt x="996" y="1162"/>
                </a:lnTo>
                <a:lnTo>
                  <a:pt x="998" y="1197"/>
                </a:lnTo>
                <a:lnTo>
                  <a:pt x="1002" y="1247"/>
                </a:lnTo>
                <a:lnTo>
                  <a:pt x="1005" y="1302"/>
                </a:lnTo>
                <a:lnTo>
                  <a:pt x="1009" y="1357"/>
                </a:lnTo>
                <a:lnTo>
                  <a:pt x="1014" y="1405"/>
                </a:lnTo>
                <a:lnTo>
                  <a:pt x="1017" y="1439"/>
                </a:lnTo>
                <a:lnTo>
                  <a:pt x="1021" y="1451"/>
                </a:lnTo>
                <a:lnTo>
                  <a:pt x="1021" y="1470"/>
                </a:lnTo>
                <a:lnTo>
                  <a:pt x="1035" y="1475"/>
                </a:lnTo>
                <a:lnTo>
                  <a:pt x="1045" y="1482"/>
                </a:lnTo>
                <a:lnTo>
                  <a:pt x="1066" y="1483"/>
                </a:lnTo>
                <a:lnTo>
                  <a:pt x="1089" y="1485"/>
                </a:lnTo>
                <a:lnTo>
                  <a:pt x="1112" y="1488"/>
                </a:lnTo>
                <a:lnTo>
                  <a:pt x="1132" y="1489"/>
                </a:lnTo>
                <a:lnTo>
                  <a:pt x="1133" y="1490"/>
                </a:lnTo>
                <a:lnTo>
                  <a:pt x="1134" y="1492"/>
                </a:lnTo>
                <a:lnTo>
                  <a:pt x="1137" y="1493"/>
                </a:lnTo>
                <a:lnTo>
                  <a:pt x="1140" y="1494"/>
                </a:lnTo>
                <a:lnTo>
                  <a:pt x="1146" y="1494"/>
                </a:lnTo>
                <a:lnTo>
                  <a:pt x="1151" y="1494"/>
                </a:lnTo>
                <a:lnTo>
                  <a:pt x="1158" y="1501"/>
                </a:lnTo>
                <a:lnTo>
                  <a:pt x="1159" y="1505"/>
                </a:lnTo>
                <a:lnTo>
                  <a:pt x="1161" y="1510"/>
                </a:lnTo>
                <a:lnTo>
                  <a:pt x="1166" y="1512"/>
                </a:lnTo>
                <a:lnTo>
                  <a:pt x="1170" y="1513"/>
                </a:lnTo>
                <a:lnTo>
                  <a:pt x="1171" y="1519"/>
                </a:lnTo>
                <a:lnTo>
                  <a:pt x="1175" y="1526"/>
                </a:lnTo>
                <a:lnTo>
                  <a:pt x="1178" y="1532"/>
                </a:lnTo>
                <a:lnTo>
                  <a:pt x="1184" y="1540"/>
                </a:lnTo>
                <a:lnTo>
                  <a:pt x="1189" y="1547"/>
                </a:lnTo>
                <a:lnTo>
                  <a:pt x="1194" y="1552"/>
                </a:lnTo>
                <a:lnTo>
                  <a:pt x="1198" y="1556"/>
                </a:lnTo>
                <a:lnTo>
                  <a:pt x="1201" y="1557"/>
                </a:lnTo>
                <a:lnTo>
                  <a:pt x="1202" y="1560"/>
                </a:lnTo>
                <a:lnTo>
                  <a:pt x="1205" y="1565"/>
                </a:lnTo>
                <a:lnTo>
                  <a:pt x="1209" y="1569"/>
                </a:lnTo>
                <a:lnTo>
                  <a:pt x="1214" y="1575"/>
                </a:lnTo>
                <a:lnTo>
                  <a:pt x="1218" y="1579"/>
                </a:lnTo>
                <a:lnTo>
                  <a:pt x="1224" y="1584"/>
                </a:lnTo>
                <a:lnTo>
                  <a:pt x="1227" y="1586"/>
                </a:lnTo>
                <a:lnTo>
                  <a:pt x="1230" y="1587"/>
                </a:lnTo>
                <a:lnTo>
                  <a:pt x="1230" y="1601"/>
                </a:lnTo>
                <a:lnTo>
                  <a:pt x="1232" y="1615"/>
                </a:lnTo>
                <a:lnTo>
                  <a:pt x="1233" y="1627"/>
                </a:lnTo>
                <a:lnTo>
                  <a:pt x="1235" y="1638"/>
                </a:lnTo>
                <a:lnTo>
                  <a:pt x="1237" y="1649"/>
                </a:lnTo>
                <a:lnTo>
                  <a:pt x="1239" y="1661"/>
                </a:lnTo>
                <a:lnTo>
                  <a:pt x="1243" y="1671"/>
                </a:lnTo>
                <a:lnTo>
                  <a:pt x="1247" y="1681"/>
                </a:lnTo>
                <a:lnTo>
                  <a:pt x="1256" y="1700"/>
                </a:lnTo>
                <a:lnTo>
                  <a:pt x="1268" y="1719"/>
                </a:lnTo>
                <a:lnTo>
                  <a:pt x="1282" y="1739"/>
                </a:lnTo>
                <a:lnTo>
                  <a:pt x="1298" y="1760"/>
                </a:lnTo>
                <a:lnTo>
                  <a:pt x="1309" y="1771"/>
                </a:lnTo>
                <a:lnTo>
                  <a:pt x="1319" y="1781"/>
                </a:lnTo>
                <a:lnTo>
                  <a:pt x="1329" y="1789"/>
                </a:lnTo>
                <a:lnTo>
                  <a:pt x="1341" y="1796"/>
                </a:lnTo>
                <a:lnTo>
                  <a:pt x="1353" y="1801"/>
                </a:lnTo>
                <a:lnTo>
                  <a:pt x="1369" y="1805"/>
                </a:lnTo>
                <a:lnTo>
                  <a:pt x="1387" y="1807"/>
                </a:lnTo>
                <a:lnTo>
                  <a:pt x="1408" y="1807"/>
                </a:lnTo>
                <a:lnTo>
                  <a:pt x="1408" y="1809"/>
                </a:lnTo>
                <a:lnTo>
                  <a:pt x="1409" y="1811"/>
                </a:lnTo>
                <a:lnTo>
                  <a:pt x="1410" y="1812"/>
                </a:lnTo>
                <a:lnTo>
                  <a:pt x="1411" y="1812"/>
                </a:lnTo>
                <a:lnTo>
                  <a:pt x="1416" y="1814"/>
                </a:lnTo>
                <a:lnTo>
                  <a:pt x="1420" y="1814"/>
                </a:lnTo>
                <a:lnTo>
                  <a:pt x="1429" y="1821"/>
                </a:lnTo>
                <a:lnTo>
                  <a:pt x="1442" y="1831"/>
                </a:lnTo>
                <a:lnTo>
                  <a:pt x="1456" y="1840"/>
                </a:lnTo>
                <a:lnTo>
                  <a:pt x="1464" y="1845"/>
                </a:lnTo>
                <a:lnTo>
                  <a:pt x="1474" y="1860"/>
                </a:lnTo>
                <a:lnTo>
                  <a:pt x="1483" y="1876"/>
                </a:lnTo>
                <a:lnTo>
                  <a:pt x="1495" y="1883"/>
                </a:lnTo>
                <a:lnTo>
                  <a:pt x="1495" y="1895"/>
                </a:lnTo>
                <a:lnTo>
                  <a:pt x="1501" y="1896"/>
                </a:lnTo>
                <a:lnTo>
                  <a:pt x="1504" y="1898"/>
                </a:lnTo>
                <a:lnTo>
                  <a:pt x="1507" y="1903"/>
                </a:lnTo>
                <a:lnTo>
                  <a:pt x="1508" y="1907"/>
                </a:lnTo>
                <a:lnTo>
                  <a:pt x="1512" y="1910"/>
                </a:lnTo>
                <a:lnTo>
                  <a:pt x="1515" y="1914"/>
                </a:lnTo>
                <a:lnTo>
                  <a:pt x="1517" y="1916"/>
                </a:lnTo>
                <a:lnTo>
                  <a:pt x="1520" y="1917"/>
                </a:lnTo>
                <a:lnTo>
                  <a:pt x="1523" y="1920"/>
                </a:lnTo>
                <a:lnTo>
                  <a:pt x="1526" y="1920"/>
                </a:lnTo>
                <a:lnTo>
                  <a:pt x="1527" y="1923"/>
                </a:lnTo>
                <a:lnTo>
                  <a:pt x="1527" y="1925"/>
                </a:lnTo>
                <a:lnTo>
                  <a:pt x="1528" y="1926"/>
                </a:lnTo>
                <a:lnTo>
                  <a:pt x="1530" y="1926"/>
                </a:lnTo>
                <a:lnTo>
                  <a:pt x="1531" y="1926"/>
                </a:lnTo>
                <a:lnTo>
                  <a:pt x="1532" y="1927"/>
                </a:lnTo>
                <a:lnTo>
                  <a:pt x="1533" y="1928"/>
                </a:lnTo>
                <a:lnTo>
                  <a:pt x="1533" y="1932"/>
                </a:lnTo>
                <a:lnTo>
                  <a:pt x="1545" y="1932"/>
                </a:lnTo>
                <a:lnTo>
                  <a:pt x="1545" y="1945"/>
                </a:lnTo>
                <a:lnTo>
                  <a:pt x="1553" y="1945"/>
                </a:lnTo>
                <a:lnTo>
                  <a:pt x="1557" y="1945"/>
                </a:lnTo>
                <a:lnTo>
                  <a:pt x="1559" y="1946"/>
                </a:lnTo>
                <a:lnTo>
                  <a:pt x="1560" y="1947"/>
                </a:lnTo>
                <a:lnTo>
                  <a:pt x="1560" y="1949"/>
                </a:lnTo>
                <a:lnTo>
                  <a:pt x="1560" y="1950"/>
                </a:lnTo>
                <a:lnTo>
                  <a:pt x="1561" y="1951"/>
                </a:lnTo>
                <a:lnTo>
                  <a:pt x="1564" y="1951"/>
                </a:lnTo>
                <a:lnTo>
                  <a:pt x="1569" y="1959"/>
                </a:lnTo>
                <a:lnTo>
                  <a:pt x="1576" y="1969"/>
                </a:lnTo>
                <a:lnTo>
                  <a:pt x="1585" y="1979"/>
                </a:lnTo>
                <a:lnTo>
                  <a:pt x="1589" y="1982"/>
                </a:lnTo>
                <a:lnTo>
                  <a:pt x="1590" y="1990"/>
                </a:lnTo>
                <a:lnTo>
                  <a:pt x="1592" y="1997"/>
                </a:lnTo>
                <a:lnTo>
                  <a:pt x="1595" y="2003"/>
                </a:lnTo>
                <a:lnTo>
                  <a:pt x="1599" y="2010"/>
                </a:lnTo>
                <a:lnTo>
                  <a:pt x="1602" y="2016"/>
                </a:lnTo>
                <a:lnTo>
                  <a:pt x="1605" y="2022"/>
                </a:lnTo>
                <a:lnTo>
                  <a:pt x="1608" y="2028"/>
                </a:lnTo>
                <a:lnTo>
                  <a:pt x="1608" y="2032"/>
                </a:lnTo>
                <a:lnTo>
                  <a:pt x="1613" y="2037"/>
                </a:lnTo>
                <a:lnTo>
                  <a:pt x="1620" y="2045"/>
                </a:lnTo>
                <a:lnTo>
                  <a:pt x="1629" y="2053"/>
                </a:lnTo>
                <a:lnTo>
                  <a:pt x="1637" y="2064"/>
                </a:lnTo>
                <a:lnTo>
                  <a:pt x="1646" y="2074"/>
                </a:lnTo>
                <a:lnTo>
                  <a:pt x="1655" y="2082"/>
                </a:lnTo>
                <a:lnTo>
                  <a:pt x="1659" y="2086"/>
                </a:lnTo>
                <a:lnTo>
                  <a:pt x="1664" y="2088"/>
                </a:lnTo>
                <a:lnTo>
                  <a:pt x="1667" y="2089"/>
                </a:lnTo>
                <a:lnTo>
                  <a:pt x="1671" y="2090"/>
                </a:lnTo>
                <a:lnTo>
                  <a:pt x="1677" y="2103"/>
                </a:lnTo>
                <a:lnTo>
                  <a:pt x="1690" y="2109"/>
                </a:lnTo>
                <a:lnTo>
                  <a:pt x="1699" y="2106"/>
                </a:lnTo>
                <a:lnTo>
                  <a:pt x="1708" y="2103"/>
                </a:lnTo>
                <a:lnTo>
                  <a:pt x="1708" y="2090"/>
                </a:lnTo>
                <a:lnTo>
                  <a:pt x="1722" y="2078"/>
                </a:lnTo>
                <a:lnTo>
                  <a:pt x="1722" y="2065"/>
                </a:lnTo>
                <a:lnTo>
                  <a:pt x="1727" y="2052"/>
                </a:lnTo>
                <a:lnTo>
                  <a:pt x="1734" y="2047"/>
                </a:lnTo>
                <a:lnTo>
                  <a:pt x="1739" y="2040"/>
                </a:lnTo>
                <a:lnTo>
                  <a:pt x="1746" y="2033"/>
                </a:lnTo>
                <a:lnTo>
                  <a:pt x="1748" y="2033"/>
                </a:lnTo>
                <a:lnTo>
                  <a:pt x="1751" y="2032"/>
                </a:lnTo>
                <a:lnTo>
                  <a:pt x="1753" y="2030"/>
                </a:lnTo>
                <a:lnTo>
                  <a:pt x="1755" y="2027"/>
                </a:lnTo>
                <a:lnTo>
                  <a:pt x="1761" y="2021"/>
                </a:lnTo>
                <a:lnTo>
                  <a:pt x="1765" y="2016"/>
                </a:lnTo>
                <a:lnTo>
                  <a:pt x="1777" y="2016"/>
                </a:lnTo>
                <a:lnTo>
                  <a:pt x="1778" y="2011"/>
                </a:lnTo>
                <a:lnTo>
                  <a:pt x="1781" y="2007"/>
                </a:lnTo>
                <a:lnTo>
                  <a:pt x="1783" y="2003"/>
                </a:lnTo>
                <a:lnTo>
                  <a:pt x="1786" y="2000"/>
                </a:lnTo>
                <a:lnTo>
                  <a:pt x="1793" y="1995"/>
                </a:lnTo>
                <a:lnTo>
                  <a:pt x="1796" y="1990"/>
                </a:lnTo>
                <a:lnTo>
                  <a:pt x="1803" y="1990"/>
                </a:lnTo>
                <a:lnTo>
                  <a:pt x="1808" y="1989"/>
                </a:lnTo>
                <a:lnTo>
                  <a:pt x="1810" y="1989"/>
                </a:lnTo>
                <a:lnTo>
                  <a:pt x="1810" y="1987"/>
                </a:lnTo>
                <a:lnTo>
                  <a:pt x="1810" y="1985"/>
                </a:lnTo>
                <a:lnTo>
                  <a:pt x="1810" y="1985"/>
                </a:lnTo>
                <a:lnTo>
                  <a:pt x="1812" y="1984"/>
                </a:lnTo>
                <a:lnTo>
                  <a:pt x="1815" y="1984"/>
                </a:lnTo>
                <a:lnTo>
                  <a:pt x="1815" y="1980"/>
                </a:lnTo>
                <a:lnTo>
                  <a:pt x="1815" y="1979"/>
                </a:lnTo>
                <a:lnTo>
                  <a:pt x="1816" y="1978"/>
                </a:lnTo>
                <a:lnTo>
                  <a:pt x="1818" y="1978"/>
                </a:lnTo>
                <a:lnTo>
                  <a:pt x="1819" y="1978"/>
                </a:lnTo>
                <a:lnTo>
                  <a:pt x="1820" y="1976"/>
                </a:lnTo>
                <a:lnTo>
                  <a:pt x="1821" y="1975"/>
                </a:lnTo>
                <a:lnTo>
                  <a:pt x="1821" y="1971"/>
                </a:lnTo>
                <a:lnTo>
                  <a:pt x="1833" y="1970"/>
                </a:lnTo>
                <a:lnTo>
                  <a:pt x="1850" y="1965"/>
                </a:lnTo>
                <a:lnTo>
                  <a:pt x="1868" y="1961"/>
                </a:lnTo>
                <a:lnTo>
                  <a:pt x="1883" y="1959"/>
                </a:lnTo>
                <a:lnTo>
                  <a:pt x="1882" y="1946"/>
                </a:lnTo>
                <a:lnTo>
                  <a:pt x="1879" y="1934"/>
                </a:lnTo>
                <a:lnTo>
                  <a:pt x="1875" y="1922"/>
                </a:lnTo>
                <a:lnTo>
                  <a:pt x="1868" y="1910"/>
                </a:lnTo>
                <a:lnTo>
                  <a:pt x="1860" y="1897"/>
                </a:lnTo>
                <a:lnTo>
                  <a:pt x="1852" y="1885"/>
                </a:lnTo>
                <a:lnTo>
                  <a:pt x="1843" y="1874"/>
                </a:lnTo>
                <a:lnTo>
                  <a:pt x="1833" y="1863"/>
                </a:lnTo>
                <a:lnTo>
                  <a:pt x="1815" y="1841"/>
                </a:lnTo>
                <a:lnTo>
                  <a:pt x="1799" y="1824"/>
                </a:lnTo>
                <a:lnTo>
                  <a:pt x="1792" y="1817"/>
                </a:lnTo>
                <a:lnTo>
                  <a:pt x="1787" y="1810"/>
                </a:lnTo>
                <a:lnTo>
                  <a:pt x="1784" y="1805"/>
                </a:lnTo>
                <a:lnTo>
                  <a:pt x="1783" y="1801"/>
                </a:lnTo>
                <a:lnTo>
                  <a:pt x="1771" y="1801"/>
                </a:lnTo>
                <a:lnTo>
                  <a:pt x="1761" y="1795"/>
                </a:lnTo>
                <a:lnTo>
                  <a:pt x="1746" y="1789"/>
                </a:lnTo>
                <a:lnTo>
                  <a:pt x="1744" y="1786"/>
                </a:lnTo>
                <a:lnTo>
                  <a:pt x="1739" y="1781"/>
                </a:lnTo>
                <a:lnTo>
                  <a:pt x="1734" y="1776"/>
                </a:lnTo>
                <a:lnTo>
                  <a:pt x="1727" y="1770"/>
                </a:lnTo>
                <a:lnTo>
                  <a:pt x="1720" y="1764"/>
                </a:lnTo>
                <a:lnTo>
                  <a:pt x="1714" y="1759"/>
                </a:lnTo>
                <a:lnTo>
                  <a:pt x="1709" y="1754"/>
                </a:lnTo>
                <a:lnTo>
                  <a:pt x="1708" y="1751"/>
                </a:lnTo>
                <a:lnTo>
                  <a:pt x="1696" y="1751"/>
                </a:lnTo>
                <a:lnTo>
                  <a:pt x="1695" y="1749"/>
                </a:lnTo>
                <a:lnTo>
                  <a:pt x="1695" y="1748"/>
                </a:lnTo>
                <a:lnTo>
                  <a:pt x="1694" y="1747"/>
                </a:lnTo>
                <a:lnTo>
                  <a:pt x="1691" y="1745"/>
                </a:lnTo>
                <a:lnTo>
                  <a:pt x="1688" y="1744"/>
                </a:lnTo>
                <a:lnTo>
                  <a:pt x="1682" y="1744"/>
                </a:lnTo>
                <a:lnTo>
                  <a:pt x="1681" y="1742"/>
                </a:lnTo>
                <a:lnTo>
                  <a:pt x="1678" y="1738"/>
                </a:lnTo>
                <a:lnTo>
                  <a:pt x="1672" y="1732"/>
                </a:lnTo>
                <a:lnTo>
                  <a:pt x="1667" y="1726"/>
                </a:lnTo>
                <a:lnTo>
                  <a:pt x="1660" y="1722"/>
                </a:lnTo>
                <a:lnTo>
                  <a:pt x="1653" y="1718"/>
                </a:lnTo>
                <a:lnTo>
                  <a:pt x="1649" y="1714"/>
                </a:lnTo>
                <a:lnTo>
                  <a:pt x="1646" y="1713"/>
                </a:lnTo>
                <a:lnTo>
                  <a:pt x="1639" y="1707"/>
                </a:lnTo>
                <a:lnTo>
                  <a:pt x="1638" y="1704"/>
                </a:lnTo>
                <a:lnTo>
                  <a:pt x="1632" y="1700"/>
                </a:lnTo>
                <a:lnTo>
                  <a:pt x="1626" y="1694"/>
                </a:lnTo>
                <a:lnTo>
                  <a:pt x="1618" y="1689"/>
                </a:lnTo>
                <a:lnTo>
                  <a:pt x="1609" y="1683"/>
                </a:lnTo>
                <a:lnTo>
                  <a:pt x="1602" y="1677"/>
                </a:lnTo>
                <a:lnTo>
                  <a:pt x="1598" y="1673"/>
                </a:lnTo>
                <a:lnTo>
                  <a:pt x="1595" y="1670"/>
                </a:lnTo>
                <a:lnTo>
                  <a:pt x="1583" y="1670"/>
                </a:lnTo>
                <a:lnTo>
                  <a:pt x="1580" y="1657"/>
                </a:lnTo>
                <a:lnTo>
                  <a:pt x="1576" y="1645"/>
                </a:lnTo>
                <a:lnTo>
                  <a:pt x="1572" y="1642"/>
                </a:lnTo>
                <a:lnTo>
                  <a:pt x="1566" y="1636"/>
                </a:lnTo>
                <a:lnTo>
                  <a:pt x="1562" y="1629"/>
                </a:lnTo>
                <a:lnTo>
                  <a:pt x="1556" y="1622"/>
                </a:lnTo>
                <a:lnTo>
                  <a:pt x="1545" y="1604"/>
                </a:lnTo>
                <a:lnTo>
                  <a:pt x="1535" y="1584"/>
                </a:lnTo>
                <a:lnTo>
                  <a:pt x="1526" y="1565"/>
                </a:lnTo>
                <a:lnTo>
                  <a:pt x="1517" y="1548"/>
                </a:lnTo>
                <a:lnTo>
                  <a:pt x="1512" y="1537"/>
                </a:lnTo>
                <a:lnTo>
                  <a:pt x="1508" y="1532"/>
                </a:lnTo>
                <a:lnTo>
                  <a:pt x="1508" y="1501"/>
                </a:lnTo>
                <a:lnTo>
                  <a:pt x="1517" y="1494"/>
                </a:lnTo>
                <a:lnTo>
                  <a:pt x="1540" y="1479"/>
                </a:lnTo>
                <a:lnTo>
                  <a:pt x="1551" y="1470"/>
                </a:lnTo>
                <a:lnTo>
                  <a:pt x="1561" y="1461"/>
                </a:lnTo>
                <a:lnTo>
                  <a:pt x="1568" y="1455"/>
                </a:lnTo>
                <a:lnTo>
                  <a:pt x="1571" y="1451"/>
                </a:lnTo>
                <a:lnTo>
                  <a:pt x="1576" y="1449"/>
                </a:lnTo>
                <a:lnTo>
                  <a:pt x="1585" y="1444"/>
                </a:lnTo>
                <a:lnTo>
                  <a:pt x="1589" y="1441"/>
                </a:lnTo>
                <a:lnTo>
                  <a:pt x="1592" y="1437"/>
                </a:lnTo>
                <a:lnTo>
                  <a:pt x="1594" y="1435"/>
                </a:lnTo>
                <a:lnTo>
                  <a:pt x="1595" y="1432"/>
                </a:lnTo>
                <a:lnTo>
                  <a:pt x="1608" y="1432"/>
                </a:lnTo>
                <a:lnTo>
                  <a:pt x="1609" y="1430"/>
                </a:lnTo>
                <a:lnTo>
                  <a:pt x="1610" y="1428"/>
                </a:lnTo>
                <a:lnTo>
                  <a:pt x="1611" y="1426"/>
                </a:lnTo>
                <a:lnTo>
                  <a:pt x="1614" y="1425"/>
                </a:lnTo>
                <a:lnTo>
                  <a:pt x="1620" y="1423"/>
                </a:lnTo>
                <a:lnTo>
                  <a:pt x="1628" y="1421"/>
                </a:lnTo>
                <a:lnTo>
                  <a:pt x="1645" y="1420"/>
                </a:lnTo>
                <a:lnTo>
                  <a:pt x="1658" y="1420"/>
                </a:lnTo>
                <a:lnTo>
                  <a:pt x="1658" y="1417"/>
                </a:lnTo>
                <a:lnTo>
                  <a:pt x="1659" y="1416"/>
                </a:lnTo>
                <a:lnTo>
                  <a:pt x="1660" y="1415"/>
                </a:lnTo>
                <a:lnTo>
                  <a:pt x="1662" y="1414"/>
                </a:lnTo>
                <a:lnTo>
                  <a:pt x="1666" y="1413"/>
                </a:lnTo>
                <a:lnTo>
                  <a:pt x="1670" y="1413"/>
                </a:lnTo>
                <a:lnTo>
                  <a:pt x="1671" y="1408"/>
                </a:lnTo>
                <a:lnTo>
                  <a:pt x="1675" y="1405"/>
                </a:lnTo>
                <a:lnTo>
                  <a:pt x="1678" y="1402"/>
                </a:lnTo>
                <a:lnTo>
                  <a:pt x="1682" y="1401"/>
                </a:lnTo>
                <a:lnTo>
                  <a:pt x="1689" y="1395"/>
                </a:lnTo>
                <a:lnTo>
                  <a:pt x="1690" y="1389"/>
                </a:lnTo>
                <a:lnTo>
                  <a:pt x="1694" y="1383"/>
                </a:lnTo>
                <a:lnTo>
                  <a:pt x="1695" y="1380"/>
                </a:lnTo>
                <a:lnTo>
                  <a:pt x="1697" y="1378"/>
                </a:lnTo>
                <a:lnTo>
                  <a:pt x="1699" y="1376"/>
                </a:lnTo>
                <a:lnTo>
                  <a:pt x="1701" y="1376"/>
                </a:lnTo>
                <a:lnTo>
                  <a:pt x="1701" y="1357"/>
                </a:lnTo>
                <a:lnTo>
                  <a:pt x="1704" y="1356"/>
                </a:lnTo>
                <a:lnTo>
                  <a:pt x="1706" y="1355"/>
                </a:lnTo>
                <a:lnTo>
                  <a:pt x="1706" y="1353"/>
                </a:lnTo>
                <a:lnTo>
                  <a:pt x="1707" y="1350"/>
                </a:lnTo>
                <a:lnTo>
                  <a:pt x="1708" y="1344"/>
                </a:lnTo>
                <a:lnTo>
                  <a:pt x="1708" y="1338"/>
                </a:lnTo>
                <a:lnTo>
                  <a:pt x="1710" y="1337"/>
                </a:lnTo>
                <a:lnTo>
                  <a:pt x="1712" y="1334"/>
                </a:lnTo>
                <a:lnTo>
                  <a:pt x="1713" y="1328"/>
                </a:lnTo>
                <a:lnTo>
                  <a:pt x="1714" y="1321"/>
                </a:lnTo>
                <a:lnTo>
                  <a:pt x="1714" y="1309"/>
                </a:lnTo>
                <a:lnTo>
                  <a:pt x="1714" y="1301"/>
                </a:lnTo>
                <a:lnTo>
                  <a:pt x="1710" y="1300"/>
                </a:lnTo>
                <a:lnTo>
                  <a:pt x="1709" y="1300"/>
                </a:lnTo>
                <a:lnTo>
                  <a:pt x="1708" y="1299"/>
                </a:lnTo>
                <a:lnTo>
                  <a:pt x="1708" y="1298"/>
                </a:lnTo>
                <a:lnTo>
                  <a:pt x="1708" y="1297"/>
                </a:lnTo>
                <a:lnTo>
                  <a:pt x="1707" y="1296"/>
                </a:lnTo>
                <a:lnTo>
                  <a:pt x="1706" y="1295"/>
                </a:lnTo>
                <a:lnTo>
                  <a:pt x="1701" y="1295"/>
                </a:lnTo>
                <a:lnTo>
                  <a:pt x="1696" y="1282"/>
                </a:lnTo>
                <a:lnTo>
                  <a:pt x="1695" y="1278"/>
                </a:lnTo>
                <a:lnTo>
                  <a:pt x="1693" y="1272"/>
                </a:lnTo>
                <a:lnTo>
                  <a:pt x="1689" y="1268"/>
                </a:lnTo>
                <a:lnTo>
                  <a:pt x="1686" y="1262"/>
                </a:lnTo>
                <a:lnTo>
                  <a:pt x="1682" y="1257"/>
                </a:lnTo>
                <a:lnTo>
                  <a:pt x="1679" y="1251"/>
                </a:lnTo>
                <a:lnTo>
                  <a:pt x="1678" y="1245"/>
                </a:lnTo>
                <a:lnTo>
                  <a:pt x="1677" y="1239"/>
                </a:lnTo>
                <a:lnTo>
                  <a:pt x="1665" y="1232"/>
                </a:lnTo>
                <a:lnTo>
                  <a:pt x="1661" y="1223"/>
                </a:lnTo>
                <a:lnTo>
                  <a:pt x="1658" y="1213"/>
                </a:lnTo>
                <a:lnTo>
                  <a:pt x="1646" y="1201"/>
                </a:lnTo>
                <a:lnTo>
                  <a:pt x="1633" y="1201"/>
                </a:lnTo>
                <a:lnTo>
                  <a:pt x="1627" y="1189"/>
                </a:lnTo>
                <a:lnTo>
                  <a:pt x="1614" y="1189"/>
                </a:lnTo>
                <a:lnTo>
                  <a:pt x="1608" y="1178"/>
                </a:lnTo>
                <a:lnTo>
                  <a:pt x="1602" y="1170"/>
                </a:lnTo>
                <a:lnTo>
                  <a:pt x="1589" y="1163"/>
                </a:lnTo>
                <a:lnTo>
                  <a:pt x="1576" y="1157"/>
                </a:lnTo>
                <a:lnTo>
                  <a:pt x="1557" y="1138"/>
                </a:lnTo>
                <a:lnTo>
                  <a:pt x="1557" y="1126"/>
                </a:lnTo>
                <a:lnTo>
                  <a:pt x="1556" y="1125"/>
                </a:lnTo>
                <a:lnTo>
                  <a:pt x="1554" y="1124"/>
                </a:lnTo>
                <a:lnTo>
                  <a:pt x="1553" y="1122"/>
                </a:lnTo>
                <a:lnTo>
                  <a:pt x="1553" y="1118"/>
                </a:lnTo>
                <a:lnTo>
                  <a:pt x="1552" y="1113"/>
                </a:lnTo>
                <a:lnTo>
                  <a:pt x="1552" y="1107"/>
                </a:lnTo>
                <a:lnTo>
                  <a:pt x="1495" y="913"/>
                </a:lnTo>
                <a:lnTo>
                  <a:pt x="1489" y="907"/>
                </a:lnTo>
                <a:lnTo>
                  <a:pt x="1483" y="901"/>
                </a:lnTo>
                <a:lnTo>
                  <a:pt x="1477" y="894"/>
                </a:lnTo>
                <a:lnTo>
                  <a:pt x="1473" y="891"/>
                </a:lnTo>
                <a:lnTo>
                  <a:pt x="1469" y="886"/>
                </a:lnTo>
                <a:lnTo>
                  <a:pt x="1467" y="882"/>
                </a:lnTo>
                <a:lnTo>
                  <a:pt x="1465" y="877"/>
                </a:lnTo>
                <a:lnTo>
                  <a:pt x="1463" y="868"/>
                </a:lnTo>
                <a:lnTo>
                  <a:pt x="1461" y="858"/>
                </a:lnTo>
                <a:lnTo>
                  <a:pt x="1460" y="841"/>
                </a:lnTo>
                <a:lnTo>
                  <a:pt x="1457" y="827"/>
                </a:lnTo>
                <a:lnTo>
                  <a:pt x="1453" y="818"/>
                </a:lnTo>
                <a:lnTo>
                  <a:pt x="1448" y="810"/>
                </a:lnTo>
                <a:lnTo>
                  <a:pt x="1441" y="802"/>
                </a:lnTo>
                <a:lnTo>
                  <a:pt x="1436" y="795"/>
                </a:lnTo>
                <a:lnTo>
                  <a:pt x="1428" y="786"/>
                </a:lnTo>
                <a:lnTo>
                  <a:pt x="1420" y="776"/>
                </a:lnTo>
                <a:lnTo>
                  <a:pt x="1412" y="764"/>
                </a:lnTo>
                <a:lnTo>
                  <a:pt x="1405" y="752"/>
                </a:lnTo>
                <a:lnTo>
                  <a:pt x="1391" y="753"/>
                </a:lnTo>
                <a:lnTo>
                  <a:pt x="1378" y="755"/>
                </a:lnTo>
                <a:lnTo>
                  <a:pt x="1365" y="758"/>
                </a:lnTo>
                <a:lnTo>
                  <a:pt x="1354" y="758"/>
                </a:lnTo>
                <a:lnTo>
                  <a:pt x="1354" y="760"/>
                </a:lnTo>
                <a:lnTo>
                  <a:pt x="1353" y="762"/>
                </a:lnTo>
                <a:lnTo>
                  <a:pt x="1351" y="763"/>
                </a:lnTo>
                <a:lnTo>
                  <a:pt x="1348" y="763"/>
                </a:lnTo>
                <a:lnTo>
                  <a:pt x="1342" y="764"/>
                </a:lnTo>
                <a:lnTo>
                  <a:pt x="1336" y="764"/>
                </a:lnTo>
                <a:lnTo>
                  <a:pt x="1335" y="768"/>
                </a:lnTo>
                <a:lnTo>
                  <a:pt x="1335" y="770"/>
                </a:lnTo>
                <a:lnTo>
                  <a:pt x="1334" y="770"/>
                </a:lnTo>
                <a:lnTo>
                  <a:pt x="1333" y="771"/>
                </a:lnTo>
                <a:lnTo>
                  <a:pt x="1332" y="771"/>
                </a:lnTo>
                <a:lnTo>
                  <a:pt x="1331" y="771"/>
                </a:lnTo>
                <a:lnTo>
                  <a:pt x="1330" y="773"/>
                </a:lnTo>
                <a:lnTo>
                  <a:pt x="1330" y="777"/>
                </a:lnTo>
                <a:lnTo>
                  <a:pt x="1305" y="774"/>
                </a:lnTo>
                <a:lnTo>
                  <a:pt x="1271" y="771"/>
                </a:lnTo>
                <a:lnTo>
                  <a:pt x="1253" y="769"/>
                </a:lnTo>
                <a:lnTo>
                  <a:pt x="1237" y="768"/>
                </a:lnTo>
                <a:lnTo>
                  <a:pt x="1226" y="768"/>
                </a:lnTo>
                <a:lnTo>
                  <a:pt x="1220" y="769"/>
                </a:lnTo>
                <a:lnTo>
                  <a:pt x="1083" y="769"/>
                </a:lnTo>
                <a:lnTo>
                  <a:pt x="1082" y="766"/>
                </a:lnTo>
                <a:lnTo>
                  <a:pt x="1082" y="763"/>
                </a:lnTo>
                <a:lnTo>
                  <a:pt x="1081" y="763"/>
                </a:lnTo>
                <a:lnTo>
                  <a:pt x="1080" y="763"/>
                </a:lnTo>
                <a:lnTo>
                  <a:pt x="1079" y="763"/>
                </a:lnTo>
                <a:lnTo>
                  <a:pt x="1077" y="762"/>
                </a:lnTo>
                <a:lnTo>
                  <a:pt x="1076" y="760"/>
                </a:lnTo>
                <a:lnTo>
                  <a:pt x="1076" y="757"/>
                </a:lnTo>
                <a:lnTo>
                  <a:pt x="1057" y="757"/>
                </a:lnTo>
                <a:lnTo>
                  <a:pt x="1052" y="751"/>
                </a:lnTo>
                <a:lnTo>
                  <a:pt x="1045" y="744"/>
                </a:lnTo>
                <a:lnTo>
                  <a:pt x="1033" y="744"/>
                </a:lnTo>
                <a:lnTo>
                  <a:pt x="1033" y="732"/>
                </a:lnTo>
                <a:lnTo>
                  <a:pt x="1021" y="732"/>
                </a:lnTo>
                <a:lnTo>
                  <a:pt x="1019" y="729"/>
                </a:lnTo>
                <a:lnTo>
                  <a:pt x="1019" y="726"/>
                </a:lnTo>
                <a:lnTo>
                  <a:pt x="1018" y="725"/>
                </a:lnTo>
                <a:lnTo>
                  <a:pt x="1017" y="725"/>
                </a:lnTo>
                <a:lnTo>
                  <a:pt x="1016" y="725"/>
                </a:lnTo>
                <a:lnTo>
                  <a:pt x="1015" y="724"/>
                </a:lnTo>
                <a:lnTo>
                  <a:pt x="1014" y="723"/>
                </a:lnTo>
                <a:lnTo>
                  <a:pt x="1014" y="720"/>
                </a:lnTo>
                <a:lnTo>
                  <a:pt x="1005" y="716"/>
                </a:lnTo>
                <a:lnTo>
                  <a:pt x="995" y="713"/>
                </a:lnTo>
                <a:lnTo>
                  <a:pt x="995" y="710"/>
                </a:lnTo>
                <a:lnTo>
                  <a:pt x="994" y="708"/>
                </a:lnTo>
                <a:lnTo>
                  <a:pt x="993" y="706"/>
                </a:lnTo>
                <a:lnTo>
                  <a:pt x="992" y="706"/>
                </a:lnTo>
                <a:lnTo>
                  <a:pt x="990" y="706"/>
                </a:lnTo>
                <a:lnTo>
                  <a:pt x="990" y="706"/>
                </a:lnTo>
                <a:lnTo>
                  <a:pt x="989" y="704"/>
                </a:lnTo>
                <a:lnTo>
                  <a:pt x="989" y="701"/>
                </a:lnTo>
                <a:lnTo>
                  <a:pt x="976" y="701"/>
                </a:lnTo>
                <a:lnTo>
                  <a:pt x="970" y="689"/>
                </a:lnTo>
                <a:lnTo>
                  <a:pt x="960" y="689"/>
                </a:lnTo>
                <a:lnTo>
                  <a:pt x="951" y="689"/>
                </a:lnTo>
                <a:lnTo>
                  <a:pt x="949" y="686"/>
                </a:lnTo>
                <a:lnTo>
                  <a:pt x="942" y="684"/>
                </a:lnTo>
                <a:lnTo>
                  <a:pt x="932" y="683"/>
                </a:lnTo>
                <a:lnTo>
                  <a:pt x="921" y="683"/>
                </a:lnTo>
                <a:lnTo>
                  <a:pt x="899" y="682"/>
                </a:lnTo>
                <a:lnTo>
                  <a:pt x="882" y="682"/>
                </a:lnTo>
                <a:lnTo>
                  <a:pt x="871" y="681"/>
                </a:lnTo>
                <a:lnTo>
                  <a:pt x="862" y="678"/>
                </a:lnTo>
                <a:lnTo>
                  <a:pt x="856" y="675"/>
                </a:lnTo>
                <a:lnTo>
                  <a:pt x="852" y="671"/>
                </a:lnTo>
                <a:lnTo>
                  <a:pt x="850" y="666"/>
                </a:lnTo>
                <a:lnTo>
                  <a:pt x="847" y="663"/>
                </a:lnTo>
                <a:lnTo>
                  <a:pt x="844" y="661"/>
                </a:lnTo>
                <a:lnTo>
                  <a:pt x="841" y="660"/>
                </a:lnTo>
                <a:lnTo>
                  <a:pt x="841" y="478"/>
                </a:lnTo>
                <a:lnTo>
                  <a:pt x="836" y="472"/>
                </a:lnTo>
                <a:lnTo>
                  <a:pt x="829" y="458"/>
                </a:lnTo>
                <a:lnTo>
                  <a:pt x="820" y="435"/>
                </a:lnTo>
                <a:lnTo>
                  <a:pt x="810" y="411"/>
                </a:lnTo>
                <a:lnTo>
                  <a:pt x="791" y="365"/>
                </a:lnTo>
                <a:lnTo>
                  <a:pt x="783" y="344"/>
                </a:lnTo>
                <a:lnTo>
                  <a:pt x="770" y="338"/>
                </a:lnTo>
                <a:lnTo>
                  <a:pt x="764" y="331"/>
                </a:lnTo>
                <a:lnTo>
                  <a:pt x="764" y="319"/>
                </a:lnTo>
                <a:lnTo>
                  <a:pt x="758" y="314"/>
                </a:lnTo>
                <a:lnTo>
                  <a:pt x="751" y="307"/>
                </a:lnTo>
                <a:lnTo>
                  <a:pt x="745" y="302"/>
                </a:lnTo>
                <a:lnTo>
                  <a:pt x="739" y="300"/>
                </a:lnTo>
                <a:lnTo>
                  <a:pt x="738" y="296"/>
                </a:lnTo>
                <a:lnTo>
                  <a:pt x="736" y="292"/>
                </a:lnTo>
                <a:lnTo>
                  <a:pt x="733" y="288"/>
                </a:lnTo>
                <a:lnTo>
                  <a:pt x="729" y="283"/>
                </a:lnTo>
                <a:lnTo>
                  <a:pt x="726" y="280"/>
                </a:lnTo>
                <a:lnTo>
                  <a:pt x="722" y="274"/>
                </a:lnTo>
                <a:lnTo>
                  <a:pt x="720" y="269"/>
                </a:lnTo>
                <a:lnTo>
                  <a:pt x="720" y="263"/>
                </a:lnTo>
                <a:lnTo>
                  <a:pt x="716" y="259"/>
                </a:lnTo>
                <a:lnTo>
                  <a:pt x="710" y="253"/>
                </a:lnTo>
                <a:lnTo>
                  <a:pt x="706" y="245"/>
                </a:lnTo>
                <a:lnTo>
                  <a:pt x="702" y="238"/>
                </a:lnTo>
                <a:lnTo>
                  <a:pt x="695" y="222"/>
                </a:lnTo>
                <a:lnTo>
                  <a:pt x="689" y="213"/>
                </a:lnTo>
                <a:lnTo>
                  <a:pt x="688" y="181"/>
                </a:lnTo>
                <a:lnTo>
                  <a:pt x="686" y="143"/>
                </a:lnTo>
                <a:lnTo>
                  <a:pt x="683" y="105"/>
                </a:lnTo>
                <a:lnTo>
                  <a:pt x="682" y="69"/>
                </a:lnTo>
                <a:lnTo>
                  <a:pt x="670" y="57"/>
                </a:lnTo>
                <a:lnTo>
                  <a:pt x="669" y="51"/>
                </a:lnTo>
                <a:lnTo>
                  <a:pt x="667" y="46"/>
                </a:lnTo>
                <a:lnTo>
                  <a:pt x="663" y="39"/>
                </a:lnTo>
                <a:lnTo>
                  <a:pt x="660" y="33"/>
                </a:lnTo>
                <a:lnTo>
                  <a:pt x="655" y="28"/>
                </a:lnTo>
                <a:lnTo>
                  <a:pt x="651" y="23"/>
                </a:lnTo>
                <a:lnTo>
                  <a:pt x="648" y="20"/>
                </a:lnTo>
                <a:lnTo>
                  <a:pt x="645" y="19"/>
                </a:lnTo>
                <a:lnTo>
                  <a:pt x="644" y="14"/>
                </a:lnTo>
                <a:lnTo>
                  <a:pt x="642" y="11"/>
                </a:lnTo>
                <a:lnTo>
                  <a:pt x="639" y="8"/>
                </a:lnTo>
                <a:lnTo>
                  <a:pt x="635" y="4"/>
                </a:lnTo>
                <a:lnTo>
                  <a:pt x="629" y="1"/>
                </a:lnTo>
                <a:lnTo>
                  <a:pt x="626" y="0"/>
                </a:lnTo>
                <a:lnTo>
                  <a:pt x="545" y="0"/>
                </a:lnTo>
                <a:lnTo>
                  <a:pt x="545" y="4"/>
                </a:lnTo>
                <a:lnTo>
                  <a:pt x="544" y="5"/>
                </a:lnTo>
                <a:lnTo>
                  <a:pt x="543" y="7"/>
                </a:lnTo>
                <a:lnTo>
                  <a:pt x="542" y="7"/>
                </a:lnTo>
                <a:lnTo>
                  <a:pt x="541" y="7"/>
                </a:lnTo>
                <a:lnTo>
                  <a:pt x="539" y="8"/>
                </a:lnTo>
                <a:lnTo>
                  <a:pt x="539" y="9"/>
                </a:lnTo>
                <a:lnTo>
                  <a:pt x="538" y="12"/>
                </a:lnTo>
                <a:lnTo>
                  <a:pt x="445" y="12"/>
                </a:lnTo>
                <a:lnTo>
                  <a:pt x="443" y="10"/>
                </a:lnTo>
                <a:lnTo>
                  <a:pt x="439" y="7"/>
                </a:lnTo>
                <a:lnTo>
                  <a:pt x="433" y="4"/>
                </a:lnTo>
                <a:lnTo>
                  <a:pt x="426" y="3"/>
                </a:lnTo>
                <a:lnTo>
                  <a:pt x="404" y="1"/>
                </a:lnTo>
                <a:lnTo>
                  <a:pt x="381" y="0"/>
                </a:lnTo>
                <a:lnTo>
                  <a:pt x="356" y="1"/>
                </a:lnTo>
                <a:lnTo>
                  <a:pt x="333" y="2"/>
                </a:lnTo>
                <a:lnTo>
                  <a:pt x="314" y="4"/>
                </a:lnTo>
                <a:lnTo>
                  <a:pt x="303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54" name="Freeform 15">
            <a:extLst>
              <a:ext uri="{FF2B5EF4-FFF2-40B4-BE49-F238E27FC236}">
                <a16:creationId xmlns:a16="http://schemas.microsoft.com/office/drawing/2014/main" id="{1C32B8B3-0CE0-499C-9FB8-3417269484AC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119938" y="4292600"/>
            <a:ext cx="306244" cy="282575"/>
          </a:xfrm>
          <a:custGeom>
            <a:avLst/>
            <a:gdLst/>
            <a:ahLst/>
            <a:cxnLst>
              <a:cxn ang="0">
                <a:pos x="1402" y="770"/>
              </a:cxn>
              <a:cxn ang="0">
                <a:pos x="1286" y="763"/>
              </a:cxn>
              <a:cxn ang="0">
                <a:pos x="1187" y="690"/>
              </a:cxn>
              <a:cxn ang="0">
                <a:pos x="1112" y="619"/>
              </a:cxn>
              <a:cxn ang="0">
                <a:pos x="1034" y="523"/>
              </a:cxn>
              <a:cxn ang="0">
                <a:pos x="1008" y="483"/>
              </a:cxn>
              <a:cxn ang="0">
                <a:pos x="977" y="436"/>
              </a:cxn>
              <a:cxn ang="0">
                <a:pos x="961" y="349"/>
              </a:cxn>
              <a:cxn ang="0">
                <a:pos x="938" y="183"/>
              </a:cxn>
              <a:cxn ang="0">
                <a:pos x="932" y="2"/>
              </a:cxn>
              <a:cxn ang="0">
                <a:pos x="846" y="19"/>
              </a:cxn>
              <a:cxn ang="0">
                <a:pos x="754" y="36"/>
              </a:cxn>
              <a:cxn ang="0">
                <a:pos x="724" y="52"/>
              </a:cxn>
              <a:cxn ang="0">
                <a:pos x="667" y="118"/>
              </a:cxn>
              <a:cxn ang="0">
                <a:pos x="590" y="145"/>
              </a:cxn>
              <a:cxn ang="0">
                <a:pos x="543" y="138"/>
              </a:cxn>
              <a:cxn ang="0">
                <a:pos x="453" y="111"/>
              </a:cxn>
              <a:cxn ang="0">
                <a:pos x="336" y="98"/>
              </a:cxn>
              <a:cxn ang="0">
                <a:pos x="196" y="165"/>
              </a:cxn>
              <a:cxn ang="0">
                <a:pos x="141" y="466"/>
              </a:cxn>
              <a:cxn ang="0">
                <a:pos x="93" y="564"/>
              </a:cxn>
              <a:cxn ang="0">
                <a:pos x="112" y="627"/>
              </a:cxn>
              <a:cxn ang="0">
                <a:pos x="122" y="669"/>
              </a:cxn>
              <a:cxn ang="0">
                <a:pos x="70" y="790"/>
              </a:cxn>
              <a:cxn ang="0">
                <a:pos x="32" y="856"/>
              </a:cxn>
              <a:cxn ang="0">
                <a:pos x="7" y="915"/>
              </a:cxn>
              <a:cxn ang="0">
                <a:pos x="96" y="1034"/>
              </a:cxn>
              <a:cxn ang="0">
                <a:pos x="216" y="1063"/>
              </a:cxn>
              <a:cxn ang="0">
                <a:pos x="366" y="1109"/>
              </a:cxn>
              <a:cxn ang="0">
                <a:pos x="390" y="1179"/>
              </a:cxn>
              <a:cxn ang="0">
                <a:pos x="375" y="1419"/>
              </a:cxn>
              <a:cxn ang="0">
                <a:pos x="389" y="1543"/>
              </a:cxn>
              <a:cxn ang="0">
                <a:pos x="541" y="1529"/>
              </a:cxn>
              <a:cxn ang="0">
                <a:pos x="601" y="1596"/>
              </a:cxn>
              <a:cxn ang="0">
                <a:pos x="603" y="1635"/>
              </a:cxn>
              <a:cxn ang="0">
                <a:pos x="654" y="1680"/>
              </a:cxn>
              <a:cxn ang="0">
                <a:pos x="722" y="1748"/>
              </a:cxn>
              <a:cxn ang="0">
                <a:pos x="742" y="1667"/>
              </a:cxn>
              <a:cxn ang="0">
                <a:pos x="755" y="1637"/>
              </a:cxn>
              <a:cxn ang="0">
                <a:pos x="858" y="1522"/>
              </a:cxn>
              <a:cxn ang="0">
                <a:pos x="851" y="1428"/>
              </a:cxn>
              <a:cxn ang="0">
                <a:pos x="812" y="1263"/>
              </a:cxn>
              <a:cxn ang="0">
                <a:pos x="850" y="1214"/>
              </a:cxn>
              <a:cxn ang="0">
                <a:pos x="886" y="1020"/>
              </a:cxn>
              <a:cxn ang="0">
                <a:pos x="1018" y="977"/>
              </a:cxn>
              <a:cxn ang="0">
                <a:pos x="1088" y="1000"/>
              </a:cxn>
              <a:cxn ang="0">
                <a:pos x="1210" y="1111"/>
              </a:cxn>
              <a:cxn ang="0">
                <a:pos x="1360" y="1342"/>
              </a:cxn>
              <a:cxn ang="0">
                <a:pos x="1473" y="1575"/>
              </a:cxn>
              <a:cxn ang="0">
                <a:pos x="1629" y="1650"/>
              </a:cxn>
              <a:cxn ang="0">
                <a:pos x="1656" y="1493"/>
              </a:cxn>
              <a:cxn ang="0">
                <a:pos x="1630" y="1399"/>
              </a:cxn>
              <a:cxn ang="0">
                <a:pos x="1575" y="1331"/>
              </a:cxn>
              <a:cxn ang="0">
                <a:pos x="1555" y="1272"/>
              </a:cxn>
              <a:cxn ang="0">
                <a:pos x="1527" y="1125"/>
              </a:cxn>
              <a:cxn ang="0">
                <a:pos x="1500" y="1080"/>
              </a:cxn>
              <a:cxn ang="0">
                <a:pos x="1481" y="1062"/>
              </a:cxn>
              <a:cxn ang="0">
                <a:pos x="1445" y="1044"/>
              </a:cxn>
              <a:cxn ang="0">
                <a:pos x="1438" y="991"/>
              </a:cxn>
              <a:cxn ang="0">
                <a:pos x="1450" y="957"/>
              </a:cxn>
              <a:cxn ang="0">
                <a:pos x="1464" y="937"/>
              </a:cxn>
              <a:cxn ang="0">
                <a:pos x="1457" y="866"/>
              </a:cxn>
            </a:cxnLst>
            <a:rect l="0" t="0" r="r" b="b"/>
            <a:pathLst>
              <a:path w="1680" h="1756">
                <a:moveTo>
                  <a:pt x="1462" y="764"/>
                </a:moveTo>
                <a:lnTo>
                  <a:pt x="1450" y="764"/>
                </a:lnTo>
                <a:lnTo>
                  <a:pt x="1438" y="764"/>
                </a:lnTo>
                <a:lnTo>
                  <a:pt x="1427" y="764"/>
                </a:lnTo>
                <a:lnTo>
                  <a:pt x="1416" y="764"/>
                </a:lnTo>
                <a:lnTo>
                  <a:pt x="1416" y="766"/>
                </a:lnTo>
                <a:lnTo>
                  <a:pt x="1414" y="767"/>
                </a:lnTo>
                <a:lnTo>
                  <a:pt x="1412" y="769"/>
                </a:lnTo>
                <a:lnTo>
                  <a:pt x="1408" y="769"/>
                </a:lnTo>
                <a:lnTo>
                  <a:pt x="1402" y="770"/>
                </a:lnTo>
                <a:lnTo>
                  <a:pt x="1397" y="770"/>
                </a:lnTo>
                <a:lnTo>
                  <a:pt x="1396" y="771"/>
                </a:lnTo>
                <a:lnTo>
                  <a:pt x="1393" y="772"/>
                </a:lnTo>
                <a:lnTo>
                  <a:pt x="1387" y="773"/>
                </a:lnTo>
                <a:lnTo>
                  <a:pt x="1380" y="773"/>
                </a:lnTo>
                <a:lnTo>
                  <a:pt x="1364" y="772"/>
                </a:lnTo>
                <a:lnTo>
                  <a:pt x="1345" y="771"/>
                </a:lnTo>
                <a:lnTo>
                  <a:pt x="1309" y="766"/>
                </a:lnTo>
                <a:lnTo>
                  <a:pt x="1293" y="764"/>
                </a:lnTo>
                <a:lnTo>
                  <a:pt x="1286" y="763"/>
                </a:lnTo>
                <a:lnTo>
                  <a:pt x="1278" y="761"/>
                </a:lnTo>
                <a:lnTo>
                  <a:pt x="1269" y="756"/>
                </a:lnTo>
                <a:lnTo>
                  <a:pt x="1259" y="751"/>
                </a:lnTo>
                <a:lnTo>
                  <a:pt x="1248" y="744"/>
                </a:lnTo>
                <a:lnTo>
                  <a:pt x="1238" y="736"/>
                </a:lnTo>
                <a:lnTo>
                  <a:pt x="1226" y="727"/>
                </a:lnTo>
                <a:lnTo>
                  <a:pt x="1216" y="718"/>
                </a:lnTo>
                <a:lnTo>
                  <a:pt x="1206" y="709"/>
                </a:lnTo>
                <a:lnTo>
                  <a:pt x="1196" y="699"/>
                </a:lnTo>
                <a:lnTo>
                  <a:pt x="1187" y="690"/>
                </a:lnTo>
                <a:lnTo>
                  <a:pt x="1181" y="682"/>
                </a:lnTo>
                <a:lnTo>
                  <a:pt x="1174" y="673"/>
                </a:lnTo>
                <a:lnTo>
                  <a:pt x="1169" y="665"/>
                </a:lnTo>
                <a:lnTo>
                  <a:pt x="1166" y="657"/>
                </a:lnTo>
                <a:lnTo>
                  <a:pt x="1165" y="651"/>
                </a:lnTo>
                <a:lnTo>
                  <a:pt x="1155" y="651"/>
                </a:lnTo>
                <a:lnTo>
                  <a:pt x="1143" y="638"/>
                </a:lnTo>
                <a:lnTo>
                  <a:pt x="1130" y="626"/>
                </a:lnTo>
                <a:lnTo>
                  <a:pt x="1120" y="626"/>
                </a:lnTo>
                <a:lnTo>
                  <a:pt x="1112" y="619"/>
                </a:lnTo>
                <a:lnTo>
                  <a:pt x="1096" y="601"/>
                </a:lnTo>
                <a:lnTo>
                  <a:pt x="1079" y="584"/>
                </a:lnTo>
                <a:lnTo>
                  <a:pt x="1071" y="577"/>
                </a:lnTo>
                <a:lnTo>
                  <a:pt x="1070" y="571"/>
                </a:lnTo>
                <a:lnTo>
                  <a:pt x="1069" y="565"/>
                </a:lnTo>
                <a:lnTo>
                  <a:pt x="1066" y="560"/>
                </a:lnTo>
                <a:lnTo>
                  <a:pt x="1062" y="554"/>
                </a:lnTo>
                <a:lnTo>
                  <a:pt x="1053" y="544"/>
                </a:lnTo>
                <a:lnTo>
                  <a:pt x="1044" y="533"/>
                </a:lnTo>
                <a:lnTo>
                  <a:pt x="1034" y="523"/>
                </a:lnTo>
                <a:lnTo>
                  <a:pt x="1025" y="512"/>
                </a:lnTo>
                <a:lnTo>
                  <a:pt x="1022" y="507"/>
                </a:lnTo>
                <a:lnTo>
                  <a:pt x="1019" y="503"/>
                </a:lnTo>
                <a:lnTo>
                  <a:pt x="1018" y="497"/>
                </a:lnTo>
                <a:lnTo>
                  <a:pt x="1016" y="493"/>
                </a:lnTo>
                <a:lnTo>
                  <a:pt x="1013" y="493"/>
                </a:lnTo>
                <a:lnTo>
                  <a:pt x="1011" y="492"/>
                </a:lnTo>
                <a:lnTo>
                  <a:pt x="1010" y="490"/>
                </a:lnTo>
                <a:lnTo>
                  <a:pt x="1009" y="487"/>
                </a:lnTo>
                <a:lnTo>
                  <a:pt x="1008" y="483"/>
                </a:lnTo>
                <a:lnTo>
                  <a:pt x="1006" y="478"/>
                </a:lnTo>
                <a:lnTo>
                  <a:pt x="1004" y="477"/>
                </a:lnTo>
                <a:lnTo>
                  <a:pt x="1001" y="473"/>
                </a:lnTo>
                <a:lnTo>
                  <a:pt x="996" y="468"/>
                </a:lnTo>
                <a:lnTo>
                  <a:pt x="993" y="462"/>
                </a:lnTo>
                <a:lnTo>
                  <a:pt x="989" y="455"/>
                </a:lnTo>
                <a:lnTo>
                  <a:pt x="985" y="449"/>
                </a:lnTo>
                <a:lnTo>
                  <a:pt x="983" y="443"/>
                </a:lnTo>
                <a:lnTo>
                  <a:pt x="982" y="438"/>
                </a:lnTo>
                <a:lnTo>
                  <a:pt x="977" y="436"/>
                </a:lnTo>
                <a:lnTo>
                  <a:pt x="972" y="434"/>
                </a:lnTo>
                <a:lnTo>
                  <a:pt x="972" y="415"/>
                </a:lnTo>
                <a:lnTo>
                  <a:pt x="970" y="395"/>
                </a:lnTo>
                <a:lnTo>
                  <a:pt x="968" y="376"/>
                </a:lnTo>
                <a:lnTo>
                  <a:pt x="967" y="360"/>
                </a:lnTo>
                <a:lnTo>
                  <a:pt x="964" y="359"/>
                </a:lnTo>
                <a:lnTo>
                  <a:pt x="963" y="357"/>
                </a:lnTo>
                <a:lnTo>
                  <a:pt x="963" y="353"/>
                </a:lnTo>
                <a:lnTo>
                  <a:pt x="963" y="350"/>
                </a:lnTo>
                <a:lnTo>
                  <a:pt x="961" y="349"/>
                </a:lnTo>
                <a:lnTo>
                  <a:pt x="958" y="348"/>
                </a:lnTo>
                <a:lnTo>
                  <a:pt x="956" y="346"/>
                </a:lnTo>
                <a:lnTo>
                  <a:pt x="954" y="343"/>
                </a:lnTo>
                <a:lnTo>
                  <a:pt x="951" y="336"/>
                </a:lnTo>
                <a:lnTo>
                  <a:pt x="948" y="324"/>
                </a:lnTo>
                <a:lnTo>
                  <a:pt x="944" y="299"/>
                </a:lnTo>
                <a:lnTo>
                  <a:pt x="941" y="267"/>
                </a:lnTo>
                <a:lnTo>
                  <a:pt x="939" y="236"/>
                </a:lnTo>
                <a:lnTo>
                  <a:pt x="938" y="206"/>
                </a:lnTo>
                <a:lnTo>
                  <a:pt x="938" y="183"/>
                </a:lnTo>
                <a:lnTo>
                  <a:pt x="937" y="167"/>
                </a:lnTo>
                <a:lnTo>
                  <a:pt x="938" y="148"/>
                </a:lnTo>
                <a:lnTo>
                  <a:pt x="939" y="128"/>
                </a:lnTo>
                <a:lnTo>
                  <a:pt x="941" y="107"/>
                </a:lnTo>
                <a:lnTo>
                  <a:pt x="943" y="86"/>
                </a:lnTo>
                <a:lnTo>
                  <a:pt x="945" y="63"/>
                </a:lnTo>
                <a:lnTo>
                  <a:pt x="946" y="42"/>
                </a:lnTo>
                <a:lnTo>
                  <a:pt x="947" y="20"/>
                </a:lnTo>
                <a:lnTo>
                  <a:pt x="947" y="0"/>
                </a:lnTo>
                <a:lnTo>
                  <a:pt x="932" y="2"/>
                </a:lnTo>
                <a:lnTo>
                  <a:pt x="912" y="6"/>
                </a:lnTo>
                <a:lnTo>
                  <a:pt x="902" y="10"/>
                </a:lnTo>
                <a:lnTo>
                  <a:pt x="890" y="12"/>
                </a:lnTo>
                <a:lnTo>
                  <a:pt x="879" y="14"/>
                </a:lnTo>
                <a:lnTo>
                  <a:pt x="869" y="14"/>
                </a:lnTo>
                <a:lnTo>
                  <a:pt x="868" y="16"/>
                </a:lnTo>
                <a:lnTo>
                  <a:pt x="865" y="17"/>
                </a:lnTo>
                <a:lnTo>
                  <a:pt x="860" y="17"/>
                </a:lnTo>
                <a:lnTo>
                  <a:pt x="856" y="19"/>
                </a:lnTo>
                <a:lnTo>
                  <a:pt x="846" y="19"/>
                </a:lnTo>
                <a:lnTo>
                  <a:pt x="839" y="19"/>
                </a:lnTo>
                <a:lnTo>
                  <a:pt x="838" y="21"/>
                </a:lnTo>
                <a:lnTo>
                  <a:pt x="836" y="23"/>
                </a:lnTo>
                <a:lnTo>
                  <a:pt x="832" y="24"/>
                </a:lnTo>
                <a:lnTo>
                  <a:pt x="828" y="25"/>
                </a:lnTo>
                <a:lnTo>
                  <a:pt x="817" y="29"/>
                </a:lnTo>
                <a:lnTo>
                  <a:pt x="802" y="30"/>
                </a:lnTo>
                <a:lnTo>
                  <a:pt x="774" y="33"/>
                </a:lnTo>
                <a:lnTo>
                  <a:pt x="755" y="34"/>
                </a:lnTo>
                <a:lnTo>
                  <a:pt x="754" y="36"/>
                </a:lnTo>
                <a:lnTo>
                  <a:pt x="753" y="39"/>
                </a:lnTo>
                <a:lnTo>
                  <a:pt x="751" y="39"/>
                </a:lnTo>
                <a:lnTo>
                  <a:pt x="747" y="40"/>
                </a:lnTo>
                <a:lnTo>
                  <a:pt x="745" y="40"/>
                </a:lnTo>
                <a:lnTo>
                  <a:pt x="743" y="42"/>
                </a:lnTo>
                <a:lnTo>
                  <a:pt x="741" y="44"/>
                </a:lnTo>
                <a:lnTo>
                  <a:pt x="741" y="49"/>
                </a:lnTo>
                <a:lnTo>
                  <a:pt x="735" y="49"/>
                </a:lnTo>
                <a:lnTo>
                  <a:pt x="730" y="51"/>
                </a:lnTo>
                <a:lnTo>
                  <a:pt x="724" y="52"/>
                </a:lnTo>
                <a:lnTo>
                  <a:pt x="718" y="55"/>
                </a:lnTo>
                <a:lnTo>
                  <a:pt x="708" y="61"/>
                </a:lnTo>
                <a:lnTo>
                  <a:pt x="698" y="69"/>
                </a:lnTo>
                <a:lnTo>
                  <a:pt x="689" y="75"/>
                </a:lnTo>
                <a:lnTo>
                  <a:pt x="682" y="82"/>
                </a:lnTo>
                <a:lnTo>
                  <a:pt x="676" y="87"/>
                </a:lnTo>
                <a:lnTo>
                  <a:pt x="672" y="88"/>
                </a:lnTo>
                <a:lnTo>
                  <a:pt x="670" y="99"/>
                </a:lnTo>
                <a:lnTo>
                  <a:pt x="668" y="108"/>
                </a:lnTo>
                <a:lnTo>
                  <a:pt x="667" y="118"/>
                </a:lnTo>
                <a:lnTo>
                  <a:pt x="666" y="128"/>
                </a:lnTo>
                <a:lnTo>
                  <a:pt x="668" y="128"/>
                </a:lnTo>
                <a:lnTo>
                  <a:pt x="669" y="130"/>
                </a:lnTo>
                <a:lnTo>
                  <a:pt x="670" y="132"/>
                </a:lnTo>
                <a:lnTo>
                  <a:pt x="670" y="136"/>
                </a:lnTo>
                <a:lnTo>
                  <a:pt x="672" y="142"/>
                </a:lnTo>
                <a:lnTo>
                  <a:pt x="672" y="147"/>
                </a:lnTo>
                <a:lnTo>
                  <a:pt x="592" y="147"/>
                </a:lnTo>
                <a:lnTo>
                  <a:pt x="592" y="146"/>
                </a:lnTo>
                <a:lnTo>
                  <a:pt x="590" y="145"/>
                </a:lnTo>
                <a:lnTo>
                  <a:pt x="589" y="144"/>
                </a:lnTo>
                <a:lnTo>
                  <a:pt x="587" y="144"/>
                </a:lnTo>
                <a:lnTo>
                  <a:pt x="582" y="142"/>
                </a:lnTo>
                <a:lnTo>
                  <a:pt x="578" y="142"/>
                </a:lnTo>
                <a:lnTo>
                  <a:pt x="577" y="141"/>
                </a:lnTo>
                <a:lnTo>
                  <a:pt x="572" y="139"/>
                </a:lnTo>
                <a:lnTo>
                  <a:pt x="568" y="139"/>
                </a:lnTo>
                <a:lnTo>
                  <a:pt x="562" y="138"/>
                </a:lnTo>
                <a:lnTo>
                  <a:pt x="550" y="138"/>
                </a:lnTo>
                <a:lnTo>
                  <a:pt x="543" y="138"/>
                </a:lnTo>
                <a:lnTo>
                  <a:pt x="540" y="136"/>
                </a:lnTo>
                <a:lnTo>
                  <a:pt x="531" y="132"/>
                </a:lnTo>
                <a:lnTo>
                  <a:pt x="517" y="129"/>
                </a:lnTo>
                <a:lnTo>
                  <a:pt x="503" y="126"/>
                </a:lnTo>
                <a:lnTo>
                  <a:pt x="474" y="120"/>
                </a:lnTo>
                <a:lnTo>
                  <a:pt x="459" y="118"/>
                </a:lnTo>
                <a:lnTo>
                  <a:pt x="458" y="116"/>
                </a:lnTo>
                <a:lnTo>
                  <a:pt x="457" y="115"/>
                </a:lnTo>
                <a:lnTo>
                  <a:pt x="455" y="112"/>
                </a:lnTo>
                <a:lnTo>
                  <a:pt x="453" y="111"/>
                </a:lnTo>
                <a:lnTo>
                  <a:pt x="446" y="109"/>
                </a:lnTo>
                <a:lnTo>
                  <a:pt x="439" y="108"/>
                </a:lnTo>
                <a:lnTo>
                  <a:pt x="438" y="107"/>
                </a:lnTo>
                <a:lnTo>
                  <a:pt x="437" y="104"/>
                </a:lnTo>
                <a:lnTo>
                  <a:pt x="434" y="103"/>
                </a:lnTo>
                <a:lnTo>
                  <a:pt x="430" y="102"/>
                </a:lnTo>
                <a:lnTo>
                  <a:pt x="420" y="100"/>
                </a:lnTo>
                <a:lnTo>
                  <a:pt x="407" y="99"/>
                </a:lnTo>
                <a:lnTo>
                  <a:pt x="375" y="97"/>
                </a:lnTo>
                <a:lnTo>
                  <a:pt x="336" y="98"/>
                </a:lnTo>
                <a:lnTo>
                  <a:pt x="296" y="101"/>
                </a:lnTo>
                <a:lnTo>
                  <a:pt x="260" y="106"/>
                </a:lnTo>
                <a:lnTo>
                  <a:pt x="245" y="108"/>
                </a:lnTo>
                <a:lnTo>
                  <a:pt x="232" y="111"/>
                </a:lnTo>
                <a:lnTo>
                  <a:pt x="223" y="115"/>
                </a:lnTo>
                <a:lnTo>
                  <a:pt x="217" y="118"/>
                </a:lnTo>
                <a:lnTo>
                  <a:pt x="212" y="126"/>
                </a:lnTo>
                <a:lnTo>
                  <a:pt x="206" y="136"/>
                </a:lnTo>
                <a:lnTo>
                  <a:pt x="200" y="149"/>
                </a:lnTo>
                <a:lnTo>
                  <a:pt x="196" y="165"/>
                </a:lnTo>
                <a:lnTo>
                  <a:pt x="187" y="199"/>
                </a:lnTo>
                <a:lnTo>
                  <a:pt x="178" y="237"/>
                </a:lnTo>
                <a:lnTo>
                  <a:pt x="171" y="274"/>
                </a:lnTo>
                <a:lnTo>
                  <a:pt x="165" y="305"/>
                </a:lnTo>
                <a:lnTo>
                  <a:pt x="160" y="327"/>
                </a:lnTo>
                <a:lnTo>
                  <a:pt x="158" y="336"/>
                </a:lnTo>
                <a:lnTo>
                  <a:pt x="157" y="357"/>
                </a:lnTo>
                <a:lnTo>
                  <a:pt x="154" y="388"/>
                </a:lnTo>
                <a:lnTo>
                  <a:pt x="149" y="426"/>
                </a:lnTo>
                <a:lnTo>
                  <a:pt x="141" y="466"/>
                </a:lnTo>
                <a:lnTo>
                  <a:pt x="137" y="485"/>
                </a:lnTo>
                <a:lnTo>
                  <a:pt x="131" y="504"/>
                </a:lnTo>
                <a:lnTo>
                  <a:pt x="125" y="521"/>
                </a:lnTo>
                <a:lnTo>
                  <a:pt x="118" y="536"/>
                </a:lnTo>
                <a:lnTo>
                  <a:pt x="115" y="543"/>
                </a:lnTo>
                <a:lnTo>
                  <a:pt x="111" y="549"/>
                </a:lnTo>
                <a:lnTo>
                  <a:pt x="107" y="554"/>
                </a:lnTo>
                <a:lnTo>
                  <a:pt x="102" y="559"/>
                </a:lnTo>
                <a:lnTo>
                  <a:pt x="98" y="562"/>
                </a:lnTo>
                <a:lnTo>
                  <a:pt x="93" y="564"/>
                </a:lnTo>
                <a:lnTo>
                  <a:pt x="89" y="567"/>
                </a:lnTo>
                <a:lnTo>
                  <a:pt x="83" y="567"/>
                </a:lnTo>
                <a:lnTo>
                  <a:pt x="83" y="591"/>
                </a:lnTo>
                <a:lnTo>
                  <a:pt x="88" y="593"/>
                </a:lnTo>
                <a:lnTo>
                  <a:pt x="92" y="597"/>
                </a:lnTo>
                <a:lnTo>
                  <a:pt x="98" y="601"/>
                </a:lnTo>
                <a:lnTo>
                  <a:pt x="102" y="608"/>
                </a:lnTo>
                <a:lnTo>
                  <a:pt x="107" y="615"/>
                </a:lnTo>
                <a:lnTo>
                  <a:pt x="110" y="621"/>
                </a:lnTo>
                <a:lnTo>
                  <a:pt x="112" y="627"/>
                </a:lnTo>
                <a:lnTo>
                  <a:pt x="113" y="631"/>
                </a:lnTo>
                <a:lnTo>
                  <a:pt x="117" y="632"/>
                </a:lnTo>
                <a:lnTo>
                  <a:pt x="118" y="635"/>
                </a:lnTo>
                <a:lnTo>
                  <a:pt x="118" y="637"/>
                </a:lnTo>
                <a:lnTo>
                  <a:pt x="118" y="641"/>
                </a:lnTo>
                <a:lnTo>
                  <a:pt x="120" y="642"/>
                </a:lnTo>
                <a:lnTo>
                  <a:pt x="121" y="645"/>
                </a:lnTo>
                <a:lnTo>
                  <a:pt x="122" y="649"/>
                </a:lnTo>
                <a:lnTo>
                  <a:pt x="122" y="655"/>
                </a:lnTo>
                <a:lnTo>
                  <a:pt x="122" y="669"/>
                </a:lnTo>
                <a:lnTo>
                  <a:pt x="121" y="687"/>
                </a:lnTo>
                <a:lnTo>
                  <a:pt x="120" y="704"/>
                </a:lnTo>
                <a:lnTo>
                  <a:pt x="118" y="721"/>
                </a:lnTo>
                <a:lnTo>
                  <a:pt x="116" y="733"/>
                </a:lnTo>
                <a:lnTo>
                  <a:pt x="113" y="740"/>
                </a:lnTo>
                <a:lnTo>
                  <a:pt x="108" y="750"/>
                </a:lnTo>
                <a:lnTo>
                  <a:pt x="100" y="759"/>
                </a:lnTo>
                <a:lnTo>
                  <a:pt x="90" y="769"/>
                </a:lnTo>
                <a:lnTo>
                  <a:pt x="80" y="780"/>
                </a:lnTo>
                <a:lnTo>
                  <a:pt x="70" y="790"/>
                </a:lnTo>
                <a:lnTo>
                  <a:pt x="62" y="800"/>
                </a:lnTo>
                <a:lnTo>
                  <a:pt x="59" y="804"/>
                </a:lnTo>
                <a:lnTo>
                  <a:pt x="56" y="809"/>
                </a:lnTo>
                <a:lnTo>
                  <a:pt x="54" y="814"/>
                </a:lnTo>
                <a:lnTo>
                  <a:pt x="54" y="819"/>
                </a:lnTo>
                <a:lnTo>
                  <a:pt x="44" y="819"/>
                </a:lnTo>
                <a:lnTo>
                  <a:pt x="43" y="827"/>
                </a:lnTo>
                <a:lnTo>
                  <a:pt x="41" y="837"/>
                </a:lnTo>
                <a:lnTo>
                  <a:pt x="37" y="846"/>
                </a:lnTo>
                <a:lnTo>
                  <a:pt x="32" y="856"/>
                </a:lnTo>
                <a:lnTo>
                  <a:pt x="26" y="865"/>
                </a:lnTo>
                <a:lnTo>
                  <a:pt x="20" y="871"/>
                </a:lnTo>
                <a:lnTo>
                  <a:pt x="16" y="875"/>
                </a:lnTo>
                <a:lnTo>
                  <a:pt x="12" y="876"/>
                </a:lnTo>
                <a:lnTo>
                  <a:pt x="8" y="878"/>
                </a:lnTo>
                <a:lnTo>
                  <a:pt x="5" y="878"/>
                </a:lnTo>
                <a:lnTo>
                  <a:pt x="0" y="882"/>
                </a:lnTo>
                <a:lnTo>
                  <a:pt x="1" y="892"/>
                </a:lnTo>
                <a:lnTo>
                  <a:pt x="3" y="902"/>
                </a:lnTo>
                <a:lnTo>
                  <a:pt x="7" y="915"/>
                </a:lnTo>
                <a:lnTo>
                  <a:pt x="13" y="927"/>
                </a:lnTo>
                <a:lnTo>
                  <a:pt x="20" y="940"/>
                </a:lnTo>
                <a:lnTo>
                  <a:pt x="27" y="954"/>
                </a:lnTo>
                <a:lnTo>
                  <a:pt x="35" y="967"/>
                </a:lnTo>
                <a:lnTo>
                  <a:pt x="45" y="981"/>
                </a:lnTo>
                <a:lnTo>
                  <a:pt x="54" y="994"/>
                </a:lnTo>
                <a:lnTo>
                  <a:pt x="64" y="1006"/>
                </a:lnTo>
                <a:lnTo>
                  <a:pt x="75" y="1016"/>
                </a:lnTo>
                <a:lnTo>
                  <a:pt x="85" y="1026"/>
                </a:lnTo>
                <a:lnTo>
                  <a:pt x="96" y="1034"/>
                </a:lnTo>
                <a:lnTo>
                  <a:pt x="106" y="1041"/>
                </a:lnTo>
                <a:lnTo>
                  <a:pt x="110" y="1043"/>
                </a:lnTo>
                <a:lnTo>
                  <a:pt x="115" y="1044"/>
                </a:lnTo>
                <a:lnTo>
                  <a:pt x="119" y="1045"/>
                </a:lnTo>
                <a:lnTo>
                  <a:pt x="123" y="1045"/>
                </a:lnTo>
                <a:lnTo>
                  <a:pt x="139" y="1046"/>
                </a:lnTo>
                <a:lnTo>
                  <a:pt x="155" y="1048"/>
                </a:lnTo>
                <a:lnTo>
                  <a:pt x="170" y="1051"/>
                </a:lnTo>
                <a:lnTo>
                  <a:pt x="186" y="1054"/>
                </a:lnTo>
                <a:lnTo>
                  <a:pt x="216" y="1063"/>
                </a:lnTo>
                <a:lnTo>
                  <a:pt x="246" y="1073"/>
                </a:lnTo>
                <a:lnTo>
                  <a:pt x="275" y="1083"/>
                </a:lnTo>
                <a:lnTo>
                  <a:pt x="304" y="1091"/>
                </a:lnTo>
                <a:lnTo>
                  <a:pt x="318" y="1094"/>
                </a:lnTo>
                <a:lnTo>
                  <a:pt x="330" y="1098"/>
                </a:lnTo>
                <a:lnTo>
                  <a:pt x="343" y="1099"/>
                </a:lnTo>
                <a:lnTo>
                  <a:pt x="356" y="1100"/>
                </a:lnTo>
                <a:lnTo>
                  <a:pt x="357" y="1103"/>
                </a:lnTo>
                <a:lnTo>
                  <a:pt x="361" y="1107"/>
                </a:lnTo>
                <a:lnTo>
                  <a:pt x="366" y="1109"/>
                </a:lnTo>
                <a:lnTo>
                  <a:pt x="370" y="1110"/>
                </a:lnTo>
                <a:lnTo>
                  <a:pt x="370" y="1125"/>
                </a:lnTo>
                <a:lnTo>
                  <a:pt x="372" y="1125"/>
                </a:lnTo>
                <a:lnTo>
                  <a:pt x="376" y="1127"/>
                </a:lnTo>
                <a:lnTo>
                  <a:pt x="378" y="1129"/>
                </a:lnTo>
                <a:lnTo>
                  <a:pt x="380" y="1132"/>
                </a:lnTo>
                <a:lnTo>
                  <a:pt x="384" y="1140"/>
                </a:lnTo>
                <a:lnTo>
                  <a:pt x="387" y="1151"/>
                </a:lnTo>
                <a:lnTo>
                  <a:pt x="389" y="1164"/>
                </a:lnTo>
                <a:lnTo>
                  <a:pt x="390" y="1179"/>
                </a:lnTo>
                <a:lnTo>
                  <a:pt x="392" y="1195"/>
                </a:lnTo>
                <a:lnTo>
                  <a:pt x="392" y="1211"/>
                </a:lnTo>
                <a:lnTo>
                  <a:pt x="394" y="1244"/>
                </a:lnTo>
                <a:lnTo>
                  <a:pt x="392" y="1274"/>
                </a:lnTo>
                <a:lnTo>
                  <a:pt x="391" y="1299"/>
                </a:lnTo>
                <a:lnTo>
                  <a:pt x="390" y="1312"/>
                </a:lnTo>
                <a:lnTo>
                  <a:pt x="385" y="1339"/>
                </a:lnTo>
                <a:lnTo>
                  <a:pt x="380" y="1365"/>
                </a:lnTo>
                <a:lnTo>
                  <a:pt x="377" y="1391"/>
                </a:lnTo>
                <a:lnTo>
                  <a:pt x="375" y="1419"/>
                </a:lnTo>
                <a:lnTo>
                  <a:pt x="372" y="1446"/>
                </a:lnTo>
                <a:lnTo>
                  <a:pt x="371" y="1474"/>
                </a:lnTo>
                <a:lnTo>
                  <a:pt x="370" y="1502"/>
                </a:lnTo>
                <a:lnTo>
                  <a:pt x="370" y="1530"/>
                </a:lnTo>
                <a:lnTo>
                  <a:pt x="380" y="1530"/>
                </a:lnTo>
                <a:lnTo>
                  <a:pt x="380" y="1533"/>
                </a:lnTo>
                <a:lnTo>
                  <a:pt x="381" y="1535"/>
                </a:lnTo>
                <a:lnTo>
                  <a:pt x="382" y="1539"/>
                </a:lnTo>
                <a:lnTo>
                  <a:pt x="384" y="1541"/>
                </a:lnTo>
                <a:lnTo>
                  <a:pt x="389" y="1543"/>
                </a:lnTo>
                <a:lnTo>
                  <a:pt x="395" y="1545"/>
                </a:lnTo>
                <a:lnTo>
                  <a:pt x="403" y="1545"/>
                </a:lnTo>
                <a:lnTo>
                  <a:pt x="410" y="1545"/>
                </a:lnTo>
                <a:lnTo>
                  <a:pt x="419" y="1544"/>
                </a:lnTo>
                <a:lnTo>
                  <a:pt x="428" y="1542"/>
                </a:lnTo>
                <a:lnTo>
                  <a:pt x="465" y="1531"/>
                </a:lnTo>
                <a:lnTo>
                  <a:pt x="488" y="1524"/>
                </a:lnTo>
                <a:lnTo>
                  <a:pt x="511" y="1525"/>
                </a:lnTo>
                <a:lnTo>
                  <a:pt x="531" y="1527"/>
                </a:lnTo>
                <a:lnTo>
                  <a:pt x="541" y="1529"/>
                </a:lnTo>
                <a:lnTo>
                  <a:pt x="551" y="1532"/>
                </a:lnTo>
                <a:lnTo>
                  <a:pt x="559" y="1534"/>
                </a:lnTo>
                <a:lnTo>
                  <a:pt x="568" y="1539"/>
                </a:lnTo>
                <a:lnTo>
                  <a:pt x="576" y="1543"/>
                </a:lnTo>
                <a:lnTo>
                  <a:pt x="582" y="1550"/>
                </a:lnTo>
                <a:lnTo>
                  <a:pt x="588" y="1556"/>
                </a:lnTo>
                <a:lnTo>
                  <a:pt x="592" y="1564"/>
                </a:lnTo>
                <a:lnTo>
                  <a:pt x="597" y="1573"/>
                </a:lnTo>
                <a:lnTo>
                  <a:pt x="600" y="1583"/>
                </a:lnTo>
                <a:lnTo>
                  <a:pt x="601" y="1596"/>
                </a:lnTo>
                <a:lnTo>
                  <a:pt x="602" y="1608"/>
                </a:lnTo>
                <a:lnTo>
                  <a:pt x="600" y="1609"/>
                </a:lnTo>
                <a:lnTo>
                  <a:pt x="599" y="1610"/>
                </a:lnTo>
                <a:lnTo>
                  <a:pt x="598" y="1611"/>
                </a:lnTo>
                <a:lnTo>
                  <a:pt x="597" y="1613"/>
                </a:lnTo>
                <a:lnTo>
                  <a:pt x="597" y="1619"/>
                </a:lnTo>
                <a:lnTo>
                  <a:pt x="598" y="1626"/>
                </a:lnTo>
                <a:lnTo>
                  <a:pt x="599" y="1629"/>
                </a:lnTo>
                <a:lnTo>
                  <a:pt x="601" y="1632"/>
                </a:lnTo>
                <a:lnTo>
                  <a:pt x="603" y="1635"/>
                </a:lnTo>
                <a:lnTo>
                  <a:pt x="607" y="1638"/>
                </a:lnTo>
                <a:lnTo>
                  <a:pt x="611" y="1640"/>
                </a:lnTo>
                <a:lnTo>
                  <a:pt x="616" y="1641"/>
                </a:lnTo>
                <a:lnTo>
                  <a:pt x="620" y="1642"/>
                </a:lnTo>
                <a:lnTo>
                  <a:pt x="627" y="1642"/>
                </a:lnTo>
                <a:lnTo>
                  <a:pt x="641" y="1634"/>
                </a:lnTo>
                <a:lnTo>
                  <a:pt x="643" y="1641"/>
                </a:lnTo>
                <a:lnTo>
                  <a:pt x="646" y="1652"/>
                </a:lnTo>
                <a:lnTo>
                  <a:pt x="649" y="1666"/>
                </a:lnTo>
                <a:lnTo>
                  <a:pt x="654" y="1680"/>
                </a:lnTo>
                <a:lnTo>
                  <a:pt x="658" y="1695"/>
                </a:lnTo>
                <a:lnTo>
                  <a:pt x="663" y="1711"/>
                </a:lnTo>
                <a:lnTo>
                  <a:pt x="665" y="1726"/>
                </a:lnTo>
                <a:lnTo>
                  <a:pt x="666" y="1742"/>
                </a:lnTo>
                <a:lnTo>
                  <a:pt x="682" y="1756"/>
                </a:lnTo>
                <a:lnTo>
                  <a:pt x="691" y="1756"/>
                </a:lnTo>
                <a:lnTo>
                  <a:pt x="701" y="1756"/>
                </a:lnTo>
                <a:lnTo>
                  <a:pt x="712" y="1756"/>
                </a:lnTo>
                <a:lnTo>
                  <a:pt x="721" y="1756"/>
                </a:lnTo>
                <a:lnTo>
                  <a:pt x="722" y="1748"/>
                </a:lnTo>
                <a:lnTo>
                  <a:pt x="725" y="1740"/>
                </a:lnTo>
                <a:lnTo>
                  <a:pt x="728" y="1729"/>
                </a:lnTo>
                <a:lnTo>
                  <a:pt x="731" y="1722"/>
                </a:lnTo>
                <a:lnTo>
                  <a:pt x="732" y="1719"/>
                </a:lnTo>
                <a:lnTo>
                  <a:pt x="734" y="1714"/>
                </a:lnTo>
                <a:lnTo>
                  <a:pt x="735" y="1705"/>
                </a:lnTo>
                <a:lnTo>
                  <a:pt x="737" y="1695"/>
                </a:lnTo>
                <a:lnTo>
                  <a:pt x="740" y="1676"/>
                </a:lnTo>
                <a:lnTo>
                  <a:pt x="741" y="1667"/>
                </a:lnTo>
                <a:lnTo>
                  <a:pt x="742" y="1667"/>
                </a:lnTo>
                <a:lnTo>
                  <a:pt x="743" y="1665"/>
                </a:lnTo>
                <a:lnTo>
                  <a:pt x="744" y="1663"/>
                </a:lnTo>
                <a:lnTo>
                  <a:pt x="744" y="1659"/>
                </a:lnTo>
                <a:lnTo>
                  <a:pt x="745" y="1652"/>
                </a:lnTo>
                <a:lnTo>
                  <a:pt x="745" y="1648"/>
                </a:lnTo>
                <a:lnTo>
                  <a:pt x="749" y="1647"/>
                </a:lnTo>
                <a:lnTo>
                  <a:pt x="751" y="1646"/>
                </a:lnTo>
                <a:lnTo>
                  <a:pt x="753" y="1645"/>
                </a:lnTo>
                <a:lnTo>
                  <a:pt x="754" y="1642"/>
                </a:lnTo>
                <a:lnTo>
                  <a:pt x="755" y="1637"/>
                </a:lnTo>
                <a:lnTo>
                  <a:pt x="755" y="1634"/>
                </a:lnTo>
                <a:lnTo>
                  <a:pt x="760" y="1631"/>
                </a:lnTo>
                <a:lnTo>
                  <a:pt x="766" y="1628"/>
                </a:lnTo>
                <a:lnTo>
                  <a:pt x="774" y="1621"/>
                </a:lnTo>
                <a:lnTo>
                  <a:pt x="783" y="1612"/>
                </a:lnTo>
                <a:lnTo>
                  <a:pt x="804" y="1590"/>
                </a:lnTo>
                <a:lnTo>
                  <a:pt x="827" y="1564"/>
                </a:lnTo>
                <a:lnTo>
                  <a:pt x="838" y="1550"/>
                </a:lnTo>
                <a:lnTo>
                  <a:pt x="848" y="1535"/>
                </a:lnTo>
                <a:lnTo>
                  <a:pt x="858" y="1522"/>
                </a:lnTo>
                <a:lnTo>
                  <a:pt x="866" y="1509"/>
                </a:lnTo>
                <a:lnTo>
                  <a:pt x="874" y="1495"/>
                </a:lnTo>
                <a:lnTo>
                  <a:pt x="879" y="1484"/>
                </a:lnTo>
                <a:lnTo>
                  <a:pt x="883" y="1474"/>
                </a:lnTo>
                <a:lnTo>
                  <a:pt x="884" y="1465"/>
                </a:lnTo>
                <a:lnTo>
                  <a:pt x="879" y="1463"/>
                </a:lnTo>
                <a:lnTo>
                  <a:pt x="872" y="1457"/>
                </a:lnTo>
                <a:lnTo>
                  <a:pt x="866" y="1448"/>
                </a:lnTo>
                <a:lnTo>
                  <a:pt x="859" y="1438"/>
                </a:lnTo>
                <a:lnTo>
                  <a:pt x="851" y="1428"/>
                </a:lnTo>
                <a:lnTo>
                  <a:pt x="845" y="1419"/>
                </a:lnTo>
                <a:lnTo>
                  <a:pt x="839" y="1414"/>
                </a:lnTo>
                <a:lnTo>
                  <a:pt x="835" y="1411"/>
                </a:lnTo>
                <a:lnTo>
                  <a:pt x="831" y="1397"/>
                </a:lnTo>
                <a:lnTo>
                  <a:pt x="826" y="1373"/>
                </a:lnTo>
                <a:lnTo>
                  <a:pt x="819" y="1343"/>
                </a:lnTo>
                <a:lnTo>
                  <a:pt x="813" y="1310"/>
                </a:lnTo>
                <a:lnTo>
                  <a:pt x="812" y="1293"/>
                </a:lnTo>
                <a:lnTo>
                  <a:pt x="812" y="1277"/>
                </a:lnTo>
                <a:lnTo>
                  <a:pt x="812" y="1263"/>
                </a:lnTo>
                <a:lnTo>
                  <a:pt x="816" y="1250"/>
                </a:lnTo>
                <a:lnTo>
                  <a:pt x="818" y="1244"/>
                </a:lnTo>
                <a:lnTo>
                  <a:pt x="820" y="1238"/>
                </a:lnTo>
                <a:lnTo>
                  <a:pt x="823" y="1234"/>
                </a:lnTo>
                <a:lnTo>
                  <a:pt x="827" y="1231"/>
                </a:lnTo>
                <a:lnTo>
                  <a:pt x="831" y="1227"/>
                </a:lnTo>
                <a:lnTo>
                  <a:pt x="837" y="1225"/>
                </a:lnTo>
                <a:lnTo>
                  <a:pt x="842" y="1224"/>
                </a:lnTo>
                <a:lnTo>
                  <a:pt x="849" y="1223"/>
                </a:lnTo>
                <a:lnTo>
                  <a:pt x="850" y="1214"/>
                </a:lnTo>
                <a:lnTo>
                  <a:pt x="852" y="1192"/>
                </a:lnTo>
                <a:lnTo>
                  <a:pt x="856" y="1161"/>
                </a:lnTo>
                <a:lnTo>
                  <a:pt x="860" y="1127"/>
                </a:lnTo>
                <a:lnTo>
                  <a:pt x="865" y="1091"/>
                </a:lnTo>
                <a:lnTo>
                  <a:pt x="870" y="1060"/>
                </a:lnTo>
                <a:lnTo>
                  <a:pt x="872" y="1048"/>
                </a:lnTo>
                <a:lnTo>
                  <a:pt x="875" y="1038"/>
                </a:lnTo>
                <a:lnTo>
                  <a:pt x="877" y="1030"/>
                </a:lnTo>
                <a:lnTo>
                  <a:pt x="878" y="1026"/>
                </a:lnTo>
                <a:lnTo>
                  <a:pt x="886" y="1020"/>
                </a:lnTo>
                <a:lnTo>
                  <a:pt x="895" y="1015"/>
                </a:lnTo>
                <a:lnTo>
                  <a:pt x="904" y="1012"/>
                </a:lnTo>
                <a:lnTo>
                  <a:pt x="914" y="1010"/>
                </a:lnTo>
                <a:lnTo>
                  <a:pt x="935" y="1007"/>
                </a:lnTo>
                <a:lnTo>
                  <a:pt x="955" y="1005"/>
                </a:lnTo>
                <a:lnTo>
                  <a:pt x="970" y="1002"/>
                </a:lnTo>
                <a:lnTo>
                  <a:pt x="982" y="996"/>
                </a:lnTo>
                <a:lnTo>
                  <a:pt x="994" y="990"/>
                </a:lnTo>
                <a:lnTo>
                  <a:pt x="1006" y="983"/>
                </a:lnTo>
                <a:lnTo>
                  <a:pt x="1018" y="977"/>
                </a:lnTo>
                <a:lnTo>
                  <a:pt x="1031" y="972"/>
                </a:lnTo>
                <a:lnTo>
                  <a:pt x="1038" y="969"/>
                </a:lnTo>
                <a:lnTo>
                  <a:pt x="1046" y="968"/>
                </a:lnTo>
                <a:lnTo>
                  <a:pt x="1053" y="967"/>
                </a:lnTo>
                <a:lnTo>
                  <a:pt x="1061" y="967"/>
                </a:lnTo>
                <a:lnTo>
                  <a:pt x="1066" y="974"/>
                </a:lnTo>
                <a:lnTo>
                  <a:pt x="1075" y="986"/>
                </a:lnTo>
                <a:lnTo>
                  <a:pt x="1079" y="992"/>
                </a:lnTo>
                <a:lnTo>
                  <a:pt x="1085" y="996"/>
                </a:lnTo>
                <a:lnTo>
                  <a:pt x="1088" y="1000"/>
                </a:lnTo>
                <a:lnTo>
                  <a:pt x="1091" y="1001"/>
                </a:lnTo>
                <a:lnTo>
                  <a:pt x="1091" y="1006"/>
                </a:lnTo>
                <a:lnTo>
                  <a:pt x="1095" y="1012"/>
                </a:lnTo>
                <a:lnTo>
                  <a:pt x="1098" y="1017"/>
                </a:lnTo>
                <a:lnTo>
                  <a:pt x="1105" y="1024"/>
                </a:lnTo>
                <a:lnTo>
                  <a:pt x="1119" y="1038"/>
                </a:lnTo>
                <a:lnTo>
                  <a:pt x="1138" y="1053"/>
                </a:lnTo>
                <a:lnTo>
                  <a:pt x="1160" y="1070"/>
                </a:lnTo>
                <a:lnTo>
                  <a:pt x="1185" y="1089"/>
                </a:lnTo>
                <a:lnTo>
                  <a:pt x="1210" y="1111"/>
                </a:lnTo>
                <a:lnTo>
                  <a:pt x="1234" y="1136"/>
                </a:lnTo>
                <a:lnTo>
                  <a:pt x="1255" y="1159"/>
                </a:lnTo>
                <a:lnTo>
                  <a:pt x="1274" y="1185"/>
                </a:lnTo>
                <a:lnTo>
                  <a:pt x="1291" y="1211"/>
                </a:lnTo>
                <a:lnTo>
                  <a:pt x="1307" y="1236"/>
                </a:lnTo>
                <a:lnTo>
                  <a:pt x="1320" y="1260"/>
                </a:lnTo>
                <a:lnTo>
                  <a:pt x="1332" y="1281"/>
                </a:lnTo>
                <a:lnTo>
                  <a:pt x="1341" y="1299"/>
                </a:lnTo>
                <a:lnTo>
                  <a:pt x="1348" y="1312"/>
                </a:lnTo>
                <a:lnTo>
                  <a:pt x="1360" y="1342"/>
                </a:lnTo>
                <a:lnTo>
                  <a:pt x="1373" y="1376"/>
                </a:lnTo>
                <a:lnTo>
                  <a:pt x="1385" y="1413"/>
                </a:lnTo>
                <a:lnTo>
                  <a:pt x="1399" y="1450"/>
                </a:lnTo>
                <a:lnTo>
                  <a:pt x="1406" y="1469"/>
                </a:lnTo>
                <a:lnTo>
                  <a:pt x="1415" y="1488"/>
                </a:lnTo>
                <a:lnTo>
                  <a:pt x="1424" y="1507"/>
                </a:lnTo>
                <a:lnTo>
                  <a:pt x="1435" y="1525"/>
                </a:lnTo>
                <a:lnTo>
                  <a:pt x="1446" y="1543"/>
                </a:lnTo>
                <a:lnTo>
                  <a:pt x="1459" y="1560"/>
                </a:lnTo>
                <a:lnTo>
                  <a:pt x="1473" y="1575"/>
                </a:lnTo>
                <a:lnTo>
                  <a:pt x="1489" y="1590"/>
                </a:lnTo>
                <a:lnTo>
                  <a:pt x="1502" y="1600"/>
                </a:lnTo>
                <a:lnTo>
                  <a:pt x="1517" y="1610"/>
                </a:lnTo>
                <a:lnTo>
                  <a:pt x="1531" y="1618"/>
                </a:lnTo>
                <a:lnTo>
                  <a:pt x="1546" y="1625"/>
                </a:lnTo>
                <a:lnTo>
                  <a:pt x="1561" y="1630"/>
                </a:lnTo>
                <a:lnTo>
                  <a:pt x="1578" y="1636"/>
                </a:lnTo>
                <a:lnTo>
                  <a:pt x="1595" y="1641"/>
                </a:lnTo>
                <a:lnTo>
                  <a:pt x="1614" y="1646"/>
                </a:lnTo>
                <a:lnTo>
                  <a:pt x="1629" y="1650"/>
                </a:lnTo>
                <a:lnTo>
                  <a:pt x="1646" y="1657"/>
                </a:lnTo>
                <a:lnTo>
                  <a:pt x="1663" y="1663"/>
                </a:lnTo>
                <a:lnTo>
                  <a:pt x="1680" y="1669"/>
                </a:lnTo>
                <a:lnTo>
                  <a:pt x="1668" y="1562"/>
                </a:lnTo>
                <a:lnTo>
                  <a:pt x="1667" y="1552"/>
                </a:lnTo>
                <a:lnTo>
                  <a:pt x="1664" y="1527"/>
                </a:lnTo>
                <a:lnTo>
                  <a:pt x="1663" y="1515"/>
                </a:lnTo>
                <a:lnTo>
                  <a:pt x="1661" y="1504"/>
                </a:lnTo>
                <a:lnTo>
                  <a:pt x="1658" y="1496"/>
                </a:lnTo>
                <a:lnTo>
                  <a:pt x="1656" y="1493"/>
                </a:lnTo>
                <a:lnTo>
                  <a:pt x="1655" y="1484"/>
                </a:lnTo>
                <a:lnTo>
                  <a:pt x="1655" y="1469"/>
                </a:lnTo>
                <a:lnTo>
                  <a:pt x="1654" y="1462"/>
                </a:lnTo>
                <a:lnTo>
                  <a:pt x="1653" y="1456"/>
                </a:lnTo>
                <a:lnTo>
                  <a:pt x="1652" y="1452"/>
                </a:lnTo>
                <a:lnTo>
                  <a:pt x="1649" y="1449"/>
                </a:lnTo>
                <a:lnTo>
                  <a:pt x="1649" y="1437"/>
                </a:lnTo>
                <a:lnTo>
                  <a:pt x="1637" y="1425"/>
                </a:lnTo>
                <a:lnTo>
                  <a:pt x="1634" y="1413"/>
                </a:lnTo>
                <a:lnTo>
                  <a:pt x="1630" y="1399"/>
                </a:lnTo>
                <a:lnTo>
                  <a:pt x="1625" y="1396"/>
                </a:lnTo>
                <a:lnTo>
                  <a:pt x="1619" y="1389"/>
                </a:lnTo>
                <a:lnTo>
                  <a:pt x="1614" y="1381"/>
                </a:lnTo>
                <a:lnTo>
                  <a:pt x="1607" y="1371"/>
                </a:lnTo>
                <a:lnTo>
                  <a:pt x="1597" y="1353"/>
                </a:lnTo>
                <a:lnTo>
                  <a:pt x="1594" y="1343"/>
                </a:lnTo>
                <a:lnTo>
                  <a:pt x="1588" y="1342"/>
                </a:lnTo>
                <a:lnTo>
                  <a:pt x="1584" y="1340"/>
                </a:lnTo>
                <a:lnTo>
                  <a:pt x="1579" y="1336"/>
                </a:lnTo>
                <a:lnTo>
                  <a:pt x="1575" y="1331"/>
                </a:lnTo>
                <a:lnTo>
                  <a:pt x="1575" y="1319"/>
                </a:lnTo>
                <a:lnTo>
                  <a:pt x="1570" y="1318"/>
                </a:lnTo>
                <a:lnTo>
                  <a:pt x="1567" y="1314"/>
                </a:lnTo>
                <a:lnTo>
                  <a:pt x="1565" y="1311"/>
                </a:lnTo>
                <a:lnTo>
                  <a:pt x="1562" y="1305"/>
                </a:lnTo>
                <a:lnTo>
                  <a:pt x="1561" y="1301"/>
                </a:lnTo>
                <a:lnTo>
                  <a:pt x="1559" y="1298"/>
                </a:lnTo>
                <a:lnTo>
                  <a:pt x="1558" y="1294"/>
                </a:lnTo>
                <a:lnTo>
                  <a:pt x="1556" y="1293"/>
                </a:lnTo>
                <a:lnTo>
                  <a:pt x="1555" y="1272"/>
                </a:lnTo>
                <a:lnTo>
                  <a:pt x="1551" y="1238"/>
                </a:lnTo>
                <a:lnTo>
                  <a:pt x="1550" y="1222"/>
                </a:lnTo>
                <a:lnTo>
                  <a:pt x="1548" y="1207"/>
                </a:lnTo>
                <a:lnTo>
                  <a:pt x="1546" y="1197"/>
                </a:lnTo>
                <a:lnTo>
                  <a:pt x="1543" y="1194"/>
                </a:lnTo>
                <a:lnTo>
                  <a:pt x="1542" y="1184"/>
                </a:lnTo>
                <a:lnTo>
                  <a:pt x="1540" y="1170"/>
                </a:lnTo>
                <a:lnTo>
                  <a:pt x="1537" y="1156"/>
                </a:lnTo>
                <a:lnTo>
                  <a:pt x="1532" y="1139"/>
                </a:lnTo>
                <a:lnTo>
                  <a:pt x="1527" y="1125"/>
                </a:lnTo>
                <a:lnTo>
                  <a:pt x="1522" y="1111"/>
                </a:lnTo>
                <a:lnTo>
                  <a:pt x="1519" y="1107"/>
                </a:lnTo>
                <a:lnTo>
                  <a:pt x="1517" y="1102"/>
                </a:lnTo>
                <a:lnTo>
                  <a:pt x="1514" y="1100"/>
                </a:lnTo>
                <a:lnTo>
                  <a:pt x="1512" y="1100"/>
                </a:lnTo>
                <a:lnTo>
                  <a:pt x="1512" y="1087"/>
                </a:lnTo>
                <a:lnTo>
                  <a:pt x="1509" y="1087"/>
                </a:lnTo>
                <a:lnTo>
                  <a:pt x="1507" y="1086"/>
                </a:lnTo>
                <a:lnTo>
                  <a:pt x="1503" y="1083"/>
                </a:lnTo>
                <a:lnTo>
                  <a:pt x="1500" y="1080"/>
                </a:lnTo>
                <a:lnTo>
                  <a:pt x="1498" y="1077"/>
                </a:lnTo>
                <a:lnTo>
                  <a:pt x="1495" y="1074"/>
                </a:lnTo>
                <a:lnTo>
                  <a:pt x="1493" y="1071"/>
                </a:lnTo>
                <a:lnTo>
                  <a:pt x="1493" y="1069"/>
                </a:lnTo>
                <a:lnTo>
                  <a:pt x="1489" y="1068"/>
                </a:lnTo>
                <a:lnTo>
                  <a:pt x="1484" y="1068"/>
                </a:lnTo>
                <a:lnTo>
                  <a:pt x="1483" y="1067"/>
                </a:lnTo>
                <a:lnTo>
                  <a:pt x="1482" y="1065"/>
                </a:lnTo>
                <a:lnTo>
                  <a:pt x="1481" y="1064"/>
                </a:lnTo>
                <a:lnTo>
                  <a:pt x="1481" y="1062"/>
                </a:lnTo>
                <a:lnTo>
                  <a:pt x="1476" y="1062"/>
                </a:lnTo>
                <a:lnTo>
                  <a:pt x="1472" y="1061"/>
                </a:lnTo>
                <a:lnTo>
                  <a:pt x="1471" y="1061"/>
                </a:lnTo>
                <a:lnTo>
                  <a:pt x="1469" y="1060"/>
                </a:lnTo>
                <a:lnTo>
                  <a:pt x="1469" y="1058"/>
                </a:lnTo>
                <a:lnTo>
                  <a:pt x="1467" y="1055"/>
                </a:lnTo>
                <a:lnTo>
                  <a:pt x="1455" y="1055"/>
                </a:lnTo>
                <a:lnTo>
                  <a:pt x="1454" y="1051"/>
                </a:lnTo>
                <a:lnTo>
                  <a:pt x="1450" y="1048"/>
                </a:lnTo>
                <a:lnTo>
                  <a:pt x="1445" y="1044"/>
                </a:lnTo>
                <a:lnTo>
                  <a:pt x="1443" y="1043"/>
                </a:lnTo>
                <a:lnTo>
                  <a:pt x="1443" y="1039"/>
                </a:lnTo>
                <a:lnTo>
                  <a:pt x="1442" y="1034"/>
                </a:lnTo>
                <a:lnTo>
                  <a:pt x="1442" y="1033"/>
                </a:lnTo>
                <a:lnTo>
                  <a:pt x="1441" y="1032"/>
                </a:lnTo>
                <a:lnTo>
                  <a:pt x="1438" y="1031"/>
                </a:lnTo>
                <a:lnTo>
                  <a:pt x="1436" y="1031"/>
                </a:lnTo>
                <a:lnTo>
                  <a:pt x="1437" y="1020"/>
                </a:lnTo>
                <a:lnTo>
                  <a:pt x="1437" y="1001"/>
                </a:lnTo>
                <a:lnTo>
                  <a:pt x="1438" y="991"/>
                </a:lnTo>
                <a:lnTo>
                  <a:pt x="1440" y="983"/>
                </a:lnTo>
                <a:lnTo>
                  <a:pt x="1441" y="976"/>
                </a:lnTo>
                <a:lnTo>
                  <a:pt x="1443" y="975"/>
                </a:lnTo>
                <a:lnTo>
                  <a:pt x="1443" y="962"/>
                </a:lnTo>
                <a:lnTo>
                  <a:pt x="1446" y="962"/>
                </a:lnTo>
                <a:lnTo>
                  <a:pt x="1448" y="961"/>
                </a:lnTo>
                <a:lnTo>
                  <a:pt x="1450" y="961"/>
                </a:lnTo>
                <a:lnTo>
                  <a:pt x="1450" y="959"/>
                </a:lnTo>
                <a:lnTo>
                  <a:pt x="1450" y="958"/>
                </a:lnTo>
                <a:lnTo>
                  <a:pt x="1450" y="957"/>
                </a:lnTo>
                <a:lnTo>
                  <a:pt x="1452" y="956"/>
                </a:lnTo>
                <a:lnTo>
                  <a:pt x="1455" y="956"/>
                </a:lnTo>
                <a:lnTo>
                  <a:pt x="1455" y="943"/>
                </a:lnTo>
                <a:lnTo>
                  <a:pt x="1460" y="943"/>
                </a:lnTo>
                <a:lnTo>
                  <a:pt x="1461" y="943"/>
                </a:lnTo>
                <a:lnTo>
                  <a:pt x="1462" y="942"/>
                </a:lnTo>
                <a:lnTo>
                  <a:pt x="1462" y="940"/>
                </a:lnTo>
                <a:lnTo>
                  <a:pt x="1462" y="939"/>
                </a:lnTo>
                <a:lnTo>
                  <a:pt x="1463" y="938"/>
                </a:lnTo>
                <a:lnTo>
                  <a:pt x="1464" y="937"/>
                </a:lnTo>
                <a:lnTo>
                  <a:pt x="1467" y="937"/>
                </a:lnTo>
                <a:lnTo>
                  <a:pt x="1467" y="926"/>
                </a:lnTo>
                <a:lnTo>
                  <a:pt x="1467" y="907"/>
                </a:lnTo>
                <a:lnTo>
                  <a:pt x="1466" y="897"/>
                </a:lnTo>
                <a:lnTo>
                  <a:pt x="1465" y="889"/>
                </a:lnTo>
                <a:lnTo>
                  <a:pt x="1464" y="882"/>
                </a:lnTo>
                <a:lnTo>
                  <a:pt x="1462" y="880"/>
                </a:lnTo>
                <a:lnTo>
                  <a:pt x="1462" y="868"/>
                </a:lnTo>
                <a:lnTo>
                  <a:pt x="1460" y="868"/>
                </a:lnTo>
                <a:lnTo>
                  <a:pt x="1457" y="866"/>
                </a:lnTo>
                <a:lnTo>
                  <a:pt x="1455" y="863"/>
                </a:lnTo>
                <a:lnTo>
                  <a:pt x="1452" y="861"/>
                </a:lnTo>
                <a:lnTo>
                  <a:pt x="1447" y="854"/>
                </a:lnTo>
                <a:lnTo>
                  <a:pt x="1443" y="849"/>
                </a:lnTo>
                <a:lnTo>
                  <a:pt x="1443" y="781"/>
                </a:lnTo>
                <a:lnTo>
                  <a:pt x="1447" y="779"/>
                </a:lnTo>
                <a:lnTo>
                  <a:pt x="1453" y="775"/>
                </a:lnTo>
                <a:lnTo>
                  <a:pt x="1459" y="770"/>
                </a:lnTo>
                <a:lnTo>
                  <a:pt x="1462" y="7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55" name="Freeform 16">
            <a:extLst>
              <a:ext uri="{FF2B5EF4-FFF2-40B4-BE49-F238E27FC236}">
                <a16:creationId xmlns:a16="http://schemas.microsoft.com/office/drawing/2014/main" id="{A3EC6F0E-D762-4EC0-B1BB-E1D6D976F0FC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231063" y="4154488"/>
            <a:ext cx="416952" cy="342900"/>
          </a:xfrm>
          <a:custGeom>
            <a:avLst/>
            <a:gdLst/>
            <a:ahLst/>
            <a:cxnLst>
              <a:cxn ang="0">
                <a:pos x="788" y="36"/>
              </a:cxn>
              <a:cxn ang="0">
                <a:pos x="639" y="88"/>
              </a:cxn>
              <a:cxn ang="0">
                <a:pos x="519" y="119"/>
              </a:cxn>
              <a:cxn ang="0">
                <a:pos x="463" y="153"/>
              </a:cxn>
              <a:cxn ang="0">
                <a:pos x="345" y="144"/>
              </a:cxn>
              <a:cxn ang="0">
                <a:pos x="227" y="53"/>
              </a:cxn>
              <a:cxn ang="0">
                <a:pos x="128" y="15"/>
              </a:cxn>
              <a:cxn ang="0">
                <a:pos x="61" y="76"/>
              </a:cxn>
              <a:cxn ang="0">
                <a:pos x="16" y="250"/>
              </a:cxn>
              <a:cxn ang="0">
                <a:pos x="5" y="461"/>
              </a:cxn>
              <a:cxn ang="0">
                <a:pos x="22" y="644"/>
              </a:cxn>
              <a:cxn ang="0">
                <a:pos x="126" y="721"/>
              </a:cxn>
              <a:cxn ang="0">
                <a:pos x="244" y="755"/>
              </a:cxn>
              <a:cxn ang="0">
                <a:pos x="307" y="795"/>
              </a:cxn>
              <a:cxn ang="0">
                <a:pos x="369" y="879"/>
              </a:cxn>
              <a:cxn ang="0">
                <a:pos x="382" y="1122"/>
              </a:cxn>
              <a:cxn ang="0">
                <a:pos x="406" y="1344"/>
              </a:cxn>
              <a:cxn ang="0">
                <a:pos x="436" y="1456"/>
              </a:cxn>
              <a:cxn ang="0">
                <a:pos x="468" y="1506"/>
              </a:cxn>
              <a:cxn ang="0">
                <a:pos x="586" y="1632"/>
              </a:cxn>
              <a:cxn ang="0">
                <a:pos x="702" y="1745"/>
              </a:cxn>
              <a:cxn ang="0">
                <a:pos x="851" y="1763"/>
              </a:cxn>
              <a:cxn ang="0">
                <a:pos x="951" y="1730"/>
              </a:cxn>
              <a:cxn ang="0">
                <a:pos x="1023" y="1718"/>
              </a:cxn>
              <a:cxn ang="0">
                <a:pos x="1062" y="1663"/>
              </a:cxn>
              <a:cxn ang="0">
                <a:pos x="1081" y="1632"/>
              </a:cxn>
              <a:cxn ang="0">
                <a:pos x="1156" y="1591"/>
              </a:cxn>
              <a:cxn ang="0">
                <a:pos x="1182" y="1436"/>
              </a:cxn>
              <a:cxn ang="0">
                <a:pos x="1305" y="1346"/>
              </a:cxn>
              <a:cxn ang="0">
                <a:pos x="1505" y="1343"/>
              </a:cxn>
              <a:cxn ang="0">
                <a:pos x="1549" y="1400"/>
              </a:cxn>
              <a:cxn ang="0">
                <a:pos x="1605" y="1623"/>
              </a:cxn>
              <a:cxn ang="0">
                <a:pos x="1689" y="1754"/>
              </a:cxn>
              <a:cxn ang="0">
                <a:pos x="1778" y="2025"/>
              </a:cxn>
              <a:cxn ang="0">
                <a:pos x="1872" y="2049"/>
              </a:cxn>
              <a:cxn ang="0">
                <a:pos x="1912" y="2075"/>
              </a:cxn>
              <a:cxn ang="0">
                <a:pos x="2099" y="2112"/>
              </a:cxn>
              <a:cxn ang="0">
                <a:pos x="2215" y="2107"/>
              </a:cxn>
              <a:cxn ang="0">
                <a:pos x="2280" y="2083"/>
              </a:cxn>
              <a:cxn ang="0">
                <a:pos x="2275" y="1946"/>
              </a:cxn>
              <a:cxn ang="0">
                <a:pos x="2256" y="1668"/>
              </a:cxn>
              <a:cxn ang="0">
                <a:pos x="2219" y="1578"/>
              </a:cxn>
              <a:cxn ang="0">
                <a:pos x="2173" y="1516"/>
              </a:cxn>
              <a:cxn ang="0">
                <a:pos x="2122" y="1441"/>
              </a:cxn>
              <a:cxn ang="0">
                <a:pos x="2048" y="1263"/>
              </a:cxn>
              <a:cxn ang="0">
                <a:pos x="1968" y="1088"/>
              </a:cxn>
              <a:cxn ang="0">
                <a:pos x="1889" y="974"/>
              </a:cxn>
              <a:cxn ang="0">
                <a:pos x="1836" y="901"/>
              </a:cxn>
              <a:cxn ang="0">
                <a:pos x="1769" y="946"/>
              </a:cxn>
              <a:cxn ang="0">
                <a:pos x="1744" y="977"/>
              </a:cxn>
              <a:cxn ang="0">
                <a:pos x="1656" y="1016"/>
              </a:cxn>
              <a:cxn ang="0">
                <a:pos x="1497" y="1039"/>
              </a:cxn>
              <a:cxn ang="0">
                <a:pos x="1454" y="827"/>
              </a:cxn>
              <a:cxn ang="0">
                <a:pos x="1413" y="710"/>
              </a:cxn>
              <a:cxn ang="0">
                <a:pos x="1355" y="634"/>
              </a:cxn>
              <a:cxn ang="0">
                <a:pos x="1288" y="536"/>
              </a:cxn>
              <a:cxn ang="0">
                <a:pos x="1239" y="489"/>
              </a:cxn>
              <a:cxn ang="0">
                <a:pos x="1198" y="433"/>
              </a:cxn>
              <a:cxn ang="0">
                <a:pos x="1158" y="107"/>
              </a:cxn>
              <a:cxn ang="0">
                <a:pos x="1073" y="95"/>
              </a:cxn>
              <a:cxn ang="0">
                <a:pos x="948" y="81"/>
              </a:cxn>
              <a:cxn ang="0">
                <a:pos x="913" y="61"/>
              </a:cxn>
              <a:cxn ang="0">
                <a:pos x="868" y="18"/>
              </a:cxn>
            </a:cxnLst>
            <a:rect l="0" t="0" r="r" b="b"/>
            <a:pathLst>
              <a:path w="2286" h="2120">
                <a:moveTo>
                  <a:pt x="846" y="0"/>
                </a:moveTo>
                <a:lnTo>
                  <a:pt x="837" y="1"/>
                </a:lnTo>
                <a:lnTo>
                  <a:pt x="831" y="1"/>
                </a:lnTo>
                <a:lnTo>
                  <a:pt x="829" y="3"/>
                </a:lnTo>
                <a:lnTo>
                  <a:pt x="828" y="3"/>
                </a:lnTo>
                <a:lnTo>
                  <a:pt x="828" y="4"/>
                </a:lnTo>
                <a:lnTo>
                  <a:pt x="828" y="5"/>
                </a:lnTo>
                <a:lnTo>
                  <a:pt x="827" y="5"/>
                </a:lnTo>
                <a:lnTo>
                  <a:pt x="823" y="5"/>
                </a:lnTo>
                <a:lnTo>
                  <a:pt x="819" y="14"/>
                </a:lnTo>
                <a:lnTo>
                  <a:pt x="808" y="20"/>
                </a:lnTo>
                <a:lnTo>
                  <a:pt x="797" y="27"/>
                </a:lnTo>
                <a:lnTo>
                  <a:pt x="792" y="32"/>
                </a:lnTo>
                <a:lnTo>
                  <a:pt x="788" y="36"/>
                </a:lnTo>
                <a:lnTo>
                  <a:pt x="788" y="45"/>
                </a:lnTo>
                <a:lnTo>
                  <a:pt x="783" y="49"/>
                </a:lnTo>
                <a:lnTo>
                  <a:pt x="779" y="54"/>
                </a:lnTo>
                <a:lnTo>
                  <a:pt x="779" y="67"/>
                </a:lnTo>
                <a:lnTo>
                  <a:pt x="774" y="73"/>
                </a:lnTo>
                <a:lnTo>
                  <a:pt x="770" y="81"/>
                </a:lnTo>
                <a:lnTo>
                  <a:pt x="766" y="81"/>
                </a:lnTo>
                <a:lnTo>
                  <a:pt x="764" y="82"/>
                </a:lnTo>
                <a:lnTo>
                  <a:pt x="762" y="83"/>
                </a:lnTo>
                <a:lnTo>
                  <a:pt x="761" y="85"/>
                </a:lnTo>
                <a:lnTo>
                  <a:pt x="753" y="87"/>
                </a:lnTo>
                <a:lnTo>
                  <a:pt x="747" y="90"/>
                </a:lnTo>
                <a:lnTo>
                  <a:pt x="640" y="85"/>
                </a:lnTo>
                <a:lnTo>
                  <a:pt x="639" y="88"/>
                </a:lnTo>
                <a:lnTo>
                  <a:pt x="636" y="92"/>
                </a:lnTo>
                <a:lnTo>
                  <a:pt x="634" y="94"/>
                </a:lnTo>
                <a:lnTo>
                  <a:pt x="631" y="94"/>
                </a:lnTo>
                <a:lnTo>
                  <a:pt x="631" y="99"/>
                </a:lnTo>
                <a:lnTo>
                  <a:pt x="629" y="103"/>
                </a:lnTo>
                <a:lnTo>
                  <a:pt x="626" y="106"/>
                </a:lnTo>
                <a:lnTo>
                  <a:pt x="622" y="107"/>
                </a:lnTo>
                <a:lnTo>
                  <a:pt x="622" y="116"/>
                </a:lnTo>
                <a:lnTo>
                  <a:pt x="619" y="116"/>
                </a:lnTo>
                <a:lnTo>
                  <a:pt x="617" y="117"/>
                </a:lnTo>
                <a:lnTo>
                  <a:pt x="615" y="119"/>
                </a:lnTo>
                <a:lnTo>
                  <a:pt x="614" y="121"/>
                </a:lnTo>
                <a:lnTo>
                  <a:pt x="524" y="121"/>
                </a:lnTo>
                <a:lnTo>
                  <a:pt x="519" y="119"/>
                </a:lnTo>
                <a:lnTo>
                  <a:pt x="511" y="117"/>
                </a:lnTo>
                <a:lnTo>
                  <a:pt x="502" y="116"/>
                </a:lnTo>
                <a:lnTo>
                  <a:pt x="493" y="116"/>
                </a:lnTo>
                <a:lnTo>
                  <a:pt x="493" y="119"/>
                </a:lnTo>
                <a:lnTo>
                  <a:pt x="492" y="120"/>
                </a:lnTo>
                <a:lnTo>
                  <a:pt x="491" y="120"/>
                </a:lnTo>
                <a:lnTo>
                  <a:pt x="489" y="121"/>
                </a:lnTo>
                <a:lnTo>
                  <a:pt x="484" y="121"/>
                </a:lnTo>
                <a:lnTo>
                  <a:pt x="480" y="121"/>
                </a:lnTo>
                <a:lnTo>
                  <a:pt x="475" y="136"/>
                </a:lnTo>
                <a:lnTo>
                  <a:pt x="471" y="148"/>
                </a:lnTo>
                <a:lnTo>
                  <a:pt x="468" y="149"/>
                </a:lnTo>
                <a:lnTo>
                  <a:pt x="465" y="151"/>
                </a:lnTo>
                <a:lnTo>
                  <a:pt x="463" y="153"/>
                </a:lnTo>
                <a:lnTo>
                  <a:pt x="462" y="157"/>
                </a:lnTo>
                <a:lnTo>
                  <a:pt x="457" y="161"/>
                </a:lnTo>
                <a:lnTo>
                  <a:pt x="444" y="161"/>
                </a:lnTo>
                <a:lnTo>
                  <a:pt x="439" y="164"/>
                </a:lnTo>
                <a:lnTo>
                  <a:pt x="434" y="167"/>
                </a:lnTo>
                <a:lnTo>
                  <a:pt x="425" y="168"/>
                </a:lnTo>
                <a:lnTo>
                  <a:pt x="416" y="169"/>
                </a:lnTo>
                <a:lnTo>
                  <a:pt x="396" y="170"/>
                </a:lnTo>
                <a:lnTo>
                  <a:pt x="378" y="170"/>
                </a:lnTo>
                <a:lnTo>
                  <a:pt x="375" y="167"/>
                </a:lnTo>
                <a:lnTo>
                  <a:pt x="371" y="162"/>
                </a:lnTo>
                <a:lnTo>
                  <a:pt x="366" y="159"/>
                </a:lnTo>
                <a:lnTo>
                  <a:pt x="359" y="154"/>
                </a:lnTo>
                <a:lnTo>
                  <a:pt x="345" y="144"/>
                </a:lnTo>
                <a:lnTo>
                  <a:pt x="328" y="133"/>
                </a:lnTo>
                <a:lnTo>
                  <a:pt x="310" y="122"/>
                </a:lnTo>
                <a:lnTo>
                  <a:pt x="293" y="111"/>
                </a:lnTo>
                <a:lnTo>
                  <a:pt x="286" y="105"/>
                </a:lnTo>
                <a:lnTo>
                  <a:pt x="280" y="101"/>
                </a:lnTo>
                <a:lnTo>
                  <a:pt x="274" y="95"/>
                </a:lnTo>
                <a:lnTo>
                  <a:pt x="271" y="90"/>
                </a:lnTo>
                <a:lnTo>
                  <a:pt x="267" y="90"/>
                </a:lnTo>
                <a:lnTo>
                  <a:pt x="263" y="87"/>
                </a:lnTo>
                <a:lnTo>
                  <a:pt x="260" y="85"/>
                </a:lnTo>
                <a:lnTo>
                  <a:pt x="255" y="82"/>
                </a:lnTo>
                <a:lnTo>
                  <a:pt x="246" y="73"/>
                </a:lnTo>
                <a:lnTo>
                  <a:pt x="236" y="63"/>
                </a:lnTo>
                <a:lnTo>
                  <a:pt x="227" y="53"/>
                </a:lnTo>
                <a:lnTo>
                  <a:pt x="217" y="45"/>
                </a:lnTo>
                <a:lnTo>
                  <a:pt x="213" y="42"/>
                </a:lnTo>
                <a:lnTo>
                  <a:pt x="208" y="38"/>
                </a:lnTo>
                <a:lnTo>
                  <a:pt x="204" y="37"/>
                </a:lnTo>
                <a:lnTo>
                  <a:pt x="199" y="36"/>
                </a:lnTo>
                <a:lnTo>
                  <a:pt x="197" y="33"/>
                </a:lnTo>
                <a:lnTo>
                  <a:pt x="194" y="30"/>
                </a:lnTo>
                <a:lnTo>
                  <a:pt x="189" y="28"/>
                </a:lnTo>
                <a:lnTo>
                  <a:pt x="186" y="27"/>
                </a:lnTo>
                <a:lnTo>
                  <a:pt x="184" y="23"/>
                </a:lnTo>
                <a:lnTo>
                  <a:pt x="182" y="18"/>
                </a:lnTo>
                <a:lnTo>
                  <a:pt x="166" y="18"/>
                </a:lnTo>
                <a:lnTo>
                  <a:pt x="147" y="16"/>
                </a:lnTo>
                <a:lnTo>
                  <a:pt x="128" y="15"/>
                </a:lnTo>
                <a:lnTo>
                  <a:pt x="110" y="14"/>
                </a:lnTo>
                <a:lnTo>
                  <a:pt x="106" y="18"/>
                </a:lnTo>
                <a:lnTo>
                  <a:pt x="102" y="24"/>
                </a:lnTo>
                <a:lnTo>
                  <a:pt x="93" y="35"/>
                </a:lnTo>
                <a:lnTo>
                  <a:pt x="84" y="47"/>
                </a:lnTo>
                <a:lnTo>
                  <a:pt x="79" y="54"/>
                </a:lnTo>
                <a:lnTo>
                  <a:pt x="79" y="63"/>
                </a:lnTo>
                <a:lnTo>
                  <a:pt x="75" y="64"/>
                </a:lnTo>
                <a:lnTo>
                  <a:pt x="73" y="65"/>
                </a:lnTo>
                <a:lnTo>
                  <a:pt x="72" y="66"/>
                </a:lnTo>
                <a:lnTo>
                  <a:pt x="71" y="68"/>
                </a:lnTo>
                <a:lnTo>
                  <a:pt x="70" y="73"/>
                </a:lnTo>
                <a:lnTo>
                  <a:pt x="70" y="76"/>
                </a:lnTo>
                <a:lnTo>
                  <a:pt x="61" y="76"/>
                </a:lnTo>
                <a:lnTo>
                  <a:pt x="60" y="81"/>
                </a:lnTo>
                <a:lnTo>
                  <a:pt x="55" y="85"/>
                </a:lnTo>
                <a:lnTo>
                  <a:pt x="51" y="91"/>
                </a:lnTo>
                <a:lnTo>
                  <a:pt x="48" y="94"/>
                </a:lnTo>
                <a:lnTo>
                  <a:pt x="39" y="94"/>
                </a:lnTo>
                <a:lnTo>
                  <a:pt x="34" y="99"/>
                </a:lnTo>
                <a:lnTo>
                  <a:pt x="33" y="103"/>
                </a:lnTo>
                <a:lnTo>
                  <a:pt x="31" y="110"/>
                </a:lnTo>
                <a:lnTo>
                  <a:pt x="29" y="114"/>
                </a:lnTo>
                <a:lnTo>
                  <a:pt x="25" y="116"/>
                </a:lnTo>
                <a:lnTo>
                  <a:pt x="24" y="151"/>
                </a:lnTo>
                <a:lnTo>
                  <a:pt x="21" y="186"/>
                </a:lnTo>
                <a:lnTo>
                  <a:pt x="17" y="219"/>
                </a:lnTo>
                <a:lnTo>
                  <a:pt x="16" y="250"/>
                </a:lnTo>
                <a:lnTo>
                  <a:pt x="15" y="250"/>
                </a:lnTo>
                <a:lnTo>
                  <a:pt x="14" y="251"/>
                </a:lnTo>
                <a:lnTo>
                  <a:pt x="13" y="254"/>
                </a:lnTo>
                <a:lnTo>
                  <a:pt x="12" y="256"/>
                </a:lnTo>
                <a:lnTo>
                  <a:pt x="12" y="261"/>
                </a:lnTo>
                <a:lnTo>
                  <a:pt x="12" y="268"/>
                </a:lnTo>
                <a:lnTo>
                  <a:pt x="12" y="275"/>
                </a:lnTo>
                <a:lnTo>
                  <a:pt x="11" y="280"/>
                </a:lnTo>
                <a:lnTo>
                  <a:pt x="11" y="283"/>
                </a:lnTo>
                <a:lnTo>
                  <a:pt x="10" y="285"/>
                </a:lnTo>
                <a:lnTo>
                  <a:pt x="8" y="286"/>
                </a:lnTo>
                <a:lnTo>
                  <a:pt x="7" y="286"/>
                </a:lnTo>
                <a:lnTo>
                  <a:pt x="7" y="456"/>
                </a:lnTo>
                <a:lnTo>
                  <a:pt x="5" y="461"/>
                </a:lnTo>
                <a:lnTo>
                  <a:pt x="3" y="468"/>
                </a:lnTo>
                <a:lnTo>
                  <a:pt x="2" y="477"/>
                </a:lnTo>
                <a:lnTo>
                  <a:pt x="1" y="486"/>
                </a:lnTo>
                <a:lnTo>
                  <a:pt x="0" y="506"/>
                </a:lnTo>
                <a:lnTo>
                  <a:pt x="0" y="528"/>
                </a:lnTo>
                <a:lnTo>
                  <a:pt x="2" y="572"/>
                </a:lnTo>
                <a:lnTo>
                  <a:pt x="3" y="607"/>
                </a:lnTo>
                <a:lnTo>
                  <a:pt x="5" y="607"/>
                </a:lnTo>
                <a:lnTo>
                  <a:pt x="6" y="610"/>
                </a:lnTo>
                <a:lnTo>
                  <a:pt x="7" y="613"/>
                </a:lnTo>
                <a:lnTo>
                  <a:pt x="7" y="616"/>
                </a:lnTo>
                <a:lnTo>
                  <a:pt x="10" y="621"/>
                </a:lnTo>
                <a:lnTo>
                  <a:pt x="16" y="632"/>
                </a:lnTo>
                <a:lnTo>
                  <a:pt x="22" y="644"/>
                </a:lnTo>
                <a:lnTo>
                  <a:pt x="25" y="652"/>
                </a:lnTo>
                <a:lnTo>
                  <a:pt x="29" y="653"/>
                </a:lnTo>
                <a:lnTo>
                  <a:pt x="34" y="655"/>
                </a:lnTo>
                <a:lnTo>
                  <a:pt x="39" y="659"/>
                </a:lnTo>
                <a:lnTo>
                  <a:pt x="44" y="664"/>
                </a:lnTo>
                <a:lnTo>
                  <a:pt x="54" y="674"/>
                </a:lnTo>
                <a:lnTo>
                  <a:pt x="61" y="683"/>
                </a:lnTo>
                <a:lnTo>
                  <a:pt x="77" y="692"/>
                </a:lnTo>
                <a:lnTo>
                  <a:pt x="92" y="701"/>
                </a:lnTo>
                <a:lnTo>
                  <a:pt x="93" y="705"/>
                </a:lnTo>
                <a:lnTo>
                  <a:pt x="98" y="708"/>
                </a:lnTo>
                <a:lnTo>
                  <a:pt x="103" y="711"/>
                </a:lnTo>
                <a:lnTo>
                  <a:pt x="111" y="715"/>
                </a:lnTo>
                <a:lnTo>
                  <a:pt x="126" y="721"/>
                </a:lnTo>
                <a:lnTo>
                  <a:pt x="137" y="728"/>
                </a:lnTo>
                <a:lnTo>
                  <a:pt x="149" y="728"/>
                </a:lnTo>
                <a:lnTo>
                  <a:pt x="167" y="729"/>
                </a:lnTo>
                <a:lnTo>
                  <a:pt x="176" y="730"/>
                </a:lnTo>
                <a:lnTo>
                  <a:pt x="183" y="731"/>
                </a:lnTo>
                <a:lnTo>
                  <a:pt x="186" y="732"/>
                </a:lnTo>
                <a:lnTo>
                  <a:pt x="188" y="734"/>
                </a:lnTo>
                <a:lnTo>
                  <a:pt x="189" y="735"/>
                </a:lnTo>
                <a:lnTo>
                  <a:pt x="190" y="737"/>
                </a:lnTo>
                <a:lnTo>
                  <a:pt x="206" y="739"/>
                </a:lnTo>
                <a:lnTo>
                  <a:pt x="222" y="741"/>
                </a:lnTo>
                <a:lnTo>
                  <a:pt x="231" y="750"/>
                </a:lnTo>
                <a:lnTo>
                  <a:pt x="237" y="753"/>
                </a:lnTo>
                <a:lnTo>
                  <a:pt x="244" y="755"/>
                </a:lnTo>
                <a:lnTo>
                  <a:pt x="252" y="757"/>
                </a:lnTo>
                <a:lnTo>
                  <a:pt x="257" y="759"/>
                </a:lnTo>
                <a:lnTo>
                  <a:pt x="271" y="759"/>
                </a:lnTo>
                <a:lnTo>
                  <a:pt x="272" y="763"/>
                </a:lnTo>
                <a:lnTo>
                  <a:pt x="275" y="767"/>
                </a:lnTo>
                <a:lnTo>
                  <a:pt x="280" y="770"/>
                </a:lnTo>
                <a:lnTo>
                  <a:pt x="284" y="773"/>
                </a:lnTo>
                <a:lnTo>
                  <a:pt x="285" y="776"/>
                </a:lnTo>
                <a:lnTo>
                  <a:pt x="290" y="780"/>
                </a:lnTo>
                <a:lnTo>
                  <a:pt x="292" y="783"/>
                </a:lnTo>
                <a:lnTo>
                  <a:pt x="295" y="784"/>
                </a:lnTo>
                <a:lnTo>
                  <a:pt x="299" y="785"/>
                </a:lnTo>
                <a:lnTo>
                  <a:pt x="302" y="786"/>
                </a:lnTo>
                <a:lnTo>
                  <a:pt x="307" y="795"/>
                </a:lnTo>
                <a:lnTo>
                  <a:pt x="313" y="797"/>
                </a:lnTo>
                <a:lnTo>
                  <a:pt x="320" y="799"/>
                </a:lnTo>
                <a:lnTo>
                  <a:pt x="324" y="804"/>
                </a:lnTo>
                <a:lnTo>
                  <a:pt x="329" y="813"/>
                </a:lnTo>
                <a:lnTo>
                  <a:pt x="333" y="815"/>
                </a:lnTo>
                <a:lnTo>
                  <a:pt x="338" y="817"/>
                </a:lnTo>
                <a:lnTo>
                  <a:pt x="340" y="824"/>
                </a:lnTo>
                <a:lnTo>
                  <a:pt x="342" y="830"/>
                </a:lnTo>
                <a:lnTo>
                  <a:pt x="346" y="832"/>
                </a:lnTo>
                <a:lnTo>
                  <a:pt x="349" y="836"/>
                </a:lnTo>
                <a:lnTo>
                  <a:pt x="352" y="843"/>
                </a:lnTo>
                <a:lnTo>
                  <a:pt x="356" y="851"/>
                </a:lnTo>
                <a:lnTo>
                  <a:pt x="362" y="867"/>
                </a:lnTo>
                <a:lnTo>
                  <a:pt x="369" y="879"/>
                </a:lnTo>
                <a:lnTo>
                  <a:pt x="369" y="892"/>
                </a:lnTo>
                <a:lnTo>
                  <a:pt x="378" y="901"/>
                </a:lnTo>
                <a:lnTo>
                  <a:pt x="379" y="921"/>
                </a:lnTo>
                <a:lnTo>
                  <a:pt x="381" y="943"/>
                </a:lnTo>
                <a:lnTo>
                  <a:pt x="385" y="968"/>
                </a:lnTo>
                <a:lnTo>
                  <a:pt x="386" y="994"/>
                </a:lnTo>
                <a:lnTo>
                  <a:pt x="388" y="994"/>
                </a:lnTo>
                <a:lnTo>
                  <a:pt x="390" y="994"/>
                </a:lnTo>
                <a:lnTo>
                  <a:pt x="390" y="1014"/>
                </a:lnTo>
                <a:lnTo>
                  <a:pt x="389" y="1036"/>
                </a:lnTo>
                <a:lnTo>
                  <a:pt x="388" y="1057"/>
                </a:lnTo>
                <a:lnTo>
                  <a:pt x="386" y="1080"/>
                </a:lnTo>
                <a:lnTo>
                  <a:pt x="384" y="1101"/>
                </a:lnTo>
                <a:lnTo>
                  <a:pt x="382" y="1122"/>
                </a:lnTo>
                <a:lnTo>
                  <a:pt x="381" y="1142"/>
                </a:lnTo>
                <a:lnTo>
                  <a:pt x="380" y="1161"/>
                </a:lnTo>
                <a:lnTo>
                  <a:pt x="381" y="1177"/>
                </a:lnTo>
                <a:lnTo>
                  <a:pt x="381" y="1200"/>
                </a:lnTo>
                <a:lnTo>
                  <a:pt x="382" y="1230"/>
                </a:lnTo>
                <a:lnTo>
                  <a:pt x="384" y="1261"/>
                </a:lnTo>
                <a:lnTo>
                  <a:pt x="387" y="1293"/>
                </a:lnTo>
                <a:lnTo>
                  <a:pt x="391" y="1318"/>
                </a:lnTo>
                <a:lnTo>
                  <a:pt x="394" y="1330"/>
                </a:lnTo>
                <a:lnTo>
                  <a:pt x="397" y="1337"/>
                </a:lnTo>
                <a:lnTo>
                  <a:pt x="399" y="1340"/>
                </a:lnTo>
                <a:lnTo>
                  <a:pt x="401" y="1342"/>
                </a:lnTo>
                <a:lnTo>
                  <a:pt x="404" y="1343"/>
                </a:lnTo>
                <a:lnTo>
                  <a:pt x="406" y="1344"/>
                </a:lnTo>
                <a:lnTo>
                  <a:pt x="406" y="1347"/>
                </a:lnTo>
                <a:lnTo>
                  <a:pt x="406" y="1351"/>
                </a:lnTo>
                <a:lnTo>
                  <a:pt x="407" y="1353"/>
                </a:lnTo>
                <a:lnTo>
                  <a:pt x="410" y="1354"/>
                </a:lnTo>
                <a:lnTo>
                  <a:pt x="411" y="1370"/>
                </a:lnTo>
                <a:lnTo>
                  <a:pt x="413" y="1389"/>
                </a:lnTo>
                <a:lnTo>
                  <a:pt x="415" y="1409"/>
                </a:lnTo>
                <a:lnTo>
                  <a:pt x="415" y="1428"/>
                </a:lnTo>
                <a:lnTo>
                  <a:pt x="420" y="1430"/>
                </a:lnTo>
                <a:lnTo>
                  <a:pt x="425" y="1432"/>
                </a:lnTo>
                <a:lnTo>
                  <a:pt x="426" y="1437"/>
                </a:lnTo>
                <a:lnTo>
                  <a:pt x="428" y="1443"/>
                </a:lnTo>
                <a:lnTo>
                  <a:pt x="432" y="1449"/>
                </a:lnTo>
                <a:lnTo>
                  <a:pt x="436" y="1456"/>
                </a:lnTo>
                <a:lnTo>
                  <a:pt x="439" y="1462"/>
                </a:lnTo>
                <a:lnTo>
                  <a:pt x="444" y="1467"/>
                </a:lnTo>
                <a:lnTo>
                  <a:pt x="447" y="1471"/>
                </a:lnTo>
                <a:lnTo>
                  <a:pt x="449" y="1472"/>
                </a:lnTo>
                <a:lnTo>
                  <a:pt x="451" y="1477"/>
                </a:lnTo>
                <a:lnTo>
                  <a:pt x="452" y="1481"/>
                </a:lnTo>
                <a:lnTo>
                  <a:pt x="453" y="1484"/>
                </a:lnTo>
                <a:lnTo>
                  <a:pt x="454" y="1486"/>
                </a:lnTo>
                <a:lnTo>
                  <a:pt x="456" y="1487"/>
                </a:lnTo>
                <a:lnTo>
                  <a:pt x="459" y="1487"/>
                </a:lnTo>
                <a:lnTo>
                  <a:pt x="461" y="1491"/>
                </a:lnTo>
                <a:lnTo>
                  <a:pt x="462" y="1497"/>
                </a:lnTo>
                <a:lnTo>
                  <a:pt x="465" y="1501"/>
                </a:lnTo>
                <a:lnTo>
                  <a:pt x="468" y="1506"/>
                </a:lnTo>
                <a:lnTo>
                  <a:pt x="477" y="1517"/>
                </a:lnTo>
                <a:lnTo>
                  <a:pt x="487" y="1527"/>
                </a:lnTo>
                <a:lnTo>
                  <a:pt x="496" y="1538"/>
                </a:lnTo>
                <a:lnTo>
                  <a:pt x="505" y="1548"/>
                </a:lnTo>
                <a:lnTo>
                  <a:pt x="509" y="1554"/>
                </a:lnTo>
                <a:lnTo>
                  <a:pt x="512" y="1559"/>
                </a:lnTo>
                <a:lnTo>
                  <a:pt x="513" y="1565"/>
                </a:lnTo>
                <a:lnTo>
                  <a:pt x="514" y="1571"/>
                </a:lnTo>
                <a:lnTo>
                  <a:pt x="522" y="1578"/>
                </a:lnTo>
                <a:lnTo>
                  <a:pt x="539" y="1595"/>
                </a:lnTo>
                <a:lnTo>
                  <a:pt x="555" y="1613"/>
                </a:lnTo>
                <a:lnTo>
                  <a:pt x="563" y="1620"/>
                </a:lnTo>
                <a:lnTo>
                  <a:pt x="573" y="1620"/>
                </a:lnTo>
                <a:lnTo>
                  <a:pt x="586" y="1632"/>
                </a:lnTo>
                <a:lnTo>
                  <a:pt x="598" y="1645"/>
                </a:lnTo>
                <a:lnTo>
                  <a:pt x="608" y="1645"/>
                </a:lnTo>
                <a:lnTo>
                  <a:pt x="609" y="1651"/>
                </a:lnTo>
                <a:lnTo>
                  <a:pt x="612" y="1659"/>
                </a:lnTo>
                <a:lnTo>
                  <a:pt x="617" y="1667"/>
                </a:lnTo>
                <a:lnTo>
                  <a:pt x="624" y="1676"/>
                </a:lnTo>
                <a:lnTo>
                  <a:pt x="630" y="1684"/>
                </a:lnTo>
                <a:lnTo>
                  <a:pt x="639" y="1693"/>
                </a:lnTo>
                <a:lnTo>
                  <a:pt x="649" y="1703"/>
                </a:lnTo>
                <a:lnTo>
                  <a:pt x="659" y="1712"/>
                </a:lnTo>
                <a:lnTo>
                  <a:pt x="669" y="1721"/>
                </a:lnTo>
                <a:lnTo>
                  <a:pt x="681" y="1730"/>
                </a:lnTo>
                <a:lnTo>
                  <a:pt x="691" y="1738"/>
                </a:lnTo>
                <a:lnTo>
                  <a:pt x="702" y="1745"/>
                </a:lnTo>
                <a:lnTo>
                  <a:pt x="712" y="1750"/>
                </a:lnTo>
                <a:lnTo>
                  <a:pt x="721" y="1755"/>
                </a:lnTo>
                <a:lnTo>
                  <a:pt x="729" y="1757"/>
                </a:lnTo>
                <a:lnTo>
                  <a:pt x="736" y="1758"/>
                </a:lnTo>
                <a:lnTo>
                  <a:pt x="752" y="1760"/>
                </a:lnTo>
                <a:lnTo>
                  <a:pt x="788" y="1765"/>
                </a:lnTo>
                <a:lnTo>
                  <a:pt x="807" y="1766"/>
                </a:lnTo>
                <a:lnTo>
                  <a:pt x="823" y="1767"/>
                </a:lnTo>
                <a:lnTo>
                  <a:pt x="830" y="1767"/>
                </a:lnTo>
                <a:lnTo>
                  <a:pt x="836" y="1766"/>
                </a:lnTo>
                <a:lnTo>
                  <a:pt x="839" y="1765"/>
                </a:lnTo>
                <a:lnTo>
                  <a:pt x="840" y="1764"/>
                </a:lnTo>
                <a:lnTo>
                  <a:pt x="845" y="1764"/>
                </a:lnTo>
                <a:lnTo>
                  <a:pt x="851" y="1763"/>
                </a:lnTo>
                <a:lnTo>
                  <a:pt x="855" y="1763"/>
                </a:lnTo>
                <a:lnTo>
                  <a:pt x="857" y="1761"/>
                </a:lnTo>
                <a:lnTo>
                  <a:pt x="859" y="1760"/>
                </a:lnTo>
                <a:lnTo>
                  <a:pt x="859" y="1758"/>
                </a:lnTo>
                <a:lnTo>
                  <a:pt x="870" y="1758"/>
                </a:lnTo>
                <a:lnTo>
                  <a:pt x="880" y="1758"/>
                </a:lnTo>
                <a:lnTo>
                  <a:pt x="891" y="1758"/>
                </a:lnTo>
                <a:lnTo>
                  <a:pt x="903" y="1758"/>
                </a:lnTo>
                <a:lnTo>
                  <a:pt x="904" y="1757"/>
                </a:lnTo>
                <a:lnTo>
                  <a:pt x="905" y="1756"/>
                </a:lnTo>
                <a:lnTo>
                  <a:pt x="917" y="1756"/>
                </a:lnTo>
                <a:lnTo>
                  <a:pt x="943" y="1731"/>
                </a:lnTo>
                <a:lnTo>
                  <a:pt x="947" y="1731"/>
                </a:lnTo>
                <a:lnTo>
                  <a:pt x="951" y="1730"/>
                </a:lnTo>
                <a:lnTo>
                  <a:pt x="953" y="1729"/>
                </a:lnTo>
                <a:lnTo>
                  <a:pt x="954" y="1728"/>
                </a:lnTo>
                <a:lnTo>
                  <a:pt x="954" y="1727"/>
                </a:lnTo>
                <a:lnTo>
                  <a:pt x="955" y="1725"/>
                </a:lnTo>
                <a:lnTo>
                  <a:pt x="962" y="1725"/>
                </a:lnTo>
                <a:lnTo>
                  <a:pt x="973" y="1723"/>
                </a:lnTo>
                <a:lnTo>
                  <a:pt x="977" y="1723"/>
                </a:lnTo>
                <a:lnTo>
                  <a:pt x="982" y="1722"/>
                </a:lnTo>
                <a:lnTo>
                  <a:pt x="985" y="1720"/>
                </a:lnTo>
                <a:lnTo>
                  <a:pt x="986" y="1718"/>
                </a:lnTo>
                <a:lnTo>
                  <a:pt x="994" y="1718"/>
                </a:lnTo>
                <a:lnTo>
                  <a:pt x="1005" y="1718"/>
                </a:lnTo>
                <a:lnTo>
                  <a:pt x="1015" y="1718"/>
                </a:lnTo>
                <a:lnTo>
                  <a:pt x="1023" y="1718"/>
                </a:lnTo>
                <a:lnTo>
                  <a:pt x="1030" y="1712"/>
                </a:lnTo>
                <a:lnTo>
                  <a:pt x="1037" y="1706"/>
                </a:lnTo>
                <a:lnTo>
                  <a:pt x="1037" y="1701"/>
                </a:lnTo>
                <a:lnTo>
                  <a:pt x="1040" y="1698"/>
                </a:lnTo>
                <a:lnTo>
                  <a:pt x="1044" y="1694"/>
                </a:lnTo>
                <a:lnTo>
                  <a:pt x="1049" y="1693"/>
                </a:lnTo>
                <a:lnTo>
                  <a:pt x="1050" y="1688"/>
                </a:lnTo>
                <a:lnTo>
                  <a:pt x="1052" y="1682"/>
                </a:lnTo>
                <a:lnTo>
                  <a:pt x="1054" y="1679"/>
                </a:lnTo>
                <a:lnTo>
                  <a:pt x="1057" y="1677"/>
                </a:lnTo>
                <a:lnTo>
                  <a:pt x="1059" y="1676"/>
                </a:lnTo>
                <a:lnTo>
                  <a:pt x="1061" y="1674"/>
                </a:lnTo>
                <a:lnTo>
                  <a:pt x="1061" y="1669"/>
                </a:lnTo>
                <a:lnTo>
                  <a:pt x="1062" y="1663"/>
                </a:lnTo>
                <a:lnTo>
                  <a:pt x="1062" y="1660"/>
                </a:lnTo>
                <a:lnTo>
                  <a:pt x="1063" y="1658"/>
                </a:lnTo>
                <a:lnTo>
                  <a:pt x="1066" y="1657"/>
                </a:lnTo>
                <a:lnTo>
                  <a:pt x="1068" y="1655"/>
                </a:lnTo>
                <a:lnTo>
                  <a:pt x="1068" y="1643"/>
                </a:lnTo>
                <a:lnTo>
                  <a:pt x="1071" y="1643"/>
                </a:lnTo>
                <a:lnTo>
                  <a:pt x="1072" y="1642"/>
                </a:lnTo>
                <a:lnTo>
                  <a:pt x="1073" y="1641"/>
                </a:lnTo>
                <a:lnTo>
                  <a:pt x="1073" y="1640"/>
                </a:lnTo>
                <a:lnTo>
                  <a:pt x="1073" y="1639"/>
                </a:lnTo>
                <a:lnTo>
                  <a:pt x="1075" y="1638"/>
                </a:lnTo>
                <a:lnTo>
                  <a:pt x="1076" y="1638"/>
                </a:lnTo>
                <a:lnTo>
                  <a:pt x="1080" y="1638"/>
                </a:lnTo>
                <a:lnTo>
                  <a:pt x="1081" y="1632"/>
                </a:lnTo>
                <a:lnTo>
                  <a:pt x="1084" y="1629"/>
                </a:lnTo>
                <a:lnTo>
                  <a:pt x="1088" y="1625"/>
                </a:lnTo>
                <a:lnTo>
                  <a:pt x="1092" y="1624"/>
                </a:lnTo>
                <a:lnTo>
                  <a:pt x="1092" y="1621"/>
                </a:lnTo>
                <a:lnTo>
                  <a:pt x="1095" y="1617"/>
                </a:lnTo>
                <a:lnTo>
                  <a:pt x="1096" y="1615"/>
                </a:lnTo>
                <a:lnTo>
                  <a:pt x="1099" y="1613"/>
                </a:lnTo>
                <a:lnTo>
                  <a:pt x="1102" y="1610"/>
                </a:lnTo>
                <a:lnTo>
                  <a:pt x="1105" y="1606"/>
                </a:lnTo>
                <a:lnTo>
                  <a:pt x="1116" y="1604"/>
                </a:lnTo>
                <a:lnTo>
                  <a:pt x="1130" y="1600"/>
                </a:lnTo>
                <a:lnTo>
                  <a:pt x="1144" y="1595"/>
                </a:lnTo>
                <a:lnTo>
                  <a:pt x="1155" y="1593"/>
                </a:lnTo>
                <a:lnTo>
                  <a:pt x="1156" y="1591"/>
                </a:lnTo>
                <a:lnTo>
                  <a:pt x="1159" y="1587"/>
                </a:lnTo>
                <a:lnTo>
                  <a:pt x="1163" y="1583"/>
                </a:lnTo>
                <a:lnTo>
                  <a:pt x="1168" y="1578"/>
                </a:lnTo>
                <a:lnTo>
                  <a:pt x="1178" y="1572"/>
                </a:lnTo>
                <a:lnTo>
                  <a:pt x="1186" y="1568"/>
                </a:lnTo>
                <a:lnTo>
                  <a:pt x="1193" y="1556"/>
                </a:lnTo>
                <a:lnTo>
                  <a:pt x="1193" y="1544"/>
                </a:lnTo>
                <a:lnTo>
                  <a:pt x="1205" y="1530"/>
                </a:lnTo>
                <a:lnTo>
                  <a:pt x="1204" y="1520"/>
                </a:lnTo>
                <a:lnTo>
                  <a:pt x="1203" y="1509"/>
                </a:lnTo>
                <a:lnTo>
                  <a:pt x="1200" y="1497"/>
                </a:lnTo>
                <a:lnTo>
                  <a:pt x="1197" y="1485"/>
                </a:lnTo>
                <a:lnTo>
                  <a:pt x="1190" y="1460"/>
                </a:lnTo>
                <a:lnTo>
                  <a:pt x="1182" y="1436"/>
                </a:lnTo>
                <a:lnTo>
                  <a:pt x="1178" y="1423"/>
                </a:lnTo>
                <a:lnTo>
                  <a:pt x="1175" y="1411"/>
                </a:lnTo>
                <a:lnTo>
                  <a:pt x="1173" y="1400"/>
                </a:lnTo>
                <a:lnTo>
                  <a:pt x="1172" y="1389"/>
                </a:lnTo>
                <a:lnTo>
                  <a:pt x="1172" y="1378"/>
                </a:lnTo>
                <a:lnTo>
                  <a:pt x="1174" y="1367"/>
                </a:lnTo>
                <a:lnTo>
                  <a:pt x="1176" y="1359"/>
                </a:lnTo>
                <a:lnTo>
                  <a:pt x="1182" y="1350"/>
                </a:lnTo>
                <a:lnTo>
                  <a:pt x="1193" y="1347"/>
                </a:lnTo>
                <a:lnTo>
                  <a:pt x="1212" y="1345"/>
                </a:lnTo>
                <a:lnTo>
                  <a:pt x="1235" y="1344"/>
                </a:lnTo>
                <a:lnTo>
                  <a:pt x="1260" y="1343"/>
                </a:lnTo>
                <a:lnTo>
                  <a:pt x="1283" y="1344"/>
                </a:lnTo>
                <a:lnTo>
                  <a:pt x="1305" y="1346"/>
                </a:lnTo>
                <a:lnTo>
                  <a:pt x="1312" y="1347"/>
                </a:lnTo>
                <a:lnTo>
                  <a:pt x="1318" y="1350"/>
                </a:lnTo>
                <a:lnTo>
                  <a:pt x="1322" y="1353"/>
                </a:lnTo>
                <a:lnTo>
                  <a:pt x="1324" y="1355"/>
                </a:lnTo>
                <a:lnTo>
                  <a:pt x="1417" y="1355"/>
                </a:lnTo>
                <a:lnTo>
                  <a:pt x="1418" y="1352"/>
                </a:lnTo>
                <a:lnTo>
                  <a:pt x="1418" y="1351"/>
                </a:lnTo>
                <a:lnTo>
                  <a:pt x="1420" y="1350"/>
                </a:lnTo>
                <a:lnTo>
                  <a:pt x="1421" y="1350"/>
                </a:lnTo>
                <a:lnTo>
                  <a:pt x="1422" y="1350"/>
                </a:lnTo>
                <a:lnTo>
                  <a:pt x="1423" y="1348"/>
                </a:lnTo>
                <a:lnTo>
                  <a:pt x="1424" y="1347"/>
                </a:lnTo>
                <a:lnTo>
                  <a:pt x="1424" y="1343"/>
                </a:lnTo>
                <a:lnTo>
                  <a:pt x="1505" y="1343"/>
                </a:lnTo>
                <a:lnTo>
                  <a:pt x="1508" y="1344"/>
                </a:lnTo>
                <a:lnTo>
                  <a:pt x="1514" y="1347"/>
                </a:lnTo>
                <a:lnTo>
                  <a:pt x="1518" y="1351"/>
                </a:lnTo>
                <a:lnTo>
                  <a:pt x="1521" y="1354"/>
                </a:lnTo>
                <a:lnTo>
                  <a:pt x="1523" y="1357"/>
                </a:lnTo>
                <a:lnTo>
                  <a:pt x="1524" y="1362"/>
                </a:lnTo>
                <a:lnTo>
                  <a:pt x="1527" y="1363"/>
                </a:lnTo>
                <a:lnTo>
                  <a:pt x="1530" y="1366"/>
                </a:lnTo>
                <a:lnTo>
                  <a:pt x="1534" y="1371"/>
                </a:lnTo>
                <a:lnTo>
                  <a:pt x="1539" y="1376"/>
                </a:lnTo>
                <a:lnTo>
                  <a:pt x="1542" y="1382"/>
                </a:lnTo>
                <a:lnTo>
                  <a:pt x="1546" y="1389"/>
                </a:lnTo>
                <a:lnTo>
                  <a:pt x="1548" y="1394"/>
                </a:lnTo>
                <a:lnTo>
                  <a:pt x="1549" y="1400"/>
                </a:lnTo>
                <a:lnTo>
                  <a:pt x="1561" y="1412"/>
                </a:lnTo>
                <a:lnTo>
                  <a:pt x="1562" y="1448"/>
                </a:lnTo>
                <a:lnTo>
                  <a:pt x="1565" y="1486"/>
                </a:lnTo>
                <a:lnTo>
                  <a:pt x="1567" y="1524"/>
                </a:lnTo>
                <a:lnTo>
                  <a:pt x="1568" y="1556"/>
                </a:lnTo>
                <a:lnTo>
                  <a:pt x="1574" y="1565"/>
                </a:lnTo>
                <a:lnTo>
                  <a:pt x="1581" y="1581"/>
                </a:lnTo>
                <a:lnTo>
                  <a:pt x="1585" y="1588"/>
                </a:lnTo>
                <a:lnTo>
                  <a:pt x="1589" y="1596"/>
                </a:lnTo>
                <a:lnTo>
                  <a:pt x="1595" y="1602"/>
                </a:lnTo>
                <a:lnTo>
                  <a:pt x="1599" y="1606"/>
                </a:lnTo>
                <a:lnTo>
                  <a:pt x="1599" y="1612"/>
                </a:lnTo>
                <a:lnTo>
                  <a:pt x="1601" y="1617"/>
                </a:lnTo>
                <a:lnTo>
                  <a:pt x="1605" y="1623"/>
                </a:lnTo>
                <a:lnTo>
                  <a:pt x="1608" y="1626"/>
                </a:lnTo>
                <a:lnTo>
                  <a:pt x="1612" y="1631"/>
                </a:lnTo>
                <a:lnTo>
                  <a:pt x="1615" y="1635"/>
                </a:lnTo>
                <a:lnTo>
                  <a:pt x="1617" y="1639"/>
                </a:lnTo>
                <a:lnTo>
                  <a:pt x="1618" y="1643"/>
                </a:lnTo>
                <a:lnTo>
                  <a:pt x="1624" y="1645"/>
                </a:lnTo>
                <a:lnTo>
                  <a:pt x="1630" y="1650"/>
                </a:lnTo>
                <a:lnTo>
                  <a:pt x="1637" y="1657"/>
                </a:lnTo>
                <a:lnTo>
                  <a:pt x="1643" y="1662"/>
                </a:lnTo>
                <a:lnTo>
                  <a:pt x="1643" y="1674"/>
                </a:lnTo>
                <a:lnTo>
                  <a:pt x="1649" y="1681"/>
                </a:lnTo>
                <a:lnTo>
                  <a:pt x="1662" y="1687"/>
                </a:lnTo>
                <a:lnTo>
                  <a:pt x="1670" y="1708"/>
                </a:lnTo>
                <a:lnTo>
                  <a:pt x="1689" y="1754"/>
                </a:lnTo>
                <a:lnTo>
                  <a:pt x="1699" y="1778"/>
                </a:lnTo>
                <a:lnTo>
                  <a:pt x="1708" y="1801"/>
                </a:lnTo>
                <a:lnTo>
                  <a:pt x="1715" y="1815"/>
                </a:lnTo>
                <a:lnTo>
                  <a:pt x="1720" y="1821"/>
                </a:lnTo>
                <a:lnTo>
                  <a:pt x="1720" y="2003"/>
                </a:lnTo>
                <a:lnTo>
                  <a:pt x="1723" y="2004"/>
                </a:lnTo>
                <a:lnTo>
                  <a:pt x="1726" y="2006"/>
                </a:lnTo>
                <a:lnTo>
                  <a:pt x="1729" y="2009"/>
                </a:lnTo>
                <a:lnTo>
                  <a:pt x="1731" y="2014"/>
                </a:lnTo>
                <a:lnTo>
                  <a:pt x="1735" y="2018"/>
                </a:lnTo>
                <a:lnTo>
                  <a:pt x="1741" y="2021"/>
                </a:lnTo>
                <a:lnTo>
                  <a:pt x="1750" y="2024"/>
                </a:lnTo>
                <a:lnTo>
                  <a:pt x="1761" y="2025"/>
                </a:lnTo>
                <a:lnTo>
                  <a:pt x="1778" y="2025"/>
                </a:lnTo>
                <a:lnTo>
                  <a:pt x="1800" y="2026"/>
                </a:lnTo>
                <a:lnTo>
                  <a:pt x="1811" y="2026"/>
                </a:lnTo>
                <a:lnTo>
                  <a:pt x="1821" y="2027"/>
                </a:lnTo>
                <a:lnTo>
                  <a:pt x="1828" y="2029"/>
                </a:lnTo>
                <a:lnTo>
                  <a:pt x="1830" y="2032"/>
                </a:lnTo>
                <a:lnTo>
                  <a:pt x="1839" y="2032"/>
                </a:lnTo>
                <a:lnTo>
                  <a:pt x="1849" y="2032"/>
                </a:lnTo>
                <a:lnTo>
                  <a:pt x="1855" y="2044"/>
                </a:lnTo>
                <a:lnTo>
                  <a:pt x="1868" y="2044"/>
                </a:lnTo>
                <a:lnTo>
                  <a:pt x="1868" y="2047"/>
                </a:lnTo>
                <a:lnTo>
                  <a:pt x="1869" y="2049"/>
                </a:lnTo>
                <a:lnTo>
                  <a:pt x="1869" y="2049"/>
                </a:lnTo>
                <a:lnTo>
                  <a:pt x="1871" y="2049"/>
                </a:lnTo>
                <a:lnTo>
                  <a:pt x="1872" y="2049"/>
                </a:lnTo>
                <a:lnTo>
                  <a:pt x="1873" y="2051"/>
                </a:lnTo>
                <a:lnTo>
                  <a:pt x="1874" y="2053"/>
                </a:lnTo>
                <a:lnTo>
                  <a:pt x="1874" y="2056"/>
                </a:lnTo>
                <a:lnTo>
                  <a:pt x="1884" y="2059"/>
                </a:lnTo>
                <a:lnTo>
                  <a:pt x="1893" y="2063"/>
                </a:lnTo>
                <a:lnTo>
                  <a:pt x="1893" y="2066"/>
                </a:lnTo>
                <a:lnTo>
                  <a:pt x="1894" y="2067"/>
                </a:lnTo>
                <a:lnTo>
                  <a:pt x="1895" y="2068"/>
                </a:lnTo>
                <a:lnTo>
                  <a:pt x="1896" y="2068"/>
                </a:lnTo>
                <a:lnTo>
                  <a:pt x="1897" y="2068"/>
                </a:lnTo>
                <a:lnTo>
                  <a:pt x="1898" y="2069"/>
                </a:lnTo>
                <a:lnTo>
                  <a:pt x="1898" y="2072"/>
                </a:lnTo>
                <a:lnTo>
                  <a:pt x="1900" y="2075"/>
                </a:lnTo>
                <a:lnTo>
                  <a:pt x="1912" y="2075"/>
                </a:lnTo>
                <a:lnTo>
                  <a:pt x="1912" y="2087"/>
                </a:lnTo>
                <a:lnTo>
                  <a:pt x="1924" y="2087"/>
                </a:lnTo>
                <a:lnTo>
                  <a:pt x="1931" y="2094"/>
                </a:lnTo>
                <a:lnTo>
                  <a:pt x="1936" y="2100"/>
                </a:lnTo>
                <a:lnTo>
                  <a:pt x="1955" y="2100"/>
                </a:lnTo>
                <a:lnTo>
                  <a:pt x="1955" y="2103"/>
                </a:lnTo>
                <a:lnTo>
                  <a:pt x="1956" y="2105"/>
                </a:lnTo>
                <a:lnTo>
                  <a:pt x="1958" y="2106"/>
                </a:lnTo>
                <a:lnTo>
                  <a:pt x="1959" y="2106"/>
                </a:lnTo>
                <a:lnTo>
                  <a:pt x="1960" y="2106"/>
                </a:lnTo>
                <a:lnTo>
                  <a:pt x="1961" y="2106"/>
                </a:lnTo>
                <a:lnTo>
                  <a:pt x="1961" y="2109"/>
                </a:lnTo>
                <a:lnTo>
                  <a:pt x="1962" y="2112"/>
                </a:lnTo>
                <a:lnTo>
                  <a:pt x="2099" y="2112"/>
                </a:lnTo>
                <a:lnTo>
                  <a:pt x="2105" y="2111"/>
                </a:lnTo>
                <a:lnTo>
                  <a:pt x="2116" y="2111"/>
                </a:lnTo>
                <a:lnTo>
                  <a:pt x="2132" y="2112"/>
                </a:lnTo>
                <a:lnTo>
                  <a:pt x="2150" y="2114"/>
                </a:lnTo>
                <a:lnTo>
                  <a:pt x="2184" y="2117"/>
                </a:lnTo>
                <a:lnTo>
                  <a:pt x="2209" y="2120"/>
                </a:lnTo>
                <a:lnTo>
                  <a:pt x="2209" y="2116"/>
                </a:lnTo>
                <a:lnTo>
                  <a:pt x="2210" y="2114"/>
                </a:lnTo>
                <a:lnTo>
                  <a:pt x="2211" y="2114"/>
                </a:lnTo>
                <a:lnTo>
                  <a:pt x="2212" y="2114"/>
                </a:lnTo>
                <a:lnTo>
                  <a:pt x="2213" y="2113"/>
                </a:lnTo>
                <a:lnTo>
                  <a:pt x="2214" y="2113"/>
                </a:lnTo>
                <a:lnTo>
                  <a:pt x="2214" y="2111"/>
                </a:lnTo>
                <a:lnTo>
                  <a:pt x="2215" y="2107"/>
                </a:lnTo>
                <a:lnTo>
                  <a:pt x="2221" y="2107"/>
                </a:lnTo>
                <a:lnTo>
                  <a:pt x="2227" y="2106"/>
                </a:lnTo>
                <a:lnTo>
                  <a:pt x="2230" y="2106"/>
                </a:lnTo>
                <a:lnTo>
                  <a:pt x="2232" y="2105"/>
                </a:lnTo>
                <a:lnTo>
                  <a:pt x="2233" y="2103"/>
                </a:lnTo>
                <a:lnTo>
                  <a:pt x="2233" y="2101"/>
                </a:lnTo>
                <a:lnTo>
                  <a:pt x="2241" y="2101"/>
                </a:lnTo>
                <a:lnTo>
                  <a:pt x="2250" y="2100"/>
                </a:lnTo>
                <a:lnTo>
                  <a:pt x="2260" y="2097"/>
                </a:lnTo>
                <a:lnTo>
                  <a:pt x="2270" y="2096"/>
                </a:lnTo>
                <a:lnTo>
                  <a:pt x="2273" y="2094"/>
                </a:lnTo>
                <a:lnTo>
                  <a:pt x="2278" y="2092"/>
                </a:lnTo>
                <a:lnTo>
                  <a:pt x="2278" y="2083"/>
                </a:lnTo>
                <a:lnTo>
                  <a:pt x="2280" y="2083"/>
                </a:lnTo>
                <a:lnTo>
                  <a:pt x="2281" y="2081"/>
                </a:lnTo>
                <a:lnTo>
                  <a:pt x="2282" y="2077"/>
                </a:lnTo>
                <a:lnTo>
                  <a:pt x="2282" y="2074"/>
                </a:lnTo>
                <a:lnTo>
                  <a:pt x="2284" y="2072"/>
                </a:lnTo>
                <a:lnTo>
                  <a:pt x="2285" y="2065"/>
                </a:lnTo>
                <a:lnTo>
                  <a:pt x="2285" y="2056"/>
                </a:lnTo>
                <a:lnTo>
                  <a:pt x="2286" y="2045"/>
                </a:lnTo>
                <a:lnTo>
                  <a:pt x="2285" y="2035"/>
                </a:lnTo>
                <a:lnTo>
                  <a:pt x="2285" y="2025"/>
                </a:lnTo>
                <a:lnTo>
                  <a:pt x="2284" y="2019"/>
                </a:lnTo>
                <a:lnTo>
                  <a:pt x="2282" y="2016"/>
                </a:lnTo>
                <a:lnTo>
                  <a:pt x="2280" y="1992"/>
                </a:lnTo>
                <a:lnTo>
                  <a:pt x="2278" y="1969"/>
                </a:lnTo>
                <a:lnTo>
                  <a:pt x="2275" y="1946"/>
                </a:lnTo>
                <a:lnTo>
                  <a:pt x="2273" y="1922"/>
                </a:lnTo>
                <a:lnTo>
                  <a:pt x="2265" y="1909"/>
                </a:lnTo>
                <a:lnTo>
                  <a:pt x="2263" y="1890"/>
                </a:lnTo>
                <a:lnTo>
                  <a:pt x="2261" y="1867"/>
                </a:lnTo>
                <a:lnTo>
                  <a:pt x="2259" y="1856"/>
                </a:lnTo>
                <a:lnTo>
                  <a:pt x="2257" y="1846"/>
                </a:lnTo>
                <a:lnTo>
                  <a:pt x="2253" y="1836"/>
                </a:lnTo>
                <a:lnTo>
                  <a:pt x="2251" y="1830"/>
                </a:lnTo>
                <a:lnTo>
                  <a:pt x="2251" y="1713"/>
                </a:lnTo>
                <a:lnTo>
                  <a:pt x="2252" y="1711"/>
                </a:lnTo>
                <a:lnTo>
                  <a:pt x="2253" y="1706"/>
                </a:lnTo>
                <a:lnTo>
                  <a:pt x="2255" y="1697"/>
                </a:lnTo>
                <a:lnTo>
                  <a:pt x="2255" y="1688"/>
                </a:lnTo>
                <a:lnTo>
                  <a:pt x="2256" y="1668"/>
                </a:lnTo>
                <a:lnTo>
                  <a:pt x="2256" y="1655"/>
                </a:lnTo>
                <a:lnTo>
                  <a:pt x="2253" y="1650"/>
                </a:lnTo>
                <a:lnTo>
                  <a:pt x="2250" y="1642"/>
                </a:lnTo>
                <a:lnTo>
                  <a:pt x="2246" y="1635"/>
                </a:lnTo>
                <a:lnTo>
                  <a:pt x="2242" y="1633"/>
                </a:lnTo>
                <a:lnTo>
                  <a:pt x="2241" y="1628"/>
                </a:lnTo>
                <a:lnTo>
                  <a:pt x="2240" y="1620"/>
                </a:lnTo>
                <a:lnTo>
                  <a:pt x="2237" y="1613"/>
                </a:lnTo>
                <a:lnTo>
                  <a:pt x="2234" y="1605"/>
                </a:lnTo>
                <a:lnTo>
                  <a:pt x="2231" y="1597"/>
                </a:lnTo>
                <a:lnTo>
                  <a:pt x="2227" y="1592"/>
                </a:lnTo>
                <a:lnTo>
                  <a:pt x="2223" y="1586"/>
                </a:lnTo>
                <a:lnTo>
                  <a:pt x="2220" y="1584"/>
                </a:lnTo>
                <a:lnTo>
                  <a:pt x="2219" y="1578"/>
                </a:lnTo>
                <a:lnTo>
                  <a:pt x="2215" y="1573"/>
                </a:lnTo>
                <a:lnTo>
                  <a:pt x="2211" y="1566"/>
                </a:lnTo>
                <a:lnTo>
                  <a:pt x="2207" y="1559"/>
                </a:lnTo>
                <a:lnTo>
                  <a:pt x="2201" y="1553"/>
                </a:lnTo>
                <a:lnTo>
                  <a:pt x="2196" y="1546"/>
                </a:lnTo>
                <a:lnTo>
                  <a:pt x="2194" y="1540"/>
                </a:lnTo>
                <a:lnTo>
                  <a:pt x="2193" y="1535"/>
                </a:lnTo>
                <a:lnTo>
                  <a:pt x="2189" y="1533"/>
                </a:lnTo>
                <a:lnTo>
                  <a:pt x="2184" y="1530"/>
                </a:lnTo>
                <a:lnTo>
                  <a:pt x="2183" y="1527"/>
                </a:lnTo>
                <a:lnTo>
                  <a:pt x="2182" y="1524"/>
                </a:lnTo>
                <a:lnTo>
                  <a:pt x="2179" y="1520"/>
                </a:lnTo>
                <a:lnTo>
                  <a:pt x="2176" y="1518"/>
                </a:lnTo>
                <a:lnTo>
                  <a:pt x="2173" y="1516"/>
                </a:lnTo>
                <a:lnTo>
                  <a:pt x="2169" y="1514"/>
                </a:lnTo>
                <a:lnTo>
                  <a:pt x="2165" y="1513"/>
                </a:lnTo>
                <a:lnTo>
                  <a:pt x="2162" y="1513"/>
                </a:lnTo>
                <a:lnTo>
                  <a:pt x="2160" y="1508"/>
                </a:lnTo>
                <a:lnTo>
                  <a:pt x="2156" y="1504"/>
                </a:lnTo>
                <a:lnTo>
                  <a:pt x="2152" y="1500"/>
                </a:lnTo>
                <a:lnTo>
                  <a:pt x="2148" y="1499"/>
                </a:lnTo>
                <a:lnTo>
                  <a:pt x="2144" y="1495"/>
                </a:lnTo>
                <a:lnTo>
                  <a:pt x="2140" y="1486"/>
                </a:lnTo>
                <a:lnTo>
                  <a:pt x="2140" y="1472"/>
                </a:lnTo>
                <a:lnTo>
                  <a:pt x="2131" y="1468"/>
                </a:lnTo>
                <a:lnTo>
                  <a:pt x="2131" y="1459"/>
                </a:lnTo>
                <a:lnTo>
                  <a:pt x="2131" y="1450"/>
                </a:lnTo>
                <a:lnTo>
                  <a:pt x="2122" y="1441"/>
                </a:lnTo>
                <a:lnTo>
                  <a:pt x="2122" y="1423"/>
                </a:lnTo>
                <a:lnTo>
                  <a:pt x="2115" y="1414"/>
                </a:lnTo>
                <a:lnTo>
                  <a:pt x="2107" y="1400"/>
                </a:lnTo>
                <a:lnTo>
                  <a:pt x="2098" y="1381"/>
                </a:lnTo>
                <a:lnTo>
                  <a:pt x="2089" y="1360"/>
                </a:lnTo>
                <a:lnTo>
                  <a:pt x="2081" y="1340"/>
                </a:lnTo>
                <a:lnTo>
                  <a:pt x="2075" y="1319"/>
                </a:lnTo>
                <a:lnTo>
                  <a:pt x="2069" y="1304"/>
                </a:lnTo>
                <a:lnTo>
                  <a:pt x="2068" y="1294"/>
                </a:lnTo>
                <a:lnTo>
                  <a:pt x="2064" y="1290"/>
                </a:lnTo>
                <a:lnTo>
                  <a:pt x="2059" y="1286"/>
                </a:lnTo>
                <a:lnTo>
                  <a:pt x="2056" y="1280"/>
                </a:lnTo>
                <a:lnTo>
                  <a:pt x="2052" y="1275"/>
                </a:lnTo>
                <a:lnTo>
                  <a:pt x="2048" y="1263"/>
                </a:lnTo>
                <a:lnTo>
                  <a:pt x="2044" y="1249"/>
                </a:lnTo>
                <a:lnTo>
                  <a:pt x="2040" y="1235"/>
                </a:lnTo>
                <a:lnTo>
                  <a:pt x="2036" y="1221"/>
                </a:lnTo>
                <a:lnTo>
                  <a:pt x="2033" y="1216"/>
                </a:lnTo>
                <a:lnTo>
                  <a:pt x="2030" y="1210"/>
                </a:lnTo>
                <a:lnTo>
                  <a:pt x="2027" y="1205"/>
                </a:lnTo>
                <a:lnTo>
                  <a:pt x="2023" y="1200"/>
                </a:lnTo>
                <a:lnTo>
                  <a:pt x="2023" y="1182"/>
                </a:lnTo>
                <a:lnTo>
                  <a:pt x="2015" y="1167"/>
                </a:lnTo>
                <a:lnTo>
                  <a:pt x="2006" y="1151"/>
                </a:lnTo>
                <a:lnTo>
                  <a:pt x="2006" y="1138"/>
                </a:lnTo>
                <a:lnTo>
                  <a:pt x="1996" y="1125"/>
                </a:lnTo>
                <a:lnTo>
                  <a:pt x="1977" y="1102"/>
                </a:lnTo>
                <a:lnTo>
                  <a:pt x="1968" y="1088"/>
                </a:lnTo>
                <a:lnTo>
                  <a:pt x="1960" y="1077"/>
                </a:lnTo>
                <a:lnTo>
                  <a:pt x="1954" y="1067"/>
                </a:lnTo>
                <a:lnTo>
                  <a:pt x="1952" y="1062"/>
                </a:lnTo>
                <a:lnTo>
                  <a:pt x="1948" y="1053"/>
                </a:lnTo>
                <a:lnTo>
                  <a:pt x="1941" y="1048"/>
                </a:lnTo>
                <a:lnTo>
                  <a:pt x="1934" y="1044"/>
                </a:lnTo>
                <a:lnTo>
                  <a:pt x="1930" y="1036"/>
                </a:lnTo>
                <a:lnTo>
                  <a:pt x="1920" y="1021"/>
                </a:lnTo>
                <a:lnTo>
                  <a:pt x="1910" y="1008"/>
                </a:lnTo>
                <a:lnTo>
                  <a:pt x="1903" y="999"/>
                </a:lnTo>
                <a:lnTo>
                  <a:pt x="1903" y="990"/>
                </a:lnTo>
                <a:lnTo>
                  <a:pt x="1896" y="984"/>
                </a:lnTo>
                <a:lnTo>
                  <a:pt x="1889" y="977"/>
                </a:lnTo>
                <a:lnTo>
                  <a:pt x="1889" y="974"/>
                </a:lnTo>
                <a:lnTo>
                  <a:pt x="1888" y="969"/>
                </a:lnTo>
                <a:lnTo>
                  <a:pt x="1887" y="967"/>
                </a:lnTo>
                <a:lnTo>
                  <a:pt x="1886" y="966"/>
                </a:lnTo>
                <a:lnTo>
                  <a:pt x="1884" y="965"/>
                </a:lnTo>
                <a:lnTo>
                  <a:pt x="1881" y="963"/>
                </a:lnTo>
                <a:lnTo>
                  <a:pt x="1876" y="959"/>
                </a:lnTo>
                <a:lnTo>
                  <a:pt x="1876" y="950"/>
                </a:lnTo>
                <a:lnTo>
                  <a:pt x="1872" y="948"/>
                </a:lnTo>
                <a:lnTo>
                  <a:pt x="1867" y="946"/>
                </a:lnTo>
                <a:lnTo>
                  <a:pt x="1867" y="937"/>
                </a:lnTo>
                <a:lnTo>
                  <a:pt x="1858" y="932"/>
                </a:lnTo>
                <a:lnTo>
                  <a:pt x="1858" y="923"/>
                </a:lnTo>
                <a:lnTo>
                  <a:pt x="1849" y="914"/>
                </a:lnTo>
                <a:lnTo>
                  <a:pt x="1836" y="901"/>
                </a:lnTo>
                <a:lnTo>
                  <a:pt x="1826" y="902"/>
                </a:lnTo>
                <a:lnTo>
                  <a:pt x="1817" y="904"/>
                </a:lnTo>
                <a:lnTo>
                  <a:pt x="1808" y="909"/>
                </a:lnTo>
                <a:lnTo>
                  <a:pt x="1800" y="914"/>
                </a:lnTo>
                <a:lnTo>
                  <a:pt x="1787" y="914"/>
                </a:lnTo>
                <a:lnTo>
                  <a:pt x="1786" y="917"/>
                </a:lnTo>
                <a:lnTo>
                  <a:pt x="1782" y="921"/>
                </a:lnTo>
                <a:lnTo>
                  <a:pt x="1778" y="927"/>
                </a:lnTo>
                <a:lnTo>
                  <a:pt x="1773" y="928"/>
                </a:lnTo>
                <a:lnTo>
                  <a:pt x="1773" y="937"/>
                </a:lnTo>
                <a:lnTo>
                  <a:pt x="1771" y="938"/>
                </a:lnTo>
                <a:lnTo>
                  <a:pt x="1770" y="940"/>
                </a:lnTo>
                <a:lnTo>
                  <a:pt x="1769" y="942"/>
                </a:lnTo>
                <a:lnTo>
                  <a:pt x="1769" y="946"/>
                </a:lnTo>
                <a:lnTo>
                  <a:pt x="1768" y="947"/>
                </a:lnTo>
                <a:lnTo>
                  <a:pt x="1767" y="948"/>
                </a:lnTo>
                <a:lnTo>
                  <a:pt x="1766" y="949"/>
                </a:lnTo>
                <a:lnTo>
                  <a:pt x="1766" y="951"/>
                </a:lnTo>
                <a:lnTo>
                  <a:pt x="1764" y="956"/>
                </a:lnTo>
                <a:lnTo>
                  <a:pt x="1764" y="959"/>
                </a:lnTo>
                <a:lnTo>
                  <a:pt x="1762" y="960"/>
                </a:lnTo>
                <a:lnTo>
                  <a:pt x="1761" y="962"/>
                </a:lnTo>
                <a:lnTo>
                  <a:pt x="1760" y="965"/>
                </a:lnTo>
                <a:lnTo>
                  <a:pt x="1760" y="968"/>
                </a:lnTo>
                <a:lnTo>
                  <a:pt x="1757" y="969"/>
                </a:lnTo>
                <a:lnTo>
                  <a:pt x="1752" y="971"/>
                </a:lnTo>
                <a:lnTo>
                  <a:pt x="1749" y="974"/>
                </a:lnTo>
                <a:lnTo>
                  <a:pt x="1744" y="977"/>
                </a:lnTo>
                <a:lnTo>
                  <a:pt x="1739" y="980"/>
                </a:lnTo>
                <a:lnTo>
                  <a:pt x="1734" y="984"/>
                </a:lnTo>
                <a:lnTo>
                  <a:pt x="1730" y="986"/>
                </a:lnTo>
                <a:lnTo>
                  <a:pt x="1724" y="986"/>
                </a:lnTo>
                <a:lnTo>
                  <a:pt x="1718" y="995"/>
                </a:lnTo>
                <a:lnTo>
                  <a:pt x="1711" y="1004"/>
                </a:lnTo>
                <a:lnTo>
                  <a:pt x="1671" y="1004"/>
                </a:lnTo>
                <a:lnTo>
                  <a:pt x="1671" y="1007"/>
                </a:lnTo>
                <a:lnTo>
                  <a:pt x="1668" y="1008"/>
                </a:lnTo>
                <a:lnTo>
                  <a:pt x="1665" y="1008"/>
                </a:lnTo>
                <a:lnTo>
                  <a:pt x="1662" y="1008"/>
                </a:lnTo>
                <a:lnTo>
                  <a:pt x="1662" y="1010"/>
                </a:lnTo>
                <a:lnTo>
                  <a:pt x="1660" y="1013"/>
                </a:lnTo>
                <a:lnTo>
                  <a:pt x="1656" y="1016"/>
                </a:lnTo>
                <a:lnTo>
                  <a:pt x="1653" y="1017"/>
                </a:lnTo>
                <a:lnTo>
                  <a:pt x="1653" y="1026"/>
                </a:lnTo>
                <a:lnTo>
                  <a:pt x="1649" y="1029"/>
                </a:lnTo>
                <a:lnTo>
                  <a:pt x="1645" y="1033"/>
                </a:lnTo>
                <a:lnTo>
                  <a:pt x="1642" y="1036"/>
                </a:lnTo>
                <a:lnTo>
                  <a:pt x="1639" y="1039"/>
                </a:lnTo>
                <a:lnTo>
                  <a:pt x="1636" y="1040"/>
                </a:lnTo>
                <a:lnTo>
                  <a:pt x="1634" y="1043"/>
                </a:lnTo>
                <a:lnTo>
                  <a:pt x="1632" y="1045"/>
                </a:lnTo>
                <a:lnTo>
                  <a:pt x="1630" y="1048"/>
                </a:lnTo>
                <a:lnTo>
                  <a:pt x="1596" y="1047"/>
                </a:lnTo>
                <a:lnTo>
                  <a:pt x="1560" y="1044"/>
                </a:lnTo>
                <a:lnTo>
                  <a:pt x="1527" y="1042"/>
                </a:lnTo>
                <a:lnTo>
                  <a:pt x="1497" y="1039"/>
                </a:lnTo>
                <a:lnTo>
                  <a:pt x="1488" y="1030"/>
                </a:lnTo>
                <a:lnTo>
                  <a:pt x="1479" y="1021"/>
                </a:lnTo>
                <a:lnTo>
                  <a:pt x="1470" y="1021"/>
                </a:lnTo>
                <a:lnTo>
                  <a:pt x="1465" y="1017"/>
                </a:lnTo>
                <a:lnTo>
                  <a:pt x="1465" y="1008"/>
                </a:lnTo>
                <a:lnTo>
                  <a:pt x="1464" y="1004"/>
                </a:lnTo>
                <a:lnTo>
                  <a:pt x="1463" y="992"/>
                </a:lnTo>
                <a:lnTo>
                  <a:pt x="1462" y="976"/>
                </a:lnTo>
                <a:lnTo>
                  <a:pt x="1462" y="957"/>
                </a:lnTo>
                <a:lnTo>
                  <a:pt x="1462" y="920"/>
                </a:lnTo>
                <a:lnTo>
                  <a:pt x="1461" y="901"/>
                </a:lnTo>
                <a:lnTo>
                  <a:pt x="1460" y="878"/>
                </a:lnTo>
                <a:lnTo>
                  <a:pt x="1456" y="852"/>
                </a:lnTo>
                <a:lnTo>
                  <a:pt x="1454" y="827"/>
                </a:lnTo>
                <a:lnTo>
                  <a:pt x="1452" y="804"/>
                </a:lnTo>
                <a:lnTo>
                  <a:pt x="1443" y="795"/>
                </a:lnTo>
                <a:lnTo>
                  <a:pt x="1443" y="779"/>
                </a:lnTo>
                <a:lnTo>
                  <a:pt x="1443" y="764"/>
                </a:lnTo>
                <a:lnTo>
                  <a:pt x="1441" y="763"/>
                </a:lnTo>
                <a:lnTo>
                  <a:pt x="1440" y="760"/>
                </a:lnTo>
                <a:lnTo>
                  <a:pt x="1440" y="758"/>
                </a:lnTo>
                <a:lnTo>
                  <a:pt x="1438" y="755"/>
                </a:lnTo>
                <a:lnTo>
                  <a:pt x="1430" y="746"/>
                </a:lnTo>
                <a:lnTo>
                  <a:pt x="1430" y="737"/>
                </a:lnTo>
                <a:lnTo>
                  <a:pt x="1425" y="735"/>
                </a:lnTo>
                <a:lnTo>
                  <a:pt x="1422" y="732"/>
                </a:lnTo>
                <a:lnTo>
                  <a:pt x="1416" y="721"/>
                </a:lnTo>
                <a:lnTo>
                  <a:pt x="1413" y="710"/>
                </a:lnTo>
                <a:lnTo>
                  <a:pt x="1404" y="706"/>
                </a:lnTo>
                <a:lnTo>
                  <a:pt x="1399" y="692"/>
                </a:lnTo>
                <a:lnTo>
                  <a:pt x="1395" y="679"/>
                </a:lnTo>
                <a:lnTo>
                  <a:pt x="1386" y="674"/>
                </a:lnTo>
                <a:lnTo>
                  <a:pt x="1385" y="670"/>
                </a:lnTo>
                <a:lnTo>
                  <a:pt x="1382" y="667"/>
                </a:lnTo>
                <a:lnTo>
                  <a:pt x="1378" y="662"/>
                </a:lnTo>
                <a:lnTo>
                  <a:pt x="1375" y="658"/>
                </a:lnTo>
                <a:lnTo>
                  <a:pt x="1370" y="653"/>
                </a:lnTo>
                <a:lnTo>
                  <a:pt x="1367" y="649"/>
                </a:lnTo>
                <a:lnTo>
                  <a:pt x="1364" y="643"/>
                </a:lnTo>
                <a:lnTo>
                  <a:pt x="1364" y="639"/>
                </a:lnTo>
                <a:lnTo>
                  <a:pt x="1359" y="636"/>
                </a:lnTo>
                <a:lnTo>
                  <a:pt x="1355" y="634"/>
                </a:lnTo>
                <a:lnTo>
                  <a:pt x="1350" y="625"/>
                </a:lnTo>
                <a:lnTo>
                  <a:pt x="1346" y="616"/>
                </a:lnTo>
                <a:lnTo>
                  <a:pt x="1342" y="614"/>
                </a:lnTo>
                <a:lnTo>
                  <a:pt x="1337" y="607"/>
                </a:lnTo>
                <a:lnTo>
                  <a:pt x="1329" y="599"/>
                </a:lnTo>
                <a:lnTo>
                  <a:pt x="1321" y="588"/>
                </a:lnTo>
                <a:lnTo>
                  <a:pt x="1313" y="577"/>
                </a:lnTo>
                <a:lnTo>
                  <a:pt x="1307" y="567"/>
                </a:lnTo>
                <a:lnTo>
                  <a:pt x="1302" y="558"/>
                </a:lnTo>
                <a:lnTo>
                  <a:pt x="1301" y="554"/>
                </a:lnTo>
                <a:lnTo>
                  <a:pt x="1297" y="549"/>
                </a:lnTo>
                <a:lnTo>
                  <a:pt x="1292" y="547"/>
                </a:lnTo>
                <a:lnTo>
                  <a:pt x="1288" y="545"/>
                </a:lnTo>
                <a:lnTo>
                  <a:pt x="1288" y="536"/>
                </a:lnTo>
                <a:lnTo>
                  <a:pt x="1283" y="534"/>
                </a:lnTo>
                <a:lnTo>
                  <a:pt x="1279" y="532"/>
                </a:lnTo>
                <a:lnTo>
                  <a:pt x="1277" y="525"/>
                </a:lnTo>
                <a:lnTo>
                  <a:pt x="1274" y="518"/>
                </a:lnTo>
                <a:lnTo>
                  <a:pt x="1265" y="518"/>
                </a:lnTo>
                <a:lnTo>
                  <a:pt x="1263" y="514"/>
                </a:lnTo>
                <a:lnTo>
                  <a:pt x="1261" y="509"/>
                </a:lnTo>
                <a:lnTo>
                  <a:pt x="1258" y="508"/>
                </a:lnTo>
                <a:lnTo>
                  <a:pt x="1254" y="506"/>
                </a:lnTo>
                <a:lnTo>
                  <a:pt x="1252" y="504"/>
                </a:lnTo>
                <a:lnTo>
                  <a:pt x="1252" y="500"/>
                </a:lnTo>
                <a:lnTo>
                  <a:pt x="1248" y="496"/>
                </a:lnTo>
                <a:lnTo>
                  <a:pt x="1243" y="491"/>
                </a:lnTo>
                <a:lnTo>
                  <a:pt x="1239" y="489"/>
                </a:lnTo>
                <a:lnTo>
                  <a:pt x="1234" y="487"/>
                </a:lnTo>
                <a:lnTo>
                  <a:pt x="1234" y="478"/>
                </a:lnTo>
                <a:lnTo>
                  <a:pt x="1230" y="476"/>
                </a:lnTo>
                <a:lnTo>
                  <a:pt x="1225" y="474"/>
                </a:lnTo>
                <a:lnTo>
                  <a:pt x="1224" y="469"/>
                </a:lnTo>
                <a:lnTo>
                  <a:pt x="1222" y="465"/>
                </a:lnTo>
                <a:lnTo>
                  <a:pt x="1220" y="461"/>
                </a:lnTo>
                <a:lnTo>
                  <a:pt x="1216" y="460"/>
                </a:lnTo>
                <a:lnTo>
                  <a:pt x="1215" y="457"/>
                </a:lnTo>
                <a:lnTo>
                  <a:pt x="1214" y="452"/>
                </a:lnTo>
                <a:lnTo>
                  <a:pt x="1212" y="448"/>
                </a:lnTo>
                <a:lnTo>
                  <a:pt x="1209" y="443"/>
                </a:lnTo>
                <a:lnTo>
                  <a:pt x="1203" y="437"/>
                </a:lnTo>
                <a:lnTo>
                  <a:pt x="1198" y="433"/>
                </a:lnTo>
                <a:lnTo>
                  <a:pt x="1196" y="399"/>
                </a:lnTo>
                <a:lnTo>
                  <a:pt x="1193" y="361"/>
                </a:lnTo>
                <a:lnTo>
                  <a:pt x="1187" y="321"/>
                </a:lnTo>
                <a:lnTo>
                  <a:pt x="1181" y="278"/>
                </a:lnTo>
                <a:lnTo>
                  <a:pt x="1174" y="236"/>
                </a:lnTo>
                <a:lnTo>
                  <a:pt x="1168" y="193"/>
                </a:lnTo>
                <a:lnTo>
                  <a:pt x="1166" y="173"/>
                </a:lnTo>
                <a:lnTo>
                  <a:pt x="1164" y="153"/>
                </a:lnTo>
                <a:lnTo>
                  <a:pt x="1163" y="134"/>
                </a:lnTo>
                <a:lnTo>
                  <a:pt x="1163" y="116"/>
                </a:lnTo>
                <a:lnTo>
                  <a:pt x="1159" y="116"/>
                </a:lnTo>
                <a:lnTo>
                  <a:pt x="1158" y="114"/>
                </a:lnTo>
                <a:lnTo>
                  <a:pt x="1158" y="111"/>
                </a:lnTo>
                <a:lnTo>
                  <a:pt x="1158" y="107"/>
                </a:lnTo>
                <a:lnTo>
                  <a:pt x="1136" y="107"/>
                </a:lnTo>
                <a:lnTo>
                  <a:pt x="1135" y="106"/>
                </a:lnTo>
                <a:lnTo>
                  <a:pt x="1132" y="105"/>
                </a:lnTo>
                <a:lnTo>
                  <a:pt x="1127" y="104"/>
                </a:lnTo>
                <a:lnTo>
                  <a:pt x="1121" y="104"/>
                </a:lnTo>
                <a:lnTo>
                  <a:pt x="1111" y="103"/>
                </a:lnTo>
                <a:lnTo>
                  <a:pt x="1105" y="103"/>
                </a:lnTo>
                <a:lnTo>
                  <a:pt x="1104" y="101"/>
                </a:lnTo>
                <a:lnTo>
                  <a:pt x="1101" y="100"/>
                </a:lnTo>
                <a:lnTo>
                  <a:pt x="1099" y="99"/>
                </a:lnTo>
                <a:lnTo>
                  <a:pt x="1096" y="99"/>
                </a:lnTo>
                <a:lnTo>
                  <a:pt x="1092" y="97"/>
                </a:lnTo>
                <a:lnTo>
                  <a:pt x="1085" y="96"/>
                </a:lnTo>
                <a:lnTo>
                  <a:pt x="1073" y="95"/>
                </a:lnTo>
                <a:lnTo>
                  <a:pt x="1061" y="95"/>
                </a:lnTo>
                <a:lnTo>
                  <a:pt x="1036" y="94"/>
                </a:lnTo>
                <a:lnTo>
                  <a:pt x="1020" y="94"/>
                </a:lnTo>
                <a:lnTo>
                  <a:pt x="1019" y="96"/>
                </a:lnTo>
                <a:lnTo>
                  <a:pt x="1018" y="97"/>
                </a:lnTo>
                <a:lnTo>
                  <a:pt x="1017" y="97"/>
                </a:lnTo>
                <a:lnTo>
                  <a:pt x="1013" y="99"/>
                </a:lnTo>
                <a:lnTo>
                  <a:pt x="1008" y="99"/>
                </a:lnTo>
                <a:lnTo>
                  <a:pt x="1000" y="97"/>
                </a:lnTo>
                <a:lnTo>
                  <a:pt x="986" y="95"/>
                </a:lnTo>
                <a:lnTo>
                  <a:pt x="980" y="94"/>
                </a:lnTo>
                <a:lnTo>
                  <a:pt x="972" y="87"/>
                </a:lnTo>
                <a:lnTo>
                  <a:pt x="962" y="81"/>
                </a:lnTo>
                <a:lnTo>
                  <a:pt x="948" y="81"/>
                </a:lnTo>
                <a:lnTo>
                  <a:pt x="948" y="80"/>
                </a:lnTo>
                <a:lnTo>
                  <a:pt x="947" y="78"/>
                </a:lnTo>
                <a:lnTo>
                  <a:pt x="945" y="77"/>
                </a:lnTo>
                <a:lnTo>
                  <a:pt x="943" y="77"/>
                </a:lnTo>
                <a:lnTo>
                  <a:pt x="939" y="76"/>
                </a:lnTo>
                <a:lnTo>
                  <a:pt x="935" y="76"/>
                </a:lnTo>
                <a:lnTo>
                  <a:pt x="934" y="74"/>
                </a:lnTo>
                <a:lnTo>
                  <a:pt x="932" y="73"/>
                </a:lnTo>
                <a:lnTo>
                  <a:pt x="929" y="72"/>
                </a:lnTo>
                <a:lnTo>
                  <a:pt x="926" y="72"/>
                </a:lnTo>
                <a:lnTo>
                  <a:pt x="924" y="67"/>
                </a:lnTo>
                <a:lnTo>
                  <a:pt x="922" y="63"/>
                </a:lnTo>
                <a:lnTo>
                  <a:pt x="917" y="63"/>
                </a:lnTo>
                <a:lnTo>
                  <a:pt x="913" y="61"/>
                </a:lnTo>
                <a:lnTo>
                  <a:pt x="909" y="57"/>
                </a:lnTo>
                <a:lnTo>
                  <a:pt x="908" y="54"/>
                </a:lnTo>
                <a:lnTo>
                  <a:pt x="899" y="54"/>
                </a:lnTo>
                <a:lnTo>
                  <a:pt x="898" y="51"/>
                </a:lnTo>
                <a:lnTo>
                  <a:pt x="897" y="48"/>
                </a:lnTo>
                <a:lnTo>
                  <a:pt x="894" y="46"/>
                </a:lnTo>
                <a:lnTo>
                  <a:pt x="890" y="45"/>
                </a:lnTo>
                <a:lnTo>
                  <a:pt x="889" y="42"/>
                </a:lnTo>
                <a:lnTo>
                  <a:pt x="886" y="39"/>
                </a:lnTo>
                <a:lnTo>
                  <a:pt x="881" y="37"/>
                </a:lnTo>
                <a:lnTo>
                  <a:pt x="877" y="36"/>
                </a:lnTo>
                <a:lnTo>
                  <a:pt x="877" y="23"/>
                </a:lnTo>
                <a:lnTo>
                  <a:pt x="873" y="20"/>
                </a:lnTo>
                <a:lnTo>
                  <a:pt x="868" y="18"/>
                </a:lnTo>
                <a:lnTo>
                  <a:pt x="868" y="9"/>
                </a:lnTo>
                <a:lnTo>
                  <a:pt x="859" y="9"/>
                </a:lnTo>
                <a:lnTo>
                  <a:pt x="84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56" name="Freeform 17">
            <a:extLst>
              <a:ext uri="{FF2B5EF4-FFF2-40B4-BE49-F238E27FC236}">
                <a16:creationId xmlns:a16="http://schemas.microsoft.com/office/drawing/2014/main" id="{8007EBE7-BF48-4178-A4C6-E07DD2FD6CC1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451725" y="4187825"/>
            <a:ext cx="389161" cy="193675"/>
          </a:xfrm>
          <a:custGeom>
            <a:avLst/>
            <a:gdLst/>
            <a:ahLst/>
            <a:cxnLst>
              <a:cxn ang="0">
                <a:pos x="1359" y="1032"/>
              </a:cxn>
              <a:cxn ang="0">
                <a:pos x="1416" y="1097"/>
              </a:cxn>
              <a:cxn ang="0">
                <a:pos x="1474" y="1161"/>
              </a:cxn>
              <a:cxn ang="0">
                <a:pos x="1498" y="1178"/>
              </a:cxn>
              <a:cxn ang="0">
                <a:pos x="1536" y="1201"/>
              </a:cxn>
              <a:cxn ang="0">
                <a:pos x="1587" y="1174"/>
              </a:cxn>
              <a:cxn ang="0">
                <a:pos x="1611" y="1149"/>
              </a:cxn>
              <a:cxn ang="0">
                <a:pos x="1810" y="1051"/>
              </a:cxn>
              <a:cxn ang="0">
                <a:pos x="2087" y="925"/>
              </a:cxn>
              <a:cxn ang="0">
                <a:pos x="2144" y="786"/>
              </a:cxn>
              <a:cxn ang="0">
                <a:pos x="2087" y="709"/>
              </a:cxn>
              <a:cxn ang="0">
                <a:pos x="2057" y="682"/>
              </a:cxn>
              <a:cxn ang="0">
                <a:pos x="1993" y="646"/>
              </a:cxn>
              <a:cxn ang="0">
                <a:pos x="1829" y="638"/>
              </a:cxn>
              <a:cxn ang="0">
                <a:pos x="1722" y="577"/>
              </a:cxn>
              <a:cxn ang="0">
                <a:pos x="1666" y="533"/>
              </a:cxn>
              <a:cxn ang="0">
                <a:pos x="1580" y="471"/>
              </a:cxn>
              <a:cxn ang="0">
                <a:pos x="1561" y="446"/>
              </a:cxn>
              <a:cxn ang="0">
                <a:pos x="1535" y="391"/>
              </a:cxn>
              <a:cxn ang="0">
                <a:pos x="1535" y="230"/>
              </a:cxn>
              <a:cxn ang="0">
                <a:pos x="1337" y="241"/>
              </a:cxn>
              <a:cxn ang="0">
                <a:pos x="1287" y="269"/>
              </a:cxn>
              <a:cxn ang="0">
                <a:pos x="1230" y="303"/>
              </a:cxn>
              <a:cxn ang="0">
                <a:pos x="1179" y="356"/>
              </a:cxn>
              <a:cxn ang="0">
                <a:pos x="1132" y="260"/>
              </a:cxn>
              <a:cxn ang="0">
                <a:pos x="1095" y="223"/>
              </a:cxn>
              <a:cxn ang="0">
                <a:pos x="1065" y="218"/>
              </a:cxn>
              <a:cxn ang="0">
                <a:pos x="1008" y="254"/>
              </a:cxn>
              <a:cxn ang="0">
                <a:pos x="865" y="267"/>
              </a:cxn>
              <a:cxn ang="0">
                <a:pos x="806" y="170"/>
              </a:cxn>
              <a:cxn ang="0">
                <a:pos x="680" y="113"/>
              </a:cxn>
              <a:cxn ang="0">
                <a:pos x="525" y="89"/>
              </a:cxn>
              <a:cxn ang="0">
                <a:pos x="369" y="96"/>
              </a:cxn>
              <a:cxn ang="0">
                <a:pos x="270" y="51"/>
              </a:cxn>
              <a:cxn ang="0">
                <a:pos x="210" y="2"/>
              </a:cxn>
              <a:cxn ang="0">
                <a:pos x="15" y="28"/>
              </a:cxn>
              <a:cxn ang="0">
                <a:pos x="38" y="316"/>
              </a:cxn>
              <a:cxn ang="0">
                <a:pos x="72" y="393"/>
              </a:cxn>
              <a:cxn ang="0">
                <a:pos x="107" y="435"/>
              </a:cxn>
              <a:cxn ang="0">
                <a:pos x="155" y="494"/>
              </a:cxn>
              <a:cxn ang="0">
                <a:pos x="212" y="570"/>
              </a:cxn>
              <a:cxn ang="0">
                <a:pos x="267" y="652"/>
              </a:cxn>
              <a:cxn ang="0">
                <a:pos x="298" y="769"/>
              </a:cxn>
              <a:cxn ang="0">
                <a:pos x="330" y="947"/>
              </a:cxn>
              <a:cxn ang="0">
                <a:pos x="491" y="946"/>
              </a:cxn>
              <a:cxn ang="0">
                <a:pos x="560" y="912"/>
              </a:cxn>
              <a:cxn ang="0">
                <a:pos x="604" y="877"/>
              </a:cxn>
              <a:cxn ang="0">
                <a:pos x="615" y="845"/>
              </a:cxn>
              <a:cxn ang="0">
                <a:pos x="658" y="697"/>
              </a:cxn>
              <a:cxn ang="0">
                <a:pos x="628" y="606"/>
              </a:cxn>
              <a:cxn ang="0">
                <a:pos x="766" y="606"/>
              </a:cxn>
              <a:cxn ang="0">
                <a:pos x="902" y="652"/>
              </a:cxn>
              <a:cxn ang="0">
                <a:pos x="1017" y="687"/>
              </a:cxn>
              <a:cxn ang="0">
                <a:pos x="1191" y="731"/>
              </a:cxn>
              <a:cxn ang="0">
                <a:pos x="1232" y="754"/>
              </a:cxn>
              <a:cxn ang="0">
                <a:pos x="1364" y="807"/>
              </a:cxn>
              <a:cxn ang="0">
                <a:pos x="1391" y="825"/>
              </a:cxn>
              <a:cxn ang="0">
                <a:pos x="1411" y="844"/>
              </a:cxn>
              <a:cxn ang="0">
                <a:pos x="1443" y="894"/>
              </a:cxn>
              <a:cxn ang="0">
                <a:pos x="1441" y="917"/>
              </a:cxn>
            </a:cxnLst>
            <a:rect l="0" t="0" r="r" b="b"/>
            <a:pathLst>
              <a:path w="2153" h="1210">
                <a:moveTo>
                  <a:pt x="1424" y="931"/>
                </a:moveTo>
                <a:lnTo>
                  <a:pt x="1409" y="951"/>
                </a:lnTo>
                <a:lnTo>
                  <a:pt x="1399" y="962"/>
                </a:lnTo>
                <a:lnTo>
                  <a:pt x="1387" y="962"/>
                </a:lnTo>
                <a:lnTo>
                  <a:pt x="1386" y="966"/>
                </a:lnTo>
                <a:lnTo>
                  <a:pt x="1383" y="970"/>
                </a:lnTo>
                <a:lnTo>
                  <a:pt x="1379" y="973"/>
                </a:lnTo>
                <a:lnTo>
                  <a:pt x="1374" y="974"/>
                </a:lnTo>
                <a:lnTo>
                  <a:pt x="1371" y="985"/>
                </a:lnTo>
                <a:lnTo>
                  <a:pt x="1366" y="1008"/>
                </a:lnTo>
                <a:lnTo>
                  <a:pt x="1361" y="1020"/>
                </a:lnTo>
                <a:lnTo>
                  <a:pt x="1359" y="1032"/>
                </a:lnTo>
                <a:lnTo>
                  <a:pt x="1357" y="1045"/>
                </a:lnTo>
                <a:lnTo>
                  <a:pt x="1355" y="1055"/>
                </a:lnTo>
                <a:lnTo>
                  <a:pt x="1362" y="1065"/>
                </a:lnTo>
                <a:lnTo>
                  <a:pt x="1368" y="1079"/>
                </a:lnTo>
                <a:lnTo>
                  <a:pt x="1372" y="1080"/>
                </a:lnTo>
                <a:lnTo>
                  <a:pt x="1378" y="1084"/>
                </a:lnTo>
                <a:lnTo>
                  <a:pt x="1382" y="1087"/>
                </a:lnTo>
                <a:lnTo>
                  <a:pt x="1387" y="1091"/>
                </a:lnTo>
                <a:lnTo>
                  <a:pt x="1411" y="1091"/>
                </a:lnTo>
                <a:lnTo>
                  <a:pt x="1412" y="1094"/>
                </a:lnTo>
                <a:lnTo>
                  <a:pt x="1414" y="1096"/>
                </a:lnTo>
                <a:lnTo>
                  <a:pt x="1416" y="1097"/>
                </a:lnTo>
                <a:lnTo>
                  <a:pt x="1418" y="1097"/>
                </a:lnTo>
                <a:lnTo>
                  <a:pt x="1425" y="1098"/>
                </a:lnTo>
                <a:lnTo>
                  <a:pt x="1430" y="1098"/>
                </a:lnTo>
                <a:lnTo>
                  <a:pt x="1436" y="1105"/>
                </a:lnTo>
                <a:lnTo>
                  <a:pt x="1443" y="1110"/>
                </a:lnTo>
                <a:lnTo>
                  <a:pt x="1445" y="1116"/>
                </a:lnTo>
                <a:lnTo>
                  <a:pt x="1449" y="1123"/>
                </a:lnTo>
                <a:lnTo>
                  <a:pt x="1456" y="1129"/>
                </a:lnTo>
                <a:lnTo>
                  <a:pt x="1462" y="1135"/>
                </a:lnTo>
                <a:lnTo>
                  <a:pt x="1462" y="1147"/>
                </a:lnTo>
                <a:lnTo>
                  <a:pt x="1467" y="1154"/>
                </a:lnTo>
                <a:lnTo>
                  <a:pt x="1474" y="1161"/>
                </a:lnTo>
                <a:lnTo>
                  <a:pt x="1477" y="1161"/>
                </a:lnTo>
                <a:lnTo>
                  <a:pt x="1479" y="1161"/>
                </a:lnTo>
                <a:lnTo>
                  <a:pt x="1479" y="1162"/>
                </a:lnTo>
                <a:lnTo>
                  <a:pt x="1479" y="1163"/>
                </a:lnTo>
                <a:lnTo>
                  <a:pt x="1479" y="1164"/>
                </a:lnTo>
                <a:lnTo>
                  <a:pt x="1481" y="1165"/>
                </a:lnTo>
                <a:lnTo>
                  <a:pt x="1483" y="1166"/>
                </a:lnTo>
                <a:lnTo>
                  <a:pt x="1486" y="1166"/>
                </a:lnTo>
                <a:lnTo>
                  <a:pt x="1487" y="1171"/>
                </a:lnTo>
                <a:lnTo>
                  <a:pt x="1489" y="1175"/>
                </a:lnTo>
                <a:lnTo>
                  <a:pt x="1494" y="1177"/>
                </a:lnTo>
                <a:lnTo>
                  <a:pt x="1498" y="1178"/>
                </a:lnTo>
                <a:lnTo>
                  <a:pt x="1498" y="1182"/>
                </a:lnTo>
                <a:lnTo>
                  <a:pt x="1499" y="1184"/>
                </a:lnTo>
                <a:lnTo>
                  <a:pt x="1501" y="1185"/>
                </a:lnTo>
                <a:lnTo>
                  <a:pt x="1502" y="1185"/>
                </a:lnTo>
                <a:lnTo>
                  <a:pt x="1503" y="1185"/>
                </a:lnTo>
                <a:lnTo>
                  <a:pt x="1504" y="1186"/>
                </a:lnTo>
                <a:lnTo>
                  <a:pt x="1504" y="1187"/>
                </a:lnTo>
                <a:lnTo>
                  <a:pt x="1505" y="1191"/>
                </a:lnTo>
                <a:lnTo>
                  <a:pt x="1512" y="1192"/>
                </a:lnTo>
                <a:lnTo>
                  <a:pt x="1520" y="1194"/>
                </a:lnTo>
                <a:lnTo>
                  <a:pt x="1527" y="1197"/>
                </a:lnTo>
                <a:lnTo>
                  <a:pt x="1536" y="1201"/>
                </a:lnTo>
                <a:lnTo>
                  <a:pt x="1545" y="1204"/>
                </a:lnTo>
                <a:lnTo>
                  <a:pt x="1554" y="1206"/>
                </a:lnTo>
                <a:lnTo>
                  <a:pt x="1563" y="1209"/>
                </a:lnTo>
                <a:lnTo>
                  <a:pt x="1573" y="1210"/>
                </a:lnTo>
                <a:lnTo>
                  <a:pt x="1577" y="1196"/>
                </a:lnTo>
                <a:lnTo>
                  <a:pt x="1579" y="1178"/>
                </a:lnTo>
                <a:lnTo>
                  <a:pt x="1583" y="1178"/>
                </a:lnTo>
                <a:lnTo>
                  <a:pt x="1584" y="1177"/>
                </a:lnTo>
                <a:lnTo>
                  <a:pt x="1585" y="1177"/>
                </a:lnTo>
                <a:lnTo>
                  <a:pt x="1585" y="1175"/>
                </a:lnTo>
                <a:lnTo>
                  <a:pt x="1585" y="1174"/>
                </a:lnTo>
                <a:lnTo>
                  <a:pt x="1587" y="1174"/>
                </a:lnTo>
                <a:lnTo>
                  <a:pt x="1588" y="1173"/>
                </a:lnTo>
                <a:lnTo>
                  <a:pt x="1591" y="1173"/>
                </a:lnTo>
                <a:lnTo>
                  <a:pt x="1592" y="1165"/>
                </a:lnTo>
                <a:lnTo>
                  <a:pt x="1592" y="1161"/>
                </a:lnTo>
                <a:lnTo>
                  <a:pt x="1593" y="1159"/>
                </a:lnTo>
                <a:lnTo>
                  <a:pt x="1594" y="1158"/>
                </a:lnTo>
                <a:lnTo>
                  <a:pt x="1596" y="1158"/>
                </a:lnTo>
                <a:lnTo>
                  <a:pt x="1597" y="1158"/>
                </a:lnTo>
                <a:lnTo>
                  <a:pt x="1598" y="1157"/>
                </a:lnTo>
                <a:lnTo>
                  <a:pt x="1598" y="1154"/>
                </a:lnTo>
                <a:lnTo>
                  <a:pt x="1604" y="1153"/>
                </a:lnTo>
                <a:lnTo>
                  <a:pt x="1611" y="1149"/>
                </a:lnTo>
                <a:lnTo>
                  <a:pt x="1618" y="1145"/>
                </a:lnTo>
                <a:lnTo>
                  <a:pt x="1626" y="1139"/>
                </a:lnTo>
                <a:lnTo>
                  <a:pt x="1633" y="1134"/>
                </a:lnTo>
                <a:lnTo>
                  <a:pt x="1642" y="1129"/>
                </a:lnTo>
                <a:lnTo>
                  <a:pt x="1649" y="1125"/>
                </a:lnTo>
                <a:lnTo>
                  <a:pt x="1657" y="1123"/>
                </a:lnTo>
                <a:lnTo>
                  <a:pt x="1678" y="1118"/>
                </a:lnTo>
                <a:lnTo>
                  <a:pt x="1709" y="1109"/>
                </a:lnTo>
                <a:lnTo>
                  <a:pt x="1740" y="1101"/>
                </a:lnTo>
                <a:lnTo>
                  <a:pt x="1760" y="1098"/>
                </a:lnTo>
                <a:lnTo>
                  <a:pt x="1777" y="1079"/>
                </a:lnTo>
                <a:lnTo>
                  <a:pt x="1810" y="1051"/>
                </a:lnTo>
                <a:lnTo>
                  <a:pt x="1831" y="1036"/>
                </a:lnTo>
                <a:lnTo>
                  <a:pt x="1856" y="1019"/>
                </a:lnTo>
                <a:lnTo>
                  <a:pt x="1869" y="1011"/>
                </a:lnTo>
                <a:lnTo>
                  <a:pt x="1884" y="1003"/>
                </a:lnTo>
                <a:lnTo>
                  <a:pt x="1899" y="994"/>
                </a:lnTo>
                <a:lnTo>
                  <a:pt x="1916" y="988"/>
                </a:lnTo>
                <a:lnTo>
                  <a:pt x="1953" y="972"/>
                </a:lnTo>
                <a:lnTo>
                  <a:pt x="1987" y="959"/>
                </a:lnTo>
                <a:lnTo>
                  <a:pt x="2017" y="947"/>
                </a:lnTo>
                <a:lnTo>
                  <a:pt x="2044" y="940"/>
                </a:lnTo>
                <a:lnTo>
                  <a:pt x="2067" y="932"/>
                </a:lnTo>
                <a:lnTo>
                  <a:pt x="2087" y="925"/>
                </a:lnTo>
                <a:lnTo>
                  <a:pt x="2102" y="920"/>
                </a:lnTo>
                <a:lnTo>
                  <a:pt x="2116" y="914"/>
                </a:lnTo>
                <a:lnTo>
                  <a:pt x="2122" y="909"/>
                </a:lnTo>
                <a:lnTo>
                  <a:pt x="2128" y="904"/>
                </a:lnTo>
                <a:lnTo>
                  <a:pt x="2131" y="897"/>
                </a:lnTo>
                <a:lnTo>
                  <a:pt x="2132" y="889"/>
                </a:lnTo>
                <a:lnTo>
                  <a:pt x="2135" y="864"/>
                </a:lnTo>
                <a:lnTo>
                  <a:pt x="2135" y="820"/>
                </a:lnTo>
                <a:lnTo>
                  <a:pt x="2136" y="811"/>
                </a:lnTo>
                <a:lnTo>
                  <a:pt x="2138" y="802"/>
                </a:lnTo>
                <a:lnTo>
                  <a:pt x="2140" y="793"/>
                </a:lnTo>
                <a:lnTo>
                  <a:pt x="2144" y="786"/>
                </a:lnTo>
                <a:lnTo>
                  <a:pt x="2147" y="777"/>
                </a:lnTo>
                <a:lnTo>
                  <a:pt x="2149" y="769"/>
                </a:lnTo>
                <a:lnTo>
                  <a:pt x="2151" y="761"/>
                </a:lnTo>
                <a:lnTo>
                  <a:pt x="2153" y="753"/>
                </a:lnTo>
                <a:lnTo>
                  <a:pt x="2147" y="753"/>
                </a:lnTo>
                <a:lnTo>
                  <a:pt x="2142" y="752"/>
                </a:lnTo>
                <a:lnTo>
                  <a:pt x="2137" y="749"/>
                </a:lnTo>
                <a:lnTo>
                  <a:pt x="2131" y="747"/>
                </a:lnTo>
                <a:lnTo>
                  <a:pt x="2121" y="738"/>
                </a:lnTo>
                <a:lnTo>
                  <a:pt x="2110" y="729"/>
                </a:lnTo>
                <a:lnTo>
                  <a:pt x="2099" y="719"/>
                </a:lnTo>
                <a:lnTo>
                  <a:pt x="2087" y="709"/>
                </a:lnTo>
                <a:lnTo>
                  <a:pt x="2081" y="704"/>
                </a:lnTo>
                <a:lnTo>
                  <a:pt x="2076" y="701"/>
                </a:lnTo>
                <a:lnTo>
                  <a:pt x="2069" y="697"/>
                </a:lnTo>
                <a:lnTo>
                  <a:pt x="2063" y="695"/>
                </a:lnTo>
                <a:lnTo>
                  <a:pt x="2063" y="691"/>
                </a:lnTo>
                <a:lnTo>
                  <a:pt x="2062" y="690"/>
                </a:lnTo>
                <a:lnTo>
                  <a:pt x="2061" y="688"/>
                </a:lnTo>
                <a:lnTo>
                  <a:pt x="2060" y="688"/>
                </a:lnTo>
                <a:lnTo>
                  <a:pt x="2059" y="688"/>
                </a:lnTo>
                <a:lnTo>
                  <a:pt x="2058" y="687"/>
                </a:lnTo>
                <a:lnTo>
                  <a:pt x="2058" y="686"/>
                </a:lnTo>
                <a:lnTo>
                  <a:pt x="2057" y="682"/>
                </a:lnTo>
                <a:lnTo>
                  <a:pt x="2044" y="682"/>
                </a:lnTo>
                <a:lnTo>
                  <a:pt x="2044" y="680"/>
                </a:lnTo>
                <a:lnTo>
                  <a:pt x="2042" y="677"/>
                </a:lnTo>
                <a:lnTo>
                  <a:pt x="2039" y="674"/>
                </a:lnTo>
                <a:lnTo>
                  <a:pt x="2034" y="671"/>
                </a:lnTo>
                <a:lnTo>
                  <a:pt x="2026" y="666"/>
                </a:lnTo>
                <a:lnTo>
                  <a:pt x="2020" y="664"/>
                </a:lnTo>
                <a:lnTo>
                  <a:pt x="2017" y="659"/>
                </a:lnTo>
                <a:lnTo>
                  <a:pt x="2014" y="656"/>
                </a:lnTo>
                <a:lnTo>
                  <a:pt x="2010" y="653"/>
                </a:lnTo>
                <a:lnTo>
                  <a:pt x="2004" y="649"/>
                </a:lnTo>
                <a:lnTo>
                  <a:pt x="1993" y="646"/>
                </a:lnTo>
                <a:lnTo>
                  <a:pt x="1980" y="644"/>
                </a:lnTo>
                <a:lnTo>
                  <a:pt x="1965" y="643"/>
                </a:lnTo>
                <a:lnTo>
                  <a:pt x="1948" y="643"/>
                </a:lnTo>
                <a:lnTo>
                  <a:pt x="1932" y="644"/>
                </a:lnTo>
                <a:lnTo>
                  <a:pt x="1915" y="644"/>
                </a:lnTo>
                <a:lnTo>
                  <a:pt x="1897" y="645"/>
                </a:lnTo>
                <a:lnTo>
                  <a:pt x="1880" y="645"/>
                </a:lnTo>
                <a:lnTo>
                  <a:pt x="1863" y="645"/>
                </a:lnTo>
                <a:lnTo>
                  <a:pt x="1849" y="644"/>
                </a:lnTo>
                <a:lnTo>
                  <a:pt x="1842" y="643"/>
                </a:lnTo>
                <a:lnTo>
                  <a:pt x="1836" y="641"/>
                </a:lnTo>
                <a:lnTo>
                  <a:pt x="1829" y="638"/>
                </a:lnTo>
                <a:lnTo>
                  <a:pt x="1824" y="636"/>
                </a:lnTo>
                <a:lnTo>
                  <a:pt x="1819" y="633"/>
                </a:lnTo>
                <a:lnTo>
                  <a:pt x="1815" y="629"/>
                </a:lnTo>
                <a:lnTo>
                  <a:pt x="1811" y="625"/>
                </a:lnTo>
                <a:lnTo>
                  <a:pt x="1809" y="620"/>
                </a:lnTo>
                <a:lnTo>
                  <a:pt x="1784" y="620"/>
                </a:lnTo>
                <a:lnTo>
                  <a:pt x="1776" y="614"/>
                </a:lnTo>
                <a:lnTo>
                  <a:pt x="1757" y="598"/>
                </a:lnTo>
                <a:lnTo>
                  <a:pt x="1747" y="590"/>
                </a:lnTo>
                <a:lnTo>
                  <a:pt x="1737" y="584"/>
                </a:lnTo>
                <a:lnTo>
                  <a:pt x="1728" y="579"/>
                </a:lnTo>
                <a:lnTo>
                  <a:pt x="1722" y="577"/>
                </a:lnTo>
                <a:lnTo>
                  <a:pt x="1716" y="570"/>
                </a:lnTo>
                <a:lnTo>
                  <a:pt x="1715" y="567"/>
                </a:lnTo>
                <a:lnTo>
                  <a:pt x="1715" y="566"/>
                </a:lnTo>
                <a:lnTo>
                  <a:pt x="1714" y="565"/>
                </a:lnTo>
                <a:lnTo>
                  <a:pt x="1713" y="565"/>
                </a:lnTo>
                <a:lnTo>
                  <a:pt x="1712" y="565"/>
                </a:lnTo>
                <a:lnTo>
                  <a:pt x="1710" y="563"/>
                </a:lnTo>
                <a:lnTo>
                  <a:pt x="1709" y="562"/>
                </a:lnTo>
                <a:lnTo>
                  <a:pt x="1709" y="558"/>
                </a:lnTo>
                <a:lnTo>
                  <a:pt x="1694" y="552"/>
                </a:lnTo>
                <a:lnTo>
                  <a:pt x="1678" y="546"/>
                </a:lnTo>
                <a:lnTo>
                  <a:pt x="1666" y="533"/>
                </a:lnTo>
                <a:lnTo>
                  <a:pt x="1654" y="521"/>
                </a:lnTo>
                <a:lnTo>
                  <a:pt x="1635" y="521"/>
                </a:lnTo>
                <a:lnTo>
                  <a:pt x="1622" y="509"/>
                </a:lnTo>
                <a:lnTo>
                  <a:pt x="1610" y="509"/>
                </a:lnTo>
                <a:lnTo>
                  <a:pt x="1608" y="503"/>
                </a:lnTo>
                <a:lnTo>
                  <a:pt x="1603" y="497"/>
                </a:lnTo>
                <a:lnTo>
                  <a:pt x="1597" y="492"/>
                </a:lnTo>
                <a:lnTo>
                  <a:pt x="1591" y="490"/>
                </a:lnTo>
                <a:lnTo>
                  <a:pt x="1589" y="481"/>
                </a:lnTo>
                <a:lnTo>
                  <a:pt x="1585" y="471"/>
                </a:lnTo>
                <a:lnTo>
                  <a:pt x="1582" y="471"/>
                </a:lnTo>
                <a:lnTo>
                  <a:pt x="1580" y="471"/>
                </a:lnTo>
                <a:lnTo>
                  <a:pt x="1579" y="470"/>
                </a:lnTo>
                <a:lnTo>
                  <a:pt x="1579" y="469"/>
                </a:lnTo>
                <a:lnTo>
                  <a:pt x="1579" y="468"/>
                </a:lnTo>
                <a:lnTo>
                  <a:pt x="1579" y="466"/>
                </a:lnTo>
                <a:lnTo>
                  <a:pt x="1577" y="465"/>
                </a:lnTo>
                <a:lnTo>
                  <a:pt x="1573" y="465"/>
                </a:lnTo>
                <a:lnTo>
                  <a:pt x="1572" y="460"/>
                </a:lnTo>
                <a:lnTo>
                  <a:pt x="1569" y="453"/>
                </a:lnTo>
                <a:lnTo>
                  <a:pt x="1568" y="451"/>
                </a:lnTo>
                <a:lnTo>
                  <a:pt x="1565" y="449"/>
                </a:lnTo>
                <a:lnTo>
                  <a:pt x="1563" y="447"/>
                </a:lnTo>
                <a:lnTo>
                  <a:pt x="1561" y="446"/>
                </a:lnTo>
                <a:lnTo>
                  <a:pt x="1561" y="434"/>
                </a:lnTo>
                <a:lnTo>
                  <a:pt x="1549" y="434"/>
                </a:lnTo>
                <a:lnTo>
                  <a:pt x="1549" y="422"/>
                </a:lnTo>
                <a:lnTo>
                  <a:pt x="1544" y="422"/>
                </a:lnTo>
                <a:lnTo>
                  <a:pt x="1543" y="421"/>
                </a:lnTo>
                <a:lnTo>
                  <a:pt x="1542" y="420"/>
                </a:lnTo>
                <a:lnTo>
                  <a:pt x="1542" y="418"/>
                </a:lnTo>
                <a:lnTo>
                  <a:pt x="1542" y="417"/>
                </a:lnTo>
                <a:lnTo>
                  <a:pt x="1541" y="416"/>
                </a:lnTo>
                <a:lnTo>
                  <a:pt x="1540" y="416"/>
                </a:lnTo>
                <a:lnTo>
                  <a:pt x="1535" y="415"/>
                </a:lnTo>
                <a:lnTo>
                  <a:pt x="1535" y="391"/>
                </a:lnTo>
                <a:lnTo>
                  <a:pt x="1534" y="385"/>
                </a:lnTo>
                <a:lnTo>
                  <a:pt x="1532" y="370"/>
                </a:lnTo>
                <a:lnTo>
                  <a:pt x="1531" y="348"/>
                </a:lnTo>
                <a:lnTo>
                  <a:pt x="1531" y="324"/>
                </a:lnTo>
                <a:lnTo>
                  <a:pt x="1530" y="273"/>
                </a:lnTo>
                <a:lnTo>
                  <a:pt x="1530" y="242"/>
                </a:lnTo>
                <a:lnTo>
                  <a:pt x="1532" y="242"/>
                </a:lnTo>
                <a:lnTo>
                  <a:pt x="1533" y="241"/>
                </a:lnTo>
                <a:lnTo>
                  <a:pt x="1534" y="240"/>
                </a:lnTo>
                <a:lnTo>
                  <a:pt x="1535" y="238"/>
                </a:lnTo>
                <a:lnTo>
                  <a:pt x="1535" y="234"/>
                </a:lnTo>
                <a:lnTo>
                  <a:pt x="1535" y="230"/>
                </a:lnTo>
                <a:lnTo>
                  <a:pt x="1530" y="223"/>
                </a:lnTo>
                <a:lnTo>
                  <a:pt x="1523" y="218"/>
                </a:lnTo>
                <a:lnTo>
                  <a:pt x="1499" y="218"/>
                </a:lnTo>
                <a:lnTo>
                  <a:pt x="1475" y="220"/>
                </a:lnTo>
                <a:lnTo>
                  <a:pt x="1450" y="223"/>
                </a:lnTo>
                <a:lnTo>
                  <a:pt x="1426" y="226"/>
                </a:lnTo>
                <a:lnTo>
                  <a:pt x="1401" y="230"/>
                </a:lnTo>
                <a:lnTo>
                  <a:pt x="1379" y="233"/>
                </a:lnTo>
                <a:lnTo>
                  <a:pt x="1357" y="234"/>
                </a:lnTo>
                <a:lnTo>
                  <a:pt x="1338" y="235"/>
                </a:lnTo>
                <a:lnTo>
                  <a:pt x="1337" y="239"/>
                </a:lnTo>
                <a:lnTo>
                  <a:pt x="1337" y="241"/>
                </a:lnTo>
                <a:lnTo>
                  <a:pt x="1335" y="242"/>
                </a:lnTo>
                <a:lnTo>
                  <a:pt x="1334" y="242"/>
                </a:lnTo>
                <a:lnTo>
                  <a:pt x="1333" y="242"/>
                </a:lnTo>
                <a:lnTo>
                  <a:pt x="1332" y="242"/>
                </a:lnTo>
                <a:lnTo>
                  <a:pt x="1331" y="244"/>
                </a:lnTo>
                <a:lnTo>
                  <a:pt x="1331" y="248"/>
                </a:lnTo>
                <a:lnTo>
                  <a:pt x="1325" y="249"/>
                </a:lnTo>
                <a:lnTo>
                  <a:pt x="1318" y="251"/>
                </a:lnTo>
                <a:lnTo>
                  <a:pt x="1310" y="254"/>
                </a:lnTo>
                <a:lnTo>
                  <a:pt x="1302" y="259"/>
                </a:lnTo>
                <a:lnTo>
                  <a:pt x="1294" y="263"/>
                </a:lnTo>
                <a:lnTo>
                  <a:pt x="1287" y="269"/>
                </a:lnTo>
                <a:lnTo>
                  <a:pt x="1285" y="271"/>
                </a:lnTo>
                <a:lnTo>
                  <a:pt x="1283" y="274"/>
                </a:lnTo>
                <a:lnTo>
                  <a:pt x="1282" y="277"/>
                </a:lnTo>
                <a:lnTo>
                  <a:pt x="1281" y="279"/>
                </a:lnTo>
                <a:lnTo>
                  <a:pt x="1268" y="279"/>
                </a:lnTo>
                <a:lnTo>
                  <a:pt x="1263" y="286"/>
                </a:lnTo>
                <a:lnTo>
                  <a:pt x="1263" y="298"/>
                </a:lnTo>
                <a:lnTo>
                  <a:pt x="1251" y="298"/>
                </a:lnTo>
                <a:lnTo>
                  <a:pt x="1248" y="300"/>
                </a:lnTo>
                <a:lnTo>
                  <a:pt x="1244" y="301"/>
                </a:lnTo>
                <a:lnTo>
                  <a:pt x="1238" y="302"/>
                </a:lnTo>
                <a:lnTo>
                  <a:pt x="1230" y="303"/>
                </a:lnTo>
                <a:lnTo>
                  <a:pt x="1216" y="303"/>
                </a:lnTo>
                <a:lnTo>
                  <a:pt x="1207" y="303"/>
                </a:lnTo>
                <a:lnTo>
                  <a:pt x="1207" y="316"/>
                </a:lnTo>
                <a:lnTo>
                  <a:pt x="1205" y="318"/>
                </a:lnTo>
                <a:lnTo>
                  <a:pt x="1204" y="322"/>
                </a:lnTo>
                <a:lnTo>
                  <a:pt x="1203" y="328"/>
                </a:lnTo>
                <a:lnTo>
                  <a:pt x="1201" y="336"/>
                </a:lnTo>
                <a:lnTo>
                  <a:pt x="1200" y="350"/>
                </a:lnTo>
                <a:lnTo>
                  <a:pt x="1200" y="359"/>
                </a:lnTo>
                <a:lnTo>
                  <a:pt x="1193" y="359"/>
                </a:lnTo>
                <a:lnTo>
                  <a:pt x="1185" y="358"/>
                </a:lnTo>
                <a:lnTo>
                  <a:pt x="1179" y="356"/>
                </a:lnTo>
                <a:lnTo>
                  <a:pt x="1174" y="353"/>
                </a:lnTo>
                <a:lnTo>
                  <a:pt x="1163" y="347"/>
                </a:lnTo>
                <a:lnTo>
                  <a:pt x="1151" y="341"/>
                </a:lnTo>
                <a:lnTo>
                  <a:pt x="1151" y="298"/>
                </a:lnTo>
                <a:lnTo>
                  <a:pt x="1149" y="298"/>
                </a:lnTo>
                <a:lnTo>
                  <a:pt x="1148" y="297"/>
                </a:lnTo>
                <a:lnTo>
                  <a:pt x="1147" y="296"/>
                </a:lnTo>
                <a:lnTo>
                  <a:pt x="1146" y="293"/>
                </a:lnTo>
                <a:lnTo>
                  <a:pt x="1145" y="290"/>
                </a:lnTo>
                <a:lnTo>
                  <a:pt x="1145" y="286"/>
                </a:lnTo>
                <a:lnTo>
                  <a:pt x="1139" y="276"/>
                </a:lnTo>
                <a:lnTo>
                  <a:pt x="1132" y="260"/>
                </a:lnTo>
                <a:lnTo>
                  <a:pt x="1130" y="260"/>
                </a:lnTo>
                <a:lnTo>
                  <a:pt x="1127" y="258"/>
                </a:lnTo>
                <a:lnTo>
                  <a:pt x="1123" y="254"/>
                </a:lnTo>
                <a:lnTo>
                  <a:pt x="1121" y="250"/>
                </a:lnTo>
                <a:lnTo>
                  <a:pt x="1115" y="242"/>
                </a:lnTo>
                <a:lnTo>
                  <a:pt x="1113" y="235"/>
                </a:lnTo>
                <a:lnTo>
                  <a:pt x="1110" y="233"/>
                </a:lnTo>
                <a:lnTo>
                  <a:pt x="1107" y="230"/>
                </a:lnTo>
                <a:lnTo>
                  <a:pt x="1104" y="228"/>
                </a:lnTo>
                <a:lnTo>
                  <a:pt x="1102" y="225"/>
                </a:lnTo>
                <a:lnTo>
                  <a:pt x="1099" y="224"/>
                </a:lnTo>
                <a:lnTo>
                  <a:pt x="1095" y="223"/>
                </a:lnTo>
                <a:lnTo>
                  <a:pt x="1094" y="220"/>
                </a:lnTo>
                <a:lnTo>
                  <a:pt x="1094" y="218"/>
                </a:lnTo>
                <a:lnTo>
                  <a:pt x="1093" y="218"/>
                </a:lnTo>
                <a:lnTo>
                  <a:pt x="1092" y="218"/>
                </a:lnTo>
                <a:lnTo>
                  <a:pt x="1091" y="216"/>
                </a:lnTo>
                <a:lnTo>
                  <a:pt x="1090" y="216"/>
                </a:lnTo>
                <a:lnTo>
                  <a:pt x="1089" y="214"/>
                </a:lnTo>
                <a:lnTo>
                  <a:pt x="1089" y="211"/>
                </a:lnTo>
                <a:lnTo>
                  <a:pt x="1082" y="211"/>
                </a:lnTo>
                <a:lnTo>
                  <a:pt x="1076" y="213"/>
                </a:lnTo>
                <a:lnTo>
                  <a:pt x="1070" y="215"/>
                </a:lnTo>
                <a:lnTo>
                  <a:pt x="1065" y="218"/>
                </a:lnTo>
                <a:lnTo>
                  <a:pt x="1055" y="224"/>
                </a:lnTo>
                <a:lnTo>
                  <a:pt x="1045" y="230"/>
                </a:lnTo>
                <a:lnTo>
                  <a:pt x="1044" y="234"/>
                </a:lnTo>
                <a:lnTo>
                  <a:pt x="1042" y="238"/>
                </a:lnTo>
                <a:lnTo>
                  <a:pt x="1037" y="241"/>
                </a:lnTo>
                <a:lnTo>
                  <a:pt x="1033" y="242"/>
                </a:lnTo>
                <a:lnTo>
                  <a:pt x="1032" y="244"/>
                </a:lnTo>
                <a:lnTo>
                  <a:pt x="1030" y="247"/>
                </a:lnTo>
                <a:lnTo>
                  <a:pt x="1027" y="249"/>
                </a:lnTo>
                <a:lnTo>
                  <a:pt x="1023" y="250"/>
                </a:lnTo>
                <a:lnTo>
                  <a:pt x="1015" y="253"/>
                </a:lnTo>
                <a:lnTo>
                  <a:pt x="1008" y="254"/>
                </a:lnTo>
                <a:lnTo>
                  <a:pt x="1008" y="257"/>
                </a:lnTo>
                <a:lnTo>
                  <a:pt x="1007" y="260"/>
                </a:lnTo>
                <a:lnTo>
                  <a:pt x="1005" y="262"/>
                </a:lnTo>
                <a:lnTo>
                  <a:pt x="1003" y="263"/>
                </a:lnTo>
                <a:lnTo>
                  <a:pt x="996" y="267"/>
                </a:lnTo>
                <a:lnTo>
                  <a:pt x="987" y="269"/>
                </a:lnTo>
                <a:lnTo>
                  <a:pt x="977" y="271"/>
                </a:lnTo>
                <a:lnTo>
                  <a:pt x="966" y="272"/>
                </a:lnTo>
                <a:lnTo>
                  <a:pt x="954" y="272"/>
                </a:lnTo>
                <a:lnTo>
                  <a:pt x="941" y="272"/>
                </a:lnTo>
                <a:lnTo>
                  <a:pt x="893" y="269"/>
                </a:lnTo>
                <a:lnTo>
                  <a:pt x="865" y="267"/>
                </a:lnTo>
                <a:lnTo>
                  <a:pt x="859" y="260"/>
                </a:lnTo>
                <a:lnTo>
                  <a:pt x="857" y="251"/>
                </a:lnTo>
                <a:lnTo>
                  <a:pt x="853" y="242"/>
                </a:lnTo>
                <a:lnTo>
                  <a:pt x="841" y="230"/>
                </a:lnTo>
                <a:lnTo>
                  <a:pt x="829" y="218"/>
                </a:lnTo>
                <a:lnTo>
                  <a:pt x="829" y="204"/>
                </a:lnTo>
                <a:lnTo>
                  <a:pt x="816" y="199"/>
                </a:lnTo>
                <a:lnTo>
                  <a:pt x="810" y="192"/>
                </a:lnTo>
                <a:lnTo>
                  <a:pt x="810" y="183"/>
                </a:lnTo>
                <a:lnTo>
                  <a:pt x="810" y="174"/>
                </a:lnTo>
                <a:lnTo>
                  <a:pt x="807" y="173"/>
                </a:lnTo>
                <a:lnTo>
                  <a:pt x="806" y="170"/>
                </a:lnTo>
                <a:lnTo>
                  <a:pt x="804" y="166"/>
                </a:lnTo>
                <a:lnTo>
                  <a:pt x="803" y="161"/>
                </a:lnTo>
                <a:lnTo>
                  <a:pt x="801" y="156"/>
                </a:lnTo>
                <a:lnTo>
                  <a:pt x="798" y="153"/>
                </a:lnTo>
                <a:lnTo>
                  <a:pt x="795" y="149"/>
                </a:lnTo>
                <a:lnTo>
                  <a:pt x="791" y="148"/>
                </a:lnTo>
                <a:lnTo>
                  <a:pt x="791" y="136"/>
                </a:lnTo>
                <a:lnTo>
                  <a:pt x="775" y="124"/>
                </a:lnTo>
                <a:lnTo>
                  <a:pt x="759" y="111"/>
                </a:lnTo>
                <a:lnTo>
                  <a:pt x="744" y="111"/>
                </a:lnTo>
                <a:lnTo>
                  <a:pt x="716" y="113"/>
                </a:lnTo>
                <a:lnTo>
                  <a:pt x="680" y="113"/>
                </a:lnTo>
                <a:lnTo>
                  <a:pt x="642" y="111"/>
                </a:lnTo>
                <a:lnTo>
                  <a:pt x="605" y="109"/>
                </a:lnTo>
                <a:lnTo>
                  <a:pt x="573" y="106"/>
                </a:lnTo>
                <a:lnTo>
                  <a:pt x="561" y="104"/>
                </a:lnTo>
                <a:lnTo>
                  <a:pt x="551" y="100"/>
                </a:lnTo>
                <a:lnTo>
                  <a:pt x="547" y="99"/>
                </a:lnTo>
                <a:lnTo>
                  <a:pt x="545" y="97"/>
                </a:lnTo>
                <a:lnTo>
                  <a:pt x="543" y="95"/>
                </a:lnTo>
                <a:lnTo>
                  <a:pt x="543" y="93"/>
                </a:lnTo>
                <a:lnTo>
                  <a:pt x="537" y="93"/>
                </a:lnTo>
                <a:lnTo>
                  <a:pt x="532" y="91"/>
                </a:lnTo>
                <a:lnTo>
                  <a:pt x="525" y="89"/>
                </a:lnTo>
                <a:lnTo>
                  <a:pt x="519" y="86"/>
                </a:lnTo>
                <a:lnTo>
                  <a:pt x="514" y="82"/>
                </a:lnTo>
                <a:lnTo>
                  <a:pt x="509" y="80"/>
                </a:lnTo>
                <a:lnTo>
                  <a:pt x="507" y="77"/>
                </a:lnTo>
                <a:lnTo>
                  <a:pt x="506" y="75"/>
                </a:lnTo>
                <a:lnTo>
                  <a:pt x="490" y="75"/>
                </a:lnTo>
                <a:lnTo>
                  <a:pt x="476" y="76"/>
                </a:lnTo>
                <a:lnTo>
                  <a:pt x="461" y="77"/>
                </a:lnTo>
                <a:lnTo>
                  <a:pt x="448" y="79"/>
                </a:lnTo>
                <a:lnTo>
                  <a:pt x="421" y="84"/>
                </a:lnTo>
                <a:lnTo>
                  <a:pt x="394" y="90"/>
                </a:lnTo>
                <a:lnTo>
                  <a:pt x="369" y="96"/>
                </a:lnTo>
                <a:lnTo>
                  <a:pt x="342" y="100"/>
                </a:lnTo>
                <a:lnTo>
                  <a:pt x="328" y="103"/>
                </a:lnTo>
                <a:lnTo>
                  <a:pt x="316" y="104"/>
                </a:lnTo>
                <a:lnTo>
                  <a:pt x="302" y="105"/>
                </a:lnTo>
                <a:lnTo>
                  <a:pt x="288" y="105"/>
                </a:lnTo>
                <a:lnTo>
                  <a:pt x="285" y="93"/>
                </a:lnTo>
                <a:lnTo>
                  <a:pt x="282" y="80"/>
                </a:lnTo>
                <a:lnTo>
                  <a:pt x="279" y="79"/>
                </a:lnTo>
                <a:lnTo>
                  <a:pt x="277" y="76"/>
                </a:lnTo>
                <a:lnTo>
                  <a:pt x="275" y="70"/>
                </a:lnTo>
                <a:lnTo>
                  <a:pt x="274" y="65"/>
                </a:lnTo>
                <a:lnTo>
                  <a:pt x="270" y="51"/>
                </a:lnTo>
                <a:lnTo>
                  <a:pt x="269" y="43"/>
                </a:lnTo>
                <a:lnTo>
                  <a:pt x="264" y="38"/>
                </a:lnTo>
                <a:lnTo>
                  <a:pt x="257" y="31"/>
                </a:lnTo>
                <a:lnTo>
                  <a:pt x="250" y="27"/>
                </a:lnTo>
                <a:lnTo>
                  <a:pt x="245" y="24"/>
                </a:lnTo>
                <a:lnTo>
                  <a:pt x="245" y="12"/>
                </a:lnTo>
                <a:lnTo>
                  <a:pt x="238" y="5"/>
                </a:lnTo>
                <a:lnTo>
                  <a:pt x="226" y="5"/>
                </a:lnTo>
                <a:lnTo>
                  <a:pt x="214" y="5"/>
                </a:lnTo>
                <a:lnTo>
                  <a:pt x="214" y="4"/>
                </a:lnTo>
                <a:lnTo>
                  <a:pt x="212" y="3"/>
                </a:lnTo>
                <a:lnTo>
                  <a:pt x="210" y="2"/>
                </a:lnTo>
                <a:lnTo>
                  <a:pt x="207" y="1"/>
                </a:lnTo>
                <a:lnTo>
                  <a:pt x="199" y="0"/>
                </a:lnTo>
                <a:lnTo>
                  <a:pt x="189" y="0"/>
                </a:lnTo>
                <a:lnTo>
                  <a:pt x="162" y="2"/>
                </a:lnTo>
                <a:lnTo>
                  <a:pt x="133" y="7"/>
                </a:lnTo>
                <a:lnTo>
                  <a:pt x="103" y="11"/>
                </a:lnTo>
                <a:lnTo>
                  <a:pt x="77" y="17"/>
                </a:lnTo>
                <a:lnTo>
                  <a:pt x="59" y="21"/>
                </a:lnTo>
                <a:lnTo>
                  <a:pt x="53" y="24"/>
                </a:lnTo>
                <a:lnTo>
                  <a:pt x="40" y="26"/>
                </a:lnTo>
                <a:lnTo>
                  <a:pt x="28" y="27"/>
                </a:lnTo>
                <a:lnTo>
                  <a:pt x="15" y="28"/>
                </a:lnTo>
                <a:lnTo>
                  <a:pt x="0" y="31"/>
                </a:lnTo>
                <a:lnTo>
                  <a:pt x="1" y="32"/>
                </a:lnTo>
                <a:lnTo>
                  <a:pt x="5" y="33"/>
                </a:lnTo>
                <a:lnTo>
                  <a:pt x="5" y="51"/>
                </a:lnTo>
                <a:lnTo>
                  <a:pt x="6" y="70"/>
                </a:lnTo>
                <a:lnTo>
                  <a:pt x="8" y="90"/>
                </a:lnTo>
                <a:lnTo>
                  <a:pt x="10" y="110"/>
                </a:lnTo>
                <a:lnTo>
                  <a:pt x="16" y="153"/>
                </a:lnTo>
                <a:lnTo>
                  <a:pt x="23" y="195"/>
                </a:lnTo>
                <a:lnTo>
                  <a:pt x="29" y="238"/>
                </a:lnTo>
                <a:lnTo>
                  <a:pt x="35" y="278"/>
                </a:lnTo>
                <a:lnTo>
                  <a:pt x="38" y="316"/>
                </a:lnTo>
                <a:lnTo>
                  <a:pt x="40" y="350"/>
                </a:lnTo>
                <a:lnTo>
                  <a:pt x="45" y="354"/>
                </a:lnTo>
                <a:lnTo>
                  <a:pt x="51" y="360"/>
                </a:lnTo>
                <a:lnTo>
                  <a:pt x="54" y="365"/>
                </a:lnTo>
                <a:lnTo>
                  <a:pt x="56" y="369"/>
                </a:lnTo>
                <a:lnTo>
                  <a:pt x="57" y="374"/>
                </a:lnTo>
                <a:lnTo>
                  <a:pt x="58" y="377"/>
                </a:lnTo>
                <a:lnTo>
                  <a:pt x="62" y="378"/>
                </a:lnTo>
                <a:lnTo>
                  <a:pt x="64" y="382"/>
                </a:lnTo>
                <a:lnTo>
                  <a:pt x="66" y="386"/>
                </a:lnTo>
                <a:lnTo>
                  <a:pt x="67" y="391"/>
                </a:lnTo>
                <a:lnTo>
                  <a:pt x="72" y="393"/>
                </a:lnTo>
                <a:lnTo>
                  <a:pt x="76" y="395"/>
                </a:lnTo>
                <a:lnTo>
                  <a:pt x="76" y="404"/>
                </a:lnTo>
                <a:lnTo>
                  <a:pt x="81" y="406"/>
                </a:lnTo>
                <a:lnTo>
                  <a:pt x="85" y="408"/>
                </a:lnTo>
                <a:lnTo>
                  <a:pt x="90" y="413"/>
                </a:lnTo>
                <a:lnTo>
                  <a:pt x="94" y="417"/>
                </a:lnTo>
                <a:lnTo>
                  <a:pt x="94" y="421"/>
                </a:lnTo>
                <a:lnTo>
                  <a:pt x="96" y="423"/>
                </a:lnTo>
                <a:lnTo>
                  <a:pt x="100" y="425"/>
                </a:lnTo>
                <a:lnTo>
                  <a:pt x="103" y="426"/>
                </a:lnTo>
                <a:lnTo>
                  <a:pt x="105" y="431"/>
                </a:lnTo>
                <a:lnTo>
                  <a:pt x="107" y="435"/>
                </a:lnTo>
                <a:lnTo>
                  <a:pt x="116" y="435"/>
                </a:lnTo>
                <a:lnTo>
                  <a:pt x="119" y="442"/>
                </a:lnTo>
                <a:lnTo>
                  <a:pt x="121" y="449"/>
                </a:lnTo>
                <a:lnTo>
                  <a:pt x="125" y="451"/>
                </a:lnTo>
                <a:lnTo>
                  <a:pt x="130" y="453"/>
                </a:lnTo>
                <a:lnTo>
                  <a:pt x="130" y="462"/>
                </a:lnTo>
                <a:lnTo>
                  <a:pt x="134" y="464"/>
                </a:lnTo>
                <a:lnTo>
                  <a:pt x="139" y="466"/>
                </a:lnTo>
                <a:lnTo>
                  <a:pt x="143" y="471"/>
                </a:lnTo>
                <a:lnTo>
                  <a:pt x="144" y="475"/>
                </a:lnTo>
                <a:lnTo>
                  <a:pt x="149" y="484"/>
                </a:lnTo>
                <a:lnTo>
                  <a:pt x="155" y="494"/>
                </a:lnTo>
                <a:lnTo>
                  <a:pt x="163" y="505"/>
                </a:lnTo>
                <a:lnTo>
                  <a:pt x="171" y="516"/>
                </a:lnTo>
                <a:lnTo>
                  <a:pt x="179" y="524"/>
                </a:lnTo>
                <a:lnTo>
                  <a:pt x="184" y="531"/>
                </a:lnTo>
                <a:lnTo>
                  <a:pt x="188" y="533"/>
                </a:lnTo>
                <a:lnTo>
                  <a:pt x="192" y="542"/>
                </a:lnTo>
                <a:lnTo>
                  <a:pt x="197" y="551"/>
                </a:lnTo>
                <a:lnTo>
                  <a:pt x="201" y="553"/>
                </a:lnTo>
                <a:lnTo>
                  <a:pt x="206" y="556"/>
                </a:lnTo>
                <a:lnTo>
                  <a:pt x="206" y="560"/>
                </a:lnTo>
                <a:lnTo>
                  <a:pt x="209" y="566"/>
                </a:lnTo>
                <a:lnTo>
                  <a:pt x="212" y="570"/>
                </a:lnTo>
                <a:lnTo>
                  <a:pt x="217" y="575"/>
                </a:lnTo>
                <a:lnTo>
                  <a:pt x="220" y="579"/>
                </a:lnTo>
                <a:lnTo>
                  <a:pt x="224" y="584"/>
                </a:lnTo>
                <a:lnTo>
                  <a:pt x="227" y="587"/>
                </a:lnTo>
                <a:lnTo>
                  <a:pt x="228" y="591"/>
                </a:lnTo>
                <a:lnTo>
                  <a:pt x="237" y="596"/>
                </a:lnTo>
                <a:lnTo>
                  <a:pt x="241" y="609"/>
                </a:lnTo>
                <a:lnTo>
                  <a:pt x="246" y="623"/>
                </a:lnTo>
                <a:lnTo>
                  <a:pt x="255" y="627"/>
                </a:lnTo>
                <a:lnTo>
                  <a:pt x="258" y="638"/>
                </a:lnTo>
                <a:lnTo>
                  <a:pt x="264" y="649"/>
                </a:lnTo>
                <a:lnTo>
                  <a:pt x="267" y="652"/>
                </a:lnTo>
                <a:lnTo>
                  <a:pt x="272" y="654"/>
                </a:lnTo>
                <a:lnTo>
                  <a:pt x="272" y="663"/>
                </a:lnTo>
                <a:lnTo>
                  <a:pt x="280" y="672"/>
                </a:lnTo>
                <a:lnTo>
                  <a:pt x="282" y="675"/>
                </a:lnTo>
                <a:lnTo>
                  <a:pt x="282" y="677"/>
                </a:lnTo>
                <a:lnTo>
                  <a:pt x="283" y="680"/>
                </a:lnTo>
                <a:lnTo>
                  <a:pt x="285" y="681"/>
                </a:lnTo>
                <a:lnTo>
                  <a:pt x="285" y="696"/>
                </a:lnTo>
                <a:lnTo>
                  <a:pt x="285" y="712"/>
                </a:lnTo>
                <a:lnTo>
                  <a:pt x="294" y="721"/>
                </a:lnTo>
                <a:lnTo>
                  <a:pt x="296" y="744"/>
                </a:lnTo>
                <a:lnTo>
                  <a:pt x="298" y="769"/>
                </a:lnTo>
                <a:lnTo>
                  <a:pt x="302" y="795"/>
                </a:lnTo>
                <a:lnTo>
                  <a:pt x="303" y="818"/>
                </a:lnTo>
                <a:lnTo>
                  <a:pt x="304" y="837"/>
                </a:lnTo>
                <a:lnTo>
                  <a:pt x="304" y="874"/>
                </a:lnTo>
                <a:lnTo>
                  <a:pt x="304" y="893"/>
                </a:lnTo>
                <a:lnTo>
                  <a:pt x="305" y="909"/>
                </a:lnTo>
                <a:lnTo>
                  <a:pt x="306" y="921"/>
                </a:lnTo>
                <a:lnTo>
                  <a:pt x="307" y="925"/>
                </a:lnTo>
                <a:lnTo>
                  <a:pt x="307" y="934"/>
                </a:lnTo>
                <a:lnTo>
                  <a:pt x="312" y="938"/>
                </a:lnTo>
                <a:lnTo>
                  <a:pt x="321" y="938"/>
                </a:lnTo>
                <a:lnTo>
                  <a:pt x="330" y="947"/>
                </a:lnTo>
                <a:lnTo>
                  <a:pt x="339" y="956"/>
                </a:lnTo>
                <a:lnTo>
                  <a:pt x="369" y="959"/>
                </a:lnTo>
                <a:lnTo>
                  <a:pt x="402" y="961"/>
                </a:lnTo>
                <a:lnTo>
                  <a:pt x="438" y="964"/>
                </a:lnTo>
                <a:lnTo>
                  <a:pt x="472" y="965"/>
                </a:lnTo>
                <a:lnTo>
                  <a:pt x="474" y="962"/>
                </a:lnTo>
                <a:lnTo>
                  <a:pt x="476" y="960"/>
                </a:lnTo>
                <a:lnTo>
                  <a:pt x="478" y="957"/>
                </a:lnTo>
                <a:lnTo>
                  <a:pt x="481" y="956"/>
                </a:lnTo>
                <a:lnTo>
                  <a:pt x="484" y="953"/>
                </a:lnTo>
                <a:lnTo>
                  <a:pt x="487" y="950"/>
                </a:lnTo>
                <a:lnTo>
                  <a:pt x="491" y="946"/>
                </a:lnTo>
                <a:lnTo>
                  <a:pt x="495" y="943"/>
                </a:lnTo>
                <a:lnTo>
                  <a:pt x="495" y="934"/>
                </a:lnTo>
                <a:lnTo>
                  <a:pt x="498" y="933"/>
                </a:lnTo>
                <a:lnTo>
                  <a:pt x="502" y="930"/>
                </a:lnTo>
                <a:lnTo>
                  <a:pt x="504" y="927"/>
                </a:lnTo>
                <a:lnTo>
                  <a:pt x="504" y="925"/>
                </a:lnTo>
                <a:lnTo>
                  <a:pt x="507" y="925"/>
                </a:lnTo>
                <a:lnTo>
                  <a:pt x="510" y="925"/>
                </a:lnTo>
                <a:lnTo>
                  <a:pt x="513" y="924"/>
                </a:lnTo>
                <a:lnTo>
                  <a:pt x="513" y="921"/>
                </a:lnTo>
                <a:lnTo>
                  <a:pt x="553" y="921"/>
                </a:lnTo>
                <a:lnTo>
                  <a:pt x="560" y="912"/>
                </a:lnTo>
                <a:lnTo>
                  <a:pt x="566" y="903"/>
                </a:lnTo>
                <a:lnTo>
                  <a:pt x="572" y="903"/>
                </a:lnTo>
                <a:lnTo>
                  <a:pt x="576" y="901"/>
                </a:lnTo>
                <a:lnTo>
                  <a:pt x="581" y="897"/>
                </a:lnTo>
                <a:lnTo>
                  <a:pt x="586" y="894"/>
                </a:lnTo>
                <a:lnTo>
                  <a:pt x="591" y="891"/>
                </a:lnTo>
                <a:lnTo>
                  <a:pt x="594" y="888"/>
                </a:lnTo>
                <a:lnTo>
                  <a:pt x="599" y="886"/>
                </a:lnTo>
                <a:lnTo>
                  <a:pt x="602" y="885"/>
                </a:lnTo>
                <a:lnTo>
                  <a:pt x="602" y="882"/>
                </a:lnTo>
                <a:lnTo>
                  <a:pt x="603" y="879"/>
                </a:lnTo>
                <a:lnTo>
                  <a:pt x="604" y="877"/>
                </a:lnTo>
                <a:lnTo>
                  <a:pt x="606" y="876"/>
                </a:lnTo>
                <a:lnTo>
                  <a:pt x="606" y="873"/>
                </a:lnTo>
                <a:lnTo>
                  <a:pt x="608" y="868"/>
                </a:lnTo>
                <a:lnTo>
                  <a:pt x="608" y="866"/>
                </a:lnTo>
                <a:lnTo>
                  <a:pt x="609" y="865"/>
                </a:lnTo>
                <a:lnTo>
                  <a:pt x="610" y="864"/>
                </a:lnTo>
                <a:lnTo>
                  <a:pt x="611" y="863"/>
                </a:lnTo>
                <a:lnTo>
                  <a:pt x="611" y="859"/>
                </a:lnTo>
                <a:lnTo>
                  <a:pt x="612" y="857"/>
                </a:lnTo>
                <a:lnTo>
                  <a:pt x="613" y="855"/>
                </a:lnTo>
                <a:lnTo>
                  <a:pt x="615" y="854"/>
                </a:lnTo>
                <a:lnTo>
                  <a:pt x="615" y="845"/>
                </a:lnTo>
                <a:lnTo>
                  <a:pt x="620" y="844"/>
                </a:lnTo>
                <a:lnTo>
                  <a:pt x="624" y="838"/>
                </a:lnTo>
                <a:lnTo>
                  <a:pt x="628" y="834"/>
                </a:lnTo>
                <a:lnTo>
                  <a:pt x="629" y="831"/>
                </a:lnTo>
                <a:lnTo>
                  <a:pt x="642" y="831"/>
                </a:lnTo>
                <a:lnTo>
                  <a:pt x="649" y="827"/>
                </a:lnTo>
                <a:lnTo>
                  <a:pt x="657" y="822"/>
                </a:lnTo>
                <a:lnTo>
                  <a:pt x="664" y="820"/>
                </a:lnTo>
                <a:lnTo>
                  <a:pt x="673" y="819"/>
                </a:lnTo>
                <a:lnTo>
                  <a:pt x="673" y="720"/>
                </a:lnTo>
                <a:lnTo>
                  <a:pt x="661" y="713"/>
                </a:lnTo>
                <a:lnTo>
                  <a:pt x="658" y="697"/>
                </a:lnTo>
                <a:lnTo>
                  <a:pt x="654" y="682"/>
                </a:lnTo>
                <a:lnTo>
                  <a:pt x="642" y="676"/>
                </a:lnTo>
                <a:lnTo>
                  <a:pt x="642" y="665"/>
                </a:lnTo>
                <a:lnTo>
                  <a:pt x="642" y="652"/>
                </a:lnTo>
                <a:lnTo>
                  <a:pt x="642" y="638"/>
                </a:lnTo>
                <a:lnTo>
                  <a:pt x="642" y="626"/>
                </a:lnTo>
                <a:lnTo>
                  <a:pt x="638" y="626"/>
                </a:lnTo>
                <a:lnTo>
                  <a:pt x="635" y="623"/>
                </a:lnTo>
                <a:lnTo>
                  <a:pt x="633" y="618"/>
                </a:lnTo>
                <a:lnTo>
                  <a:pt x="632" y="614"/>
                </a:lnTo>
                <a:lnTo>
                  <a:pt x="630" y="609"/>
                </a:lnTo>
                <a:lnTo>
                  <a:pt x="628" y="606"/>
                </a:lnTo>
                <a:lnTo>
                  <a:pt x="625" y="604"/>
                </a:lnTo>
                <a:lnTo>
                  <a:pt x="623" y="603"/>
                </a:lnTo>
                <a:lnTo>
                  <a:pt x="620" y="601"/>
                </a:lnTo>
                <a:lnTo>
                  <a:pt x="618" y="601"/>
                </a:lnTo>
                <a:lnTo>
                  <a:pt x="618" y="589"/>
                </a:lnTo>
                <a:lnTo>
                  <a:pt x="651" y="591"/>
                </a:lnTo>
                <a:lnTo>
                  <a:pt x="686" y="596"/>
                </a:lnTo>
                <a:lnTo>
                  <a:pt x="702" y="598"/>
                </a:lnTo>
                <a:lnTo>
                  <a:pt x="720" y="599"/>
                </a:lnTo>
                <a:lnTo>
                  <a:pt x="737" y="601"/>
                </a:lnTo>
                <a:lnTo>
                  <a:pt x="754" y="601"/>
                </a:lnTo>
                <a:lnTo>
                  <a:pt x="766" y="606"/>
                </a:lnTo>
                <a:lnTo>
                  <a:pt x="795" y="614"/>
                </a:lnTo>
                <a:lnTo>
                  <a:pt x="824" y="623"/>
                </a:lnTo>
                <a:lnTo>
                  <a:pt x="841" y="626"/>
                </a:lnTo>
                <a:lnTo>
                  <a:pt x="853" y="636"/>
                </a:lnTo>
                <a:lnTo>
                  <a:pt x="865" y="645"/>
                </a:lnTo>
                <a:lnTo>
                  <a:pt x="884" y="645"/>
                </a:lnTo>
                <a:lnTo>
                  <a:pt x="884" y="647"/>
                </a:lnTo>
                <a:lnTo>
                  <a:pt x="886" y="648"/>
                </a:lnTo>
                <a:lnTo>
                  <a:pt x="888" y="649"/>
                </a:lnTo>
                <a:lnTo>
                  <a:pt x="891" y="651"/>
                </a:lnTo>
                <a:lnTo>
                  <a:pt x="897" y="652"/>
                </a:lnTo>
                <a:lnTo>
                  <a:pt x="902" y="652"/>
                </a:lnTo>
                <a:lnTo>
                  <a:pt x="908" y="656"/>
                </a:lnTo>
                <a:lnTo>
                  <a:pt x="913" y="659"/>
                </a:lnTo>
                <a:lnTo>
                  <a:pt x="919" y="664"/>
                </a:lnTo>
                <a:lnTo>
                  <a:pt x="926" y="666"/>
                </a:lnTo>
                <a:lnTo>
                  <a:pt x="939" y="672"/>
                </a:lnTo>
                <a:lnTo>
                  <a:pt x="954" y="676"/>
                </a:lnTo>
                <a:lnTo>
                  <a:pt x="968" y="680"/>
                </a:lnTo>
                <a:lnTo>
                  <a:pt x="982" y="681"/>
                </a:lnTo>
                <a:lnTo>
                  <a:pt x="996" y="682"/>
                </a:lnTo>
                <a:lnTo>
                  <a:pt x="1008" y="682"/>
                </a:lnTo>
                <a:lnTo>
                  <a:pt x="1011" y="685"/>
                </a:lnTo>
                <a:lnTo>
                  <a:pt x="1017" y="687"/>
                </a:lnTo>
                <a:lnTo>
                  <a:pt x="1026" y="688"/>
                </a:lnTo>
                <a:lnTo>
                  <a:pt x="1037" y="691"/>
                </a:lnTo>
                <a:lnTo>
                  <a:pt x="1057" y="694"/>
                </a:lnTo>
                <a:lnTo>
                  <a:pt x="1070" y="695"/>
                </a:lnTo>
                <a:lnTo>
                  <a:pt x="1084" y="697"/>
                </a:lnTo>
                <a:lnTo>
                  <a:pt x="1111" y="704"/>
                </a:lnTo>
                <a:lnTo>
                  <a:pt x="1137" y="711"/>
                </a:lnTo>
                <a:lnTo>
                  <a:pt x="1151" y="713"/>
                </a:lnTo>
                <a:lnTo>
                  <a:pt x="1163" y="725"/>
                </a:lnTo>
                <a:lnTo>
                  <a:pt x="1172" y="726"/>
                </a:lnTo>
                <a:lnTo>
                  <a:pt x="1182" y="729"/>
                </a:lnTo>
                <a:lnTo>
                  <a:pt x="1191" y="731"/>
                </a:lnTo>
                <a:lnTo>
                  <a:pt x="1200" y="732"/>
                </a:lnTo>
                <a:lnTo>
                  <a:pt x="1203" y="735"/>
                </a:lnTo>
                <a:lnTo>
                  <a:pt x="1207" y="739"/>
                </a:lnTo>
                <a:lnTo>
                  <a:pt x="1209" y="741"/>
                </a:lnTo>
                <a:lnTo>
                  <a:pt x="1211" y="743"/>
                </a:lnTo>
                <a:lnTo>
                  <a:pt x="1213" y="747"/>
                </a:lnTo>
                <a:lnTo>
                  <a:pt x="1213" y="751"/>
                </a:lnTo>
                <a:lnTo>
                  <a:pt x="1218" y="751"/>
                </a:lnTo>
                <a:lnTo>
                  <a:pt x="1225" y="751"/>
                </a:lnTo>
                <a:lnTo>
                  <a:pt x="1227" y="752"/>
                </a:lnTo>
                <a:lnTo>
                  <a:pt x="1229" y="753"/>
                </a:lnTo>
                <a:lnTo>
                  <a:pt x="1232" y="754"/>
                </a:lnTo>
                <a:lnTo>
                  <a:pt x="1232" y="757"/>
                </a:lnTo>
                <a:lnTo>
                  <a:pt x="1251" y="757"/>
                </a:lnTo>
                <a:lnTo>
                  <a:pt x="1253" y="760"/>
                </a:lnTo>
                <a:lnTo>
                  <a:pt x="1258" y="762"/>
                </a:lnTo>
                <a:lnTo>
                  <a:pt x="1266" y="766"/>
                </a:lnTo>
                <a:lnTo>
                  <a:pt x="1276" y="769"/>
                </a:lnTo>
                <a:lnTo>
                  <a:pt x="1297" y="773"/>
                </a:lnTo>
                <a:lnTo>
                  <a:pt x="1312" y="776"/>
                </a:lnTo>
                <a:lnTo>
                  <a:pt x="1362" y="800"/>
                </a:lnTo>
                <a:lnTo>
                  <a:pt x="1362" y="803"/>
                </a:lnTo>
                <a:lnTo>
                  <a:pt x="1363" y="806"/>
                </a:lnTo>
                <a:lnTo>
                  <a:pt x="1364" y="807"/>
                </a:lnTo>
                <a:lnTo>
                  <a:pt x="1366" y="807"/>
                </a:lnTo>
                <a:lnTo>
                  <a:pt x="1367" y="807"/>
                </a:lnTo>
                <a:lnTo>
                  <a:pt x="1367" y="807"/>
                </a:lnTo>
                <a:lnTo>
                  <a:pt x="1368" y="809"/>
                </a:lnTo>
                <a:lnTo>
                  <a:pt x="1368" y="812"/>
                </a:lnTo>
                <a:lnTo>
                  <a:pt x="1378" y="816"/>
                </a:lnTo>
                <a:lnTo>
                  <a:pt x="1387" y="819"/>
                </a:lnTo>
                <a:lnTo>
                  <a:pt x="1387" y="822"/>
                </a:lnTo>
                <a:lnTo>
                  <a:pt x="1388" y="825"/>
                </a:lnTo>
                <a:lnTo>
                  <a:pt x="1389" y="825"/>
                </a:lnTo>
                <a:lnTo>
                  <a:pt x="1390" y="825"/>
                </a:lnTo>
                <a:lnTo>
                  <a:pt x="1391" y="825"/>
                </a:lnTo>
                <a:lnTo>
                  <a:pt x="1392" y="826"/>
                </a:lnTo>
                <a:lnTo>
                  <a:pt x="1392" y="828"/>
                </a:lnTo>
                <a:lnTo>
                  <a:pt x="1393" y="831"/>
                </a:lnTo>
                <a:lnTo>
                  <a:pt x="1406" y="831"/>
                </a:lnTo>
                <a:lnTo>
                  <a:pt x="1406" y="835"/>
                </a:lnTo>
                <a:lnTo>
                  <a:pt x="1407" y="837"/>
                </a:lnTo>
                <a:lnTo>
                  <a:pt x="1407" y="837"/>
                </a:lnTo>
                <a:lnTo>
                  <a:pt x="1408" y="837"/>
                </a:lnTo>
                <a:lnTo>
                  <a:pt x="1409" y="838"/>
                </a:lnTo>
                <a:lnTo>
                  <a:pt x="1410" y="838"/>
                </a:lnTo>
                <a:lnTo>
                  <a:pt x="1411" y="840"/>
                </a:lnTo>
                <a:lnTo>
                  <a:pt x="1411" y="844"/>
                </a:lnTo>
                <a:lnTo>
                  <a:pt x="1424" y="844"/>
                </a:lnTo>
                <a:lnTo>
                  <a:pt x="1424" y="856"/>
                </a:lnTo>
                <a:lnTo>
                  <a:pt x="1430" y="863"/>
                </a:lnTo>
                <a:lnTo>
                  <a:pt x="1434" y="863"/>
                </a:lnTo>
                <a:lnTo>
                  <a:pt x="1436" y="864"/>
                </a:lnTo>
                <a:lnTo>
                  <a:pt x="1436" y="865"/>
                </a:lnTo>
                <a:lnTo>
                  <a:pt x="1436" y="866"/>
                </a:lnTo>
                <a:lnTo>
                  <a:pt x="1437" y="867"/>
                </a:lnTo>
                <a:lnTo>
                  <a:pt x="1437" y="867"/>
                </a:lnTo>
                <a:lnTo>
                  <a:pt x="1439" y="868"/>
                </a:lnTo>
                <a:lnTo>
                  <a:pt x="1443" y="868"/>
                </a:lnTo>
                <a:lnTo>
                  <a:pt x="1443" y="894"/>
                </a:lnTo>
                <a:lnTo>
                  <a:pt x="1445" y="894"/>
                </a:lnTo>
                <a:lnTo>
                  <a:pt x="1446" y="895"/>
                </a:lnTo>
                <a:lnTo>
                  <a:pt x="1447" y="897"/>
                </a:lnTo>
                <a:lnTo>
                  <a:pt x="1448" y="901"/>
                </a:lnTo>
                <a:lnTo>
                  <a:pt x="1449" y="906"/>
                </a:lnTo>
                <a:lnTo>
                  <a:pt x="1449" y="912"/>
                </a:lnTo>
                <a:lnTo>
                  <a:pt x="1445" y="912"/>
                </a:lnTo>
                <a:lnTo>
                  <a:pt x="1444" y="913"/>
                </a:lnTo>
                <a:lnTo>
                  <a:pt x="1443" y="914"/>
                </a:lnTo>
                <a:lnTo>
                  <a:pt x="1443" y="915"/>
                </a:lnTo>
                <a:lnTo>
                  <a:pt x="1443" y="916"/>
                </a:lnTo>
                <a:lnTo>
                  <a:pt x="1441" y="917"/>
                </a:lnTo>
                <a:lnTo>
                  <a:pt x="1440" y="918"/>
                </a:lnTo>
                <a:lnTo>
                  <a:pt x="1436" y="918"/>
                </a:lnTo>
                <a:lnTo>
                  <a:pt x="1436" y="931"/>
                </a:lnTo>
                <a:lnTo>
                  <a:pt x="1424" y="9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57" name="Freeform 18">
            <a:extLst>
              <a:ext uri="{FF2B5EF4-FFF2-40B4-BE49-F238E27FC236}">
                <a16:creationId xmlns:a16="http://schemas.microsoft.com/office/drawing/2014/main" id="{F9D24F3A-CC98-4FB7-B4A6-45983698CBC0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994525" y="4014788"/>
            <a:ext cx="324655" cy="290513"/>
          </a:xfrm>
          <a:custGeom>
            <a:avLst/>
            <a:gdLst/>
            <a:ahLst/>
            <a:cxnLst>
              <a:cxn ang="0">
                <a:pos x="1544" y="680"/>
              </a:cxn>
              <a:cxn ang="0">
                <a:pos x="1460" y="731"/>
              </a:cxn>
              <a:cxn ang="0">
                <a:pos x="1413" y="814"/>
              </a:cxn>
              <a:cxn ang="0">
                <a:pos x="1397" y="949"/>
              </a:cxn>
              <a:cxn ang="0">
                <a:pos x="1396" y="1279"/>
              </a:cxn>
              <a:cxn ang="0">
                <a:pos x="1487" y="1371"/>
              </a:cxn>
              <a:cxn ang="0">
                <a:pos x="1611" y="1404"/>
              </a:cxn>
              <a:cxn ang="0">
                <a:pos x="1684" y="1447"/>
              </a:cxn>
              <a:cxn ang="0">
                <a:pos x="1741" y="1506"/>
              </a:cxn>
              <a:cxn ang="0">
                <a:pos x="1722" y="1669"/>
              </a:cxn>
              <a:cxn ang="0">
                <a:pos x="1634" y="1687"/>
              </a:cxn>
              <a:cxn ang="0">
                <a:pos x="1550" y="1712"/>
              </a:cxn>
              <a:cxn ang="0">
                <a:pos x="1502" y="1793"/>
              </a:cxn>
              <a:cxn ang="0">
                <a:pos x="1382" y="1795"/>
              </a:cxn>
              <a:cxn ang="0">
                <a:pos x="1270" y="1764"/>
              </a:cxn>
              <a:cxn ang="0">
                <a:pos x="1166" y="1748"/>
              </a:cxn>
              <a:cxn ang="0">
                <a:pos x="1146" y="1688"/>
              </a:cxn>
              <a:cxn ang="0">
                <a:pos x="1123" y="1637"/>
              </a:cxn>
              <a:cxn ang="0">
                <a:pos x="1094" y="1585"/>
              </a:cxn>
              <a:cxn ang="0">
                <a:pos x="1003" y="1486"/>
              </a:cxn>
              <a:cxn ang="0">
                <a:pos x="965" y="1426"/>
              </a:cxn>
              <a:cxn ang="0">
                <a:pos x="890" y="1314"/>
              </a:cxn>
              <a:cxn ang="0">
                <a:pos x="851" y="1245"/>
              </a:cxn>
              <a:cxn ang="0">
                <a:pos x="789" y="1179"/>
              </a:cxn>
              <a:cxn ang="0">
                <a:pos x="725" y="1109"/>
              </a:cxn>
              <a:cxn ang="0">
                <a:pos x="677" y="1048"/>
              </a:cxn>
              <a:cxn ang="0">
                <a:pos x="628" y="995"/>
              </a:cxn>
              <a:cxn ang="0">
                <a:pos x="462" y="960"/>
              </a:cxn>
              <a:cxn ang="0">
                <a:pos x="436" y="841"/>
              </a:cxn>
              <a:cxn ang="0">
                <a:pos x="427" y="747"/>
              </a:cxn>
              <a:cxn ang="0">
                <a:pos x="386" y="691"/>
              </a:cxn>
              <a:cxn ang="0">
                <a:pos x="283" y="629"/>
              </a:cxn>
              <a:cxn ang="0">
                <a:pos x="234" y="601"/>
              </a:cxn>
              <a:cxn ang="0">
                <a:pos x="88" y="587"/>
              </a:cxn>
              <a:cxn ang="0">
                <a:pos x="18" y="530"/>
              </a:cxn>
              <a:cxn ang="0">
                <a:pos x="1" y="455"/>
              </a:cxn>
              <a:cxn ang="0">
                <a:pos x="55" y="314"/>
              </a:cxn>
              <a:cxn ang="0">
                <a:pos x="70" y="264"/>
              </a:cxn>
              <a:cxn ang="0">
                <a:pos x="343" y="71"/>
              </a:cxn>
              <a:cxn ang="0">
                <a:pos x="429" y="56"/>
              </a:cxn>
              <a:cxn ang="0">
                <a:pos x="531" y="3"/>
              </a:cxn>
              <a:cxn ang="0">
                <a:pos x="568" y="51"/>
              </a:cxn>
              <a:cxn ang="0">
                <a:pos x="752" y="76"/>
              </a:cxn>
              <a:cxn ang="0">
                <a:pos x="787" y="106"/>
              </a:cxn>
              <a:cxn ang="0">
                <a:pos x="816" y="144"/>
              </a:cxn>
              <a:cxn ang="0">
                <a:pos x="866" y="180"/>
              </a:cxn>
              <a:cxn ang="0">
                <a:pos x="911" y="230"/>
              </a:cxn>
              <a:cxn ang="0">
                <a:pos x="857" y="278"/>
              </a:cxn>
              <a:cxn ang="0">
                <a:pos x="821" y="332"/>
              </a:cxn>
              <a:cxn ang="0">
                <a:pos x="755" y="389"/>
              </a:cxn>
              <a:cxn ang="0">
                <a:pos x="780" y="429"/>
              </a:cxn>
              <a:cxn ang="0">
                <a:pos x="839" y="464"/>
              </a:cxn>
              <a:cxn ang="0">
                <a:pos x="971" y="506"/>
              </a:cxn>
              <a:cxn ang="0">
                <a:pos x="1061" y="571"/>
              </a:cxn>
              <a:cxn ang="0">
                <a:pos x="1166" y="587"/>
              </a:cxn>
              <a:cxn ang="0">
                <a:pos x="1232" y="599"/>
              </a:cxn>
              <a:cxn ang="0">
                <a:pos x="1264" y="539"/>
              </a:cxn>
              <a:cxn ang="0">
                <a:pos x="1298" y="508"/>
              </a:cxn>
              <a:cxn ang="0">
                <a:pos x="1353" y="429"/>
              </a:cxn>
              <a:cxn ang="0">
                <a:pos x="1409" y="360"/>
              </a:cxn>
              <a:cxn ang="0">
                <a:pos x="1457" y="335"/>
              </a:cxn>
              <a:cxn ang="0">
                <a:pos x="1476" y="316"/>
              </a:cxn>
            </a:cxnLst>
            <a:rect l="0" t="0" r="r" b="b"/>
            <a:pathLst>
              <a:path w="1777" h="1804">
                <a:moveTo>
                  <a:pt x="1505" y="380"/>
                </a:moveTo>
                <a:lnTo>
                  <a:pt x="1519" y="394"/>
                </a:lnTo>
                <a:lnTo>
                  <a:pt x="1518" y="413"/>
                </a:lnTo>
                <a:lnTo>
                  <a:pt x="1517" y="438"/>
                </a:lnTo>
                <a:lnTo>
                  <a:pt x="1515" y="466"/>
                </a:lnTo>
                <a:lnTo>
                  <a:pt x="1512" y="496"/>
                </a:lnTo>
                <a:lnTo>
                  <a:pt x="1511" y="525"/>
                </a:lnTo>
                <a:lnTo>
                  <a:pt x="1510" y="552"/>
                </a:lnTo>
                <a:lnTo>
                  <a:pt x="1510" y="573"/>
                </a:lnTo>
                <a:lnTo>
                  <a:pt x="1512" y="587"/>
                </a:lnTo>
                <a:lnTo>
                  <a:pt x="1518" y="603"/>
                </a:lnTo>
                <a:lnTo>
                  <a:pt x="1525" y="625"/>
                </a:lnTo>
                <a:lnTo>
                  <a:pt x="1534" y="651"/>
                </a:lnTo>
                <a:lnTo>
                  <a:pt x="1544" y="680"/>
                </a:lnTo>
                <a:lnTo>
                  <a:pt x="1533" y="679"/>
                </a:lnTo>
                <a:lnTo>
                  <a:pt x="1520" y="678"/>
                </a:lnTo>
                <a:lnTo>
                  <a:pt x="1509" y="678"/>
                </a:lnTo>
                <a:lnTo>
                  <a:pt x="1499" y="677"/>
                </a:lnTo>
                <a:lnTo>
                  <a:pt x="1495" y="681"/>
                </a:lnTo>
                <a:lnTo>
                  <a:pt x="1491" y="687"/>
                </a:lnTo>
                <a:lnTo>
                  <a:pt x="1482" y="698"/>
                </a:lnTo>
                <a:lnTo>
                  <a:pt x="1473" y="710"/>
                </a:lnTo>
                <a:lnTo>
                  <a:pt x="1468" y="717"/>
                </a:lnTo>
                <a:lnTo>
                  <a:pt x="1468" y="726"/>
                </a:lnTo>
                <a:lnTo>
                  <a:pt x="1464" y="727"/>
                </a:lnTo>
                <a:lnTo>
                  <a:pt x="1462" y="728"/>
                </a:lnTo>
                <a:lnTo>
                  <a:pt x="1461" y="729"/>
                </a:lnTo>
                <a:lnTo>
                  <a:pt x="1460" y="731"/>
                </a:lnTo>
                <a:lnTo>
                  <a:pt x="1459" y="736"/>
                </a:lnTo>
                <a:lnTo>
                  <a:pt x="1459" y="739"/>
                </a:lnTo>
                <a:lnTo>
                  <a:pt x="1450" y="739"/>
                </a:lnTo>
                <a:lnTo>
                  <a:pt x="1449" y="744"/>
                </a:lnTo>
                <a:lnTo>
                  <a:pt x="1444" y="748"/>
                </a:lnTo>
                <a:lnTo>
                  <a:pt x="1440" y="754"/>
                </a:lnTo>
                <a:lnTo>
                  <a:pt x="1437" y="757"/>
                </a:lnTo>
                <a:lnTo>
                  <a:pt x="1428" y="757"/>
                </a:lnTo>
                <a:lnTo>
                  <a:pt x="1423" y="762"/>
                </a:lnTo>
                <a:lnTo>
                  <a:pt x="1422" y="766"/>
                </a:lnTo>
                <a:lnTo>
                  <a:pt x="1420" y="773"/>
                </a:lnTo>
                <a:lnTo>
                  <a:pt x="1418" y="777"/>
                </a:lnTo>
                <a:lnTo>
                  <a:pt x="1414" y="779"/>
                </a:lnTo>
                <a:lnTo>
                  <a:pt x="1413" y="814"/>
                </a:lnTo>
                <a:lnTo>
                  <a:pt x="1410" y="849"/>
                </a:lnTo>
                <a:lnTo>
                  <a:pt x="1406" y="882"/>
                </a:lnTo>
                <a:lnTo>
                  <a:pt x="1405" y="913"/>
                </a:lnTo>
                <a:lnTo>
                  <a:pt x="1404" y="913"/>
                </a:lnTo>
                <a:lnTo>
                  <a:pt x="1403" y="914"/>
                </a:lnTo>
                <a:lnTo>
                  <a:pt x="1402" y="917"/>
                </a:lnTo>
                <a:lnTo>
                  <a:pt x="1401" y="919"/>
                </a:lnTo>
                <a:lnTo>
                  <a:pt x="1401" y="924"/>
                </a:lnTo>
                <a:lnTo>
                  <a:pt x="1401" y="931"/>
                </a:lnTo>
                <a:lnTo>
                  <a:pt x="1401" y="938"/>
                </a:lnTo>
                <a:lnTo>
                  <a:pt x="1400" y="943"/>
                </a:lnTo>
                <a:lnTo>
                  <a:pt x="1400" y="946"/>
                </a:lnTo>
                <a:lnTo>
                  <a:pt x="1399" y="948"/>
                </a:lnTo>
                <a:lnTo>
                  <a:pt x="1397" y="949"/>
                </a:lnTo>
                <a:lnTo>
                  <a:pt x="1396" y="949"/>
                </a:lnTo>
                <a:lnTo>
                  <a:pt x="1396" y="1119"/>
                </a:lnTo>
                <a:lnTo>
                  <a:pt x="1394" y="1124"/>
                </a:lnTo>
                <a:lnTo>
                  <a:pt x="1392" y="1131"/>
                </a:lnTo>
                <a:lnTo>
                  <a:pt x="1391" y="1140"/>
                </a:lnTo>
                <a:lnTo>
                  <a:pt x="1390" y="1149"/>
                </a:lnTo>
                <a:lnTo>
                  <a:pt x="1389" y="1169"/>
                </a:lnTo>
                <a:lnTo>
                  <a:pt x="1389" y="1191"/>
                </a:lnTo>
                <a:lnTo>
                  <a:pt x="1391" y="1235"/>
                </a:lnTo>
                <a:lnTo>
                  <a:pt x="1392" y="1270"/>
                </a:lnTo>
                <a:lnTo>
                  <a:pt x="1394" y="1270"/>
                </a:lnTo>
                <a:lnTo>
                  <a:pt x="1395" y="1273"/>
                </a:lnTo>
                <a:lnTo>
                  <a:pt x="1396" y="1276"/>
                </a:lnTo>
                <a:lnTo>
                  <a:pt x="1396" y="1279"/>
                </a:lnTo>
                <a:lnTo>
                  <a:pt x="1399" y="1284"/>
                </a:lnTo>
                <a:lnTo>
                  <a:pt x="1405" y="1295"/>
                </a:lnTo>
                <a:lnTo>
                  <a:pt x="1411" y="1307"/>
                </a:lnTo>
                <a:lnTo>
                  <a:pt x="1414" y="1315"/>
                </a:lnTo>
                <a:lnTo>
                  <a:pt x="1418" y="1316"/>
                </a:lnTo>
                <a:lnTo>
                  <a:pt x="1423" y="1318"/>
                </a:lnTo>
                <a:lnTo>
                  <a:pt x="1428" y="1322"/>
                </a:lnTo>
                <a:lnTo>
                  <a:pt x="1433" y="1327"/>
                </a:lnTo>
                <a:lnTo>
                  <a:pt x="1443" y="1337"/>
                </a:lnTo>
                <a:lnTo>
                  <a:pt x="1450" y="1346"/>
                </a:lnTo>
                <a:lnTo>
                  <a:pt x="1466" y="1355"/>
                </a:lnTo>
                <a:lnTo>
                  <a:pt x="1481" y="1364"/>
                </a:lnTo>
                <a:lnTo>
                  <a:pt x="1482" y="1368"/>
                </a:lnTo>
                <a:lnTo>
                  <a:pt x="1487" y="1371"/>
                </a:lnTo>
                <a:lnTo>
                  <a:pt x="1492" y="1374"/>
                </a:lnTo>
                <a:lnTo>
                  <a:pt x="1500" y="1378"/>
                </a:lnTo>
                <a:lnTo>
                  <a:pt x="1515" y="1384"/>
                </a:lnTo>
                <a:lnTo>
                  <a:pt x="1526" y="1391"/>
                </a:lnTo>
                <a:lnTo>
                  <a:pt x="1538" y="1391"/>
                </a:lnTo>
                <a:lnTo>
                  <a:pt x="1556" y="1392"/>
                </a:lnTo>
                <a:lnTo>
                  <a:pt x="1565" y="1393"/>
                </a:lnTo>
                <a:lnTo>
                  <a:pt x="1572" y="1394"/>
                </a:lnTo>
                <a:lnTo>
                  <a:pt x="1575" y="1395"/>
                </a:lnTo>
                <a:lnTo>
                  <a:pt x="1577" y="1397"/>
                </a:lnTo>
                <a:lnTo>
                  <a:pt x="1578" y="1398"/>
                </a:lnTo>
                <a:lnTo>
                  <a:pt x="1579" y="1400"/>
                </a:lnTo>
                <a:lnTo>
                  <a:pt x="1595" y="1402"/>
                </a:lnTo>
                <a:lnTo>
                  <a:pt x="1611" y="1404"/>
                </a:lnTo>
                <a:lnTo>
                  <a:pt x="1620" y="1413"/>
                </a:lnTo>
                <a:lnTo>
                  <a:pt x="1626" y="1416"/>
                </a:lnTo>
                <a:lnTo>
                  <a:pt x="1633" y="1418"/>
                </a:lnTo>
                <a:lnTo>
                  <a:pt x="1641" y="1420"/>
                </a:lnTo>
                <a:lnTo>
                  <a:pt x="1646" y="1422"/>
                </a:lnTo>
                <a:lnTo>
                  <a:pt x="1660" y="1422"/>
                </a:lnTo>
                <a:lnTo>
                  <a:pt x="1661" y="1426"/>
                </a:lnTo>
                <a:lnTo>
                  <a:pt x="1664" y="1430"/>
                </a:lnTo>
                <a:lnTo>
                  <a:pt x="1669" y="1433"/>
                </a:lnTo>
                <a:lnTo>
                  <a:pt x="1673" y="1436"/>
                </a:lnTo>
                <a:lnTo>
                  <a:pt x="1674" y="1439"/>
                </a:lnTo>
                <a:lnTo>
                  <a:pt x="1679" y="1443"/>
                </a:lnTo>
                <a:lnTo>
                  <a:pt x="1681" y="1446"/>
                </a:lnTo>
                <a:lnTo>
                  <a:pt x="1684" y="1447"/>
                </a:lnTo>
                <a:lnTo>
                  <a:pt x="1688" y="1448"/>
                </a:lnTo>
                <a:lnTo>
                  <a:pt x="1691" y="1449"/>
                </a:lnTo>
                <a:lnTo>
                  <a:pt x="1696" y="1458"/>
                </a:lnTo>
                <a:lnTo>
                  <a:pt x="1702" y="1460"/>
                </a:lnTo>
                <a:lnTo>
                  <a:pt x="1709" y="1462"/>
                </a:lnTo>
                <a:lnTo>
                  <a:pt x="1713" y="1467"/>
                </a:lnTo>
                <a:lnTo>
                  <a:pt x="1718" y="1476"/>
                </a:lnTo>
                <a:lnTo>
                  <a:pt x="1722" y="1478"/>
                </a:lnTo>
                <a:lnTo>
                  <a:pt x="1727" y="1480"/>
                </a:lnTo>
                <a:lnTo>
                  <a:pt x="1729" y="1487"/>
                </a:lnTo>
                <a:lnTo>
                  <a:pt x="1731" y="1493"/>
                </a:lnTo>
                <a:lnTo>
                  <a:pt x="1735" y="1495"/>
                </a:lnTo>
                <a:lnTo>
                  <a:pt x="1738" y="1499"/>
                </a:lnTo>
                <a:lnTo>
                  <a:pt x="1741" y="1506"/>
                </a:lnTo>
                <a:lnTo>
                  <a:pt x="1745" y="1514"/>
                </a:lnTo>
                <a:lnTo>
                  <a:pt x="1751" y="1530"/>
                </a:lnTo>
                <a:lnTo>
                  <a:pt x="1758" y="1542"/>
                </a:lnTo>
                <a:lnTo>
                  <a:pt x="1758" y="1555"/>
                </a:lnTo>
                <a:lnTo>
                  <a:pt x="1767" y="1564"/>
                </a:lnTo>
                <a:lnTo>
                  <a:pt x="1768" y="1584"/>
                </a:lnTo>
                <a:lnTo>
                  <a:pt x="1770" y="1606"/>
                </a:lnTo>
                <a:lnTo>
                  <a:pt x="1774" y="1631"/>
                </a:lnTo>
                <a:lnTo>
                  <a:pt x="1775" y="1657"/>
                </a:lnTo>
                <a:lnTo>
                  <a:pt x="1777" y="1657"/>
                </a:lnTo>
                <a:lnTo>
                  <a:pt x="1761" y="1659"/>
                </a:lnTo>
                <a:lnTo>
                  <a:pt x="1742" y="1664"/>
                </a:lnTo>
                <a:lnTo>
                  <a:pt x="1732" y="1667"/>
                </a:lnTo>
                <a:lnTo>
                  <a:pt x="1722" y="1669"/>
                </a:lnTo>
                <a:lnTo>
                  <a:pt x="1711" y="1671"/>
                </a:lnTo>
                <a:lnTo>
                  <a:pt x="1701" y="1671"/>
                </a:lnTo>
                <a:lnTo>
                  <a:pt x="1700" y="1673"/>
                </a:lnTo>
                <a:lnTo>
                  <a:pt x="1697" y="1674"/>
                </a:lnTo>
                <a:lnTo>
                  <a:pt x="1692" y="1674"/>
                </a:lnTo>
                <a:lnTo>
                  <a:pt x="1688" y="1676"/>
                </a:lnTo>
                <a:lnTo>
                  <a:pt x="1678" y="1676"/>
                </a:lnTo>
                <a:lnTo>
                  <a:pt x="1671" y="1676"/>
                </a:lnTo>
                <a:lnTo>
                  <a:pt x="1670" y="1678"/>
                </a:lnTo>
                <a:lnTo>
                  <a:pt x="1668" y="1680"/>
                </a:lnTo>
                <a:lnTo>
                  <a:pt x="1664" y="1681"/>
                </a:lnTo>
                <a:lnTo>
                  <a:pt x="1660" y="1682"/>
                </a:lnTo>
                <a:lnTo>
                  <a:pt x="1649" y="1686"/>
                </a:lnTo>
                <a:lnTo>
                  <a:pt x="1634" y="1687"/>
                </a:lnTo>
                <a:lnTo>
                  <a:pt x="1606" y="1690"/>
                </a:lnTo>
                <a:lnTo>
                  <a:pt x="1587" y="1691"/>
                </a:lnTo>
                <a:lnTo>
                  <a:pt x="1586" y="1693"/>
                </a:lnTo>
                <a:lnTo>
                  <a:pt x="1585" y="1696"/>
                </a:lnTo>
                <a:lnTo>
                  <a:pt x="1583" y="1696"/>
                </a:lnTo>
                <a:lnTo>
                  <a:pt x="1579" y="1697"/>
                </a:lnTo>
                <a:lnTo>
                  <a:pt x="1577" y="1697"/>
                </a:lnTo>
                <a:lnTo>
                  <a:pt x="1575" y="1699"/>
                </a:lnTo>
                <a:lnTo>
                  <a:pt x="1573" y="1701"/>
                </a:lnTo>
                <a:lnTo>
                  <a:pt x="1573" y="1706"/>
                </a:lnTo>
                <a:lnTo>
                  <a:pt x="1567" y="1706"/>
                </a:lnTo>
                <a:lnTo>
                  <a:pt x="1562" y="1708"/>
                </a:lnTo>
                <a:lnTo>
                  <a:pt x="1556" y="1709"/>
                </a:lnTo>
                <a:lnTo>
                  <a:pt x="1550" y="1712"/>
                </a:lnTo>
                <a:lnTo>
                  <a:pt x="1540" y="1718"/>
                </a:lnTo>
                <a:lnTo>
                  <a:pt x="1530" y="1726"/>
                </a:lnTo>
                <a:lnTo>
                  <a:pt x="1521" y="1732"/>
                </a:lnTo>
                <a:lnTo>
                  <a:pt x="1514" y="1739"/>
                </a:lnTo>
                <a:lnTo>
                  <a:pt x="1508" y="1744"/>
                </a:lnTo>
                <a:lnTo>
                  <a:pt x="1504" y="1745"/>
                </a:lnTo>
                <a:lnTo>
                  <a:pt x="1502" y="1756"/>
                </a:lnTo>
                <a:lnTo>
                  <a:pt x="1500" y="1765"/>
                </a:lnTo>
                <a:lnTo>
                  <a:pt x="1499" y="1775"/>
                </a:lnTo>
                <a:lnTo>
                  <a:pt x="1498" y="1785"/>
                </a:lnTo>
                <a:lnTo>
                  <a:pt x="1500" y="1785"/>
                </a:lnTo>
                <a:lnTo>
                  <a:pt x="1501" y="1787"/>
                </a:lnTo>
                <a:lnTo>
                  <a:pt x="1502" y="1789"/>
                </a:lnTo>
                <a:lnTo>
                  <a:pt x="1502" y="1793"/>
                </a:lnTo>
                <a:lnTo>
                  <a:pt x="1504" y="1799"/>
                </a:lnTo>
                <a:lnTo>
                  <a:pt x="1504" y="1804"/>
                </a:lnTo>
                <a:lnTo>
                  <a:pt x="1424" y="1804"/>
                </a:lnTo>
                <a:lnTo>
                  <a:pt x="1424" y="1803"/>
                </a:lnTo>
                <a:lnTo>
                  <a:pt x="1422" y="1802"/>
                </a:lnTo>
                <a:lnTo>
                  <a:pt x="1421" y="1801"/>
                </a:lnTo>
                <a:lnTo>
                  <a:pt x="1419" y="1801"/>
                </a:lnTo>
                <a:lnTo>
                  <a:pt x="1414" y="1799"/>
                </a:lnTo>
                <a:lnTo>
                  <a:pt x="1410" y="1799"/>
                </a:lnTo>
                <a:lnTo>
                  <a:pt x="1409" y="1798"/>
                </a:lnTo>
                <a:lnTo>
                  <a:pt x="1404" y="1796"/>
                </a:lnTo>
                <a:lnTo>
                  <a:pt x="1400" y="1796"/>
                </a:lnTo>
                <a:lnTo>
                  <a:pt x="1394" y="1795"/>
                </a:lnTo>
                <a:lnTo>
                  <a:pt x="1382" y="1795"/>
                </a:lnTo>
                <a:lnTo>
                  <a:pt x="1375" y="1795"/>
                </a:lnTo>
                <a:lnTo>
                  <a:pt x="1372" y="1793"/>
                </a:lnTo>
                <a:lnTo>
                  <a:pt x="1363" y="1789"/>
                </a:lnTo>
                <a:lnTo>
                  <a:pt x="1349" y="1786"/>
                </a:lnTo>
                <a:lnTo>
                  <a:pt x="1335" y="1783"/>
                </a:lnTo>
                <a:lnTo>
                  <a:pt x="1306" y="1777"/>
                </a:lnTo>
                <a:lnTo>
                  <a:pt x="1291" y="1775"/>
                </a:lnTo>
                <a:lnTo>
                  <a:pt x="1290" y="1773"/>
                </a:lnTo>
                <a:lnTo>
                  <a:pt x="1289" y="1772"/>
                </a:lnTo>
                <a:lnTo>
                  <a:pt x="1287" y="1769"/>
                </a:lnTo>
                <a:lnTo>
                  <a:pt x="1285" y="1768"/>
                </a:lnTo>
                <a:lnTo>
                  <a:pt x="1278" y="1766"/>
                </a:lnTo>
                <a:lnTo>
                  <a:pt x="1271" y="1765"/>
                </a:lnTo>
                <a:lnTo>
                  <a:pt x="1270" y="1764"/>
                </a:lnTo>
                <a:lnTo>
                  <a:pt x="1269" y="1761"/>
                </a:lnTo>
                <a:lnTo>
                  <a:pt x="1267" y="1760"/>
                </a:lnTo>
                <a:lnTo>
                  <a:pt x="1264" y="1759"/>
                </a:lnTo>
                <a:lnTo>
                  <a:pt x="1253" y="1757"/>
                </a:lnTo>
                <a:lnTo>
                  <a:pt x="1241" y="1756"/>
                </a:lnTo>
                <a:lnTo>
                  <a:pt x="1210" y="1754"/>
                </a:lnTo>
                <a:lnTo>
                  <a:pt x="1174" y="1755"/>
                </a:lnTo>
                <a:lnTo>
                  <a:pt x="1174" y="1754"/>
                </a:lnTo>
                <a:lnTo>
                  <a:pt x="1170" y="1754"/>
                </a:lnTo>
                <a:lnTo>
                  <a:pt x="1168" y="1753"/>
                </a:lnTo>
                <a:lnTo>
                  <a:pt x="1166" y="1751"/>
                </a:lnTo>
                <a:lnTo>
                  <a:pt x="1166" y="1750"/>
                </a:lnTo>
                <a:lnTo>
                  <a:pt x="1166" y="1749"/>
                </a:lnTo>
                <a:lnTo>
                  <a:pt x="1166" y="1748"/>
                </a:lnTo>
                <a:lnTo>
                  <a:pt x="1164" y="1747"/>
                </a:lnTo>
                <a:lnTo>
                  <a:pt x="1160" y="1747"/>
                </a:lnTo>
                <a:lnTo>
                  <a:pt x="1160" y="1734"/>
                </a:lnTo>
                <a:lnTo>
                  <a:pt x="1157" y="1732"/>
                </a:lnTo>
                <a:lnTo>
                  <a:pt x="1156" y="1732"/>
                </a:lnTo>
                <a:lnTo>
                  <a:pt x="1154" y="1730"/>
                </a:lnTo>
                <a:lnTo>
                  <a:pt x="1154" y="1729"/>
                </a:lnTo>
                <a:lnTo>
                  <a:pt x="1153" y="1725"/>
                </a:lnTo>
                <a:lnTo>
                  <a:pt x="1153" y="1719"/>
                </a:lnTo>
                <a:lnTo>
                  <a:pt x="1151" y="1718"/>
                </a:lnTo>
                <a:lnTo>
                  <a:pt x="1149" y="1714"/>
                </a:lnTo>
                <a:lnTo>
                  <a:pt x="1147" y="1708"/>
                </a:lnTo>
                <a:lnTo>
                  <a:pt x="1147" y="1701"/>
                </a:lnTo>
                <a:lnTo>
                  <a:pt x="1146" y="1688"/>
                </a:lnTo>
                <a:lnTo>
                  <a:pt x="1146" y="1678"/>
                </a:lnTo>
                <a:lnTo>
                  <a:pt x="1143" y="1677"/>
                </a:lnTo>
                <a:lnTo>
                  <a:pt x="1141" y="1674"/>
                </a:lnTo>
                <a:lnTo>
                  <a:pt x="1139" y="1671"/>
                </a:lnTo>
                <a:lnTo>
                  <a:pt x="1136" y="1667"/>
                </a:lnTo>
                <a:lnTo>
                  <a:pt x="1133" y="1658"/>
                </a:lnTo>
                <a:lnTo>
                  <a:pt x="1132" y="1650"/>
                </a:lnTo>
                <a:lnTo>
                  <a:pt x="1130" y="1650"/>
                </a:lnTo>
                <a:lnTo>
                  <a:pt x="1128" y="1649"/>
                </a:lnTo>
                <a:lnTo>
                  <a:pt x="1127" y="1648"/>
                </a:lnTo>
                <a:lnTo>
                  <a:pt x="1126" y="1647"/>
                </a:lnTo>
                <a:lnTo>
                  <a:pt x="1125" y="1642"/>
                </a:lnTo>
                <a:lnTo>
                  <a:pt x="1125" y="1637"/>
                </a:lnTo>
                <a:lnTo>
                  <a:pt x="1123" y="1637"/>
                </a:lnTo>
                <a:lnTo>
                  <a:pt x="1122" y="1634"/>
                </a:lnTo>
                <a:lnTo>
                  <a:pt x="1121" y="1632"/>
                </a:lnTo>
                <a:lnTo>
                  <a:pt x="1120" y="1629"/>
                </a:lnTo>
                <a:lnTo>
                  <a:pt x="1118" y="1622"/>
                </a:lnTo>
                <a:lnTo>
                  <a:pt x="1118" y="1616"/>
                </a:lnTo>
                <a:lnTo>
                  <a:pt x="1116" y="1615"/>
                </a:lnTo>
                <a:lnTo>
                  <a:pt x="1114" y="1614"/>
                </a:lnTo>
                <a:lnTo>
                  <a:pt x="1113" y="1611"/>
                </a:lnTo>
                <a:lnTo>
                  <a:pt x="1113" y="1609"/>
                </a:lnTo>
                <a:lnTo>
                  <a:pt x="1112" y="1601"/>
                </a:lnTo>
                <a:lnTo>
                  <a:pt x="1112" y="1595"/>
                </a:lnTo>
                <a:lnTo>
                  <a:pt x="1098" y="1595"/>
                </a:lnTo>
                <a:lnTo>
                  <a:pt x="1096" y="1590"/>
                </a:lnTo>
                <a:lnTo>
                  <a:pt x="1094" y="1585"/>
                </a:lnTo>
                <a:lnTo>
                  <a:pt x="1089" y="1583"/>
                </a:lnTo>
                <a:lnTo>
                  <a:pt x="1084" y="1582"/>
                </a:lnTo>
                <a:lnTo>
                  <a:pt x="1070" y="1567"/>
                </a:lnTo>
                <a:lnTo>
                  <a:pt x="1056" y="1554"/>
                </a:lnTo>
                <a:lnTo>
                  <a:pt x="1043" y="1554"/>
                </a:lnTo>
                <a:lnTo>
                  <a:pt x="1043" y="1539"/>
                </a:lnTo>
                <a:lnTo>
                  <a:pt x="1039" y="1538"/>
                </a:lnTo>
                <a:lnTo>
                  <a:pt x="1035" y="1536"/>
                </a:lnTo>
                <a:lnTo>
                  <a:pt x="1030" y="1530"/>
                </a:lnTo>
                <a:lnTo>
                  <a:pt x="1026" y="1525"/>
                </a:lnTo>
                <a:lnTo>
                  <a:pt x="1016" y="1514"/>
                </a:lnTo>
                <a:lnTo>
                  <a:pt x="1008" y="1506"/>
                </a:lnTo>
                <a:lnTo>
                  <a:pt x="1007" y="1497"/>
                </a:lnTo>
                <a:lnTo>
                  <a:pt x="1003" y="1486"/>
                </a:lnTo>
                <a:lnTo>
                  <a:pt x="1001" y="1480"/>
                </a:lnTo>
                <a:lnTo>
                  <a:pt x="999" y="1476"/>
                </a:lnTo>
                <a:lnTo>
                  <a:pt x="997" y="1472"/>
                </a:lnTo>
                <a:lnTo>
                  <a:pt x="995" y="1471"/>
                </a:lnTo>
                <a:lnTo>
                  <a:pt x="993" y="1466"/>
                </a:lnTo>
                <a:lnTo>
                  <a:pt x="992" y="1460"/>
                </a:lnTo>
                <a:lnTo>
                  <a:pt x="990" y="1456"/>
                </a:lnTo>
                <a:lnTo>
                  <a:pt x="988" y="1450"/>
                </a:lnTo>
                <a:lnTo>
                  <a:pt x="984" y="1445"/>
                </a:lnTo>
                <a:lnTo>
                  <a:pt x="982" y="1440"/>
                </a:lnTo>
                <a:lnTo>
                  <a:pt x="981" y="1434"/>
                </a:lnTo>
                <a:lnTo>
                  <a:pt x="980" y="1430"/>
                </a:lnTo>
                <a:lnTo>
                  <a:pt x="967" y="1430"/>
                </a:lnTo>
                <a:lnTo>
                  <a:pt x="965" y="1426"/>
                </a:lnTo>
                <a:lnTo>
                  <a:pt x="961" y="1418"/>
                </a:lnTo>
                <a:lnTo>
                  <a:pt x="955" y="1409"/>
                </a:lnTo>
                <a:lnTo>
                  <a:pt x="949" y="1399"/>
                </a:lnTo>
                <a:lnTo>
                  <a:pt x="941" y="1390"/>
                </a:lnTo>
                <a:lnTo>
                  <a:pt x="934" y="1382"/>
                </a:lnTo>
                <a:lnTo>
                  <a:pt x="929" y="1376"/>
                </a:lnTo>
                <a:lnTo>
                  <a:pt x="925" y="1374"/>
                </a:lnTo>
                <a:lnTo>
                  <a:pt x="925" y="1361"/>
                </a:lnTo>
                <a:lnTo>
                  <a:pt x="921" y="1359"/>
                </a:lnTo>
                <a:lnTo>
                  <a:pt x="915" y="1353"/>
                </a:lnTo>
                <a:lnTo>
                  <a:pt x="909" y="1344"/>
                </a:lnTo>
                <a:lnTo>
                  <a:pt x="902" y="1334"/>
                </a:lnTo>
                <a:lnTo>
                  <a:pt x="895" y="1324"/>
                </a:lnTo>
                <a:lnTo>
                  <a:pt x="890" y="1314"/>
                </a:lnTo>
                <a:lnTo>
                  <a:pt x="885" y="1305"/>
                </a:lnTo>
                <a:lnTo>
                  <a:pt x="884" y="1298"/>
                </a:lnTo>
                <a:lnTo>
                  <a:pt x="881" y="1298"/>
                </a:lnTo>
                <a:lnTo>
                  <a:pt x="878" y="1297"/>
                </a:lnTo>
                <a:lnTo>
                  <a:pt x="876" y="1295"/>
                </a:lnTo>
                <a:lnTo>
                  <a:pt x="874" y="1293"/>
                </a:lnTo>
                <a:lnTo>
                  <a:pt x="868" y="1287"/>
                </a:lnTo>
                <a:lnTo>
                  <a:pt x="865" y="1279"/>
                </a:lnTo>
                <a:lnTo>
                  <a:pt x="862" y="1272"/>
                </a:lnTo>
                <a:lnTo>
                  <a:pt x="858" y="1264"/>
                </a:lnTo>
                <a:lnTo>
                  <a:pt x="857" y="1256"/>
                </a:lnTo>
                <a:lnTo>
                  <a:pt x="856" y="1250"/>
                </a:lnTo>
                <a:lnTo>
                  <a:pt x="854" y="1248"/>
                </a:lnTo>
                <a:lnTo>
                  <a:pt x="851" y="1245"/>
                </a:lnTo>
                <a:lnTo>
                  <a:pt x="847" y="1239"/>
                </a:lnTo>
                <a:lnTo>
                  <a:pt x="844" y="1232"/>
                </a:lnTo>
                <a:lnTo>
                  <a:pt x="839" y="1227"/>
                </a:lnTo>
                <a:lnTo>
                  <a:pt x="835" y="1221"/>
                </a:lnTo>
                <a:lnTo>
                  <a:pt x="832" y="1219"/>
                </a:lnTo>
                <a:lnTo>
                  <a:pt x="828" y="1217"/>
                </a:lnTo>
                <a:lnTo>
                  <a:pt x="825" y="1216"/>
                </a:lnTo>
                <a:lnTo>
                  <a:pt x="821" y="1216"/>
                </a:lnTo>
                <a:lnTo>
                  <a:pt x="821" y="1201"/>
                </a:lnTo>
                <a:lnTo>
                  <a:pt x="815" y="1195"/>
                </a:lnTo>
                <a:lnTo>
                  <a:pt x="805" y="1191"/>
                </a:lnTo>
                <a:lnTo>
                  <a:pt x="794" y="1188"/>
                </a:lnTo>
                <a:lnTo>
                  <a:pt x="792" y="1183"/>
                </a:lnTo>
                <a:lnTo>
                  <a:pt x="789" y="1179"/>
                </a:lnTo>
                <a:lnTo>
                  <a:pt x="786" y="1176"/>
                </a:lnTo>
                <a:lnTo>
                  <a:pt x="780" y="1174"/>
                </a:lnTo>
                <a:lnTo>
                  <a:pt x="776" y="1170"/>
                </a:lnTo>
                <a:lnTo>
                  <a:pt x="766" y="1160"/>
                </a:lnTo>
                <a:lnTo>
                  <a:pt x="760" y="1155"/>
                </a:lnTo>
                <a:lnTo>
                  <a:pt x="753" y="1151"/>
                </a:lnTo>
                <a:lnTo>
                  <a:pt x="749" y="1148"/>
                </a:lnTo>
                <a:lnTo>
                  <a:pt x="746" y="1147"/>
                </a:lnTo>
                <a:lnTo>
                  <a:pt x="743" y="1139"/>
                </a:lnTo>
                <a:lnTo>
                  <a:pt x="739" y="1129"/>
                </a:lnTo>
                <a:lnTo>
                  <a:pt x="734" y="1120"/>
                </a:lnTo>
                <a:lnTo>
                  <a:pt x="732" y="1112"/>
                </a:lnTo>
                <a:lnTo>
                  <a:pt x="729" y="1111"/>
                </a:lnTo>
                <a:lnTo>
                  <a:pt x="725" y="1109"/>
                </a:lnTo>
                <a:lnTo>
                  <a:pt x="722" y="1105"/>
                </a:lnTo>
                <a:lnTo>
                  <a:pt x="719" y="1101"/>
                </a:lnTo>
                <a:lnTo>
                  <a:pt x="713" y="1092"/>
                </a:lnTo>
                <a:lnTo>
                  <a:pt x="711" y="1084"/>
                </a:lnTo>
                <a:lnTo>
                  <a:pt x="706" y="1084"/>
                </a:lnTo>
                <a:lnTo>
                  <a:pt x="703" y="1082"/>
                </a:lnTo>
                <a:lnTo>
                  <a:pt x="701" y="1080"/>
                </a:lnTo>
                <a:lnTo>
                  <a:pt x="699" y="1076"/>
                </a:lnTo>
                <a:lnTo>
                  <a:pt x="698" y="1070"/>
                </a:lnTo>
                <a:lnTo>
                  <a:pt x="698" y="1064"/>
                </a:lnTo>
                <a:lnTo>
                  <a:pt x="691" y="1057"/>
                </a:lnTo>
                <a:lnTo>
                  <a:pt x="683" y="1049"/>
                </a:lnTo>
                <a:lnTo>
                  <a:pt x="680" y="1049"/>
                </a:lnTo>
                <a:lnTo>
                  <a:pt x="677" y="1048"/>
                </a:lnTo>
                <a:lnTo>
                  <a:pt x="676" y="1047"/>
                </a:lnTo>
                <a:lnTo>
                  <a:pt x="676" y="1046"/>
                </a:lnTo>
                <a:lnTo>
                  <a:pt x="676" y="1045"/>
                </a:lnTo>
                <a:lnTo>
                  <a:pt x="675" y="1044"/>
                </a:lnTo>
                <a:lnTo>
                  <a:pt x="674" y="1043"/>
                </a:lnTo>
                <a:lnTo>
                  <a:pt x="670" y="1043"/>
                </a:lnTo>
                <a:lnTo>
                  <a:pt x="669" y="1038"/>
                </a:lnTo>
                <a:lnTo>
                  <a:pt x="665" y="1033"/>
                </a:lnTo>
                <a:lnTo>
                  <a:pt x="661" y="1027"/>
                </a:lnTo>
                <a:lnTo>
                  <a:pt x="656" y="1023"/>
                </a:lnTo>
                <a:lnTo>
                  <a:pt x="642" y="1023"/>
                </a:lnTo>
                <a:lnTo>
                  <a:pt x="642" y="1008"/>
                </a:lnTo>
                <a:lnTo>
                  <a:pt x="635" y="1001"/>
                </a:lnTo>
                <a:lnTo>
                  <a:pt x="628" y="995"/>
                </a:lnTo>
                <a:lnTo>
                  <a:pt x="622" y="988"/>
                </a:lnTo>
                <a:lnTo>
                  <a:pt x="615" y="980"/>
                </a:lnTo>
                <a:lnTo>
                  <a:pt x="607" y="974"/>
                </a:lnTo>
                <a:lnTo>
                  <a:pt x="594" y="974"/>
                </a:lnTo>
                <a:lnTo>
                  <a:pt x="580" y="974"/>
                </a:lnTo>
                <a:lnTo>
                  <a:pt x="579" y="972"/>
                </a:lnTo>
                <a:lnTo>
                  <a:pt x="576" y="971"/>
                </a:lnTo>
                <a:lnTo>
                  <a:pt x="571" y="970"/>
                </a:lnTo>
                <a:lnTo>
                  <a:pt x="565" y="970"/>
                </a:lnTo>
                <a:lnTo>
                  <a:pt x="549" y="969"/>
                </a:lnTo>
                <a:lnTo>
                  <a:pt x="530" y="968"/>
                </a:lnTo>
                <a:lnTo>
                  <a:pt x="492" y="967"/>
                </a:lnTo>
                <a:lnTo>
                  <a:pt x="470" y="967"/>
                </a:lnTo>
                <a:lnTo>
                  <a:pt x="462" y="960"/>
                </a:lnTo>
                <a:lnTo>
                  <a:pt x="462" y="955"/>
                </a:lnTo>
                <a:lnTo>
                  <a:pt x="460" y="949"/>
                </a:lnTo>
                <a:lnTo>
                  <a:pt x="456" y="942"/>
                </a:lnTo>
                <a:lnTo>
                  <a:pt x="452" y="936"/>
                </a:lnTo>
                <a:lnTo>
                  <a:pt x="449" y="928"/>
                </a:lnTo>
                <a:lnTo>
                  <a:pt x="445" y="920"/>
                </a:lnTo>
                <a:lnTo>
                  <a:pt x="443" y="912"/>
                </a:lnTo>
                <a:lnTo>
                  <a:pt x="442" y="904"/>
                </a:lnTo>
                <a:lnTo>
                  <a:pt x="440" y="903"/>
                </a:lnTo>
                <a:lnTo>
                  <a:pt x="437" y="900"/>
                </a:lnTo>
                <a:lnTo>
                  <a:pt x="436" y="893"/>
                </a:lnTo>
                <a:lnTo>
                  <a:pt x="436" y="885"/>
                </a:lnTo>
                <a:lnTo>
                  <a:pt x="435" y="865"/>
                </a:lnTo>
                <a:lnTo>
                  <a:pt x="436" y="841"/>
                </a:lnTo>
                <a:lnTo>
                  <a:pt x="440" y="794"/>
                </a:lnTo>
                <a:lnTo>
                  <a:pt x="442" y="767"/>
                </a:lnTo>
                <a:lnTo>
                  <a:pt x="440" y="766"/>
                </a:lnTo>
                <a:lnTo>
                  <a:pt x="437" y="766"/>
                </a:lnTo>
                <a:lnTo>
                  <a:pt x="436" y="764"/>
                </a:lnTo>
                <a:lnTo>
                  <a:pt x="436" y="763"/>
                </a:lnTo>
                <a:lnTo>
                  <a:pt x="435" y="758"/>
                </a:lnTo>
                <a:lnTo>
                  <a:pt x="435" y="753"/>
                </a:lnTo>
                <a:lnTo>
                  <a:pt x="431" y="753"/>
                </a:lnTo>
                <a:lnTo>
                  <a:pt x="429" y="751"/>
                </a:lnTo>
                <a:lnTo>
                  <a:pt x="429" y="750"/>
                </a:lnTo>
                <a:lnTo>
                  <a:pt x="429" y="749"/>
                </a:lnTo>
                <a:lnTo>
                  <a:pt x="427" y="748"/>
                </a:lnTo>
                <a:lnTo>
                  <a:pt x="427" y="747"/>
                </a:lnTo>
                <a:lnTo>
                  <a:pt x="425" y="746"/>
                </a:lnTo>
                <a:lnTo>
                  <a:pt x="421" y="746"/>
                </a:lnTo>
                <a:lnTo>
                  <a:pt x="421" y="726"/>
                </a:lnTo>
                <a:lnTo>
                  <a:pt x="417" y="725"/>
                </a:lnTo>
                <a:lnTo>
                  <a:pt x="415" y="725"/>
                </a:lnTo>
                <a:lnTo>
                  <a:pt x="414" y="724"/>
                </a:lnTo>
                <a:lnTo>
                  <a:pt x="414" y="722"/>
                </a:lnTo>
                <a:lnTo>
                  <a:pt x="414" y="720"/>
                </a:lnTo>
                <a:lnTo>
                  <a:pt x="413" y="719"/>
                </a:lnTo>
                <a:lnTo>
                  <a:pt x="412" y="719"/>
                </a:lnTo>
                <a:lnTo>
                  <a:pt x="407" y="718"/>
                </a:lnTo>
                <a:lnTo>
                  <a:pt x="407" y="705"/>
                </a:lnTo>
                <a:lnTo>
                  <a:pt x="397" y="698"/>
                </a:lnTo>
                <a:lnTo>
                  <a:pt x="386" y="691"/>
                </a:lnTo>
                <a:lnTo>
                  <a:pt x="383" y="680"/>
                </a:lnTo>
                <a:lnTo>
                  <a:pt x="379" y="670"/>
                </a:lnTo>
                <a:lnTo>
                  <a:pt x="373" y="663"/>
                </a:lnTo>
                <a:lnTo>
                  <a:pt x="369" y="662"/>
                </a:lnTo>
                <a:lnTo>
                  <a:pt x="367" y="661"/>
                </a:lnTo>
                <a:lnTo>
                  <a:pt x="363" y="659"/>
                </a:lnTo>
                <a:lnTo>
                  <a:pt x="359" y="655"/>
                </a:lnTo>
                <a:lnTo>
                  <a:pt x="357" y="652"/>
                </a:lnTo>
                <a:lnTo>
                  <a:pt x="355" y="649"/>
                </a:lnTo>
                <a:lnTo>
                  <a:pt x="353" y="645"/>
                </a:lnTo>
                <a:lnTo>
                  <a:pt x="353" y="642"/>
                </a:lnTo>
                <a:lnTo>
                  <a:pt x="297" y="642"/>
                </a:lnTo>
                <a:lnTo>
                  <a:pt x="291" y="637"/>
                </a:lnTo>
                <a:lnTo>
                  <a:pt x="283" y="629"/>
                </a:lnTo>
                <a:lnTo>
                  <a:pt x="278" y="621"/>
                </a:lnTo>
                <a:lnTo>
                  <a:pt x="276" y="615"/>
                </a:lnTo>
                <a:lnTo>
                  <a:pt x="262" y="615"/>
                </a:lnTo>
                <a:lnTo>
                  <a:pt x="262" y="613"/>
                </a:lnTo>
                <a:lnTo>
                  <a:pt x="261" y="611"/>
                </a:lnTo>
                <a:lnTo>
                  <a:pt x="260" y="610"/>
                </a:lnTo>
                <a:lnTo>
                  <a:pt x="258" y="609"/>
                </a:lnTo>
                <a:lnTo>
                  <a:pt x="253" y="609"/>
                </a:lnTo>
                <a:lnTo>
                  <a:pt x="249" y="607"/>
                </a:lnTo>
                <a:lnTo>
                  <a:pt x="248" y="605"/>
                </a:lnTo>
                <a:lnTo>
                  <a:pt x="247" y="604"/>
                </a:lnTo>
                <a:lnTo>
                  <a:pt x="243" y="603"/>
                </a:lnTo>
                <a:lnTo>
                  <a:pt x="241" y="602"/>
                </a:lnTo>
                <a:lnTo>
                  <a:pt x="234" y="601"/>
                </a:lnTo>
                <a:lnTo>
                  <a:pt x="228" y="601"/>
                </a:lnTo>
                <a:lnTo>
                  <a:pt x="226" y="600"/>
                </a:lnTo>
                <a:lnTo>
                  <a:pt x="223" y="599"/>
                </a:lnTo>
                <a:lnTo>
                  <a:pt x="216" y="597"/>
                </a:lnTo>
                <a:lnTo>
                  <a:pt x="210" y="597"/>
                </a:lnTo>
                <a:lnTo>
                  <a:pt x="190" y="596"/>
                </a:lnTo>
                <a:lnTo>
                  <a:pt x="167" y="595"/>
                </a:lnTo>
                <a:lnTo>
                  <a:pt x="123" y="594"/>
                </a:lnTo>
                <a:lnTo>
                  <a:pt x="97" y="594"/>
                </a:lnTo>
                <a:lnTo>
                  <a:pt x="96" y="592"/>
                </a:lnTo>
                <a:lnTo>
                  <a:pt x="96" y="591"/>
                </a:lnTo>
                <a:lnTo>
                  <a:pt x="94" y="589"/>
                </a:lnTo>
                <a:lnTo>
                  <a:pt x="93" y="589"/>
                </a:lnTo>
                <a:lnTo>
                  <a:pt x="88" y="587"/>
                </a:lnTo>
                <a:lnTo>
                  <a:pt x="82" y="587"/>
                </a:lnTo>
                <a:lnTo>
                  <a:pt x="81" y="585"/>
                </a:lnTo>
                <a:lnTo>
                  <a:pt x="76" y="583"/>
                </a:lnTo>
                <a:lnTo>
                  <a:pt x="69" y="582"/>
                </a:lnTo>
                <a:lnTo>
                  <a:pt x="61" y="582"/>
                </a:lnTo>
                <a:lnTo>
                  <a:pt x="45" y="581"/>
                </a:lnTo>
                <a:lnTo>
                  <a:pt x="34" y="581"/>
                </a:lnTo>
                <a:lnTo>
                  <a:pt x="28" y="574"/>
                </a:lnTo>
                <a:lnTo>
                  <a:pt x="28" y="560"/>
                </a:lnTo>
                <a:lnTo>
                  <a:pt x="13" y="553"/>
                </a:lnTo>
                <a:lnTo>
                  <a:pt x="13" y="543"/>
                </a:lnTo>
                <a:lnTo>
                  <a:pt x="13" y="532"/>
                </a:lnTo>
                <a:lnTo>
                  <a:pt x="16" y="532"/>
                </a:lnTo>
                <a:lnTo>
                  <a:pt x="18" y="530"/>
                </a:lnTo>
                <a:lnTo>
                  <a:pt x="19" y="529"/>
                </a:lnTo>
                <a:lnTo>
                  <a:pt x="20" y="528"/>
                </a:lnTo>
                <a:lnTo>
                  <a:pt x="21" y="524"/>
                </a:lnTo>
                <a:lnTo>
                  <a:pt x="21" y="518"/>
                </a:lnTo>
                <a:lnTo>
                  <a:pt x="23" y="518"/>
                </a:lnTo>
                <a:lnTo>
                  <a:pt x="24" y="516"/>
                </a:lnTo>
                <a:lnTo>
                  <a:pt x="26" y="514"/>
                </a:lnTo>
                <a:lnTo>
                  <a:pt x="27" y="510"/>
                </a:lnTo>
                <a:lnTo>
                  <a:pt x="28" y="504"/>
                </a:lnTo>
                <a:lnTo>
                  <a:pt x="28" y="497"/>
                </a:lnTo>
                <a:lnTo>
                  <a:pt x="13" y="490"/>
                </a:lnTo>
                <a:lnTo>
                  <a:pt x="7" y="484"/>
                </a:lnTo>
                <a:lnTo>
                  <a:pt x="0" y="477"/>
                </a:lnTo>
                <a:lnTo>
                  <a:pt x="1" y="455"/>
                </a:lnTo>
                <a:lnTo>
                  <a:pt x="3" y="429"/>
                </a:lnTo>
                <a:lnTo>
                  <a:pt x="5" y="405"/>
                </a:lnTo>
                <a:lnTo>
                  <a:pt x="7" y="388"/>
                </a:lnTo>
                <a:lnTo>
                  <a:pt x="10" y="385"/>
                </a:lnTo>
                <a:lnTo>
                  <a:pt x="16" y="383"/>
                </a:lnTo>
                <a:lnTo>
                  <a:pt x="21" y="378"/>
                </a:lnTo>
                <a:lnTo>
                  <a:pt x="28" y="372"/>
                </a:lnTo>
                <a:lnTo>
                  <a:pt x="40" y="361"/>
                </a:lnTo>
                <a:lnTo>
                  <a:pt x="48" y="353"/>
                </a:lnTo>
                <a:lnTo>
                  <a:pt x="48" y="332"/>
                </a:lnTo>
                <a:lnTo>
                  <a:pt x="50" y="331"/>
                </a:lnTo>
                <a:lnTo>
                  <a:pt x="52" y="326"/>
                </a:lnTo>
                <a:lnTo>
                  <a:pt x="53" y="321"/>
                </a:lnTo>
                <a:lnTo>
                  <a:pt x="55" y="314"/>
                </a:lnTo>
                <a:lnTo>
                  <a:pt x="55" y="299"/>
                </a:lnTo>
                <a:lnTo>
                  <a:pt x="56" y="291"/>
                </a:lnTo>
                <a:lnTo>
                  <a:pt x="58" y="289"/>
                </a:lnTo>
                <a:lnTo>
                  <a:pt x="59" y="288"/>
                </a:lnTo>
                <a:lnTo>
                  <a:pt x="60" y="286"/>
                </a:lnTo>
                <a:lnTo>
                  <a:pt x="61" y="283"/>
                </a:lnTo>
                <a:lnTo>
                  <a:pt x="62" y="276"/>
                </a:lnTo>
                <a:lnTo>
                  <a:pt x="62" y="269"/>
                </a:lnTo>
                <a:lnTo>
                  <a:pt x="66" y="269"/>
                </a:lnTo>
                <a:lnTo>
                  <a:pt x="68" y="268"/>
                </a:lnTo>
                <a:lnTo>
                  <a:pt x="69" y="267"/>
                </a:lnTo>
                <a:lnTo>
                  <a:pt x="69" y="266"/>
                </a:lnTo>
                <a:lnTo>
                  <a:pt x="69" y="265"/>
                </a:lnTo>
                <a:lnTo>
                  <a:pt x="70" y="264"/>
                </a:lnTo>
                <a:lnTo>
                  <a:pt x="72" y="263"/>
                </a:lnTo>
                <a:lnTo>
                  <a:pt x="76" y="263"/>
                </a:lnTo>
                <a:lnTo>
                  <a:pt x="77" y="259"/>
                </a:lnTo>
                <a:lnTo>
                  <a:pt x="78" y="256"/>
                </a:lnTo>
                <a:lnTo>
                  <a:pt x="81" y="253"/>
                </a:lnTo>
                <a:lnTo>
                  <a:pt x="86" y="248"/>
                </a:lnTo>
                <a:lnTo>
                  <a:pt x="98" y="239"/>
                </a:lnTo>
                <a:lnTo>
                  <a:pt x="113" y="228"/>
                </a:lnTo>
                <a:lnTo>
                  <a:pt x="152" y="203"/>
                </a:lnTo>
                <a:lnTo>
                  <a:pt x="197" y="176"/>
                </a:lnTo>
                <a:lnTo>
                  <a:pt x="250" y="139"/>
                </a:lnTo>
                <a:lnTo>
                  <a:pt x="297" y="105"/>
                </a:lnTo>
                <a:lnTo>
                  <a:pt x="330" y="81"/>
                </a:lnTo>
                <a:lnTo>
                  <a:pt x="343" y="71"/>
                </a:lnTo>
                <a:lnTo>
                  <a:pt x="359" y="72"/>
                </a:lnTo>
                <a:lnTo>
                  <a:pt x="372" y="74"/>
                </a:lnTo>
                <a:lnTo>
                  <a:pt x="384" y="75"/>
                </a:lnTo>
                <a:lnTo>
                  <a:pt x="401" y="76"/>
                </a:lnTo>
                <a:lnTo>
                  <a:pt x="407" y="70"/>
                </a:lnTo>
                <a:lnTo>
                  <a:pt x="407" y="65"/>
                </a:lnTo>
                <a:lnTo>
                  <a:pt x="408" y="64"/>
                </a:lnTo>
                <a:lnTo>
                  <a:pt x="410" y="63"/>
                </a:lnTo>
                <a:lnTo>
                  <a:pt x="411" y="63"/>
                </a:lnTo>
                <a:lnTo>
                  <a:pt x="412" y="63"/>
                </a:lnTo>
                <a:lnTo>
                  <a:pt x="413" y="62"/>
                </a:lnTo>
                <a:lnTo>
                  <a:pt x="414" y="60"/>
                </a:lnTo>
                <a:lnTo>
                  <a:pt x="414" y="56"/>
                </a:lnTo>
                <a:lnTo>
                  <a:pt x="429" y="56"/>
                </a:lnTo>
                <a:lnTo>
                  <a:pt x="435" y="48"/>
                </a:lnTo>
                <a:lnTo>
                  <a:pt x="435" y="46"/>
                </a:lnTo>
                <a:lnTo>
                  <a:pt x="439" y="43"/>
                </a:lnTo>
                <a:lnTo>
                  <a:pt x="442" y="39"/>
                </a:lnTo>
                <a:lnTo>
                  <a:pt x="448" y="36"/>
                </a:lnTo>
                <a:lnTo>
                  <a:pt x="460" y="29"/>
                </a:lnTo>
                <a:lnTo>
                  <a:pt x="474" y="23"/>
                </a:lnTo>
                <a:lnTo>
                  <a:pt x="490" y="17"/>
                </a:lnTo>
                <a:lnTo>
                  <a:pt x="504" y="12"/>
                </a:lnTo>
                <a:lnTo>
                  <a:pt x="517" y="8"/>
                </a:lnTo>
                <a:lnTo>
                  <a:pt x="525" y="7"/>
                </a:lnTo>
                <a:lnTo>
                  <a:pt x="526" y="5"/>
                </a:lnTo>
                <a:lnTo>
                  <a:pt x="528" y="4"/>
                </a:lnTo>
                <a:lnTo>
                  <a:pt x="531" y="3"/>
                </a:lnTo>
                <a:lnTo>
                  <a:pt x="536" y="1"/>
                </a:lnTo>
                <a:lnTo>
                  <a:pt x="545" y="0"/>
                </a:lnTo>
                <a:lnTo>
                  <a:pt x="552" y="0"/>
                </a:lnTo>
                <a:lnTo>
                  <a:pt x="554" y="9"/>
                </a:lnTo>
                <a:lnTo>
                  <a:pt x="556" y="18"/>
                </a:lnTo>
                <a:lnTo>
                  <a:pt x="558" y="26"/>
                </a:lnTo>
                <a:lnTo>
                  <a:pt x="559" y="35"/>
                </a:lnTo>
                <a:lnTo>
                  <a:pt x="561" y="35"/>
                </a:lnTo>
                <a:lnTo>
                  <a:pt x="564" y="36"/>
                </a:lnTo>
                <a:lnTo>
                  <a:pt x="565" y="37"/>
                </a:lnTo>
                <a:lnTo>
                  <a:pt x="565" y="39"/>
                </a:lnTo>
                <a:lnTo>
                  <a:pt x="566" y="44"/>
                </a:lnTo>
                <a:lnTo>
                  <a:pt x="566" y="48"/>
                </a:lnTo>
                <a:lnTo>
                  <a:pt x="568" y="51"/>
                </a:lnTo>
                <a:lnTo>
                  <a:pt x="573" y="53"/>
                </a:lnTo>
                <a:lnTo>
                  <a:pt x="576" y="55"/>
                </a:lnTo>
                <a:lnTo>
                  <a:pt x="578" y="57"/>
                </a:lnTo>
                <a:lnTo>
                  <a:pt x="579" y="61"/>
                </a:lnTo>
                <a:lnTo>
                  <a:pt x="580" y="63"/>
                </a:lnTo>
                <a:lnTo>
                  <a:pt x="618" y="64"/>
                </a:lnTo>
                <a:lnTo>
                  <a:pt x="658" y="66"/>
                </a:lnTo>
                <a:lnTo>
                  <a:pt x="698" y="68"/>
                </a:lnTo>
                <a:lnTo>
                  <a:pt x="732" y="70"/>
                </a:lnTo>
                <a:lnTo>
                  <a:pt x="732" y="72"/>
                </a:lnTo>
                <a:lnTo>
                  <a:pt x="736" y="74"/>
                </a:lnTo>
                <a:lnTo>
                  <a:pt x="739" y="75"/>
                </a:lnTo>
                <a:lnTo>
                  <a:pt x="743" y="75"/>
                </a:lnTo>
                <a:lnTo>
                  <a:pt x="752" y="76"/>
                </a:lnTo>
                <a:lnTo>
                  <a:pt x="759" y="76"/>
                </a:lnTo>
                <a:lnTo>
                  <a:pt x="760" y="81"/>
                </a:lnTo>
                <a:lnTo>
                  <a:pt x="760" y="83"/>
                </a:lnTo>
                <a:lnTo>
                  <a:pt x="761" y="83"/>
                </a:lnTo>
                <a:lnTo>
                  <a:pt x="763" y="83"/>
                </a:lnTo>
                <a:lnTo>
                  <a:pt x="765" y="83"/>
                </a:lnTo>
                <a:lnTo>
                  <a:pt x="766" y="84"/>
                </a:lnTo>
                <a:lnTo>
                  <a:pt x="766" y="86"/>
                </a:lnTo>
                <a:lnTo>
                  <a:pt x="767" y="91"/>
                </a:lnTo>
                <a:lnTo>
                  <a:pt x="780" y="91"/>
                </a:lnTo>
                <a:lnTo>
                  <a:pt x="780" y="104"/>
                </a:lnTo>
                <a:lnTo>
                  <a:pt x="785" y="104"/>
                </a:lnTo>
                <a:lnTo>
                  <a:pt x="786" y="105"/>
                </a:lnTo>
                <a:lnTo>
                  <a:pt x="787" y="106"/>
                </a:lnTo>
                <a:lnTo>
                  <a:pt x="787" y="107"/>
                </a:lnTo>
                <a:lnTo>
                  <a:pt x="787" y="109"/>
                </a:lnTo>
                <a:lnTo>
                  <a:pt x="788" y="110"/>
                </a:lnTo>
                <a:lnTo>
                  <a:pt x="790" y="111"/>
                </a:lnTo>
                <a:lnTo>
                  <a:pt x="794" y="111"/>
                </a:lnTo>
                <a:lnTo>
                  <a:pt x="797" y="121"/>
                </a:lnTo>
                <a:lnTo>
                  <a:pt x="801" y="132"/>
                </a:lnTo>
                <a:lnTo>
                  <a:pt x="808" y="139"/>
                </a:lnTo>
                <a:lnTo>
                  <a:pt x="811" y="139"/>
                </a:lnTo>
                <a:lnTo>
                  <a:pt x="814" y="140"/>
                </a:lnTo>
                <a:lnTo>
                  <a:pt x="815" y="141"/>
                </a:lnTo>
                <a:lnTo>
                  <a:pt x="815" y="142"/>
                </a:lnTo>
                <a:lnTo>
                  <a:pt x="815" y="143"/>
                </a:lnTo>
                <a:lnTo>
                  <a:pt x="816" y="144"/>
                </a:lnTo>
                <a:lnTo>
                  <a:pt x="818" y="145"/>
                </a:lnTo>
                <a:lnTo>
                  <a:pt x="821" y="145"/>
                </a:lnTo>
                <a:lnTo>
                  <a:pt x="821" y="159"/>
                </a:lnTo>
                <a:lnTo>
                  <a:pt x="828" y="160"/>
                </a:lnTo>
                <a:lnTo>
                  <a:pt x="835" y="163"/>
                </a:lnTo>
                <a:lnTo>
                  <a:pt x="837" y="166"/>
                </a:lnTo>
                <a:lnTo>
                  <a:pt x="840" y="168"/>
                </a:lnTo>
                <a:lnTo>
                  <a:pt x="842" y="170"/>
                </a:lnTo>
                <a:lnTo>
                  <a:pt x="843" y="173"/>
                </a:lnTo>
                <a:lnTo>
                  <a:pt x="863" y="173"/>
                </a:lnTo>
                <a:lnTo>
                  <a:pt x="863" y="177"/>
                </a:lnTo>
                <a:lnTo>
                  <a:pt x="864" y="179"/>
                </a:lnTo>
                <a:lnTo>
                  <a:pt x="865" y="180"/>
                </a:lnTo>
                <a:lnTo>
                  <a:pt x="866" y="180"/>
                </a:lnTo>
                <a:lnTo>
                  <a:pt x="867" y="180"/>
                </a:lnTo>
                <a:lnTo>
                  <a:pt x="868" y="181"/>
                </a:lnTo>
                <a:lnTo>
                  <a:pt x="869" y="183"/>
                </a:lnTo>
                <a:lnTo>
                  <a:pt x="869" y="187"/>
                </a:lnTo>
                <a:lnTo>
                  <a:pt x="877" y="189"/>
                </a:lnTo>
                <a:lnTo>
                  <a:pt x="887" y="195"/>
                </a:lnTo>
                <a:lnTo>
                  <a:pt x="897" y="201"/>
                </a:lnTo>
                <a:lnTo>
                  <a:pt x="904" y="208"/>
                </a:lnTo>
                <a:lnTo>
                  <a:pt x="904" y="221"/>
                </a:lnTo>
                <a:lnTo>
                  <a:pt x="906" y="221"/>
                </a:lnTo>
                <a:lnTo>
                  <a:pt x="909" y="222"/>
                </a:lnTo>
                <a:lnTo>
                  <a:pt x="910" y="224"/>
                </a:lnTo>
                <a:lnTo>
                  <a:pt x="911" y="226"/>
                </a:lnTo>
                <a:lnTo>
                  <a:pt x="911" y="230"/>
                </a:lnTo>
                <a:lnTo>
                  <a:pt x="912" y="235"/>
                </a:lnTo>
                <a:lnTo>
                  <a:pt x="904" y="243"/>
                </a:lnTo>
                <a:lnTo>
                  <a:pt x="897" y="249"/>
                </a:lnTo>
                <a:lnTo>
                  <a:pt x="884" y="249"/>
                </a:lnTo>
                <a:lnTo>
                  <a:pt x="883" y="251"/>
                </a:lnTo>
                <a:lnTo>
                  <a:pt x="881" y="255"/>
                </a:lnTo>
                <a:lnTo>
                  <a:pt x="877" y="257"/>
                </a:lnTo>
                <a:lnTo>
                  <a:pt x="873" y="260"/>
                </a:lnTo>
                <a:lnTo>
                  <a:pt x="869" y="264"/>
                </a:lnTo>
                <a:lnTo>
                  <a:pt x="866" y="267"/>
                </a:lnTo>
                <a:lnTo>
                  <a:pt x="864" y="272"/>
                </a:lnTo>
                <a:lnTo>
                  <a:pt x="863" y="277"/>
                </a:lnTo>
                <a:lnTo>
                  <a:pt x="859" y="277"/>
                </a:lnTo>
                <a:lnTo>
                  <a:pt x="857" y="278"/>
                </a:lnTo>
                <a:lnTo>
                  <a:pt x="856" y="279"/>
                </a:lnTo>
                <a:lnTo>
                  <a:pt x="856" y="280"/>
                </a:lnTo>
                <a:lnTo>
                  <a:pt x="856" y="282"/>
                </a:lnTo>
                <a:lnTo>
                  <a:pt x="855" y="283"/>
                </a:lnTo>
                <a:lnTo>
                  <a:pt x="853" y="283"/>
                </a:lnTo>
                <a:lnTo>
                  <a:pt x="849" y="284"/>
                </a:lnTo>
                <a:lnTo>
                  <a:pt x="848" y="291"/>
                </a:lnTo>
                <a:lnTo>
                  <a:pt x="844" y="299"/>
                </a:lnTo>
                <a:lnTo>
                  <a:pt x="842" y="304"/>
                </a:lnTo>
                <a:lnTo>
                  <a:pt x="837" y="308"/>
                </a:lnTo>
                <a:lnTo>
                  <a:pt x="834" y="311"/>
                </a:lnTo>
                <a:lnTo>
                  <a:pt x="828" y="311"/>
                </a:lnTo>
                <a:lnTo>
                  <a:pt x="828" y="325"/>
                </a:lnTo>
                <a:lnTo>
                  <a:pt x="821" y="332"/>
                </a:lnTo>
                <a:lnTo>
                  <a:pt x="815" y="339"/>
                </a:lnTo>
                <a:lnTo>
                  <a:pt x="809" y="341"/>
                </a:lnTo>
                <a:lnTo>
                  <a:pt x="805" y="344"/>
                </a:lnTo>
                <a:lnTo>
                  <a:pt x="799" y="350"/>
                </a:lnTo>
                <a:lnTo>
                  <a:pt x="794" y="356"/>
                </a:lnTo>
                <a:lnTo>
                  <a:pt x="787" y="362"/>
                </a:lnTo>
                <a:lnTo>
                  <a:pt x="780" y="368"/>
                </a:lnTo>
                <a:lnTo>
                  <a:pt x="777" y="370"/>
                </a:lnTo>
                <a:lnTo>
                  <a:pt x="773" y="372"/>
                </a:lnTo>
                <a:lnTo>
                  <a:pt x="770" y="373"/>
                </a:lnTo>
                <a:lnTo>
                  <a:pt x="767" y="373"/>
                </a:lnTo>
                <a:lnTo>
                  <a:pt x="767" y="388"/>
                </a:lnTo>
                <a:lnTo>
                  <a:pt x="758" y="388"/>
                </a:lnTo>
                <a:lnTo>
                  <a:pt x="755" y="389"/>
                </a:lnTo>
                <a:lnTo>
                  <a:pt x="752" y="393"/>
                </a:lnTo>
                <a:lnTo>
                  <a:pt x="752" y="401"/>
                </a:lnTo>
                <a:lnTo>
                  <a:pt x="750" y="401"/>
                </a:lnTo>
                <a:lnTo>
                  <a:pt x="749" y="402"/>
                </a:lnTo>
                <a:lnTo>
                  <a:pt x="748" y="403"/>
                </a:lnTo>
                <a:lnTo>
                  <a:pt x="747" y="405"/>
                </a:lnTo>
                <a:lnTo>
                  <a:pt x="746" y="410"/>
                </a:lnTo>
                <a:lnTo>
                  <a:pt x="746" y="414"/>
                </a:lnTo>
                <a:lnTo>
                  <a:pt x="752" y="421"/>
                </a:lnTo>
                <a:lnTo>
                  <a:pt x="767" y="421"/>
                </a:lnTo>
                <a:lnTo>
                  <a:pt x="768" y="424"/>
                </a:lnTo>
                <a:lnTo>
                  <a:pt x="770" y="426"/>
                </a:lnTo>
                <a:lnTo>
                  <a:pt x="775" y="428"/>
                </a:lnTo>
                <a:lnTo>
                  <a:pt x="780" y="429"/>
                </a:lnTo>
                <a:lnTo>
                  <a:pt x="786" y="431"/>
                </a:lnTo>
                <a:lnTo>
                  <a:pt x="789" y="435"/>
                </a:lnTo>
                <a:lnTo>
                  <a:pt x="792" y="438"/>
                </a:lnTo>
                <a:lnTo>
                  <a:pt x="794" y="442"/>
                </a:lnTo>
                <a:lnTo>
                  <a:pt x="808" y="442"/>
                </a:lnTo>
                <a:lnTo>
                  <a:pt x="808" y="445"/>
                </a:lnTo>
                <a:lnTo>
                  <a:pt x="809" y="447"/>
                </a:lnTo>
                <a:lnTo>
                  <a:pt x="810" y="448"/>
                </a:lnTo>
                <a:lnTo>
                  <a:pt x="813" y="448"/>
                </a:lnTo>
                <a:lnTo>
                  <a:pt x="817" y="449"/>
                </a:lnTo>
                <a:lnTo>
                  <a:pt x="821" y="449"/>
                </a:lnTo>
                <a:lnTo>
                  <a:pt x="824" y="452"/>
                </a:lnTo>
                <a:lnTo>
                  <a:pt x="830" y="458"/>
                </a:lnTo>
                <a:lnTo>
                  <a:pt x="839" y="464"/>
                </a:lnTo>
                <a:lnTo>
                  <a:pt x="851" y="469"/>
                </a:lnTo>
                <a:lnTo>
                  <a:pt x="871" y="479"/>
                </a:lnTo>
                <a:lnTo>
                  <a:pt x="884" y="484"/>
                </a:lnTo>
                <a:lnTo>
                  <a:pt x="884" y="486"/>
                </a:lnTo>
                <a:lnTo>
                  <a:pt x="886" y="488"/>
                </a:lnTo>
                <a:lnTo>
                  <a:pt x="888" y="490"/>
                </a:lnTo>
                <a:lnTo>
                  <a:pt x="892" y="491"/>
                </a:lnTo>
                <a:lnTo>
                  <a:pt x="900" y="494"/>
                </a:lnTo>
                <a:lnTo>
                  <a:pt x="910" y="496"/>
                </a:lnTo>
                <a:lnTo>
                  <a:pt x="931" y="497"/>
                </a:lnTo>
                <a:lnTo>
                  <a:pt x="945" y="497"/>
                </a:lnTo>
                <a:lnTo>
                  <a:pt x="954" y="499"/>
                </a:lnTo>
                <a:lnTo>
                  <a:pt x="962" y="501"/>
                </a:lnTo>
                <a:lnTo>
                  <a:pt x="971" y="506"/>
                </a:lnTo>
                <a:lnTo>
                  <a:pt x="980" y="512"/>
                </a:lnTo>
                <a:lnTo>
                  <a:pt x="989" y="516"/>
                </a:lnTo>
                <a:lnTo>
                  <a:pt x="998" y="520"/>
                </a:lnTo>
                <a:lnTo>
                  <a:pt x="1007" y="524"/>
                </a:lnTo>
                <a:lnTo>
                  <a:pt x="1015" y="525"/>
                </a:lnTo>
                <a:lnTo>
                  <a:pt x="1021" y="536"/>
                </a:lnTo>
                <a:lnTo>
                  <a:pt x="1029" y="546"/>
                </a:lnTo>
                <a:lnTo>
                  <a:pt x="1032" y="547"/>
                </a:lnTo>
                <a:lnTo>
                  <a:pt x="1037" y="549"/>
                </a:lnTo>
                <a:lnTo>
                  <a:pt x="1043" y="553"/>
                </a:lnTo>
                <a:lnTo>
                  <a:pt x="1048" y="557"/>
                </a:lnTo>
                <a:lnTo>
                  <a:pt x="1054" y="562"/>
                </a:lnTo>
                <a:lnTo>
                  <a:pt x="1059" y="566"/>
                </a:lnTo>
                <a:lnTo>
                  <a:pt x="1061" y="571"/>
                </a:lnTo>
                <a:lnTo>
                  <a:pt x="1064" y="574"/>
                </a:lnTo>
                <a:lnTo>
                  <a:pt x="1084" y="574"/>
                </a:lnTo>
                <a:lnTo>
                  <a:pt x="1085" y="576"/>
                </a:lnTo>
                <a:lnTo>
                  <a:pt x="1087" y="577"/>
                </a:lnTo>
                <a:lnTo>
                  <a:pt x="1091" y="578"/>
                </a:lnTo>
                <a:lnTo>
                  <a:pt x="1095" y="580"/>
                </a:lnTo>
                <a:lnTo>
                  <a:pt x="1104" y="581"/>
                </a:lnTo>
                <a:lnTo>
                  <a:pt x="1112" y="581"/>
                </a:lnTo>
                <a:lnTo>
                  <a:pt x="1114" y="583"/>
                </a:lnTo>
                <a:lnTo>
                  <a:pt x="1120" y="584"/>
                </a:lnTo>
                <a:lnTo>
                  <a:pt x="1127" y="585"/>
                </a:lnTo>
                <a:lnTo>
                  <a:pt x="1136" y="586"/>
                </a:lnTo>
                <a:lnTo>
                  <a:pt x="1155" y="587"/>
                </a:lnTo>
                <a:lnTo>
                  <a:pt x="1166" y="587"/>
                </a:lnTo>
                <a:lnTo>
                  <a:pt x="1174" y="601"/>
                </a:lnTo>
                <a:lnTo>
                  <a:pt x="1181" y="615"/>
                </a:lnTo>
                <a:lnTo>
                  <a:pt x="1185" y="615"/>
                </a:lnTo>
                <a:lnTo>
                  <a:pt x="1190" y="615"/>
                </a:lnTo>
                <a:lnTo>
                  <a:pt x="1192" y="616"/>
                </a:lnTo>
                <a:lnTo>
                  <a:pt x="1193" y="618"/>
                </a:lnTo>
                <a:lnTo>
                  <a:pt x="1194" y="620"/>
                </a:lnTo>
                <a:lnTo>
                  <a:pt x="1194" y="622"/>
                </a:lnTo>
                <a:lnTo>
                  <a:pt x="1201" y="615"/>
                </a:lnTo>
                <a:lnTo>
                  <a:pt x="1222" y="615"/>
                </a:lnTo>
                <a:lnTo>
                  <a:pt x="1223" y="612"/>
                </a:lnTo>
                <a:lnTo>
                  <a:pt x="1226" y="607"/>
                </a:lnTo>
                <a:lnTo>
                  <a:pt x="1229" y="603"/>
                </a:lnTo>
                <a:lnTo>
                  <a:pt x="1232" y="599"/>
                </a:lnTo>
                <a:lnTo>
                  <a:pt x="1239" y="591"/>
                </a:lnTo>
                <a:lnTo>
                  <a:pt x="1242" y="587"/>
                </a:lnTo>
                <a:lnTo>
                  <a:pt x="1243" y="577"/>
                </a:lnTo>
                <a:lnTo>
                  <a:pt x="1246" y="566"/>
                </a:lnTo>
                <a:lnTo>
                  <a:pt x="1249" y="556"/>
                </a:lnTo>
                <a:lnTo>
                  <a:pt x="1250" y="546"/>
                </a:lnTo>
                <a:lnTo>
                  <a:pt x="1253" y="546"/>
                </a:lnTo>
                <a:lnTo>
                  <a:pt x="1256" y="545"/>
                </a:lnTo>
                <a:lnTo>
                  <a:pt x="1257" y="544"/>
                </a:lnTo>
                <a:lnTo>
                  <a:pt x="1257" y="543"/>
                </a:lnTo>
                <a:lnTo>
                  <a:pt x="1257" y="542"/>
                </a:lnTo>
                <a:lnTo>
                  <a:pt x="1258" y="541"/>
                </a:lnTo>
                <a:lnTo>
                  <a:pt x="1259" y="539"/>
                </a:lnTo>
                <a:lnTo>
                  <a:pt x="1264" y="539"/>
                </a:lnTo>
                <a:lnTo>
                  <a:pt x="1265" y="534"/>
                </a:lnTo>
                <a:lnTo>
                  <a:pt x="1268" y="529"/>
                </a:lnTo>
                <a:lnTo>
                  <a:pt x="1272" y="526"/>
                </a:lnTo>
                <a:lnTo>
                  <a:pt x="1277" y="525"/>
                </a:lnTo>
                <a:lnTo>
                  <a:pt x="1278" y="522"/>
                </a:lnTo>
                <a:lnTo>
                  <a:pt x="1278" y="519"/>
                </a:lnTo>
                <a:lnTo>
                  <a:pt x="1279" y="518"/>
                </a:lnTo>
                <a:lnTo>
                  <a:pt x="1280" y="518"/>
                </a:lnTo>
                <a:lnTo>
                  <a:pt x="1283" y="518"/>
                </a:lnTo>
                <a:lnTo>
                  <a:pt x="1284" y="517"/>
                </a:lnTo>
                <a:lnTo>
                  <a:pt x="1284" y="515"/>
                </a:lnTo>
                <a:lnTo>
                  <a:pt x="1285" y="512"/>
                </a:lnTo>
                <a:lnTo>
                  <a:pt x="1291" y="510"/>
                </a:lnTo>
                <a:lnTo>
                  <a:pt x="1298" y="508"/>
                </a:lnTo>
                <a:lnTo>
                  <a:pt x="1305" y="505"/>
                </a:lnTo>
                <a:lnTo>
                  <a:pt x="1312" y="501"/>
                </a:lnTo>
                <a:lnTo>
                  <a:pt x="1318" y="497"/>
                </a:lnTo>
                <a:lnTo>
                  <a:pt x="1325" y="494"/>
                </a:lnTo>
                <a:lnTo>
                  <a:pt x="1332" y="491"/>
                </a:lnTo>
                <a:lnTo>
                  <a:pt x="1339" y="490"/>
                </a:lnTo>
                <a:lnTo>
                  <a:pt x="1343" y="477"/>
                </a:lnTo>
                <a:lnTo>
                  <a:pt x="1346" y="464"/>
                </a:lnTo>
                <a:lnTo>
                  <a:pt x="1348" y="462"/>
                </a:lnTo>
                <a:lnTo>
                  <a:pt x="1351" y="459"/>
                </a:lnTo>
                <a:lnTo>
                  <a:pt x="1352" y="453"/>
                </a:lnTo>
                <a:lnTo>
                  <a:pt x="1353" y="448"/>
                </a:lnTo>
                <a:lnTo>
                  <a:pt x="1353" y="437"/>
                </a:lnTo>
                <a:lnTo>
                  <a:pt x="1353" y="429"/>
                </a:lnTo>
                <a:lnTo>
                  <a:pt x="1357" y="428"/>
                </a:lnTo>
                <a:lnTo>
                  <a:pt x="1360" y="428"/>
                </a:lnTo>
                <a:lnTo>
                  <a:pt x="1360" y="427"/>
                </a:lnTo>
                <a:lnTo>
                  <a:pt x="1361" y="426"/>
                </a:lnTo>
                <a:lnTo>
                  <a:pt x="1361" y="423"/>
                </a:lnTo>
                <a:lnTo>
                  <a:pt x="1361" y="422"/>
                </a:lnTo>
                <a:lnTo>
                  <a:pt x="1363" y="422"/>
                </a:lnTo>
                <a:lnTo>
                  <a:pt x="1367" y="421"/>
                </a:lnTo>
                <a:lnTo>
                  <a:pt x="1374" y="408"/>
                </a:lnTo>
                <a:lnTo>
                  <a:pt x="1381" y="394"/>
                </a:lnTo>
                <a:lnTo>
                  <a:pt x="1394" y="394"/>
                </a:lnTo>
                <a:lnTo>
                  <a:pt x="1399" y="380"/>
                </a:lnTo>
                <a:lnTo>
                  <a:pt x="1402" y="366"/>
                </a:lnTo>
                <a:lnTo>
                  <a:pt x="1409" y="360"/>
                </a:lnTo>
                <a:lnTo>
                  <a:pt x="1422" y="360"/>
                </a:lnTo>
                <a:lnTo>
                  <a:pt x="1422" y="357"/>
                </a:lnTo>
                <a:lnTo>
                  <a:pt x="1423" y="355"/>
                </a:lnTo>
                <a:lnTo>
                  <a:pt x="1424" y="354"/>
                </a:lnTo>
                <a:lnTo>
                  <a:pt x="1427" y="353"/>
                </a:lnTo>
                <a:lnTo>
                  <a:pt x="1431" y="353"/>
                </a:lnTo>
                <a:lnTo>
                  <a:pt x="1437" y="353"/>
                </a:lnTo>
                <a:lnTo>
                  <a:pt x="1437" y="350"/>
                </a:lnTo>
                <a:lnTo>
                  <a:pt x="1439" y="347"/>
                </a:lnTo>
                <a:lnTo>
                  <a:pt x="1441" y="345"/>
                </a:lnTo>
                <a:lnTo>
                  <a:pt x="1444" y="343"/>
                </a:lnTo>
                <a:lnTo>
                  <a:pt x="1451" y="340"/>
                </a:lnTo>
                <a:lnTo>
                  <a:pt x="1457" y="339"/>
                </a:lnTo>
                <a:lnTo>
                  <a:pt x="1457" y="335"/>
                </a:lnTo>
                <a:lnTo>
                  <a:pt x="1458" y="333"/>
                </a:lnTo>
                <a:lnTo>
                  <a:pt x="1459" y="332"/>
                </a:lnTo>
                <a:lnTo>
                  <a:pt x="1460" y="332"/>
                </a:lnTo>
                <a:lnTo>
                  <a:pt x="1461" y="332"/>
                </a:lnTo>
                <a:lnTo>
                  <a:pt x="1462" y="331"/>
                </a:lnTo>
                <a:lnTo>
                  <a:pt x="1463" y="328"/>
                </a:lnTo>
                <a:lnTo>
                  <a:pt x="1463" y="325"/>
                </a:lnTo>
                <a:lnTo>
                  <a:pt x="1478" y="325"/>
                </a:lnTo>
                <a:lnTo>
                  <a:pt x="1485" y="318"/>
                </a:lnTo>
                <a:lnTo>
                  <a:pt x="1479" y="313"/>
                </a:lnTo>
                <a:lnTo>
                  <a:pt x="1476" y="310"/>
                </a:lnTo>
                <a:lnTo>
                  <a:pt x="1473" y="308"/>
                </a:lnTo>
                <a:lnTo>
                  <a:pt x="1473" y="310"/>
                </a:lnTo>
                <a:lnTo>
                  <a:pt x="1476" y="316"/>
                </a:lnTo>
                <a:lnTo>
                  <a:pt x="1482" y="326"/>
                </a:lnTo>
                <a:lnTo>
                  <a:pt x="1489" y="340"/>
                </a:lnTo>
                <a:lnTo>
                  <a:pt x="1497" y="354"/>
                </a:lnTo>
                <a:lnTo>
                  <a:pt x="1500" y="362"/>
                </a:lnTo>
                <a:lnTo>
                  <a:pt x="1502" y="369"/>
                </a:lnTo>
                <a:lnTo>
                  <a:pt x="1505" y="375"/>
                </a:lnTo>
                <a:lnTo>
                  <a:pt x="1505" y="3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58" name="Freeform 19">
            <a:extLst>
              <a:ext uri="{FF2B5EF4-FFF2-40B4-BE49-F238E27FC236}">
                <a16:creationId xmlns:a16="http://schemas.microsoft.com/office/drawing/2014/main" id="{3DE21F74-DD80-417C-AA79-CD2FD66C52F5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102475" y="3924300"/>
            <a:ext cx="367657" cy="234950"/>
          </a:xfrm>
          <a:custGeom>
            <a:avLst/>
            <a:gdLst/>
            <a:ahLst/>
            <a:cxnLst>
              <a:cxn ang="0">
                <a:pos x="0" y="556"/>
              </a:cxn>
              <a:cxn ang="0">
                <a:pos x="65" y="452"/>
              </a:cxn>
              <a:cxn ang="0">
                <a:pos x="86" y="289"/>
              </a:cxn>
              <a:cxn ang="0">
                <a:pos x="113" y="241"/>
              </a:cxn>
              <a:cxn ang="0">
                <a:pos x="235" y="282"/>
              </a:cxn>
              <a:cxn ang="0">
                <a:pos x="350" y="379"/>
              </a:cxn>
              <a:cxn ang="0">
                <a:pos x="438" y="411"/>
              </a:cxn>
              <a:cxn ang="0">
                <a:pos x="551" y="359"/>
              </a:cxn>
              <a:cxn ang="0">
                <a:pos x="608" y="331"/>
              </a:cxn>
              <a:cxn ang="0">
                <a:pos x="690" y="287"/>
              </a:cxn>
              <a:cxn ang="0">
                <a:pos x="725" y="239"/>
              </a:cxn>
              <a:cxn ang="0">
                <a:pos x="781" y="176"/>
              </a:cxn>
              <a:cxn ang="0">
                <a:pos x="893" y="44"/>
              </a:cxn>
              <a:cxn ang="0">
                <a:pos x="953" y="26"/>
              </a:cxn>
              <a:cxn ang="0">
                <a:pos x="1013" y="3"/>
              </a:cxn>
              <a:cxn ang="0">
                <a:pos x="1198" y="91"/>
              </a:cxn>
              <a:cxn ang="0">
                <a:pos x="1275" y="144"/>
              </a:cxn>
              <a:cxn ang="0">
                <a:pos x="1421" y="219"/>
              </a:cxn>
              <a:cxn ang="0">
                <a:pos x="1521" y="288"/>
              </a:cxn>
              <a:cxn ang="0">
                <a:pos x="1594" y="326"/>
              </a:cxn>
              <a:cxn ang="0">
                <a:pos x="1751" y="388"/>
              </a:cxn>
              <a:cxn ang="0">
                <a:pos x="1827" y="433"/>
              </a:cxn>
              <a:cxn ang="0">
                <a:pos x="1905" y="489"/>
              </a:cxn>
              <a:cxn ang="0">
                <a:pos x="1952" y="511"/>
              </a:cxn>
              <a:cxn ang="0">
                <a:pos x="1996" y="528"/>
              </a:cxn>
              <a:cxn ang="0">
                <a:pos x="2023" y="573"/>
              </a:cxn>
              <a:cxn ang="0">
                <a:pos x="2021" y="681"/>
              </a:cxn>
              <a:cxn ang="0">
                <a:pos x="1992" y="760"/>
              </a:cxn>
              <a:cxn ang="0">
                <a:pos x="1975" y="853"/>
              </a:cxn>
              <a:cxn ang="0">
                <a:pos x="1897" y="911"/>
              </a:cxn>
              <a:cxn ang="0">
                <a:pos x="1846" y="979"/>
              </a:cxn>
              <a:cxn ang="0">
                <a:pos x="1765" y="1025"/>
              </a:cxn>
              <a:cxn ang="0">
                <a:pos x="1725" y="1067"/>
              </a:cxn>
              <a:cxn ang="0">
                <a:pos x="1671" y="1159"/>
              </a:cxn>
              <a:cxn ang="0">
                <a:pos x="1665" y="1318"/>
              </a:cxn>
              <a:cxn ang="0">
                <a:pos x="1610" y="1385"/>
              </a:cxn>
              <a:cxn ang="0">
                <a:pos x="1472" y="1417"/>
              </a:cxn>
              <a:cxn ang="0">
                <a:pos x="1328" y="1446"/>
              </a:cxn>
              <a:cxn ang="0">
                <a:pos x="1228" y="1460"/>
              </a:cxn>
              <a:cxn ang="0">
                <a:pos x="1112" y="1380"/>
              </a:cxn>
              <a:cxn ang="0">
                <a:pos x="1039" y="1316"/>
              </a:cxn>
              <a:cxn ang="0">
                <a:pos x="987" y="1029"/>
              </a:cxn>
              <a:cxn ang="0">
                <a:pos x="946" y="960"/>
              </a:cxn>
              <a:cxn ang="0">
                <a:pos x="905" y="985"/>
              </a:cxn>
              <a:cxn ang="0">
                <a:pos x="835" y="1056"/>
              </a:cxn>
              <a:cxn ang="0">
                <a:pos x="814" y="1099"/>
              </a:cxn>
              <a:cxn ang="0">
                <a:pos x="748" y="1153"/>
              </a:cxn>
              <a:cxn ang="0">
                <a:pos x="724" y="1180"/>
              </a:cxn>
              <a:cxn ang="0">
                <a:pos x="662" y="1257"/>
              </a:cxn>
              <a:cxn ang="0">
                <a:pos x="580" y="1216"/>
              </a:cxn>
              <a:cxn ang="0">
                <a:pos x="500" y="1182"/>
              </a:cxn>
              <a:cxn ang="0">
                <a:pos x="368" y="1129"/>
              </a:cxn>
              <a:cxn ang="0">
                <a:pos x="278" y="1083"/>
              </a:cxn>
              <a:cxn ang="0">
                <a:pos x="214" y="1049"/>
              </a:cxn>
              <a:cxn ang="0">
                <a:pos x="245" y="1005"/>
              </a:cxn>
              <a:cxn ang="0">
                <a:pos x="312" y="934"/>
              </a:cxn>
              <a:cxn ang="0">
                <a:pos x="341" y="895"/>
              </a:cxn>
              <a:cxn ang="0">
                <a:pos x="372" y="843"/>
              </a:cxn>
              <a:cxn ang="0">
                <a:pos x="310" y="805"/>
              </a:cxn>
              <a:cxn ang="0">
                <a:pos x="276" y="774"/>
              </a:cxn>
              <a:cxn ang="0">
                <a:pos x="234" y="721"/>
              </a:cxn>
              <a:cxn ang="0">
                <a:pos x="166" y="703"/>
              </a:cxn>
              <a:cxn ang="0">
                <a:pos x="29" y="670"/>
              </a:cxn>
            </a:cxnLst>
            <a:rect l="0" t="0" r="r" b="b"/>
            <a:pathLst>
              <a:path w="2033" h="1468">
                <a:moveTo>
                  <a:pt x="10" y="635"/>
                </a:moveTo>
                <a:lnTo>
                  <a:pt x="12" y="628"/>
                </a:lnTo>
                <a:lnTo>
                  <a:pt x="13" y="619"/>
                </a:lnTo>
                <a:lnTo>
                  <a:pt x="13" y="610"/>
                </a:lnTo>
                <a:lnTo>
                  <a:pt x="13" y="602"/>
                </a:lnTo>
                <a:lnTo>
                  <a:pt x="9" y="602"/>
                </a:lnTo>
                <a:lnTo>
                  <a:pt x="7" y="601"/>
                </a:lnTo>
                <a:lnTo>
                  <a:pt x="7" y="600"/>
                </a:lnTo>
                <a:lnTo>
                  <a:pt x="7" y="599"/>
                </a:lnTo>
                <a:lnTo>
                  <a:pt x="7" y="597"/>
                </a:lnTo>
                <a:lnTo>
                  <a:pt x="6" y="596"/>
                </a:lnTo>
                <a:lnTo>
                  <a:pt x="4" y="595"/>
                </a:lnTo>
                <a:lnTo>
                  <a:pt x="0" y="595"/>
                </a:lnTo>
                <a:lnTo>
                  <a:pt x="0" y="556"/>
                </a:lnTo>
                <a:lnTo>
                  <a:pt x="7" y="549"/>
                </a:lnTo>
                <a:lnTo>
                  <a:pt x="23" y="544"/>
                </a:lnTo>
                <a:lnTo>
                  <a:pt x="39" y="537"/>
                </a:lnTo>
                <a:lnTo>
                  <a:pt x="41" y="533"/>
                </a:lnTo>
                <a:lnTo>
                  <a:pt x="43" y="528"/>
                </a:lnTo>
                <a:lnTo>
                  <a:pt x="47" y="525"/>
                </a:lnTo>
                <a:lnTo>
                  <a:pt x="52" y="524"/>
                </a:lnTo>
                <a:lnTo>
                  <a:pt x="58" y="517"/>
                </a:lnTo>
                <a:lnTo>
                  <a:pt x="58" y="505"/>
                </a:lnTo>
                <a:lnTo>
                  <a:pt x="61" y="503"/>
                </a:lnTo>
                <a:lnTo>
                  <a:pt x="62" y="496"/>
                </a:lnTo>
                <a:lnTo>
                  <a:pt x="63" y="486"/>
                </a:lnTo>
                <a:lnTo>
                  <a:pt x="64" y="475"/>
                </a:lnTo>
                <a:lnTo>
                  <a:pt x="65" y="452"/>
                </a:lnTo>
                <a:lnTo>
                  <a:pt x="65" y="440"/>
                </a:lnTo>
                <a:lnTo>
                  <a:pt x="67" y="436"/>
                </a:lnTo>
                <a:lnTo>
                  <a:pt x="70" y="426"/>
                </a:lnTo>
                <a:lnTo>
                  <a:pt x="72" y="410"/>
                </a:lnTo>
                <a:lnTo>
                  <a:pt x="74" y="393"/>
                </a:lnTo>
                <a:lnTo>
                  <a:pt x="76" y="357"/>
                </a:lnTo>
                <a:lnTo>
                  <a:pt x="77" y="336"/>
                </a:lnTo>
                <a:lnTo>
                  <a:pt x="80" y="334"/>
                </a:lnTo>
                <a:lnTo>
                  <a:pt x="82" y="330"/>
                </a:lnTo>
                <a:lnTo>
                  <a:pt x="83" y="324"/>
                </a:lnTo>
                <a:lnTo>
                  <a:pt x="84" y="316"/>
                </a:lnTo>
                <a:lnTo>
                  <a:pt x="84" y="301"/>
                </a:lnTo>
                <a:lnTo>
                  <a:pt x="84" y="290"/>
                </a:lnTo>
                <a:lnTo>
                  <a:pt x="86" y="289"/>
                </a:lnTo>
                <a:lnTo>
                  <a:pt x="89" y="287"/>
                </a:lnTo>
                <a:lnTo>
                  <a:pt x="90" y="283"/>
                </a:lnTo>
                <a:lnTo>
                  <a:pt x="90" y="277"/>
                </a:lnTo>
                <a:lnTo>
                  <a:pt x="91" y="266"/>
                </a:lnTo>
                <a:lnTo>
                  <a:pt x="91" y="258"/>
                </a:lnTo>
                <a:lnTo>
                  <a:pt x="93" y="258"/>
                </a:lnTo>
                <a:lnTo>
                  <a:pt x="94" y="257"/>
                </a:lnTo>
                <a:lnTo>
                  <a:pt x="95" y="256"/>
                </a:lnTo>
                <a:lnTo>
                  <a:pt x="96" y="255"/>
                </a:lnTo>
                <a:lnTo>
                  <a:pt x="97" y="250"/>
                </a:lnTo>
                <a:lnTo>
                  <a:pt x="97" y="246"/>
                </a:lnTo>
                <a:lnTo>
                  <a:pt x="111" y="246"/>
                </a:lnTo>
                <a:lnTo>
                  <a:pt x="111" y="244"/>
                </a:lnTo>
                <a:lnTo>
                  <a:pt x="113" y="241"/>
                </a:lnTo>
                <a:lnTo>
                  <a:pt x="116" y="239"/>
                </a:lnTo>
                <a:lnTo>
                  <a:pt x="122" y="238"/>
                </a:lnTo>
                <a:lnTo>
                  <a:pt x="133" y="236"/>
                </a:lnTo>
                <a:lnTo>
                  <a:pt x="148" y="235"/>
                </a:lnTo>
                <a:lnTo>
                  <a:pt x="176" y="232"/>
                </a:lnTo>
                <a:lnTo>
                  <a:pt x="195" y="232"/>
                </a:lnTo>
                <a:lnTo>
                  <a:pt x="200" y="238"/>
                </a:lnTo>
                <a:lnTo>
                  <a:pt x="207" y="246"/>
                </a:lnTo>
                <a:lnTo>
                  <a:pt x="211" y="253"/>
                </a:lnTo>
                <a:lnTo>
                  <a:pt x="214" y="258"/>
                </a:lnTo>
                <a:lnTo>
                  <a:pt x="227" y="265"/>
                </a:lnTo>
                <a:lnTo>
                  <a:pt x="228" y="270"/>
                </a:lnTo>
                <a:lnTo>
                  <a:pt x="231" y="276"/>
                </a:lnTo>
                <a:lnTo>
                  <a:pt x="235" y="282"/>
                </a:lnTo>
                <a:lnTo>
                  <a:pt x="240" y="287"/>
                </a:lnTo>
                <a:lnTo>
                  <a:pt x="245" y="294"/>
                </a:lnTo>
                <a:lnTo>
                  <a:pt x="249" y="299"/>
                </a:lnTo>
                <a:lnTo>
                  <a:pt x="252" y="305"/>
                </a:lnTo>
                <a:lnTo>
                  <a:pt x="253" y="311"/>
                </a:lnTo>
                <a:lnTo>
                  <a:pt x="266" y="320"/>
                </a:lnTo>
                <a:lnTo>
                  <a:pt x="284" y="332"/>
                </a:lnTo>
                <a:lnTo>
                  <a:pt x="301" y="344"/>
                </a:lnTo>
                <a:lnTo>
                  <a:pt x="311" y="350"/>
                </a:lnTo>
                <a:lnTo>
                  <a:pt x="317" y="362"/>
                </a:lnTo>
                <a:lnTo>
                  <a:pt x="331" y="362"/>
                </a:lnTo>
                <a:lnTo>
                  <a:pt x="334" y="365"/>
                </a:lnTo>
                <a:lnTo>
                  <a:pt x="341" y="372"/>
                </a:lnTo>
                <a:lnTo>
                  <a:pt x="350" y="379"/>
                </a:lnTo>
                <a:lnTo>
                  <a:pt x="356" y="382"/>
                </a:lnTo>
                <a:lnTo>
                  <a:pt x="356" y="385"/>
                </a:lnTo>
                <a:lnTo>
                  <a:pt x="358" y="388"/>
                </a:lnTo>
                <a:lnTo>
                  <a:pt x="359" y="388"/>
                </a:lnTo>
                <a:lnTo>
                  <a:pt x="360" y="388"/>
                </a:lnTo>
                <a:lnTo>
                  <a:pt x="361" y="388"/>
                </a:lnTo>
                <a:lnTo>
                  <a:pt x="362" y="389"/>
                </a:lnTo>
                <a:lnTo>
                  <a:pt x="362" y="391"/>
                </a:lnTo>
                <a:lnTo>
                  <a:pt x="363" y="394"/>
                </a:lnTo>
                <a:lnTo>
                  <a:pt x="377" y="398"/>
                </a:lnTo>
                <a:lnTo>
                  <a:pt x="396" y="401"/>
                </a:lnTo>
                <a:lnTo>
                  <a:pt x="408" y="414"/>
                </a:lnTo>
                <a:lnTo>
                  <a:pt x="423" y="413"/>
                </a:lnTo>
                <a:lnTo>
                  <a:pt x="438" y="411"/>
                </a:lnTo>
                <a:lnTo>
                  <a:pt x="454" y="408"/>
                </a:lnTo>
                <a:lnTo>
                  <a:pt x="468" y="404"/>
                </a:lnTo>
                <a:lnTo>
                  <a:pt x="483" y="401"/>
                </a:lnTo>
                <a:lnTo>
                  <a:pt x="496" y="398"/>
                </a:lnTo>
                <a:lnTo>
                  <a:pt x="508" y="395"/>
                </a:lnTo>
                <a:lnTo>
                  <a:pt x="518" y="394"/>
                </a:lnTo>
                <a:lnTo>
                  <a:pt x="525" y="388"/>
                </a:lnTo>
                <a:lnTo>
                  <a:pt x="532" y="382"/>
                </a:lnTo>
                <a:lnTo>
                  <a:pt x="533" y="376"/>
                </a:lnTo>
                <a:lnTo>
                  <a:pt x="535" y="373"/>
                </a:lnTo>
                <a:lnTo>
                  <a:pt x="540" y="370"/>
                </a:lnTo>
                <a:lnTo>
                  <a:pt x="544" y="369"/>
                </a:lnTo>
                <a:lnTo>
                  <a:pt x="551" y="362"/>
                </a:lnTo>
                <a:lnTo>
                  <a:pt x="551" y="359"/>
                </a:lnTo>
                <a:lnTo>
                  <a:pt x="552" y="356"/>
                </a:lnTo>
                <a:lnTo>
                  <a:pt x="553" y="355"/>
                </a:lnTo>
                <a:lnTo>
                  <a:pt x="554" y="355"/>
                </a:lnTo>
                <a:lnTo>
                  <a:pt x="555" y="355"/>
                </a:lnTo>
                <a:lnTo>
                  <a:pt x="556" y="355"/>
                </a:lnTo>
                <a:lnTo>
                  <a:pt x="557" y="353"/>
                </a:lnTo>
                <a:lnTo>
                  <a:pt x="557" y="350"/>
                </a:lnTo>
                <a:lnTo>
                  <a:pt x="570" y="346"/>
                </a:lnTo>
                <a:lnTo>
                  <a:pt x="583" y="343"/>
                </a:lnTo>
                <a:lnTo>
                  <a:pt x="584" y="341"/>
                </a:lnTo>
                <a:lnTo>
                  <a:pt x="588" y="338"/>
                </a:lnTo>
                <a:lnTo>
                  <a:pt x="592" y="336"/>
                </a:lnTo>
                <a:lnTo>
                  <a:pt x="596" y="334"/>
                </a:lnTo>
                <a:lnTo>
                  <a:pt x="608" y="331"/>
                </a:lnTo>
                <a:lnTo>
                  <a:pt x="615" y="330"/>
                </a:lnTo>
                <a:lnTo>
                  <a:pt x="622" y="325"/>
                </a:lnTo>
                <a:lnTo>
                  <a:pt x="632" y="321"/>
                </a:lnTo>
                <a:lnTo>
                  <a:pt x="643" y="318"/>
                </a:lnTo>
                <a:lnTo>
                  <a:pt x="655" y="317"/>
                </a:lnTo>
                <a:lnTo>
                  <a:pt x="655" y="315"/>
                </a:lnTo>
                <a:lnTo>
                  <a:pt x="656" y="313"/>
                </a:lnTo>
                <a:lnTo>
                  <a:pt x="657" y="312"/>
                </a:lnTo>
                <a:lnTo>
                  <a:pt x="658" y="311"/>
                </a:lnTo>
                <a:lnTo>
                  <a:pt x="662" y="311"/>
                </a:lnTo>
                <a:lnTo>
                  <a:pt x="667" y="311"/>
                </a:lnTo>
                <a:lnTo>
                  <a:pt x="673" y="297"/>
                </a:lnTo>
                <a:lnTo>
                  <a:pt x="680" y="290"/>
                </a:lnTo>
                <a:lnTo>
                  <a:pt x="690" y="287"/>
                </a:lnTo>
                <a:lnTo>
                  <a:pt x="699" y="285"/>
                </a:lnTo>
                <a:lnTo>
                  <a:pt x="700" y="278"/>
                </a:lnTo>
                <a:lnTo>
                  <a:pt x="704" y="273"/>
                </a:lnTo>
                <a:lnTo>
                  <a:pt x="706" y="269"/>
                </a:lnTo>
                <a:lnTo>
                  <a:pt x="708" y="267"/>
                </a:lnTo>
                <a:lnTo>
                  <a:pt x="710" y="266"/>
                </a:lnTo>
                <a:lnTo>
                  <a:pt x="713" y="265"/>
                </a:lnTo>
                <a:lnTo>
                  <a:pt x="714" y="259"/>
                </a:lnTo>
                <a:lnTo>
                  <a:pt x="715" y="255"/>
                </a:lnTo>
                <a:lnTo>
                  <a:pt x="717" y="251"/>
                </a:lnTo>
                <a:lnTo>
                  <a:pt x="719" y="249"/>
                </a:lnTo>
                <a:lnTo>
                  <a:pt x="721" y="246"/>
                </a:lnTo>
                <a:lnTo>
                  <a:pt x="724" y="244"/>
                </a:lnTo>
                <a:lnTo>
                  <a:pt x="725" y="239"/>
                </a:lnTo>
                <a:lnTo>
                  <a:pt x="726" y="232"/>
                </a:lnTo>
                <a:lnTo>
                  <a:pt x="729" y="232"/>
                </a:lnTo>
                <a:lnTo>
                  <a:pt x="733" y="231"/>
                </a:lnTo>
                <a:lnTo>
                  <a:pt x="736" y="230"/>
                </a:lnTo>
                <a:lnTo>
                  <a:pt x="738" y="229"/>
                </a:lnTo>
                <a:lnTo>
                  <a:pt x="740" y="225"/>
                </a:lnTo>
                <a:lnTo>
                  <a:pt x="745" y="220"/>
                </a:lnTo>
                <a:lnTo>
                  <a:pt x="746" y="216"/>
                </a:lnTo>
                <a:lnTo>
                  <a:pt x="751" y="210"/>
                </a:lnTo>
                <a:lnTo>
                  <a:pt x="755" y="202"/>
                </a:lnTo>
                <a:lnTo>
                  <a:pt x="762" y="195"/>
                </a:lnTo>
                <a:lnTo>
                  <a:pt x="768" y="187"/>
                </a:lnTo>
                <a:lnTo>
                  <a:pt x="775" y="180"/>
                </a:lnTo>
                <a:lnTo>
                  <a:pt x="781" y="176"/>
                </a:lnTo>
                <a:lnTo>
                  <a:pt x="784" y="174"/>
                </a:lnTo>
                <a:lnTo>
                  <a:pt x="785" y="168"/>
                </a:lnTo>
                <a:lnTo>
                  <a:pt x="787" y="161"/>
                </a:lnTo>
                <a:lnTo>
                  <a:pt x="791" y="154"/>
                </a:lnTo>
                <a:lnTo>
                  <a:pt x="795" y="147"/>
                </a:lnTo>
                <a:lnTo>
                  <a:pt x="807" y="130"/>
                </a:lnTo>
                <a:lnTo>
                  <a:pt x="821" y="114"/>
                </a:lnTo>
                <a:lnTo>
                  <a:pt x="835" y="97"/>
                </a:lnTo>
                <a:lnTo>
                  <a:pt x="850" y="83"/>
                </a:lnTo>
                <a:lnTo>
                  <a:pt x="861" y="68"/>
                </a:lnTo>
                <a:lnTo>
                  <a:pt x="868" y="58"/>
                </a:lnTo>
                <a:lnTo>
                  <a:pt x="874" y="56"/>
                </a:lnTo>
                <a:lnTo>
                  <a:pt x="884" y="51"/>
                </a:lnTo>
                <a:lnTo>
                  <a:pt x="893" y="44"/>
                </a:lnTo>
                <a:lnTo>
                  <a:pt x="900" y="38"/>
                </a:lnTo>
                <a:lnTo>
                  <a:pt x="906" y="38"/>
                </a:lnTo>
                <a:lnTo>
                  <a:pt x="912" y="37"/>
                </a:lnTo>
                <a:lnTo>
                  <a:pt x="916" y="37"/>
                </a:lnTo>
                <a:lnTo>
                  <a:pt x="918" y="36"/>
                </a:lnTo>
                <a:lnTo>
                  <a:pt x="919" y="34"/>
                </a:lnTo>
                <a:lnTo>
                  <a:pt x="920" y="32"/>
                </a:lnTo>
                <a:lnTo>
                  <a:pt x="939" y="32"/>
                </a:lnTo>
                <a:lnTo>
                  <a:pt x="939" y="29"/>
                </a:lnTo>
                <a:lnTo>
                  <a:pt x="940" y="28"/>
                </a:lnTo>
                <a:lnTo>
                  <a:pt x="941" y="27"/>
                </a:lnTo>
                <a:lnTo>
                  <a:pt x="944" y="26"/>
                </a:lnTo>
                <a:lnTo>
                  <a:pt x="947" y="26"/>
                </a:lnTo>
                <a:lnTo>
                  <a:pt x="953" y="26"/>
                </a:lnTo>
                <a:lnTo>
                  <a:pt x="953" y="22"/>
                </a:lnTo>
                <a:lnTo>
                  <a:pt x="954" y="19"/>
                </a:lnTo>
                <a:lnTo>
                  <a:pt x="954" y="19"/>
                </a:lnTo>
                <a:lnTo>
                  <a:pt x="956" y="19"/>
                </a:lnTo>
                <a:lnTo>
                  <a:pt x="957" y="19"/>
                </a:lnTo>
                <a:lnTo>
                  <a:pt x="958" y="18"/>
                </a:lnTo>
                <a:lnTo>
                  <a:pt x="958" y="16"/>
                </a:lnTo>
                <a:lnTo>
                  <a:pt x="958" y="13"/>
                </a:lnTo>
                <a:lnTo>
                  <a:pt x="973" y="11"/>
                </a:lnTo>
                <a:lnTo>
                  <a:pt x="985" y="9"/>
                </a:lnTo>
                <a:lnTo>
                  <a:pt x="997" y="7"/>
                </a:lnTo>
                <a:lnTo>
                  <a:pt x="1011" y="6"/>
                </a:lnTo>
                <a:lnTo>
                  <a:pt x="1011" y="4"/>
                </a:lnTo>
                <a:lnTo>
                  <a:pt x="1013" y="3"/>
                </a:lnTo>
                <a:lnTo>
                  <a:pt x="1016" y="1"/>
                </a:lnTo>
                <a:lnTo>
                  <a:pt x="1020" y="0"/>
                </a:lnTo>
                <a:lnTo>
                  <a:pt x="1030" y="0"/>
                </a:lnTo>
                <a:lnTo>
                  <a:pt x="1041" y="1"/>
                </a:lnTo>
                <a:lnTo>
                  <a:pt x="1062" y="4"/>
                </a:lnTo>
                <a:lnTo>
                  <a:pt x="1075" y="6"/>
                </a:lnTo>
                <a:lnTo>
                  <a:pt x="1094" y="16"/>
                </a:lnTo>
                <a:lnTo>
                  <a:pt x="1137" y="40"/>
                </a:lnTo>
                <a:lnTo>
                  <a:pt x="1159" y="55"/>
                </a:lnTo>
                <a:lnTo>
                  <a:pt x="1179" y="68"/>
                </a:lnTo>
                <a:lnTo>
                  <a:pt x="1187" y="75"/>
                </a:lnTo>
                <a:lnTo>
                  <a:pt x="1193" y="81"/>
                </a:lnTo>
                <a:lnTo>
                  <a:pt x="1197" y="86"/>
                </a:lnTo>
                <a:lnTo>
                  <a:pt x="1198" y="91"/>
                </a:lnTo>
                <a:lnTo>
                  <a:pt x="1205" y="92"/>
                </a:lnTo>
                <a:lnTo>
                  <a:pt x="1210" y="94"/>
                </a:lnTo>
                <a:lnTo>
                  <a:pt x="1214" y="99"/>
                </a:lnTo>
                <a:lnTo>
                  <a:pt x="1218" y="103"/>
                </a:lnTo>
                <a:lnTo>
                  <a:pt x="1223" y="107"/>
                </a:lnTo>
                <a:lnTo>
                  <a:pt x="1228" y="112"/>
                </a:lnTo>
                <a:lnTo>
                  <a:pt x="1232" y="114"/>
                </a:lnTo>
                <a:lnTo>
                  <a:pt x="1235" y="115"/>
                </a:lnTo>
                <a:lnTo>
                  <a:pt x="1239" y="115"/>
                </a:lnTo>
                <a:lnTo>
                  <a:pt x="1244" y="116"/>
                </a:lnTo>
                <a:lnTo>
                  <a:pt x="1263" y="129"/>
                </a:lnTo>
                <a:lnTo>
                  <a:pt x="1266" y="134"/>
                </a:lnTo>
                <a:lnTo>
                  <a:pt x="1271" y="139"/>
                </a:lnTo>
                <a:lnTo>
                  <a:pt x="1275" y="144"/>
                </a:lnTo>
                <a:lnTo>
                  <a:pt x="1281" y="150"/>
                </a:lnTo>
                <a:lnTo>
                  <a:pt x="1295" y="161"/>
                </a:lnTo>
                <a:lnTo>
                  <a:pt x="1312" y="171"/>
                </a:lnTo>
                <a:lnTo>
                  <a:pt x="1329" y="180"/>
                </a:lnTo>
                <a:lnTo>
                  <a:pt x="1347" y="188"/>
                </a:lnTo>
                <a:lnTo>
                  <a:pt x="1356" y="190"/>
                </a:lnTo>
                <a:lnTo>
                  <a:pt x="1364" y="192"/>
                </a:lnTo>
                <a:lnTo>
                  <a:pt x="1372" y="193"/>
                </a:lnTo>
                <a:lnTo>
                  <a:pt x="1380" y="193"/>
                </a:lnTo>
                <a:lnTo>
                  <a:pt x="1386" y="199"/>
                </a:lnTo>
                <a:lnTo>
                  <a:pt x="1394" y="205"/>
                </a:lnTo>
                <a:lnTo>
                  <a:pt x="1402" y="210"/>
                </a:lnTo>
                <a:lnTo>
                  <a:pt x="1412" y="215"/>
                </a:lnTo>
                <a:lnTo>
                  <a:pt x="1421" y="219"/>
                </a:lnTo>
                <a:lnTo>
                  <a:pt x="1430" y="222"/>
                </a:lnTo>
                <a:lnTo>
                  <a:pt x="1438" y="226"/>
                </a:lnTo>
                <a:lnTo>
                  <a:pt x="1445" y="226"/>
                </a:lnTo>
                <a:lnTo>
                  <a:pt x="1450" y="239"/>
                </a:lnTo>
                <a:lnTo>
                  <a:pt x="1455" y="239"/>
                </a:lnTo>
                <a:lnTo>
                  <a:pt x="1459" y="241"/>
                </a:lnTo>
                <a:lnTo>
                  <a:pt x="1464" y="244"/>
                </a:lnTo>
                <a:lnTo>
                  <a:pt x="1468" y="247"/>
                </a:lnTo>
                <a:lnTo>
                  <a:pt x="1478" y="256"/>
                </a:lnTo>
                <a:lnTo>
                  <a:pt x="1490" y="265"/>
                </a:lnTo>
                <a:lnTo>
                  <a:pt x="1501" y="275"/>
                </a:lnTo>
                <a:lnTo>
                  <a:pt x="1511" y="283"/>
                </a:lnTo>
                <a:lnTo>
                  <a:pt x="1516" y="286"/>
                </a:lnTo>
                <a:lnTo>
                  <a:pt x="1521" y="288"/>
                </a:lnTo>
                <a:lnTo>
                  <a:pt x="1525" y="290"/>
                </a:lnTo>
                <a:lnTo>
                  <a:pt x="1529" y="290"/>
                </a:lnTo>
                <a:lnTo>
                  <a:pt x="1529" y="294"/>
                </a:lnTo>
                <a:lnTo>
                  <a:pt x="1531" y="296"/>
                </a:lnTo>
                <a:lnTo>
                  <a:pt x="1533" y="298"/>
                </a:lnTo>
                <a:lnTo>
                  <a:pt x="1536" y="301"/>
                </a:lnTo>
                <a:lnTo>
                  <a:pt x="1542" y="305"/>
                </a:lnTo>
                <a:lnTo>
                  <a:pt x="1548" y="311"/>
                </a:lnTo>
                <a:lnTo>
                  <a:pt x="1568" y="311"/>
                </a:lnTo>
                <a:lnTo>
                  <a:pt x="1571" y="315"/>
                </a:lnTo>
                <a:lnTo>
                  <a:pt x="1575" y="318"/>
                </a:lnTo>
                <a:lnTo>
                  <a:pt x="1581" y="321"/>
                </a:lnTo>
                <a:lnTo>
                  <a:pt x="1588" y="323"/>
                </a:lnTo>
                <a:lnTo>
                  <a:pt x="1594" y="326"/>
                </a:lnTo>
                <a:lnTo>
                  <a:pt x="1601" y="328"/>
                </a:lnTo>
                <a:lnTo>
                  <a:pt x="1608" y="332"/>
                </a:lnTo>
                <a:lnTo>
                  <a:pt x="1612" y="336"/>
                </a:lnTo>
                <a:lnTo>
                  <a:pt x="1626" y="337"/>
                </a:lnTo>
                <a:lnTo>
                  <a:pt x="1638" y="342"/>
                </a:lnTo>
                <a:lnTo>
                  <a:pt x="1651" y="346"/>
                </a:lnTo>
                <a:lnTo>
                  <a:pt x="1664" y="352"/>
                </a:lnTo>
                <a:lnTo>
                  <a:pt x="1676" y="359"/>
                </a:lnTo>
                <a:lnTo>
                  <a:pt x="1688" y="363"/>
                </a:lnTo>
                <a:lnTo>
                  <a:pt x="1699" y="367"/>
                </a:lnTo>
                <a:lnTo>
                  <a:pt x="1709" y="369"/>
                </a:lnTo>
                <a:lnTo>
                  <a:pt x="1723" y="382"/>
                </a:lnTo>
                <a:lnTo>
                  <a:pt x="1742" y="382"/>
                </a:lnTo>
                <a:lnTo>
                  <a:pt x="1751" y="388"/>
                </a:lnTo>
                <a:lnTo>
                  <a:pt x="1763" y="393"/>
                </a:lnTo>
                <a:lnTo>
                  <a:pt x="1770" y="397"/>
                </a:lnTo>
                <a:lnTo>
                  <a:pt x="1776" y="399"/>
                </a:lnTo>
                <a:lnTo>
                  <a:pt x="1782" y="400"/>
                </a:lnTo>
                <a:lnTo>
                  <a:pt x="1788" y="401"/>
                </a:lnTo>
                <a:lnTo>
                  <a:pt x="1788" y="403"/>
                </a:lnTo>
                <a:lnTo>
                  <a:pt x="1789" y="404"/>
                </a:lnTo>
                <a:lnTo>
                  <a:pt x="1790" y="405"/>
                </a:lnTo>
                <a:lnTo>
                  <a:pt x="1792" y="407"/>
                </a:lnTo>
                <a:lnTo>
                  <a:pt x="1795" y="408"/>
                </a:lnTo>
                <a:lnTo>
                  <a:pt x="1801" y="408"/>
                </a:lnTo>
                <a:lnTo>
                  <a:pt x="1807" y="414"/>
                </a:lnTo>
                <a:lnTo>
                  <a:pt x="1813" y="427"/>
                </a:lnTo>
                <a:lnTo>
                  <a:pt x="1827" y="433"/>
                </a:lnTo>
                <a:lnTo>
                  <a:pt x="1839" y="440"/>
                </a:lnTo>
                <a:lnTo>
                  <a:pt x="1841" y="443"/>
                </a:lnTo>
                <a:lnTo>
                  <a:pt x="1846" y="448"/>
                </a:lnTo>
                <a:lnTo>
                  <a:pt x="1852" y="453"/>
                </a:lnTo>
                <a:lnTo>
                  <a:pt x="1860" y="458"/>
                </a:lnTo>
                <a:lnTo>
                  <a:pt x="1875" y="468"/>
                </a:lnTo>
                <a:lnTo>
                  <a:pt x="1885" y="472"/>
                </a:lnTo>
                <a:lnTo>
                  <a:pt x="1886" y="475"/>
                </a:lnTo>
                <a:lnTo>
                  <a:pt x="1887" y="477"/>
                </a:lnTo>
                <a:lnTo>
                  <a:pt x="1889" y="479"/>
                </a:lnTo>
                <a:lnTo>
                  <a:pt x="1893" y="481"/>
                </a:lnTo>
                <a:lnTo>
                  <a:pt x="1898" y="484"/>
                </a:lnTo>
                <a:lnTo>
                  <a:pt x="1904" y="485"/>
                </a:lnTo>
                <a:lnTo>
                  <a:pt x="1905" y="489"/>
                </a:lnTo>
                <a:lnTo>
                  <a:pt x="1905" y="490"/>
                </a:lnTo>
                <a:lnTo>
                  <a:pt x="1906" y="491"/>
                </a:lnTo>
                <a:lnTo>
                  <a:pt x="1907" y="491"/>
                </a:lnTo>
                <a:lnTo>
                  <a:pt x="1908" y="491"/>
                </a:lnTo>
                <a:lnTo>
                  <a:pt x="1909" y="492"/>
                </a:lnTo>
                <a:lnTo>
                  <a:pt x="1910" y="495"/>
                </a:lnTo>
                <a:lnTo>
                  <a:pt x="1910" y="498"/>
                </a:lnTo>
                <a:lnTo>
                  <a:pt x="1920" y="499"/>
                </a:lnTo>
                <a:lnTo>
                  <a:pt x="1930" y="501"/>
                </a:lnTo>
                <a:lnTo>
                  <a:pt x="1939" y="504"/>
                </a:lnTo>
                <a:lnTo>
                  <a:pt x="1949" y="505"/>
                </a:lnTo>
                <a:lnTo>
                  <a:pt x="1949" y="508"/>
                </a:lnTo>
                <a:lnTo>
                  <a:pt x="1951" y="510"/>
                </a:lnTo>
                <a:lnTo>
                  <a:pt x="1952" y="511"/>
                </a:lnTo>
                <a:lnTo>
                  <a:pt x="1953" y="511"/>
                </a:lnTo>
                <a:lnTo>
                  <a:pt x="1954" y="511"/>
                </a:lnTo>
                <a:lnTo>
                  <a:pt x="1955" y="511"/>
                </a:lnTo>
                <a:lnTo>
                  <a:pt x="1956" y="514"/>
                </a:lnTo>
                <a:lnTo>
                  <a:pt x="1956" y="517"/>
                </a:lnTo>
                <a:lnTo>
                  <a:pt x="1975" y="517"/>
                </a:lnTo>
                <a:lnTo>
                  <a:pt x="1976" y="519"/>
                </a:lnTo>
                <a:lnTo>
                  <a:pt x="1977" y="522"/>
                </a:lnTo>
                <a:lnTo>
                  <a:pt x="1980" y="523"/>
                </a:lnTo>
                <a:lnTo>
                  <a:pt x="1983" y="523"/>
                </a:lnTo>
                <a:lnTo>
                  <a:pt x="1990" y="524"/>
                </a:lnTo>
                <a:lnTo>
                  <a:pt x="1995" y="524"/>
                </a:lnTo>
                <a:lnTo>
                  <a:pt x="1995" y="526"/>
                </a:lnTo>
                <a:lnTo>
                  <a:pt x="1996" y="528"/>
                </a:lnTo>
                <a:lnTo>
                  <a:pt x="1997" y="529"/>
                </a:lnTo>
                <a:lnTo>
                  <a:pt x="1999" y="529"/>
                </a:lnTo>
                <a:lnTo>
                  <a:pt x="2003" y="530"/>
                </a:lnTo>
                <a:lnTo>
                  <a:pt x="2007" y="530"/>
                </a:lnTo>
                <a:lnTo>
                  <a:pt x="2007" y="544"/>
                </a:lnTo>
                <a:lnTo>
                  <a:pt x="2012" y="544"/>
                </a:lnTo>
                <a:lnTo>
                  <a:pt x="2013" y="545"/>
                </a:lnTo>
                <a:lnTo>
                  <a:pt x="2014" y="545"/>
                </a:lnTo>
                <a:lnTo>
                  <a:pt x="2014" y="547"/>
                </a:lnTo>
                <a:lnTo>
                  <a:pt x="2014" y="548"/>
                </a:lnTo>
                <a:lnTo>
                  <a:pt x="2015" y="549"/>
                </a:lnTo>
                <a:lnTo>
                  <a:pt x="2018" y="549"/>
                </a:lnTo>
                <a:lnTo>
                  <a:pt x="2021" y="549"/>
                </a:lnTo>
                <a:lnTo>
                  <a:pt x="2023" y="573"/>
                </a:lnTo>
                <a:lnTo>
                  <a:pt x="2028" y="600"/>
                </a:lnTo>
                <a:lnTo>
                  <a:pt x="2032" y="628"/>
                </a:lnTo>
                <a:lnTo>
                  <a:pt x="2033" y="653"/>
                </a:lnTo>
                <a:lnTo>
                  <a:pt x="2032" y="654"/>
                </a:lnTo>
                <a:lnTo>
                  <a:pt x="2030" y="655"/>
                </a:lnTo>
                <a:lnTo>
                  <a:pt x="2029" y="658"/>
                </a:lnTo>
                <a:lnTo>
                  <a:pt x="2028" y="661"/>
                </a:lnTo>
                <a:lnTo>
                  <a:pt x="2028" y="667"/>
                </a:lnTo>
                <a:lnTo>
                  <a:pt x="2028" y="673"/>
                </a:lnTo>
                <a:lnTo>
                  <a:pt x="2025" y="673"/>
                </a:lnTo>
                <a:lnTo>
                  <a:pt x="2023" y="674"/>
                </a:lnTo>
                <a:lnTo>
                  <a:pt x="2022" y="676"/>
                </a:lnTo>
                <a:lnTo>
                  <a:pt x="2022" y="677"/>
                </a:lnTo>
                <a:lnTo>
                  <a:pt x="2021" y="681"/>
                </a:lnTo>
                <a:lnTo>
                  <a:pt x="2021" y="686"/>
                </a:lnTo>
                <a:lnTo>
                  <a:pt x="2007" y="686"/>
                </a:lnTo>
                <a:lnTo>
                  <a:pt x="2001" y="692"/>
                </a:lnTo>
                <a:lnTo>
                  <a:pt x="1995" y="699"/>
                </a:lnTo>
                <a:lnTo>
                  <a:pt x="1995" y="709"/>
                </a:lnTo>
                <a:lnTo>
                  <a:pt x="1995" y="718"/>
                </a:lnTo>
                <a:lnTo>
                  <a:pt x="1993" y="720"/>
                </a:lnTo>
                <a:lnTo>
                  <a:pt x="1991" y="724"/>
                </a:lnTo>
                <a:lnTo>
                  <a:pt x="1990" y="729"/>
                </a:lnTo>
                <a:lnTo>
                  <a:pt x="1990" y="735"/>
                </a:lnTo>
                <a:lnTo>
                  <a:pt x="1989" y="748"/>
                </a:lnTo>
                <a:lnTo>
                  <a:pt x="1989" y="757"/>
                </a:lnTo>
                <a:lnTo>
                  <a:pt x="1991" y="758"/>
                </a:lnTo>
                <a:lnTo>
                  <a:pt x="1992" y="760"/>
                </a:lnTo>
                <a:lnTo>
                  <a:pt x="1993" y="764"/>
                </a:lnTo>
                <a:lnTo>
                  <a:pt x="1994" y="767"/>
                </a:lnTo>
                <a:lnTo>
                  <a:pt x="1994" y="778"/>
                </a:lnTo>
                <a:lnTo>
                  <a:pt x="1993" y="792"/>
                </a:lnTo>
                <a:lnTo>
                  <a:pt x="1990" y="817"/>
                </a:lnTo>
                <a:lnTo>
                  <a:pt x="1989" y="835"/>
                </a:lnTo>
                <a:lnTo>
                  <a:pt x="1986" y="835"/>
                </a:lnTo>
                <a:lnTo>
                  <a:pt x="1985" y="836"/>
                </a:lnTo>
                <a:lnTo>
                  <a:pt x="1983" y="837"/>
                </a:lnTo>
                <a:lnTo>
                  <a:pt x="1983" y="838"/>
                </a:lnTo>
                <a:lnTo>
                  <a:pt x="1982" y="843"/>
                </a:lnTo>
                <a:lnTo>
                  <a:pt x="1982" y="847"/>
                </a:lnTo>
                <a:lnTo>
                  <a:pt x="1978" y="850"/>
                </a:lnTo>
                <a:lnTo>
                  <a:pt x="1975" y="853"/>
                </a:lnTo>
                <a:lnTo>
                  <a:pt x="1971" y="857"/>
                </a:lnTo>
                <a:lnTo>
                  <a:pt x="1965" y="864"/>
                </a:lnTo>
                <a:lnTo>
                  <a:pt x="1959" y="870"/>
                </a:lnTo>
                <a:lnTo>
                  <a:pt x="1954" y="875"/>
                </a:lnTo>
                <a:lnTo>
                  <a:pt x="1948" y="879"/>
                </a:lnTo>
                <a:lnTo>
                  <a:pt x="1943" y="880"/>
                </a:lnTo>
                <a:lnTo>
                  <a:pt x="1934" y="890"/>
                </a:lnTo>
                <a:lnTo>
                  <a:pt x="1924" y="900"/>
                </a:lnTo>
                <a:lnTo>
                  <a:pt x="1910" y="900"/>
                </a:lnTo>
                <a:lnTo>
                  <a:pt x="1910" y="902"/>
                </a:lnTo>
                <a:lnTo>
                  <a:pt x="1908" y="904"/>
                </a:lnTo>
                <a:lnTo>
                  <a:pt x="1906" y="907"/>
                </a:lnTo>
                <a:lnTo>
                  <a:pt x="1904" y="909"/>
                </a:lnTo>
                <a:lnTo>
                  <a:pt x="1897" y="911"/>
                </a:lnTo>
                <a:lnTo>
                  <a:pt x="1891" y="912"/>
                </a:lnTo>
                <a:lnTo>
                  <a:pt x="1871" y="932"/>
                </a:lnTo>
                <a:lnTo>
                  <a:pt x="1871" y="945"/>
                </a:lnTo>
                <a:lnTo>
                  <a:pt x="1870" y="946"/>
                </a:lnTo>
                <a:lnTo>
                  <a:pt x="1868" y="947"/>
                </a:lnTo>
                <a:lnTo>
                  <a:pt x="1867" y="949"/>
                </a:lnTo>
                <a:lnTo>
                  <a:pt x="1866" y="952"/>
                </a:lnTo>
                <a:lnTo>
                  <a:pt x="1866" y="959"/>
                </a:lnTo>
                <a:lnTo>
                  <a:pt x="1866" y="965"/>
                </a:lnTo>
                <a:lnTo>
                  <a:pt x="1852" y="965"/>
                </a:lnTo>
                <a:lnTo>
                  <a:pt x="1852" y="969"/>
                </a:lnTo>
                <a:lnTo>
                  <a:pt x="1850" y="972"/>
                </a:lnTo>
                <a:lnTo>
                  <a:pt x="1848" y="977"/>
                </a:lnTo>
                <a:lnTo>
                  <a:pt x="1846" y="979"/>
                </a:lnTo>
                <a:lnTo>
                  <a:pt x="1839" y="985"/>
                </a:lnTo>
                <a:lnTo>
                  <a:pt x="1833" y="990"/>
                </a:lnTo>
                <a:lnTo>
                  <a:pt x="1820" y="990"/>
                </a:lnTo>
                <a:lnTo>
                  <a:pt x="1819" y="992"/>
                </a:lnTo>
                <a:lnTo>
                  <a:pt x="1815" y="994"/>
                </a:lnTo>
                <a:lnTo>
                  <a:pt x="1812" y="996"/>
                </a:lnTo>
                <a:lnTo>
                  <a:pt x="1807" y="997"/>
                </a:lnTo>
                <a:lnTo>
                  <a:pt x="1802" y="999"/>
                </a:lnTo>
                <a:lnTo>
                  <a:pt x="1798" y="1003"/>
                </a:lnTo>
                <a:lnTo>
                  <a:pt x="1795" y="1005"/>
                </a:lnTo>
                <a:lnTo>
                  <a:pt x="1794" y="1009"/>
                </a:lnTo>
                <a:lnTo>
                  <a:pt x="1781" y="1009"/>
                </a:lnTo>
                <a:lnTo>
                  <a:pt x="1774" y="1016"/>
                </a:lnTo>
                <a:lnTo>
                  <a:pt x="1765" y="1025"/>
                </a:lnTo>
                <a:lnTo>
                  <a:pt x="1760" y="1029"/>
                </a:lnTo>
                <a:lnTo>
                  <a:pt x="1755" y="1033"/>
                </a:lnTo>
                <a:lnTo>
                  <a:pt x="1752" y="1035"/>
                </a:lnTo>
                <a:lnTo>
                  <a:pt x="1748" y="1036"/>
                </a:lnTo>
                <a:lnTo>
                  <a:pt x="1748" y="1038"/>
                </a:lnTo>
                <a:lnTo>
                  <a:pt x="1746" y="1042"/>
                </a:lnTo>
                <a:lnTo>
                  <a:pt x="1744" y="1045"/>
                </a:lnTo>
                <a:lnTo>
                  <a:pt x="1742" y="1047"/>
                </a:lnTo>
                <a:lnTo>
                  <a:pt x="1738" y="1051"/>
                </a:lnTo>
                <a:lnTo>
                  <a:pt x="1735" y="1053"/>
                </a:lnTo>
                <a:lnTo>
                  <a:pt x="1732" y="1054"/>
                </a:lnTo>
                <a:lnTo>
                  <a:pt x="1730" y="1055"/>
                </a:lnTo>
                <a:lnTo>
                  <a:pt x="1728" y="1061"/>
                </a:lnTo>
                <a:lnTo>
                  <a:pt x="1725" y="1067"/>
                </a:lnTo>
                <a:lnTo>
                  <a:pt x="1721" y="1075"/>
                </a:lnTo>
                <a:lnTo>
                  <a:pt x="1715" y="1083"/>
                </a:lnTo>
                <a:lnTo>
                  <a:pt x="1711" y="1090"/>
                </a:lnTo>
                <a:lnTo>
                  <a:pt x="1705" y="1095"/>
                </a:lnTo>
                <a:lnTo>
                  <a:pt x="1700" y="1099"/>
                </a:lnTo>
                <a:lnTo>
                  <a:pt x="1697" y="1101"/>
                </a:lnTo>
                <a:lnTo>
                  <a:pt x="1696" y="1106"/>
                </a:lnTo>
                <a:lnTo>
                  <a:pt x="1694" y="1115"/>
                </a:lnTo>
                <a:lnTo>
                  <a:pt x="1690" y="1124"/>
                </a:lnTo>
                <a:lnTo>
                  <a:pt x="1686" y="1134"/>
                </a:lnTo>
                <a:lnTo>
                  <a:pt x="1682" y="1143"/>
                </a:lnTo>
                <a:lnTo>
                  <a:pt x="1678" y="1151"/>
                </a:lnTo>
                <a:lnTo>
                  <a:pt x="1674" y="1157"/>
                </a:lnTo>
                <a:lnTo>
                  <a:pt x="1671" y="1159"/>
                </a:lnTo>
                <a:lnTo>
                  <a:pt x="1679" y="1195"/>
                </a:lnTo>
                <a:lnTo>
                  <a:pt x="1688" y="1230"/>
                </a:lnTo>
                <a:lnTo>
                  <a:pt x="1695" y="1265"/>
                </a:lnTo>
                <a:lnTo>
                  <a:pt x="1703" y="1298"/>
                </a:lnTo>
                <a:lnTo>
                  <a:pt x="1693" y="1299"/>
                </a:lnTo>
                <a:lnTo>
                  <a:pt x="1688" y="1299"/>
                </a:lnTo>
                <a:lnTo>
                  <a:pt x="1686" y="1301"/>
                </a:lnTo>
                <a:lnTo>
                  <a:pt x="1685" y="1301"/>
                </a:lnTo>
                <a:lnTo>
                  <a:pt x="1685" y="1302"/>
                </a:lnTo>
                <a:lnTo>
                  <a:pt x="1685" y="1303"/>
                </a:lnTo>
                <a:lnTo>
                  <a:pt x="1684" y="1303"/>
                </a:lnTo>
                <a:lnTo>
                  <a:pt x="1680" y="1303"/>
                </a:lnTo>
                <a:lnTo>
                  <a:pt x="1676" y="1312"/>
                </a:lnTo>
                <a:lnTo>
                  <a:pt x="1665" y="1318"/>
                </a:lnTo>
                <a:lnTo>
                  <a:pt x="1654" y="1325"/>
                </a:lnTo>
                <a:lnTo>
                  <a:pt x="1649" y="1330"/>
                </a:lnTo>
                <a:lnTo>
                  <a:pt x="1645" y="1334"/>
                </a:lnTo>
                <a:lnTo>
                  <a:pt x="1645" y="1343"/>
                </a:lnTo>
                <a:lnTo>
                  <a:pt x="1640" y="1347"/>
                </a:lnTo>
                <a:lnTo>
                  <a:pt x="1636" y="1352"/>
                </a:lnTo>
                <a:lnTo>
                  <a:pt x="1636" y="1365"/>
                </a:lnTo>
                <a:lnTo>
                  <a:pt x="1631" y="1371"/>
                </a:lnTo>
                <a:lnTo>
                  <a:pt x="1627" y="1379"/>
                </a:lnTo>
                <a:lnTo>
                  <a:pt x="1623" y="1379"/>
                </a:lnTo>
                <a:lnTo>
                  <a:pt x="1621" y="1380"/>
                </a:lnTo>
                <a:lnTo>
                  <a:pt x="1619" y="1381"/>
                </a:lnTo>
                <a:lnTo>
                  <a:pt x="1618" y="1383"/>
                </a:lnTo>
                <a:lnTo>
                  <a:pt x="1610" y="1385"/>
                </a:lnTo>
                <a:lnTo>
                  <a:pt x="1604" y="1388"/>
                </a:lnTo>
                <a:lnTo>
                  <a:pt x="1497" y="1383"/>
                </a:lnTo>
                <a:lnTo>
                  <a:pt x="1496" y="1386"/>
                </a:lnTo>
                <a:lnTo>
                  <a:pt x="1493" y="1390"/>
                </a:lnTo>
                <a:lnTo>
                  <a:pt x="1491" y="1392"/>
                </a:lnTo>
                <a:lnTo>
                  <a:pt x="1488" y="1392"/>
                </a:lnTo>
                <a:lnTo>
                  <a:pt x="1488" y="1397"/>
                </a:lnTo>
                <a:lnTo>
                  <a:pt x="1486" y="1401"/>
                </a:lnTo>
                <a:lnTo>
                  <a:pt x="1483" y="1404"/>
                </a:lnTo>
                <a:lnTo>
                  <a:pt x="1479" y="1405"/>
                </a:lnTo>
                <a:lnTo>
                  <a:pt x="1479" y="1414"/>
                </a:lnTo>
                <a:lnTo>
                  <a:pt x="1476" y="1414"/>
                </a:lnTo>
                <a:lnTo>
                  <a:pt x="1474" y="1415"/>
                </a:lnTo>
                <a:lnTo>
                  <a:pt x="1472" y="1417"/>
                </a:lnTo>
                <a:lnTo>
                  <a:pt x="1471" y="1419"/>
                </a:lnTo>
                <a:lnTo>
                  <a:pt x="1381" y="1419"/>
                </a:lnTo>
                <a:lnTo>
                  <a:pt x="1376" y="1417"/>
                </a:lnTo>
                <a:lnTo>
                  <a:pt x="1368" y="1415"/>
                </a:lnTo>
                <a:lnTo>
                  <a:pt x="1359" y="1414"/>
                </a:lnTo>
                <a:lnTo>
                  <a:pt x="1350" y="1414"/>
                </a:lnTo>
                <a:lnTo>
                  <a:pt x="1350" y="1417"/>
                </a:lnTo>
                <a:lnTo>
                  <a:pt x="1349" y="1418"/>
                </a:lnTo>
                <a:lnTo>
                  <a:pt x="1348" y="1418"/>
                </a:lnTo>
                <a:lnTo>
                  <a:pt x="1346" y="1419"/>
                </a:lnTo>
                <a:lnTo>
                  <a:pt x="1341" y="1419"/>
                </a:lnTo>
                <a:lnTo>
                  <a:pt x="1337" y="1419"/>
                </a:lnTo>
                <a:lnTo>
                  <a:pt x="1332" y="1434"/>
                </a:lnTo>
                <a:lnTo>
                  <a:pt x="1328" y="1446"/>
                </a:lnTo>
                <a:lnTo>
                  <a:pt x="1325" y="1447"/>
                </a:lnTo>
                <a:lnTo>
                  <a:pt x="1322" y="1449"/>
                </a:lnTo>
                <a:lnTo>
                  <a:pt x="1320" y="1451"/>
                </a:lnTo>
                <a:lnTo>
                  <a:pt x="1319" y="1455"/>
                </a:lnTo>
                <a:lnTo>
                  <a:pt x="1314" y="1459"/>
                </a:lnTo>
                <a:lnTo>
                  <a:pt x="1301" y="1459"/>
                </a:lnTo>
                <a:lnTo>
                  <a:pt x="1296" y="1462"/>
                </a:lnTo>
                <a:lnTo>
                  <a:pt x="1291" y="1465"/>
                </a:lnTo>
                <a:lnTo>
                  <a:pt x="1282" y="1466"/>
                </a:lnTo>
                <a:lnTo>
                  <a:pt x="1273" y="1467"/>
                </a:lnTo>
                <a:lnTo>
                  <a:pt x="1253" y="1468"/>
                </a:lnTo>
                <a:lnTo>
                  <a:pt x="1235" y="1468"/>
                </a:lnTo>
                <a:lnTo>
                  <a:pt x="1232" y="1465"/>
                </a:lnTo>
                <a:lnTo>
                  <a:pt x="1228" y="1460"/>
                </a:lnTo>
                <a:lnTo>
                  <a:pt x="1223" y="1457"/>
                </a:lnTo>
                <a:lnTo>
                  <a:pt x="1216" y="1452"/>
                </a:lnTo>
                <a:lnTo>
                  <a:pt x="1202" y="1442"/>
                </a:lnTo>
                <a:lnTo>
                  <a:pt x="1185" y="1431"/>
                </a:lnTo>
                <a:lnTo>
                  <a:pt x="1167" y="1420"/>
                </a:lnTo>
                <a:lnTo>
                  <a:pt x="1150" y="1409"/>
                </a:lnTo>
                <a:lnTo>
                  <a:pt x="1143" y="1403"/>
                </a:lnTo>
                <a:lnTo>
                  <a:pt x="1137" y="1399"/>
                </a:lnTo>
                <a:lnTo>
                  <a:pt x="1131" y="1393"/>
                </a:lnTo>
                <a:lnTo>
                  <a:pt x="1128" y="1388"/>
                </a:lnTo>
                <a:lnTo>
                  <a:pt x="1124" y="1388"/>
                </a:lnTo>
                <a:lnTo>
                  <a:pt x="1120" y="1385"/>
                </a:lnTo>
                <a:lnTo>
                  <a:pt x="1117" y="1383"/>
                </a:lnTo>
                <a:lnTo>
                  <a:pt x="1112" y="1380"/>
                </a:lnTo>
                <a:lnTo>
                  <a:pt x="1103" y="1371"/>
                </a:lnTo>
                <a:lnTo>
                  <a:pt x="1093" y="1361"/>
                </a:lnTo>
                <a:lnTo>
                  <a:pt x="1084" y="1351"/>
                </a:lnTo>
                <a:lnTo>
                  <a:pt x="1074" y="1343"/>
                </a:lnTo>
                <a:lnTo>
                  <a:pt x="1070" y="1340"/>
                </a:lnTo>
                <a:lnTo>
                  <a:pt x="1065" y="1336"/>
                </a:lnTo>
                <a:lnTo>
                  <a:pt x="1061" y="1335"/>
                </a:lnTo>
                <a:lnTo>
                  <a:pt x="1056" y="1334"/>
                </a:lnTo>
                <a:lnTo>
                  <a:pt x="1054" y="1331"/>
                </a:lnTo>
                <a:lnTo>
                  <a:pt x="1051" y="1328"/>
                </a:lnTo>
                <a:lnTo>
                  <a:pt x="1046" y="1326"/>
                </a:lnTo>
                <a:lnTo>
                  <a:pt x="1043" y="1325"/>
                </a:lnTo>
                <a:lnTo>
                  <a:pt x="1041" y="1321"/>
                </a:lnTo>
                <a:lnTo>
                  <a:pt x="1039" y="1316"/>
                </a:lnTo>
                <a:lnTo>
                  <a:pt x="1028" y="1315"/>
                </a:lnTo>
                <a:lnTo>
                  <a:pt x="1011" y="1312"/>
                </a:lnTo>
                <a:lnTo>
                  <a:pt x="1002" y="1284"/>
                </a:lnTo>
                <a:lnTo>
                  <a:pt x="993" y="1259"/>
                </a:lnTo>
                <a:lnTo>
                  <a:pt x="985" y="1238"/>
                </a:lnTo>
                <a:lnTo>
                  <a:pt x="980" y="1222"/>
                </a:lnTo>
                <a:lnTo>
                  <a:pt x="978" y="1208"/>
                </a:lnTo>
                <a:lnTo>
                  <a:pt x="978" y="1187"/>
                </a:lnTo>
                <a:lnTo>
                  <a:pt x="979" y="1160"/>
                </a:lnTo>
                <a:lnTo>
                  <a:pt x="980" y="1131"/>
                </a:lnTo>
                <a:lnTo>
                  <a:pt x="983" y="1101"/>
                </a:lnTo>
                <a:lnTo>
                  <a:pt x="985" y="1073"/>
                </a:lnTo>
                <a:lnTo>
                  <a:pt x="986" y="1048"/>
                </a:lnTo>
                <a:lnTo>
                  <a:pt x="987" y="1029"/>
                </a:lnTo>
                <a:lnTo>
                  <a:pt x="973" y="1015"/>
                </a:lnTo>
                <a:lnTo>
                  <a:pt x="973" y="1010"/>
                </a:lnTo>
                <a:lnTo>
                  <a:pt x="970" y="1004"/>
                </a:lnTo>
                <a:lnTo>
                  <a:pt x="968" y="997"/>
                </a:lnTo>
                <a:lnTo>
                  <a:pt x="965" y="989"/>
                </a:lnTo>
                <a:lnTo>
                  <a:pt x="957" y="975"/>
                </a:lnTo>
                <a:lnTo>
                  <a:pt x="950" y="961"/>
                </a:lnTo>
                <a:lnTo>
                  <a:pt x="944" y="951"/>
                </a:lnTo>
                <a:lnTo>
                  <a:pt x="941" y="945"/>
                </a:lnTo>
                <a:lnTo>
                  <a:pt x="941" y="943"/>
                </a:lnTo>
                <a:lnTo>
                  <a:pt x="944" y="945"/>
                </a:lnTo>
                <a:lnTo>
                  <a:pt x="947" y="948"/>
                </a:lnTo>
                <a:lnTo>
                  <a:pt x="953" y="953"/>
                </a:lnTo>
                <a:lnTo>
                  <a:pt x="946" y="960"/>
                </a:lnTo>
                <a:lnTo>
                  <a:pt x="931" y="960"/>
                </a:lnTo>
                <a:lnTo>
                  <a:pt x="931" y="963"/>
                </a:lnTo>
                <a:lnTo>
                  <a:pt x="930" y="966"/>
                </a:lnTo>
                <a:lnTo>
                  <a:pt x="929" y="967"/>
                </a:lnTo>
                <a:lnTo>
                  <a:pt x="928" y="967"/>
                </a:lnTo>
                <a:lnTo>
                  <a:pt x="927" y="967"/>
                </a:lnTo>
                <a:lnTo>
                  <a:pt x="926" y="968"/>
                </a:lnTo>
                <a:lnTo>
                  <a:pt x="925" y="970"/>
                </a:lnTo>
                <a:lnTo>
                  <a:pt x="925" y="974"/>
                </a:lnTo>
                <a:lnTo>
                  <a:pt x="919" y="975"/>
                </a:lnTo>
                <a:lnTo>
                  <a:pt x="912" y="978"/>
                </a:lnTo>
                <a:lnTo>
                  <a:pt x="909" y="980"/>
                </a:lnTo>
                <a:lnTo>
                  <a:pt x="907" y="982"/>
                </a:lnTo>
                <a:lnTo>
                  <a:pt x="905" y="985"/>
                </a:lnTo>
                <a:lnTo>
                  <a:pt x="905" y="988"/>
                </a:lnTo>
                <a:lnTo>
                  <a:pt x="899" y="988"/>
                </a:lnTo>
                <a:lnTo>
                  <a:pt x="895" y="988"/>
                </a:lnTo>
                <a:lnTo>
                  <a:pt x="892" y="989"/>
                </a:lnTo>
                <a:lnTo>
                  <a:pt x="891" y="990"/>
                </a:lnTo>
                <a:lnTo>
                  <a:pt x="890" y="992"/>
                </a:lnTo>
                <a:lnTo>
                  <a:pt x="890" y="995"/>
                </a:lnTo>
                <a:lnTo>
                  <a:pt x="877" y="995"/>
                </a:lnTo>
                <a:lnTo>
                  <a:pt x="870" y="1001"/>
                </a:lnTo>
                <a:lnTo>
                  <a:pt x="867" y="1015"/>
                </a:lnTo>
                <a:lnTo>
                  <a:pt x="862" y="1029"/>
                </a:lnTo>
                <a:lnTo>
                  <a:pt x="849" y="1029"/>
                </a:lnTo>
                <a:lnTo>
                  <a:pt x="842" y="1043"/>
                </a:lnTo>
                <a:lnTo>
                  <a:pt x="835" y="1056"/>
                </a:lnTo>
                <a:lnTo>
                  <a:pt x="831" y="1057"/>
                </a:lnTo>
                <a:lnTo>
                  <a:pt x="829" y="1057"/>
                </a:lnTo>
                <a:lnTo>
                  <a:pt x="829" y="1058"/>
                </a:lnTo>
                <a:lnTo>
                  <a:pt x="829" y="1061"/>
                </a:lnTo>
                <a:lnTo>
                  <a:pt x="828" y="1062"/>
                </a:lnTo>
                <a:lnTo>
                  <a:pt x="828" y="1063"/>
                </a:lnTo>
                <a:lnTo>
                  <a:pt x="825" y="1063"/>
                </a:lnTo>
                <a:lnTo>
                  <a:pt x="821" y="1064"/>
                </a:lnTo>
                <a:lnTo>
                  <a:pt x="821" y="1072"/>
                </a:lnTo>
                <a:lnTo>
                  <a:pt x="821" y="1083"/>
                </a:lnTo>
                <a:lnTo>
                  <a:pt x="820" y="1088"/>
                </a:lnTo>
                <a:lnTo>
                  <a:pt x="819" y="1094"/>
                </a:lnTo>
                <a:lnTo>
                  <a:pt x="816" y="1097"/>
                </a:lnTo>
                <a:lnTo>
                  <a:pt x="814" y="1099"/>
                </a:lnTo>
                <a:lnTo>
                  <a:pt x="811" y="1112"/>
                </a:lnTo>
                <a:lnTo>
                  <a:pt x="807" y="1125"/>
                </a:lnTo>
                <a:lnTo>
                  <a:pt x="800" y="1126"/>
                </a:lnTo>
                <a:lnTo>
                  <a:pt x="793" y="1129"/>
                </a:lnTo>
                <a:lnTo>
                  <a:pt x="786" y="1132"/>
                </a:lnTo>
                <a:lnTo>
                  <a:pt x="780" y="1136"/>
                </a:lnTo>
                <a:lnTo>
                  <a:pt x="773" y="1140"/>
                </a:lnTo>
                <a:lnTo>
                  <a:pt x="766" y="1143"/>
                </a:lnTo>
                <a:lnTo>
                  <a:pt x="759" y="1145"/>
                </a:lnTo>
                <a:lnTo>
                  <a:pt x="753" y="1147"/>
                </a:lnTo>
                <a:lnTo>
                  <a:pt x="752" y="1150"/>
                </a:lnTo>
                <a:lnTo>
                  <a:pt x="752" y="1152"/>
                </a:lnTo>
                <a:lnTo>
                  <a:pt x="751" y="1153"/>
                </a:lnTo>
                <a:lnTo>
                  <a:pt x="748" y="1153"/>
                </a:lnTo>
                <a:lnTo>
                  <a:pt x="747" y="1153"/>
                </a:lnTo>
                <a:lnTo>
                  <a:pt x="746" y="1154"/>
                </a:lnTo>
                <a:lnTo>
                  <a:pt x="746" y="1157"/>
                </a:lnTo>
                <a:lnTo>
                  <a:pt x="745" y="1160"/>
                </a:lnTo>
                <a:lnTo>
                  <a:pt x="740" y="1161"/>
                </a:lnTo>
                <a:lnTo>
                  <a:pt x="736" y="1164"/>
                </a:lnTo>
                <a:lnTo>
                  <a:pt x="733" y="1169"/>
                </a:lnTo>
                <a:lnTo>
                  <a:pt x="732" y="1174"/>
                </a:lnTo>
                <a:lnTo>
                  <a:pt x="727" y="1174"/>
                </a:lnTo>
                <a:lnTo>
                  <a:pt x="726" y="1176"/>
                </a:lnTo>
                <a:lnTo>
                  <a:pt x="725" y="1177"/>
                </a:lnTo>
                <a:lnTo>
                  <a:pt x="725" y="1178"/>
                </a:lnTo>
                <a:lnTo>
                  <a:pt x="725" y="1179"/>
                </a:lnTo>
                <a:lnTo>
                  <a:pt x="724" y="1180"/>
                </a:lnTo>
                <a:lnTo>
                  <a:pt x="721" y="1181"/>
                </a:lnTo>
                <a:lnTo>
                  <a:pt x="718" y="1181"/>
                </a:lnTo>
                <a:lnTo>
                  <a:pt x="717" y="1191"/>
                </a:lnTo>
                <a:lnTo>
                  <a:pt x="714" y="1201"/>
                </a:lnTo>
                <a:lnTo>
                  <a:pt x="711" y="1212"/>
                </a:lnTo>
                <a:lnTo>
                  <a:pt x="710" y="1222"/>
                </a:lnTo>
                <a:lnTo>
                  <a:pt x="707" y="1226"/>
                </a:lnTo>
                <a:lnTo>
                  <a:pt x="700" y="1234"/>
                </a:lnTo>
                <a:lnTo>
                  <a:pt x="697" y="1238"/>
                </a:lnTo>
                <a:lnTo>
                  <a:pt x="694" y="1242"/>
                </a:lnTo>
                <a:lnTo>
                  <a:pt x="691" y="1247"/>
                </a:lnTo>
                <a:lnTo>
                  <a:pt x="690" y="1250"/>
                </a:lnTo>
                <a:lnTo>
                  <a:pt x="669" y="1250"/>
                </a:lnTo>
                <a:lnTo>
                  <a:pt x="662" y="1257"/>
                </a:lnTo>
                <a:lnTo>
                  <a:pt x="662" y="1255"/>
                </a:lnTo>
                <a:lnTo>
                  <a:pt x="661" y="1253"/>
                </a:lnTo>
                <a:lnTo>
                  <a:pt x="660" y="1251"/>
                </a:lnTo>
                <a:lnTo>
                  <a:pt x="658" y="1250"/>
                </a:lnTo>
                <a:lnTo>
                  <a:pt x="653" y="1250"/>
                </a:lnTo>
                <a:lnTo>
                  <a:pt x="649" y="1250"/>
                </a:lnTo>
                <a:lnTo>
                  <a:pt x="642" y="1236"/>
                </a:lnTo>
                <a:lnTo>
                  <a:pt x="634" y="1222"/>
                </a:lnTo>
                <a:lnTo>
                  <a:pt x="623" y="1222"/>
                </a:lnTo>
                <a:lnTo>
                  <a:pt x="604" y="1221"/>
                </a:lnTo>
                <a:lnTo>
                  <a:pt x="595" y="1220"/>
                </a:lnTo>
                <a:lnTo>
                  <a:pt x="588" y="1219"/>
                </a:lnTo>
                <a:lnTo>
                  <a:pt x="582" y="1218"/>
                </a:lnTo>
                <a:lnTo>
                  <a:pt x="580" y="1216"/>
                </a:lnTo>
                <a:lnTo>
                  <a:pt x="572" y="1216"/>
                </a:lnTo>
                <a:lnTo>
                  <a:pt x="563" y="1215"/>
                </a:lnTo>
                <a:lnTo>
                  <a:pt x="559" y="1213"/>
                </a:lnTo>
                <a:lnTo>
                  <a:pt x="555" y="1212"/>
                </a:lnTo>
                <a:lnTo>
                  <a:pt x="553" y="1211"/>
                </a:lnTo>
                <a:lnTo>
                  <a:pt x="552" y="1209"/>
                </a:lnTo>
                <a:lnTo>
                  <a:pt x="532" y="1209"/>
                </a:lnTo>
                <a:lnTo>
                  <a:pt x="529" y="1206"/>
                </a:lnTo>
                <a:lnTo>
                  <a:pt x="527" y="1201"/>
                </a:lnTo>
                <a:lnTo>
                  <a:pt x="522" y="1197"/>
                </a:lnTo>
                <a:lnTo>
                  <a:pt x="516" y="1192"/>
                </a:lnTo>
                <a:lnTo>
                  <a:pt x="511" y="1188"/>
                </a:lnTo>
                <a:lnTo>
                  <a:pt x="505" y="1184"/>
                </a:lnTo>
                <a:lnTo>
                  <a:pt x="500" y="1182"/>
                </a:lnTo>
                <a:lnTo>
                  <a:pt x="497" y="1181"/>
                </a:lnTo>
                <a:lnTo>
                  <a:pt x="489" y="1171"/>
                </a:lnTo>
                <a:lnTo>
                  <a:pt x="483" y="1160"/>
                </a:lnTo>
                <a:lnTo>
                  <a:pt x="475" y="1159"/>
                </a:lnTo>
                <a:lnTo>
                  <a:pt x="466" y="1155"/>
                </a:lnTo>
                <a:lnTo>
                  <a:pt x="457" y="1151"/>
                </a:lnTo>
                <a:lnTo>
                  <a:pt x="448" y="1147"/>
                </a:lnTo>
                <a:lnTo>
                  <a:pt x="439" y="1141"/>
                </a:lnTo>
                <a:lnTo>
                  <a:pt x="430" y="1136"/>
                </a:lnTo>
                <a:lnTo>
                  <a:pt x="422" y="1134"/>
                </a:lnTo>
                <a:lnTo>
                  <a:pt x="413" y="1132"/>
                </a:lnTo>
                <a:lnTo>
                  <a:pt x="399" y="1132"/>
                </a:lnTo>
                <a:lnTo>
                  <a:pt x="378" y="1131"/>
                </a:lnTo>
                <a:lnTo>
                  <a:pt x="368" y="1129"/>
                </a:lnTo>
                <a:lnTo>
                  <a:pt x="360" y="1126"/>
                </a:lnTo>
                <a:lnTo>
                  <a:pt x="356" y="1125"/>
                </a:lnTo>
                <a:lnTo>
                  <a:pt x="354" y="1123"/>
                </a:lnTo>
                <a:lnTo>
                  <a:pt x="352" y="1121"/>
                </a:lnTo>
                <a:lnTo>
                  <a:pt x="352" y="1119"/>
                </a:lnTo>
                <a:lnTo>
                  <a:pt x="339" y="1114"/>
                </a:lnTo>
                <a:lnTo>
                  <a:pt x="319" y="1104"/>
                </a:lnTo>
                <a:lnTo>
                  <a:pt x="307" y="1099"/>
                </a:lnTo>
                <a:lnTo>
                  <a:pt x="298" y="1093"/>
                </a:lnTo>
                <a:lnTo>
                  <a:pt x="292" y="1087"/>
                </a:lnTo>
                <a:lnTo>
                  <a:pt x="289" y="1084"/>
                </a:lnTo>
                <a:lnTo>
                  <a:pt x="285" y="1084"/>
                </a:lnTo>
                <a:lnTo>
                  <a:pt x="281" y="1083"/>
                </a:lnTo>
                <a:lnTo>
                  <a:pt x="278" y="1083"/>
                </a:lnTo>
                <a:lnTo>
                  <a:pt x="277" y="1082"/>
                </a:lnTo>
                <a:lnTo>
                  <a:pt x="276" y="1080"/>
                </a:lnTo>
                <a:lnTo>
                  <a:pt x="276" y="1077"/>
                </a:lnTo>
                <a:lnTo>
                  <a:pt x="262" y="1077"/>
                </a:lnTo>
                <a:lnTo>
                  <a:pt x="260" y="1073"/>
                </a:lnTo>
                <a:lnTo>
                  <a:pt x="257" y="1070"/>
                </a:lnTo>
                <a:lnTo>
                  <a:pt x="254" y="1066"/>
                </a:lnTo>
                <a:lnTo>
                  <a:pt x="248" y="1064"/>
                </a:lnTo>
                <a:lnTo>
                  <a:pt x="243" y="1063"/>
                </a:lnTo>
                <a:lnTo>
                  <a:pt x="238" y="1061"/>
                </a:lnTo>
                <a:lnTo>
                  <a:pt x="236" y="1059"/>
                </a:lnTo>
                <a:lnTo>
                  <a:pt x="235" y="1056"/>
                </a:lnTo>
                <a:lnTo>
                  <a:pt x="220" y="1056"/>
                </a:lnTo>
                <a:lnTo>
                  <a:pt x="214" y="1049"/>
                </a:lnTo>
                <a:lnTo>
                  <a:pt x="214" y="1045"/>
                </a:lnTo>
                <a:lnTo>
                  <a:pt x="215" y="1040"/>
                </a:lnTo>
                <a:lnTo>
                  <a:pt x="216" y="1038"/>
                </a:lnTo>
                <a:lnTo>
                  <a:pt x="217" y="1037"/>
                </a:lnTo>
                <a:lnTo>
                  <a:pt x="218" y="1036"/>
                </a:lnTo>
                <a:lnTo>
                  <a:pt x="220" y="1036"/>
                </a:lnTo>
                <a:lnTo>
                  <a:pt x="220" y="1028"/>
                </a:lnTo>
                <a:lnTo>
                  <a:pt x="223" y="1024"/>
                </a:lnTo>
                <a:lnTo>
                  <a:pt x="226" y="1023"/>
                </a:lnTo>
                <a:lnTo>
                  <a:pt x="235" y="1023"/>
                </a:lnTo>
                <a:lnTo>
                  <a:pt x="235" y="1008"/>
                </a:lnTo>
                <a:lnTo>
                  <a:pt x="238" y="1008"/>
                </a:lnTo>
                <a:lnTo>
                  <a:pt x="241" y="1007"/>
                </a:lnTo>
                <a:lnTo>
                  <a:pt x="245" y="1005"/>
                </a:lnTo>
                <a:lnTo>
                  <a:pt x="248" y="1003"/>
                </a:lnTo>
                <a:lnTo>
                  <a:pt x="255" y="997"/>
                </a:lnTo>
                <a:lnTo>
                  <a:pt x="262" y="991"/>
                </a:lnTo>
                <a:lnTo>
                  <a:pt x="267" y="985"/>
                </a:lnTo>
                <a:lnTo>
                  <a:pt x="273" y="979"/>
                </a:lnTo>
                <a:lnTo>
                  <a:pt x="277" y="976"/>
                </a:lnTo>
                <a:lnTo>
                  <a:pt x="283" y="974"/>
                </a:lnTo>
                <a:lnTo>
                  <a:pt x="289" y="967"/>
                </a:lnTo>
                <a:lnTo>
                  <a:pt x="296" y="960"/>
                </a:lnTo>
                <a:lnTo>
                  <a:pt x="296" y="946"/>
                </a:lnTo>
                <a:lnTo>
                  <a:pt x="302" y="946"/>
                </a:lnTo>
                <a:lnTo>
                  <a:pt x="305" y="943"/>
                </a:lnTo>
                <a:lnTo>
                  <a:pt x="310" y="939"/>
                </a:lnTo>
                <a:lnTo>
                  <a:pt x="312" y="934"/>
                </a:lnTo>
                <a:lnTo>
                  <a:pt x="316" y="926"/>
                </a:lnTo>
                <a:lnTo>
                  <a:pt x="317" y="919"/>
                </a:lnTo>
                <a:lnTo>
                  <a:pt x="321" y="918"/>
                </a:lnTo>
                <a:lnTo>
                  <a:pt x="323" y="918"/>
                </a:lnTo>
                <a:lnTo>
                  <a:pt x="324" y="917"/>
                </a:lnTo>
                <a:lnTo>
                  <a:pt x="324" y="915"/>
                </a:lnTo>
                <a:lnTo>
                  <a:pt x="324" y="914"/>
                </a:lnTo>
                <a:lnTo>
                  <a:pt x="325" y="913"/>
                </a:lnTo>
                <a:lnTo>
                  <a:pt x="327" y="912"/>
                </a:lnTo>
                <a:lnTo>
                  <a:pt x="331" y="912"/>
                </a:lnTo>
                <a:lnTo>
                  <a:pt x="332" y="907"/>
                </a:lnTo>
                <a:lnTo>
                  <a:pt x="334" y="902"/>
                </a:lnTo>
                <a:lnTo>
                  <a:pt x="337" y="899"/>
                </a:lnTo>
                <a:lnTo>
                  <a:pt x="341" y="895"/>
                </a:lnTo>
                <a:lnTo>
                  <a:pt x="345" y="892"/>
                </a:lnTo>
                <a:lnTo>
                  <a:pt x="349" y="890"/>
                </a:lnTo>
                <a:lnTo>
                  <a:pt x="351" y="886"/>
                </a:lnTo>
                <a:lnTo>
                  <a:pt x="352" y="884"/>
                </a:lnTo>
                <a:lnTo>
                  <a:pt x="365" y="884"/>
                </a:lnTo>
                <a:lnTo>
                  <a:pt x="372" y="878"/>
                </a:lnTo>
                <a:lnTo>
                  <a:pt x="380" y="870"/>
                </a:lnTo>
                <a:lnTo>
                  <a:pt x="379" y="865"/>
                </a:lnTo>
                <a:lnTo>
                  <a:pt x="379" y="861"/>
                </a:lnTo>
                <a:lnTo>
                  <a:pt x="378" y="859"/>
                </a:lnTo>
                <a:lnTo>
                  <a:pt x="377" y="857"/>
                </a:lnTo>
                <a:lnTo>
                  <a:pt x="374" y="856"/>
                </a:lnTo>
                <a:lnTo>
                  <a:pt x="372" y="856"/>
                </a:lnTo>
                <a:lnTo>
                  <a:pt x="372" y="843"/>
                </a:lnTo>
                <a:lnTo>
                  <a:pt x="365" y="836"/>
                </a:lnTo>
                <a:lnTo>
                  <a:pt x="355" y="830"/>
                </a:lnTo>
                <a:lnTo>
                  <a:pt x="345" y="824"/>
                </a:lnTo>
                <a:lnTo>
                  <a:pt x="337" y="822"/>
                </a:lnTo>
                <a:lnTo>
                  <a:pt x="337" y="818"/>
                </a:lnTo>
                <a:lnTo>
                  <a:pt x="336" y="816"/>
                </a:lnTo>
                <a:lnTo>
                  <a:pt x="335" y="815"/>
                </a:lnTo>
                <a:lnTo>
                  <a:pt x="334" y="815"/>
                </a:lnTo>
                <a:lnTo>
                  <a:pt x="333" y="815"/>
                </a:lnTo>
                <a:lnTo>
                  <a:pt x="332" y="814"/>
                </a:lnTo>
                <a:lnTo>
                  <a:pt x="331" y="812"/>
                </a:lnTo>
                <a:lnTo>
                  <a:pt x="331" y="808"/>
                </a:lnTo>
                <a:lnTo>
                  <a:pt x="311" y="808"/>
                </a:lnTo>
                <a:lnTo>
                  <a:pt x="310" y="805"/>
                </a:lnTo>
                <a:lnTo>
                  <a:pt x="308" y="803"/>
                </a:lnTo>
                <a:lnTo>
                  <a:pt x="305" y="801"/>
                </a:lnTo>
                <a:lnTo>
                  <a:pt x="303" y="798"/>
                </a:lnTo>
                <a:lnTo>
                  <a:pt x="296" y="795"/>
                </a:lnTo>
                <a:lnTo>
                  <a:pt x="289" y="794"/>
                </a:lnTo>
                <a:lnTo>
                  <a:pt x="289" y="780"/>
                </a:lnTo>
                <a:lnTo>
                  <a:pt x="286" y="780"/>
                </a:lnTo>
                <a:lnTo>
                  <a:pt x="284" y="779"/>
                </a:lnTo>
                <a:lnTo>
                  <a:pt x="283" y="778"/>
                </a:lnTo>
                <a:lnTo>
                  <a:pt x="283" y="777"/>
                </a:lnTo>
                <a:lnTo>
                  <a:pt x="283" y="776"/>
                </a:lnTo>
                <a:lnTo>
                  <a:pt x="282" y="775"/>
                </a:lnTo>
                <a:lnTo>
                  <a:pt x="279" y="774"/>
                </a:lnTo>
                <a:lnTo>
                  <a:pt x="276" y="774"/>
                </a:lnTo>
                <a:lnTo>
                  <a:pt x="269" y="767"/>
                </a:lnTo>
                <a:lnTo>
                  <a:pt x="265" y="756"/>
                </a:lnTo>
                <a:lnTo>
                  <a:pt x="262" y="746"/>
                </a:lnTo>
                <a:lnTo>
                  <a:pt x="258" y="746"/>
                </a:lnTo>
                <a:lnTo>
                  <a:pt x="256" y="745"/>
                </a:lnTo>
                <a:lnTo>
                  <a:pt x="255" y="744"/>
                </a:lnTo>
                <a:lnTo>
                  <a:pt x="255" y="742"/>
                </a:lnTo>
                <a:lnTo>
                  <a:pt x="255" y="741"/>
                </a:lnTo>
                <a:lnTo>
                  <a:pt x="254" y="740"/>
                </a:lnTo>
                <a:lnTo>
                  <a:pt x="253" y="739"/>
                </a:lnTo>
                <a:lnTo>
                  <a:pt x="248" y="739"/>
                </a:lnTo>
                <a:lnTo>
                  <a:pt x="248" y="726"/>
                </a:lnTo>
                <a:lnTo>
                  <a:pt x="235" y="726"/>
                </a:lnTo>
                <a:lnTo>
                  <a:pt x="234" y="721"/>
                </a:lnTo>
                <a:lnTo>
                  <a:pt x="234" y="719"/>
                </a:lnTo>
                <a:lnTo>
                  <a:pt x="233" y="718"/>
                </a:lnTo>
                <a:lnTo>
                  <a:pt x="231" y="718"/>
                </a:lnTo>
                <a:lnTo>
                  <a:pt x="229" y="718"/>
                </a:lnTo>
                <a:lnTo>
                  <a:pt x="228" y="718"/>
                </a:lnTo>
                <a:lnTo>
                  <a:pt x="228" y="716"/>
                </a:lnTo>
                <a:lnTo>
                  <a:pt x="227" y="711"/>
                </a:lnTo>
                <a:lnTo>
                  <a:pt x="220" y="711"/>
                </a:lnTo>
                <a:lnTo>
                  <a:pt x="211" y="710"/>
                </a:lnTo>
                <a:lnTo>
                  <a:pt x="207" y="710"/>
                </a:lnTo>
                <a:lnTo>
                  <a:pt x="204" y="709"/>
                </a:lnTo>
                <a:lnTo>
                  <a:pt x="200" y="707"/>
                </a:lnTo>
                <a:lnTo>
                  <a:pt x="200" y="705"/>
                </a:lnTo>
                <a:lnTo>
                  <a:pt x="166" y="703"/>
                </a:lnTo>
                <a:lnTo>
                  <a:pt x="126" y="701"/>
                </a:lnTo>
                <a:lnTo>
                  <a:pt x="86" y="699"/>
                </a:lnTo>
                <a:lnTo>
                  <a:pt x="48" y="698"/>
                </a:lnTo>
                <a:lnTo>
                  <a:pt x="47" y="696"/>
                </a:lnTo>
                <a:lnTo>
                  <a:pt x="46" y="692"/>
                </a:lnTo>
                <a:lnTo>
                  <a:pt x="44" y="690"/>
                </a:lnTo>
                <a:lnTo>
                  <a:pt x="41" y="688"/>
                </a:lnTo>
                <a:lnTo>
                  <a:pt x="36" y="686"/>
                </a:lnTo>
                <a:lnTo>
                  <a:pt x="34" y="683"/>
                </a:lnTo>
                <a:lnTo>
                  <a:pt x="34" y="679"/>
                </a:lnTo>
                <a:lnTo>
                  <a:pt x="33" y="674"/>
                </a:lnTo>
                <a:lnTo>
                  <a:pt x="33" y="672"/>
                </a:lnTo>
                <a:lnTo>
                  <a:pt x="32" y="671"/>
                </a:lnTo>
                <a:lnTo>
                  <a:pt x="29" y="670"/>
                </a:lnTo>
                <a:lnTo>
                  <a:pt x="27" y="670"/>
                </a:lnTo>
                <a:lnTo>
                  <a:pt x="26" y="661"/>
                </a:lnTo>
                <a:lnTo>
                  <a:pt x="24" y="653"/>
                </a:lnTo>
                <a:lnTo>
                  <a:pt x="22" y="644"/>
                </a:lnTo>
                <a:lnTo>
                  <a:pt x="20" y="635"/>
                </a:lnTo>
                <a:lnTo>
                  <a:pt x="16" y="635"/>
                </a:lnTo>
                <a:lnTo>
                  <a:pt x="10" y="635"/>
                </a:lnTo>
                <a:close/>
              </a:path>
            </a:pathLst>
          </a:cu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59" name="Freeform 20">
            <a:extLst>
              <a:ext uri="{FF2B5EF4-FFF2-40B4-BE49-F238E27FC236}">
                <a16:creationId xmlns:a16="http://schemas.microsoft.com/office/drawing/2014/main" id="{39183AF2-EC94-43E0-89A0-08BD90555E08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397750" y="4044950"/>
            <a:ext cx="346956" cy="195263"/>
          </a:xfrm>
          <a:custGeom>
            <a:avLst/>
            <a:gdLst/>
            <a:ahLst/>
            <a:cxnLst>
              <a:cxn ang="0">
                <a:pos x="362" y="4"/>
              </a:cxn>
              <a:cxn ang="0">
                <a:pos x="403" y="15"/>
              </a:cxn>
              <a:cxn ang="0">
                <a:pos x="583" y="40"/>
              </a:cxn>
              <a:cxn ang="0">
                <a:pos x="743" y="81"/>
              </a:cxn>
              <a:cxn ang="0">
                <a:pos x="1217" y="119"/>
              </a:cxn>
              <a:cxn ang="0">
                <a:pos x="1214" y="260"/>
              </a:cxn>
              <a:cxn ang="0">
                <a:pos x="1231" y="375"/>
              </a:cxn>
              <a:cxn ang="0">
                <a:pos x="1367" y="428"/>
              </a:cxn>
              <a:cxn ang="0">
                <a:pos x="1416" y="447"/>
              </a:cxn>
              <a:cxn ang="0">
                <a:pos x="1463" y="476"/>
              </a:cxn>
              <a:cxn ang="0">
                <a:pos x="1515" y="502"/>
              </a:cxn>
              <a:cxn ang="0">
                <a:pos x="1558" y="520"/>
              </a:cxn>
              <a:cxn ang="0">
                <a:pos x="1601" y="552"/>
              </a:cxn>
              <a:cxn ang="0">
                <a:pos x="1624" y="621"/>
              </a:cxn>
              <a:cxn ang="0">
                <a:pos x="1659" y="684"/>
              </a:cxn>
              <a:cxn ang="0">
                <a:pos x="1723" y="737"/>
              </a:cxn>
              <a:cxn ang="0">
                <a:pos x="1756" y="761"/>
              </a:cxn>
              <a:cxn ang="0">
                <a:pos x="1813" y="796"/>
              </a:cxn>
              <a:cxn ang="0">
                <a:pos x="1896" y="848"/>
              </a:cxn>
              <a:cxn ang="0">
                <a:pos x="1910" y="886"/>
              </a:cxn>
              <a:cxn ang="0">
                <a:pos x="1839" y="1077"/>
              </a:cxn>
              <a:cxn ang="0">
                <a:pos x="1681" y="1099"/>
              </a:cxn>
              <a:cxn ang="0">
                <a:pos x="1654" y="1112"/>
              </a:cxn>
              <a:cxn ang="0">
                <a:pos x="1607" y="1144"/>
              </a:cxn>
              <a:cxn ang="0">
                <a:pos x="1551" y="1174"/>
              </a:cxn>
              <a:cxn ang="0">
                <a:pos x="1523" y="1214"/>
              </a:cxn>
              <a:cxn ang="0">
                <a:pos x="1489" y="1148"/>
              </a:cxn>
              <a:cxn ang="0">
                <a:pos x="1457" y="1093"/>
              </a:cxn>
              <a:cxn ang="0">
                <a:pos x="1437" y="1076"/>
              </a:cxn>
              <a:cxn ang="0">
                <a:pos x="1409" y="1076"/>
              </a:cxn>
              <a:cxn ang="0">
                <a:pos x="1371" y="1107"/>
              </a:cxn>
              <a:cxn ang="0">
                <a:pos x="1331" y="1127"/>
              </a:cxn>
              <a:cxn ang="0">
                <a:pos x="1197" y="1100"/>
              </a:cxn>
              <a:cxn ang="0">
                <a:pos x="1150" y="1028"/>
              </a:cxn>
              <a:cxn ang="0">
                <a:pos x="1103" y="969"/>
              </a:cxn>
              <a:cxn ang="0">
                <a:pos x="891" y="957"/>
              </a:cxn>
              <a:cxn ang="0">
                <a:pos x="853" y="938"/>
              </a:cxn>
              <a:cxn ang="0">
                <a:pos x="713" y="954"/>
              </a:cxn>
              <a:cxn ang="0">
                <a:pos x="621" y="934"/>
              </a:cxn>
              <a:cxn ang="0">
                <a:pos x="589" y="870"/>
              </a:cxn>
              <a:cxn ang="0">
                <a:pos x="533" y="858"/>
              </a:cxn>
              <a:cxn ang="0">
                <a:pos x="359" y="886"/>
              </a:cxn>
              <a:cxn ang="0">
                <a:pos x="313" y="879"/>
              </a:cxn>
              <a:cxn ang="0">
                <a:pos x="271" y="871"/>
              </a:cxn>
              <a:cxn ang="0">
                <a:pos x="194" y="874"/>
              </a:cxn>
              <a:cxn ang="0">
                <a:pos x="131" y="852"/>
              </a:cxn>
              <a:cxn ang="0">
                <a:pos x="108" y="838"/>
              </a:cxn>
              <a:cxn ang="0">
                <a:pos x="76" y="820"/>
              </a:cxn>
              <a:cxn ang="0">
                <a:pos x="45" y="784"/>
              </a:cxn>
              <a:cxn ang="0">
                <a:pos x="11" y="620"/>
              </a:cxn>
              <a:cxn ang="0">
                <a:pos x="44" y="560"/>
              </a:cxn>
              <a:cxn ang="0">
                <a:pos x="73" y="522"/>
              </a:cxn>
              <a:cxn ang="0">
                <a:pos x="110" y="486"/>
              </a:cxn>
              <a:cxn ang="0">
                <a:pos x="149" y="467"/>
              </a:cxn>
              <a:cxn ang="0">
                <a:pos x="195" y="436"/>
              </a:cxn>
              <a:cxn ang="0">
                <a:pos x="233" y="386"/>
              </a:cxn>
              <a:cxn ang="0">
                <a:pos x="283" y="352"/>
              </a:cxn>
              <a:cxn ang="0">
                <a:pos x="312" y="314"/>
              </a:cxn>
              <a:cxn ang="0">
                <a:pos x="321" y="237"/>
              </a:cxn>
              <a:cxn ang="0">
                <a:pos x="324" y="186"/>
              </a:cxn>
              <a:cxn ang="0">
                <a:pos x="354" y="150"/>
              </a:cxn>
              <a:cxn ang="0">
                <a:pos x="357" y="77"/>
              </a:cxn>
              <a:cxn ang="0">
                <a:pos x="341" y="21"/>
              </a:cxn>
            </a:cxnLst>
            <a:rect l="0" t="0" r="r" b="b"/>
            <a:pathLst>
              <a:path w="1910" h="1217">
                <a:moveTo>
                  <a:pt x="325" y="5"/>
                </a:moveTo>
                <a:lnTo>
                  <a:pt x="332" y="2"/>
                </a:lnTo>
                <a:lnTo>
                  <a:pt x="340" y="1"/>
                </a:lnTo>
                <a:lnTo>
                  <a:pt x="348" y="0"/>
                </a:lnTo>
                <a:lnTo>
                  <a:pt x="357" y="0"/>
                </a:lnTo>
                <a:lnTo>
                  <a:pt x="357" y="1"/>
                </a:lnTo>
                <a:lnTo>
                  <a:pt x="358" y="2"/>
                </a:lnTo>
                <a:lnTo>
                  <a:pt x="360" y="3"/>
                </a:lnTo>
                <a:lnTo>
                  <a:pt x="362" y="4"/>
                </a:lnTo>
                <a:lnTo>
                  <a:pt x="368" y="4"/>
                </a:lnTo>
                <a:lnTo>
                  <a:pt x="374" y="5"/>
                </a:lnTo>
                <a:lnTo>
                  <a:pt x="381" y="5"/>
                </a:lnTo>
                <a:lnTo>
                  <a:pt x="387" y="7"/>
                </a:lnTo>
                <a:lnTo>
                  <a:pt x="389" y="9"/>
                </a:lnTo>
                <a:lnTo>
                  <a:pt x="391" y="10"/>
                </a:lnTo>
                <a:lnTo>
                  <a:pt x="392" y="12"/>
                </a:lnTo>
                <a:lnTo>
                  <a:pt x="392" y="14"/>
                </a:lnTo>
                <a:lnTo>
                  <a:pt x="403" y="15"/>
                </a:lnTo>
                <a:lnTo>
                  <a:pt x="417" y="19"/>
                </a:lnTo>
                <a:lnTo>
                  <a:pt x="424" y="21"/>
                </a:lnTo>
                <a:lnTo>
                  <a:pt x="429" y="23"/>
                </a:lnTo>
                <a:lnTo>
                  <a:pt x="432" y="26"/>
                </a:lnTo>
                <a:lnTo>
                  <a:pt x="434" y="30"/>
                </a:lnTo>
                <a:lnTo>
                  <a:pt x="467" y="32"/>
                </a:lnTo>
                <a:lnTo>
                  <a:pt x="504" y="35"/>
                </a:lnTo>
                <a:lnTo>
                  <a:pt x="544" y="39"/>
                </a:lnTo>
                <a:lnTo>
                  <a:pt x="583" y="40"/>
                </a:lnTo>
                <a:lnTo>
                  <a:pt x="593" y="43"/>
                </a:lnTo>
                <a:lnTo>
                  <a:pt x="618" y="48"/>
                </a:lnTo>
                <a:lnTo>
                  <a:pt x="643" y="53"/>
                </a:lnTo>
                <a:lnTo>
                  <a:pt x="660" y="55"/>
                </a:lnTo>
                <a:lnTo>
                  <a:pt x="676" y="60"/>
                </a:lnTo>
                <a:lnTo>
                  <a:pt x="700" y="69"/>
                </a:lnTo>
                <a:lnTo>
                  <a:pt x="723" y="78"/>
                </a:lnTo>
                <a:lnTo>
                  <a:pt x="732" y="81"/>
                </a:lnTo>
                <a:lnTo>
                  <a:pt x="743" y="81"/>
                </a:lnTo>
                <a:lnTo>
                  <a:pt x="745" y="86"/>
                </a:lnTo>
                <a:lnTo>
                  <a:pt x="753" y="90"/>
                </a:lnTo>
                <a:lnTo>
                  <a:pt x="756" y="92"/>
                </a:lnTo>
                <a:lnTo>
                  <a:pt x="760" y="96"/>
                </a:lnTo>
                <a:lnTo>
                  <a:pt x="762" y="98"/>
                </a:lnTo>
                <a:lnTo>
                  <a:pt x="763" y="102"/>
                </a:lnTo>
                <a:lnTo>
                  <a:pt x="1215" y="107"/>
                </a:lnTo>
                <a:lnTo>
                  <a:pt x="1215" y="117"/>
                </a:lnTo>
                <a:lnTo>
                  <a:pt x="1217" y="119"/>
                </a:lnTo>
                <a:lnTo>
                  <a:pt x="1218" y="122"/>
                </a:lnTo>
                <a:lnTo>
                  <a:pt x="1219" y="128"/>
                </a:lnTo>
                <a:lnTo>
                  <a:pt x="1219" y="135"/>
                </a:lnTo>
                <a:lnTo>
                  <a:pt x="1219" y="154"/>
                </a:lnTo>
                <a:lnTo>
                  <a:pt x="1219" y="175"/>
                </a:lnTo>
                <a:lnTo>
                  <a:pt x="1217" y="215"/>
                </a:lnTo>
                <a:lnTo>
                  <a:pt x="1215" y="235"/>
                </a:lnTo>
                <a:lnTo>
                  <a:pt x="1214" y="244"/>
                </a:lnTo>
                <a:lnTo>
                  <a:pt x="1214" y="260"/>
                </a:lnTo>
                <a:lnTo>
                  <a:pt x="1214" y="281"/>
                </a:lnTo>
                <a:lnTo>
                  <a:pt x="1215" y="303"/>
                </a:lnTo>
                <a:lnTo>
                  <a:pt x="1218" y="327"/>
                </a:lnTo>
                <a:lnTo>
                  <a:pt x="1222" y="346"/>
                </a:lnTo>
                <a:lnTo>
                  <a:pt x="1223" y="353"/>
                </a:lnTo>
                <a:lnTo>
                  <a:pt x="1225" y="359"/>
                </a:lnTo>
                <a:lnTo>
                  <a:pt x="1228" y="362"/>
                </a:lnTo>
                <a:lnTo>
                  <a:pt x="1231" y="365"/>
                </a:lnTo>
                <a:lnTo>
                  <a:pt x="1231" y="375"/>
                </a:lnTo>
                <a:lnTo>
                  <a:pt x="1241" y="381"/>
                </a:lnTo>
                <a:lnTo>
                  <a:pt x="1259" y="396"/>
                </a:lnTo>
                <a:lnTo>
                  <a:pt x="1267" y="404"/>
                </a:lnTo>
                <a:lnTo>
                  <a:pt x="1275" y="411"/>
                </a:lnTo>
                <a:lnTo>
                  <a:pt x="1280" y="417"/>
                </a:lnTo>
                <a:lnTo>
                  <a:pt x="1282" y="420"/>
                </a:lnTo>
                <a:lnTo>
                  <a:pt x="1308" y="422"/>
                </a:lnTo>
                <a:lnTo>
                  <a:pt x="1347" y="425"/>
                </a:lnTo>
                <a:lnTo>
                  <a:pt x="1367" y="428"/>
                </a:lnTo>
                <a:lnTo>
                  <a:pt x="1385" y="432"/>
                </a:lnTo>
                <a:lnTo>
                  <a:pt x="1391" y="434"/>
                </a:lnTo>
                <a:lnTo>
                  <a:pt x="1396" y="436"/>
                </a:lnTo>
                <a:lnTo>
                  <a:pt x="1399" y="438"/>
                </a:lnTo>
                <a:lnTo>
                  <a:pt x="1400" y="442"/>
                </a:lnTo>
                <a:lnTo>
                  <a:pt x="1410" y="442"/>
                </a:lnTo>
                <a:lnTo>
                  <a:pt x="1411" y="443"/>
                </a:lnTo>
                <a:lnTo>
                  <a:pt x="1414" y="445"/>
                </a:lnTo>
                <a:lnTo>
                  <a:pt x="1416" y="447"/>
                </a:lnTo>
                <a:lnTo>
                  <a:pt x="1419" y="448"/>
                </a:lnTo>
                <a:lnTo>
                  <a:pt x="1426" y="451"/>
                </a:lnTo>
                <a:lnTo>
                  <a:pt x="1432" y="452"/>
                </a:lnTo>
                <a:lnTo>
                  <a:pt x="1432" y="455"/>
                </a:lnTo>
                <a:lnTo>
                  <a:pt x="1434" y="458"/>
                </a:lnTo>
                <a:lnTo>
                  <a:pt x="1437" y="462"/>
                </a:lnTo>
                <a:lnTo>
                  <a:pt x="1442" y="465"/>
                </a:lnTo>
                <a:lnTo>
                  <a:pt x="1451" y="472"/>
                </a:lnTo>
                <a:lnTo>
                  <a:pt x="1463" y="476"/>
                </a:lnTo>
                <a:lnTo>
                  <a:pt x="1474" y="482"/>
                </a:lnTo>
                <a:lnTo>
                  <a:pt x="1484" y="487"/>
                </a:lnTo>
                <a:lnTo>
                  <a:pt x="1487" y="490"/>
                </a:lnTo>
                <a:lnTo>
                  <a:pt x="1491" y="492"/>
                </a:lnTo>
                <a:lnTo>
                  <a:pt x="1493" y="495"/>
                </a:lnTo>
                <a:lnTo>
                  <a:pt x="1493" y="497"/>
                </a:lnTo>
                <a:lnTo>
                  <a:pt x="1509" y="497"/>
                </a:lnTo>
                <a:lnTo>
                  <a:pt x="1511" y="500"/>
                </a:lnTo>
                <a:lnTo>
                  <a:pt x="1515" y="502"/>
                </a:lnTo>
                <a:lnTo>
                  <a:pt x="1522" y="504"/>
                </a:lnTo>
                <a:lnTo>
                  <a:pt x="1529" y="506"/>
                </a:lnTo>
                <a:lnTo>
                  <a:pt x="1537" y="509"/>
                </a:lnTo>
                <a:lnTo>
                  <a:pt x="1543" y="512"/>
                </a:lnTo>
                <a:lnTo>
                  <a:pt x="1545" y="513"/>
                </a:lnTo>
                <a:lnTo>
                  <a:pt x="1548" y="515"/>
                </a:lnTo>
                <a:lnTo>
                  <a:pt x="1549" y="516"/>
                </a:lnTo>
                <a:lnTo>
                  <a:pt x="1550" y="519"/>
                </a:lnTo>
                <a:lnTo>
                  <a:pt x="1558" y="520"/>
                </a:lnTo>
                <a:lnTo>
                  <a:pt x="1567" y="522"/>
                </a:lnTo>
                <a:lnTo>
                  <a:pt x="1570" y="524"/>
                </a:lnTo>
                <a:lnTo>
                  <a:pt x="1573" y="528"/>
                </a:lnTo>
                <a:lnTo>
                  <a:pt x="1574" y="530"/>
                </a:lnTo>
                <a:lnTo>
                  <a:pt x="1576" y="534"/>
                </a:lnTo>
                <a:lnTo>
                  <a:pt x="1586" y="534"/>
                </a:lnTo>
                <a:lnTo>
                  <a:pt x="1588" y="539"/>
                </a:lnTo>
                <a:lnTo>
                  <a:pt x="1595" y="547"/>
                </a:lnTo>
                <a:lnTo>
                  <a:pt x="1601" y="552"/>
                </a:lnTo>
                <a:lnTo>
                  <a:pt x="1607" y="554"/>
                </a:lnTo>
                <a:lnTo>
                  <a:pt x="1607" y="564"/>
                </a:lnTo>
                <a:lnTo>
                  <a:pt x="1608" y="565"/>
                </a:lnTo>
                <a:lnTo>
                  <a:pt x="1610" y="568"/>
                </a:lnTo>
                <a:lnTo>
                  <a:pt x="1611" y="572"/>
                </a:lnTo>
                <a:lnTo>
                  <a:pt x="1614" y="578"/>
                </a:lnTo>
                <a:lnTo>
                  <a:pt x="1617" y="591"/>
                </a:lnTo>
                <a:lnTo>
                  <a:pt x="1620" y="606"/>
                </a:lnTo>
                <a:lnTo>
                  <a:pt x="1624" y="621"/>
                </a:lnTo>
                <a:lnTo>
                  <a:pt x="1627" y="634"/>
                </a:lnTo>
                <a:lnTo>
                  <a:pt x="1629" y="639"/>
                </a:lnTo>
                <a:lnTo>
                  <a:pt x="1631" y="644"/>
                </a:lnTo>
                <a:lnTo>
                  <a:pt x="1635" y="646"/>
                </a:lnTo>
                <a:lnTo>
                  <a:pt x="1637" y="647"/>
                </a:lnTo>
                <a:lnTo>
                  <a:pt x="1637" y="663"/>
                </a:lnTo>
                <a:lnTo>
                  <a:pt x="1643" y="665"/>
                </a:lnTo>
                <a:lnTo>
                  <a:pt x="1650" y="673"/>
                </a:lnTo>
                <a:lnTo>
                  <a:pt x="1659" y="684"/>
                </a:lnTo>
                <a:lnTo>
                  <a:pt x="1670" y="696"/>
                </a:lnTo>
                <a:lnTo>
                  <a:pt x="1683" y="708"/>
                </a:lnTo>
                <a:lnTo>
                  <a:pt x="1695" y="718"/>
                </a:lnTo>
                <a:lnTo>
                  <a:pt x="1702" y="723"/>
                </a:lnTo>
                <a:lnTo>
                  <a:pt x="1707" y="726"/>
                </a:lnTo>
                <a:lnTo>
                  <a:pt x="1714" y="728"/>
                </a:lnTo>
                <a:lnTo>
                  <a:pt x="1720" y="730"/>
                </a:lnTo>
                <a:lnTo>
                  <a:pt x="1721" y="734"/>
                </a:lnTo>
                <a:lnTo>
                  <a:pt x="1723" y="737"/>
                </a:lnTo>
                <a:lnTo>
                  <a:pt x="1726" y="740"/>
                </a:lnTo>
                <a:lnTo>
                  <a:pt x="1730" y="742"/>
                </a:lnTo>
                <a:lnTo>
                  <a:pt x="1733" y="744"/>
                </a:lnTo>
                <a:lnTo>
                  <a:pt x="1736" y="746"/>
                </a:lnTo>
                <a:lnTo>
                  <a:pt x="1739" y="750"/>
                </a:lnTo>
                <a:lnTo>
                  <a:pt x="1740" y="755"/>
                </a:lnTo>
                <a:lnTo>
                  <a:pt x="1751" y="755"/>
                </a:lnTo>
                <a:lnTo>
                  <a:pt x="1752" y="757"/>
                </a:lnTo>
                <a:lnTo>
                  <a:pt x="1756" y="761"/>
                </a:lnTo>
                <a:lnTo>
                  <a:pt x="1763" y="765"/>
                </a:lnTo>
                <a:lnTo>
                  <a:pt x="1771" y="771"/>
                </a:lnTo>
                <a:lnTo>
                  <a:pt x="1779" y="775"/>
                </a:lnTo>
                <a:lnTo>
                  <a:pt x="1785" y="780"/>
                </a:lnTo>
                <a:lnTo>
                  <a:pt x="1790" y="783"/>
                </a:lnTo>
                <a:lnTo>
                  <a:pt x="1791" y="785"/>
                </a:lnTo>
                <a:lnTo>
                  <a:pt x="1802" y="785"/>
                </a:lnTo>
                <a:lnTo>
                  <a:pt x="1804" y="790"/>
                </a:lnTo>
                <a:lnTo>
                  <a:pt x="1813" y="796"/>
                </a:lnTo>
                <a:lnTo>
                  <a:pt x="1826" y="805"/>
                </a:lnTo>
                <a:lnTo>
                  <a:pt x="1840" y="815"/>
                </a:lnTo>
                <a:lnTo>
                  <a:pt x="1855" y="826"/>
                </a:lnTo>
                <a:lnTo>
                  <a:pt x="1869" y="834"/>
                </a:lnTo>
                <a:lnTo>
                  <a:pt x="1881" y="840"/>
                </a:lnTo>
                <a:lnTo>
                  <a:pt x="1889" y="842"/>
                </a:lnTo>
                <a:lnTo>
                  <a:pt x="1890" y="846"/>
                </a:lnTo>
                <a:lnTo>
                  <a:pt x="1893" y="847"/>
                </a:lnTo>
                <a:lnTo>
                  <a:pt x="1896" y="848"/>
                </a:lnTo>
                <a:lnTo>
                  <a:pt x="1899" y="848"/>
                </a:lnTo>
                <a:lnTo>
                  <a:pt x="1902" y="858"/>
                </a:lnTo>
                <a:lnTo>
                  <a:pt x="1905" y="868"/>
                </a:lnTo>
                <a:lnTo>
                  <a:pt x="1906" y="868"/>
                </a:lnTo>
                <a:lnTo>
                  <a:pt x="1908" y="869"/>
                </a:lnTo>
                <a:lnTo>
                  <a:pt x="1909" y="871"/>
                </a:lnTo>
                <a:lnTo>
                  <a:pt x="1909" y="872"/>
                </a:lnTo>
                <a:lnTo>
                  <a:pt x="1910" y="878"/>
                </a:lnTo>
                <a:lnTo>
                  <a:pt x="1910" y="886"/>
                </a:lnTo>
                <a:lnTo>
                  <a:pt x="1908" y="904"/>
                </a:lnTo>
                <a:lnTo>
                  <a:pt x="1905" y="925"/>
                </a:lnTo>
                <a:lnTo>
                  <a:pt x="1895" y="966"/>
                </a:lnTo>
                <a:lnTo>
                  <a:pt x="1889" y="986"/>
                </a:lnTo>
                <a:lnTo>
                  <a:pt x="1881" y="1005"/>
                </a:lnTo>
                <a:lnTo>
                  <a:pt x="1875" y="1026"/>
                </a:lnTo>
                <a:lnTo>
                  <a:pt x="1868" y="1050"/>
                </a:lnTo>
                <a:lnTo>
                  <a:pt x="1861" y="1076"/>
                </a:lnTo>
                <a:lnTo>
                  <a:pt x="1839" y="1077"/>
                </a:lnTo>
                <a:lnTo>
                  <a:pt x="1814" y="1079"/>
                </a:lnTo>
                <a:lnTo>
                  <a:pt x="1791" y="1081"/>
                </a:lnTo>
                <a:lnTo>
                  <a:pt x="1766" y="1084"/>
                </a:lnTo>
                <a:lnTo>
                  <a:pt x="1743" y="1088"/>
                </a:lnTo>
                <a:lnTo>
                  <a:pt x="1721" y="1091"/>
                </a:lnTo>
                <a:lnTo>
                  <a:pt x="1701" y="1093"/>
                </a:lnTo>
                <a:lnTo>
                  <a:pt x="1682" y="1093"/>
                </a:lnTo>
                <a:lnTo>
                  <a:pt x="1681" y="1097"/>
                </a:lnTo>
                <a:lnTo>
                  <a:pt x="1681" y="1099"/>
                </a:lnTo>
                <a:lnTo>
                  <a:pt x="1679" y="1100"/>
                </a:lnTo>
                <a:lnTo>
                  <a:pt x="1678" y="1100"/>
                </a:lnTo>
                <a:lnTo>
                  <a:pt x="1677" y="1100"/>
                </a:lnTo>
                <a:lnTo>
                  <a:pt x="1676" y="1100"/>
                </a:lnTo>
                <a:lnTo>
                  <a:pt x="1675" y="1102"/>
                </a:lnTo>
                <a:lnTo>
                  <a:pt x="1675" y="1106"/>
                </a:lnTo>
                <a:lnTo>
                  <a:pt x="1669" y="1107"/>
                </a:lnTo>
                <a:lnTo>
                  <a:pt x="1662" y="1109"/>
                </a:lnTo>
                <a:lnTo>
                  <a:pt x="1654" y="1112"/>
                </a:lnTo>
                <a:lnTo>
                  <a:pt x="1646" y="1117"/>
                </a:lnTo>
                <a:lnTo>
                  <a:pt x="1638" y="1121"/>
                </a:lnTo>
                <a:lnTo>
                  <a:pt x="1631" y="1127"/>
                </a:lnTo>
                <a:lnTo>
                  <a:pt x="1629" y="1129"/>
                </a:lnTo>
                <a:lnTo>
                  <a:pt x="1627" y="1132"/>
                </a:lnTo>
                <a:lnTo>
                  <a:pt x="1626" y="1135"/>
                </a:lnTo>
                <a:lnTo>
                  <a:pt x="1625" y="1137"/>
                </a:lnTo>
                <a:lnTo>
                  <a:pt x="1612" y="1137"/>
                </a:lnTo>
                <a:lnTo>
                  <a:pt x="1607" y="1144"/>
                </a:lnTo>
                <a:lnTo>
                  <a:pt x="1607" y="1156"/>
                </a:lnTo>
                <a:lnTo>
                  <a:pt x="1595" y="1156"/>
                </a:lnTo>
                <a:lnTo>
                  <a:pt x="1592" y="1158"/>
                </a:lnTo>
                <a:lnTo>
                  <a:pt x="1588" y="1159"/>
                </a:lnTo>
                <a:lnTo>
                  <a:pt x="1582" y="1160"/>
                </a:lnTo>
                <a:lnTo>
                  <a:pt x="1574" y="1161"/>
                </a:lnTo>
                <a:lnTo>
                  <a:pt x="1560" y="1161"/>
                </a:lnTo>
                <a:lnTo>
                  <a:pt x="1551" y="1161"/>
                </a:lnTo>
                <a:lnTo>
                  <a:pt x="1551" y="1174"/>
                </a:lnTo>
                <a:lnTo>
                  <a:pt x="1549" y="1176"/>
                </a:lnTo>
                <a:lnTo>
                  <a:pt x="1548" y="1180"/>
                </a:lnTo>
                <a:lnTo>
                  <a:pt x="1547" y="1186"/>
                </a:lnTo>
                <a:lnTo>
                  <a:pt x="1545" y="1194"/>
                </a:lnTo>
                <a:lnTo>
                  <a:pt x="1544" y="1208"/>
                </a:lnTo>
                <a:lnTo>
                  <a:pt x="1544" y="1217"/>
                </a:lnTo>
                <a:lnTo>
                  <a:pt x="1537" y="1217"/>
                </a:lnTo>
                <a:lnTo>
                  <a:pt x="1529" y="1216"/>
                </a:lnTo>
                <a:lnTo>
                  <a:pt x="1523" y="1214"/>
                </a:lnTo>
                <a:lnTo>
                  <a:pt x="1518" y="1211"/>
                </a:lnTo>
                <a:lnTo>
                  <a:pt x="1507" y="1205"/>
                </a:lnTo>
                <a:lnTo>
                  <a:pt x="1495" y="1199"/>
                </a:lnTo>
                <a:lnTo>
                  <a:pt x="1495" y="1156"/>
                </a:lnTo>
                <a:lnTo>
                  <a:pt x="1493" y="1156"/>
                </a:lnTo>
                <a:lnTo>
                  <a:pt x="1492" y="1155"/>
                </a:lnTo>
                <a:lnTo>
                  <a:pt x="1491" y="1154"/>
                </a:lnTo>
                <a:lnTo>
                  <a:pt x="1490" y="1151"/>
                </a:lnTo>
                <a:lnTo>
                  <a:pt x="1489" y="1148"/>
                </a:lnTo>
                <a:lnTo>
                  <a:pt x="1489" y="1144"/>
                </a:lnTo>
                <a:lnTo>
                  <a:pt x="1483" y="1134"/>
                </a:lnTo>
                <a:lnTo>
                  <a:pt x="1476" y="1118"/>
                </a:lnTo>
                <a:lnTo>
                  <a:pt x="1474" y="1118"/>
                </a:lnTo>
                <a:lnTo>
                  <a:pt x="1471" y="1116"/>
                </a:lnTo>
                <a:lnTo>
                  <a:pt x="1467" y="1112"/>
                </a:lnTo>
                <a:lnTo>
                  <a:pt x="1465" y="1108"/>
                </a:lnTo>
                <a:lnTo>
                  <a:pt x="1459" y="1100"/>
                </a:lnTo>
                <a:lnTo>
                  <a:pt x="1457" y="1093"/>
                </a:lnTo>
                <a:lnTo>
                  <a:pt x="1454" y="1091"/>
                </a:lnTo>
                <a:lnTo>
                  <a:pt x="1451" y="1088"/>
                </a:lnTo>
                <a:lnTo>
                  <a:pt x="1448" y="1086"/>
                </a:lnTo>
                <a:lnTo>
                  <a:pt x="1446" y="1083"/>
                </a:lnTo>
                <a:lnTo>
                  <a:pt x="1443" y="1082"/>
                </a:lnTo>
                <a:lnTo>
                  <a:pt x="1439" y="1081"/>
                </a:lnTo>
                <a:lnTo>
                  <a:pt x="1438" y="1078"/>
                </a:lnTo>
                <a:lnTo>
                  <a:pt x="1438" y="1076"/>
                </a:lnTo>
                <a:lnTo>
                  <a:pt x="1437" y="1076"/>
                </a:lnTo>
                <a:lnTo>
                  <a:pt x="1436" y="1076"/>
                </a:lnTo>
                <a:lnTo>
                  <a:pt x="1435" y="1074"/>
                </a:lnTo>
                <a:lnTo>
                  <a:pt x="1434" y="1074"/>
                </a:lnTo>
                <a:lnTo>
                  <a:pt x="1433" y="1072"/>
                </a:lnTo>
                <a:lnTo>
                  <a:pt x="1433" y="1069"/>
                </a:lnTo>
                <a:lnTo>
                  <a:pt x="1426" y="1069"/>
                </a:lnTo>
                <a:lnTo>
                  <a:pt x="1420" y="1071"/>
                </a:lnTo>
                <a:lnTo>
                  <a:pt x="1414" y="1073"/>
                </a:lnTo>
                <a:lnTo>
                  <a:pt x="1409" y="1076"/>
                </a:lnTo>
                <a:lnTo>
                  <a:pt x="1399" y="1082"/>
                </a:lnTo>
                <a:lnTo>
                  <a:pt x="1389" y="1088"/>
                </a:lnTo>
                <a:lnTo>
                  <a:pt x="1388" y="1092"/>
                </a:lnTo>
                <a:lnTo>
                  <a:pt x="1386" y="1096"/>
                </a:lnTo>
                <a:lnTo>
                  <a:pt x="1381" y="1099"/>
                </a:lnTo>
                <a:lnTo>
                  <a:pt x="1377" y="1100"/>
                </a:lnTo>
                <a:lnTo>
                  <a:pt x="1376" y="1102"/>
                </a:lnTo>
                <a:lnTo>
                  <a:pt x="1374" y="1105"/>
                </a:lnTo>
                <a:lnTo>
                  <a:pt x="1371" y="1107"/>
                </a:lnTo>
                <a:lnTo>
                  <a:pt x="1367" y="1108"/>
                </a:lnTo>
                <a:lnTo>
                  <a:pt x="1359" y="1111"/>
                </a:lnTo>
                <a:lnTo>
                  <a:pt x="1352" y="1112"/>
                </a:lnTo>
                <a:lnTo>
                  <a:pt x="1352" y="1115"/>
                </a:lnTo>
                <a:lnTo>
                  <a:pt x="1351" y="1118"/>
                </a:lnTo>
                <a:lnTo>
                  <a:pt x="1349" y="1120"/>
                </a:lnTo>
                <a:lnTo>
                  <a:pt x="1347" y="1121"/>
                </a:lnTo>
                <a:lnTo>
                  <a:pt x="1340" y="1125"/>
                </a:lnTo>
                <a:lnTo>
                  <a:pt x="1331" y="1127"/>
                </a:lnTo>
                <a:lnTo>
                  <a:pt x="1321" y="1129"/>
                </a:lnTo>
                <a:lnTo>
                  <a:pt x="1310" y="1130"/>
                </a:lnTo>
                <a:lnTo>
                  <a:pt x="1298" y="1130"/>
                </a:lnTo>
                <a:lnTo>
                  <a:pt x="1285" y="1130"/>
                </a:lnTo>
                <a:lnTo>
                  <a:pt x="1237" y="1127"/>
                </a:lnTo>
                <a:lnTo>
                  <a:pt x="1209" y="1125"/>
                </a:lnTo>
                <a:lnTo>
                  <a:pt x="1203" y="1118"/>
                </a:lnTo>
                <a:lnTo>
                  <a:pt x="1201" y="1109"/>
                </a:lnTo>
                <a:lnTo>
                  <a:pt x="1197" y="1100"/>
                </a:lnTo>
                <a:lnTo>
                  <a:pt x="1185" y="1088"/>
                </a:lnTo>
                <a:lnTo>
                  <a:pt x="1173" y="1076"/>
                </a:lnTo>
                <a:lnTo>
                  <a:pt x="1173" y="1062"/>
                </a:lnTo>
                <a:lnTo>
                  <a:pt x="1160" y="1057"/>
                </a:lnTo>
                <a:lnTo>
                  <a:pt x="1154" y="1050"/>
                </a:lnTo>
                <a:lnTo>
                  <a:pt x="1154" y="1041"/>
                </a:lnTo>
                <a:lnTo>
                  <a:pt x="1154" y="1032"/>
                </a:lnTo>
                <a:lnTo>
                  <a:pt x="1151" y="1031"/>
                </a:lnTo>
                <a:lnTo>
                  <a:pt x="1150" y="1028"/>
                </a:lnTo>
                <a:lnTo>
                  <a:pt x="1148" y="1024"/>
                </a:lnTo>
                <a:lnTo>
                  <a:pt x="1147" y="1019"/>
                </a:lnTo>
                <a:lnTo>
                  <a:pt x="1145" y="1014"/>
                </a:lnTo>
                <a:lnTo>
                  <a:pt x="1142" y="1011"/>
                </a:lnTo>
                <a:lnTo>
                  <a:pt x="1139" y="1007"/>
                </a:lnTo>
                <a:lnTo>
                  <a:pt x="1135" y="1006"/>
                </a:lnTo>
                <a:lnTo>
                  <a:pt x="1135" y="994"/>
                </a:lnTo>
                <a:lnTo>
                  <a:pt x="1119" y="982"/>
                </a:lnTo>
                <a:lnTo>
                  <a:pt x="1103" y="969"/>
                </a:lnTo>
                <a:lnTo>
                  <a:pt x="1088" y="969"/>
                </a:lnTo>
                <a:lnTo>
                  <a:pt x="1060" y="971"/>
                </a:lnTo>
                <a:lnTo>
                  <a:pt x="1024" y="971"/>
                </a:lnTo>
                <a:lnTo>
                  <a:pt x="986" y="969"/>
                </a:lnTo>
                <a:lnTo>
                  <a:pt x="949" y="967"/>
                </a:lnTo>
                <a:lnTo>
                  <a:pt x="917" y="964"/>
                </a:lnTo>
                <a:lnTo>
                  <a:pt x="905" y="962"/>
                </a:lnTo>
                <a:lnTo>
                  <a:pt x="895" y="958"/>
                </a:lnTo>
                <a:lnTo>
                  <a:pt x="891" y="957"/>
                </a:lnTo>
                <a:lnTo>
                  <a:pt x="889" y="955"/>
                </a:lnTo>
                <a:lnTo>
                  <a:pt x="887" y="953"/>
                </a:lnTo>
                <a:lnTo>
                  <a:pt x="887" y="951"/>
                </a:lnTo>
                <a:lnTo>
                  <a:pt x="881" y="951"/>
                </a:lnTo>
                <a:lnTo>
                  <a:pt x="876" y="949"/>
                </a:lnTo>
                <a:lnTo>
                  <a:pt x="869" y="947"/>
                </a:lnTo>
                <a:lnTo>
                  <a:pt x="863" y="944"/>
                </a:lnTo>
                <a:lnTo>
                  <a:pt x="858" y="940"/>
                </a:lnTo>
                <a:lnTo>
                  <a:pt x="853" y="938"/>
                </a:lnTo>
                <a:lnTo>
                  <a:pt x="851" y="935"/>
                </a:lnTo>
                <a:lnTo>
                  <a:pt x="850" y="933"/>
                </a:lnTo>
                <a:lnTo>
                  <a:pt x="834" y="933"/>
                </a:lnTo>
                <a:lnTo>
                  <a:pt x="820" y="934"/>
                </a:lnTo>
                <a:lnTo>
                  <a:pt x="805" y="935"/>
                </a:lnTo>
                <a:lnTo>
                  <a:pt x="792" y="937"/>
                </a:lnTo>
                <a:lnTo>
                  <a:pt x="765" y="942"/>
                </a:lnTo>
                <a:lnTo>
                  <a:pt x="738" y="948"/>
                </a:lnTo>
                <a:lnTo>
                  <a:pt x="713" y="954"/>
                </a:lnTo>
                <a:lnTo>
                  <a:pt x="686" y="958"/>
                </a:lnTo>
                <a:lnTo>
                  <a:pt x="672" y="961"/>
                </a:lnTo>
                <a:lnTo>
                  <a:pt x="660" y="962"/>
                </a:lnTo>
                <a:lnTo>
                  <a:pt x="646" y="963"/>
                </a:lnTo>
                <a:lnTo>
                  <a:pt x="632" y="963"/>
                </a:lnTo>
                <a:lnTo>
                  <a:pt x="629" y="951"/>
                </a:lnTo>
                <a:lnTo>
                  <a:pt x="626" y="938"/>
                </a:lnTo>
                <a:lnTo>
                  <a:pt x="623" y="937"/>
                </a:lnTo>
                <a:lnTo>
                  <a:pt x="621" y="934"/>
                </a:lnTo>
                <a:lnTo>
                  <a:pt x="619" y="928"/>
                </a:lnTo>
                <a:lnTo>
                  <a:pt x="618" y="923"/>
                </a:lnTo>
                <a:lnTo>
                  <a:pt x="614" y="909"/>
                </a:lnTo>
                <a:lnTo>
                  <a:pt x="613" y="901"/>
                </a:lnTo>
                <a:lnTo>
                  <a:pt x="608" y="896"/>
                </a:lnTo>
                <a:lnTo>
                  <a:pt x="601" y="889"/>
                </a:lnTo>
                <a:lnTo>
                  <a:pt x="594" y="885"/>
                </a:lnTo>
                <a:lnTo>
                  <a:pt x="589" y="882"/>
                </a:lnTo>
                <a:lnTo>
                  <a:pt x="589" y="870"/>
                </a:lnTo>
                <a:lnTo>
                  <a:pt x="582" y="863"/>
                </a:lnTo>
                <a:lnTo>
                  <a:pt x="570" y="863"/>
                </a:lnTo>
                <a:lnTo>
                  <a:pt x="558" y="863"/>
                </a:lnTo>
                <a:lnTo>
                  <a:pt x="558" y="862"/>
                </a:lnTo>
                <a:lnTo>
                  <a:pt x="556" y="861"/>
                </a:lnTo>
                <a:lnTo>
                  <a:pt x="554" y="860"/>
                </a:lnTo>
                <a:lnTo>
                  <a:pt x="551" y="859"/>
                </a:lnTo>
                <a:lnTo>
                  <a:pt x="543" y="858"/>
                </a:lnTo>
                <a:lnTo>
                  <a:pt x="533" y="858"/>
                </a:lnTo>
                <a:lnTo>
                  <a:pt x="506" y="860"/>
                </a:lnTo>
                <a:lnTo>
                  <a:pt x="477" y="865"/>
                </a:lnTo>
                <a:lnTo>
                  <a:pt x="447" y="869"/>
                </a:lnTo>
                <a:lnTo>
                  <a:pt x="421" y="875"/>
                </a:lnTo>
                <a:lnTo>
                  <a:pt x="403" y="879"/>
                </a:lnTo>
                <a:lnTo>
                  <a:pt x="397" y="882"/>
                </a:lnTo>
                <a:lnTo>
                  <a:pt x="384" y="884"/>
                </a:lnTo>
                <a:lnTo>
                  <a:pt x="372" y="885"/>
                </a:lnTo>
                <a:lnTo>
                  <a:pt x="359" y="886"/>
                </a:lnTo>
                <a:lnTo>
                  <a:pt x="344" y="889"/>
                </a:lnTo>
                <a:lnTo>
                  <a:pt x="344" y="889"/>
                </a:lnTo>
                <a:lnTo>
                  <a:pt x="345" y="890"/>
                </a:lnTo>
                <a:lnTo>
                  <a:pt x="344" y="887"/>
                </a:lnTo>
                <a:lnTo>
                  <a:pt x="344" y="882"/>
                </a:lnTo>
                <a:lnTo>
                  <a:pt x="322" y="882"/>
                </a:lnTo>
                <a:lnTo>
                  <a:pt x="321" y="881"/>
                </a:lnTo>
                <a:lnTo>
                  <a:pt x="318" y="880"/>
                </a:lnTo>
                <a:lnTo>
                  <a:pt x="313" y="879"/>
                </a:lnTo>
                <a:lnTo>
                  <a:pt x="307" y="879"/>
                </a:lnTo>
                <a:lnTo>
                  <a:pt x="297" y="878"/>
                </a:lnTo>
                <a:lnTo>
                  <a:pt x="291" y="878"/>
                </a:lnTo>
                <a:lnTo>
                  <a:pt x="290" y="876"/>
                </a:lnTo>
                <a:lnTo>
                  <a:pt x="287" y="875"/>
                </a:lnTo>
                <a:lnTo>
                  <a:pt x="285" y="874"/>
                </a:lnTo>
                <a:lnTo>
                  <a:pt x="282" y="874"/>
                </a:lnTo>
                <a:lnTo>
                  <a:pt x="278" y="872"/>
                </a:lnTo>
                <a:lnTo>
                  <a:pt x="271" y="871"/>
                </a:lnTo>
                <a:lnTo>
                  <a:pt x="259" y="870"/>
                </a:lnTo>
                <a:lnTo>
                  <a:pt x="247" y="870"/>
                </a:lnTo>
                <a:lnTo>
                  <a:pt x="222" y="869"/>
                </a:lnTo>
                <a:lnTo>
                  <a:pt x="206" y="869"/>
                </a:lnTo>
                <a:lnTo>
                  <a:pt x="205" y="871"/>
                </a:lnTo>
                <a:lnTo>
                  <a:pt x="204" y="872"/>
                </a:lnTo>
                <a:lnTo>
                  <a:pt x="203" y="872"/>
                </a:lnTo>
                <a:lnTo>
                  <a:pt x="199" y="874"/>
                </a:lnTo>
                <a:lnTo>
                  <a:pt x="194" y="874"/>
                </a:lnTo>
                <a:lnTo>
                  <a:pt x="186" y="872"/>
                </a:lnTo>
                <a:lnTo>
                  <a:pt x="172" y="870"/>
                </a:lnTo>
                <a:lnTo>
                  <a:pt x="166" y="869"/>
                </a:lnTo>
                <a:lnTo>
                  <a:pt x="158" y="862"/>
                </a:lnTo>
                <a:lnTo>
                  <a:pt x="148" y="856"/>
                </a:lnTo>
                <a:lnTo>
                  <a:pt x="134" y="856"/>
                </a:lnTo>
                <a:lnTo>
                  <a:pt x="134" y="855"/>
                </a:lnTo>
                <a:lnTo>
                  <a:pt x="133" y="853"/>
                </a:lnTo>
                <a:lnTo>
                  <a:pt x="131" y="852"/>
                </a:lnTo>
                <a:lnTo>
                  <a:pt x="129" y="852"/>
                </a:lnTo>
                <a:lnTo>
                  <a:pt x="125" y="851"/>
                </a:lnTo>
                <a:lnTo>
                  <a:pt x="121" y="851"/>
                </a:lnTo>
                <a:lnTo>
                  <a:pt x="120" y="849"/>
                </a:lnTo>
                <a:lnTo>
                  <a:pt x="118" y="848"/>
                </a:lnTo>
                <a:lnTo>
                  <a:pt x="115" y="847"/>
                </a:lnTo>
                <a:lnTo>
                  <a:pt x="112" y="847"/>
                </a:lnTo>
                <a:lnTo>
                  <a:pt x="110" y="842"/>
                </a:lnTo>
                <a:lnTo>
                  <a:pt x="108" y="838"/>
                </a:lnTo>
                <a:lnTo>
                  <a:pt x="103" y="838"/>
                </a:lnTo>
                <a:lnTo>
                  <a:pt x="99" y="836"/>
                </a:lnTo>
                <a:lnTo>
                  <a:pt x="95" y="832"/>
                </a:lnTo>
                <a:lnTo>
                  <a:pt x="94" y="829"/>
                </a:lnTo>
                <a:lnTo>
                  <a:pt x="85" y="829"/>
                </a:lnTo>
                <a:lnTo>
                  <a:pt x="84" y="826"/>
                </a:lnTo>
                <a:lnTo>
                  <a:pt x="83" y="823"/>
                </a:lnTo>
                <a:lnTo>
                  <a:pt x="80" y="821"/>
                </a:lnTo>
                <a:lnTo>
                  <a:pt x="76" y="820"/>
                </a:lnTo>
                <a:lnTo>
                  <a:pt x="75" y="817"/>
                </a:lnTo>
                <a:lnTo>
                  <a:pt x="72" y="814"/>
                </a:lnTo>
                <a:lnTo>
                  <a:pt x="67" y="812"/>
                </a:lnTo>
                <a:lnTo>
                  <a:pt x="63" y="811"/>
                </a:lnTo>
                <a:lnTo>
                  <a:pt x="63" y="798"/>
                </a:lnTo>
                <a:lnTo>
                  <a:pt x="59" y="795"/>
                </a:lnTo>
                <a:lnTo>
                  <a:pt x="54" y="793"/>
                </a:lnTo>
                <a:lnTo>
                  <a:pt x="54" y="784"/>
                </a:lnTo>
                <a:lnTo>
                  <a:pt x="45" y="784"/>
                </a:lnTo>
                <a:lnTo>
                  <a:pt x="32" y="775"/>
                </a:lnTo>
                <a:lnTo>
                  <a:pt x="32" y="775"/>
                </a:lnTo>
                <a:lnTo>
                  <a:pt x="24" y="742"/>
                </a:lnTo>
                <a:lnTo>
                  <a:pt x="17" y="707"/>
                </a:lnTo>
                <a:lnTo>
                  <a:pt x="8" y="672"/>
                </a:lnTo>
                <a:lnTo>
                  <a:pt x="0" y="636"/>
                </a:lnTo>
                <a:lnTo>
                  <a:pt x="3" y="634"/>
                </a:lnTo>
                <a:lnTo>
                  <a:pt x="7" y="628"/>
                </a:lnTo>
                <a:lnTo>
                  <a:pt x="11" y="620"/>
                </a:lnTo>
                <a:lnTo>
                  <a:pt x="15" y="611"/>
                </a:lnTo>
                <a:lnTo>
                  <a:pt x="19" y="601"/>
                </a:lnTo>
                <a:lnTo>
                  <a:pt x="23" y="592"/>
                </a:lnTo>
                <a:lnTo>
                  <a:pt x="25" y="583"/>
                </a:lnTo>
                <a:lnTo>
                  <a:pt x="26" y="578"/>
                </a:lnTo>
                <a:lnTo>
                  <a:pt x="29" y="576"/>
                </a:lnTo>
                <a:lnTo>
                  <a:pt x="34" y="572"/>
                </a:lnTo>
                <a:lnTo>
                  <a:pt x="40" y="567"/>
                </a:lnTo>
                <a:lnTo>
                  <a:pt x="44" y="560"/>
                </a:lnTo>
                <a:lnTo>
                  <a:pt x="50" y="552"/>
                </a:lnTo>
                <a:lnTo>
                  <a:pt x="54" y="544"/>
                </a:lnTo>
                <a:lnTo>
                  <a:pt x="57" y="538"/>
                </a:lnTo>
                <a:lnTo>
                  <a:pt x="59" y="532"/>
                </a:lnTo>
                <a:lnTo>
                  <a:pt x="61" y="531"/>
                </a:lnTo>
                <a:lnTo>
                  <a:pt x="64" y="530"/>
                </a:lnTo>
                <a:lnTo>
                  <a:pt x="67" y="528"/>
                </a:lnTo>
                <a:lnTo>
                  <a:pt x="71" y="524"/>
                </a:lnTo>
                <a:lnTo>
                  <a:pt x="73" y="522"/>
                </a:lnTo>
                <a:lnTo>
                  <a:pt x="75" y="519"/>
                </a:lnTo>
                <a:lnTo>
                  <a:pt x="77" y="515"/>
                </a:lnTo>
                <a:lnTo>
                  <a:pt x="77" y="513"/>
                </a:lnTo>
                <a:lnTo>
                  <a:pt x="81" y="512"/>
                </a:lnTo>
                <a:lnTo>
                  <a:pt x="84" y="510"/>
                </a:lnTo>
                <a:lnTo>
                  <a:pt x="89" y="506"/>
                </a:lnTo>
                <a:lnTo>
                  <a:pt x="94" y="502"/>
                </a:lnTo>
                <a:lnTo>
                  <a:pt x="103" y="493"/>
                </a:lnTo>
                <a:lnTo>
                  <a:pt x="110" y="486"/>
                </a:lnTo>
                <a:lnTo>
                  <a:pt x="123" y="486"/>
                </a:lnTo>
                <a:lnTo>
                  <a:pt x="124" y="482"/>
                </a:lnTo>
                <a:lnTo>
                  <a:pt x="127" y="480"/>
                </a:lnTo>
                <a:lnTo>
                  <a:pt x="131" y="476"/>
                </a:lnTo>
                <a:lnTo>
                  <a:pt x="136" y="474"/>
                </a:lnTo>
                <a:lnTo>
                  <a:pt x="141" y="473"/>
                </a:lnTo>
                <a:lnTo>
                  <a:pt x="144" y="471"/>
                </a:lnTo>
                <a:lnTo>
                  <a:pt x="148" y="469"/>
                </a:lnTo>
                <a:lnTo>
                  <a:pt x="149" y="467"/>
                </a:lnTo>
                <a:lnTo>
                  <a:pt x="162" y="467"/>
                </a:lnTo>
                <a:lnTo>
                  <a:pt x="168" y="462"/>
                </a:lnTo>
                <a:lnTo>
                  <a:pt x="175" y="456"/>
                </a:lnTo>
                <a:lnTo>
                  <a:pt x="177" y="454"/>
                </a:lnTo>
                <a:lnTo>
                  <a:pt x="179" y="449"/>
                </a:lnTo>
                <a:lnTo>
                  <a:pt x="181" y="446"/>
                </a:lnTo>
                <a:lnTo>
                  <a:pt x="181" y="442"/>
                </a:lnTo>
                <a:lnTo>
                  <a:pt x="195" y="442"/>
                </a:lnTo>
                <a:lnTo>
                  <a:pt x="195" y="436"/>
                </a:lnTo>
                <a:lnTo>
                  <a:pt x="195" y="429"/>
                </a:lnTo>
                <a:lnTo>
                  <a:pt x="196" y="426"/>
                </a:lnTo>
                <a:lnTo>
                  <a:pt x="197" y="424"/>
                </a:lnTo>
                <a:lnTo>
                  <a:pt x="199" y="423"/>
                </a:lnTo>
                <a:lnTo>
                  <a:pt x="200" y="422"/>
                </a:lnTo>
                <a:lnTo>
                  <a:pt x="200" y="409"/>
                </a:lnTo>
                <a:lnTo>
                  <a:pt x="220" y="389"/>
                </a:lnTo>
                <a:lnTo>
                  <a:pt x="226" y="388"/>
                </a:lnTo>
                <a:lnTo>
                  <a:pt x="233" y="386"/>
                </a:lnTo>
                <a:lnTo>
                  <a:pt x="235" y="384"/>
                </a:lnTo>
                <a:lnTo>
                  <a:pt x="237" y="381"/>
                </a:lnTo>
                <a:lnTo>
                  <a:pt x="239" y="379"/>
                </a:lnTo>
                <a:lnTo>
                  <a:pt x="239" y="377"/>
                </a:lnTo>
                <a:lnTo>
                  <a:pt x="253" y="377"/>
                </a:lnTo>
                <a:lnTo>
                  <a:pt x="263" y="367"/>
                </a:lnTo>
                <a:lnTo>
                  <a:pt x="272" y="357"/>
                </a:lnTo>
                <a:lnTo>
                  <a:pt x="277" y="356"/>
                </a:lnTo>
                <a:lnTo>
                  <a:pt x="283" y="352"/>
                </a:lnTo>
                <a:lnTo>
                  <a:pt x="288" y="347"/>
                </a:lnTo>
                <a:lnTo>
                  <a:pt x="294" y="341"/>
                </a:lnTo>
                <a:lnTo>
                  <a:pt x="300" y="334"/>
                </a:lnTo>
                <a:lnTo>
                  <a:pt x="304" y="330"/>
                </a:lnTo>
                <a:lnTo>
                  <a:pt x="307" y="327"/>
                </a:lnTo>
                <a:lnTo>
                  <a:pt x="311" y="324"/>
                </a:lnTo>
                <a:lnTo>
                  <a:pt x="311" y="320"/>
                </a:lnTo>
                <a:lnTo>
                  <a:pt x="312" y="315"/>
                </a:lnTo>
                <a:lnTo>
                  <a:pt x="312" y="314"/>
                </a:lnTo>
                <a:lnTo>
                  <a:pt x="314" y="313"/>
                </a:lnTo>
                <a:lnTo>
                  <a:pt x="315" y="312"/>
                </a:lnTo>
                <a:lnTo>
                  <a:pt x="318" y="312"/>
                </a:lnTo>
                <a:lnTo>
                  <a:pt x="319" y="294"/>
                </a:lnTo>
                <a:lnTo>
                  <a:pt x="322" y="269"/>
                </a:lnTo>
                <a:lnTo>
                  <a:pt x="323" y="255"/>
                </a:lnTo>
                <a:lnTo>
                  <a:pt x="323" y="244"/>
                </a:lnTo>
                <a:lnTo>
                  <a:pt x="322" y="241"/>
                </a:lnTo>
                <a:lnTo>
                  <a:pt x="321" y="237"/>
                </a:lnTo>
                <a:lnTo>
                  <a:pt x="320" y="235"/>
                </a:lnTo>
                <a:lnTo>
                  <a:pt x="318" y="234"/>
                </a:lnTo>
                <a:lnTo>
                  <a:pt x="318" y="225"/>
                </a:lnTo>
                <a:lnTo>
                  <a:pt x="319" y="212"/>
                </a:lnTo>
                <a:lnTo>
                  <a:pt x="319" y="206"/>
                </a:lnTo>
                <a:lnTo>
                  <a:pt x="320" y="201"/>
                </a:lnTo>
                <a:lnTo>
                  <a:pt x="322" y="197"/>
                </a:lnTo>
                <a:lnTo>
                  <a:pt x="324" y="195"/>
                </a:lnTo>
                <a:lnTo>
                  <a:pt x="324" y="186"/>
                </a:lnTo>
                <a:lnTo>
                  <a:pt x="324" y="176"/>
                </a:lnTo>
                <a:lnTo>
                  <a:pt x="330" y="169"/>
                </a:lnTo>
                <a:lnTo>
                  <a:pt x="336" y="163"/>
                </a:lnTo>
                <a:lnTo>
                  <a:pt x="350" y="163"/>
                </a:lnTo>
                <a:lnTo>
                  <a:pt x="350" y="158"/>
                </a:lnTo>
                <a:lnTo>
                  <a:pt x="351" y="154"/>
                </a:lnTo>
                <a:lnTo>
                  <a:pt x="351" y="153"/>
                </a:lnTo>
                <a:lnTo>
                  <a:pt x="352" y="151"/>
                </a:lnTo>
                <a:lnTo>
                  <a:pt x="354" y="150"/>
                </a:lnTo>
                <a:lnTo>
                  <a:pt x="357" y="150"/>
                </a:lnTo>
                <a:lnTo>
                  <a:pt x="357" y="144"/>
                </a:lnTo>
                <a:lnTo>
                  <a:pt x="357" y="138"/>
                </a:lnTo>
                <a:lnTo>
                  <a:pt x="358" y="135"/>
                </a:lnTo>
                <a:lnTo>
                  <a:pt x="359" y="132"/>
                </a:lnTo>
                <a:lnTo>
                  <a:pt x="361" y="131"/>
                </a:lnTo>
                <a:lnTo>
                  <a:pt x="362" y="130"/>
                </a:lnTo>
                <a:lnTo>
                  <a:pt x="361" y="105"/>
                </a:lnTo>
                <a:lnTo>
                  <a:pt x="357" y="77"/>
                </a:lnTo>
                <a:lnTo>
                  <a:pt x="352" y="50"/>
                </a:lnTo>
                <a:lnTo>
                  <a:pt x="350" y="26"/>
                </a:lnTo>
                <a:lnTo>
                  <a:pt x="347" y="26"/>
                </a:lnTo>
                <a:lnTo>
                  <a:pt x="344" y="26"/>
                </a:lnTo>
                <a:lnTo>
                  <a:pt x="343" y="25"/>
                </a:lnTo>
                <a:lnTo>
                  <a:pt x="343" y="24"/>
                </a:lnTo>
                <a:lnTo>
                  <a:pt x="343" y="22"/>
                </a:lnTo>
                <a:lnTo>
                  <a:pt x="342" y="22"/>
                </a:lnTo>
                <a:lnTo>
                  <a:pt x="341" y="21"/>
                </a:lnTo>
                <a:lnTo>
                  <a:pt x="336" y="21"/>
                </a:lnTo>
                <a:lnTo>
                  <a:pt x="336" y="7"/>
                </a:lnTo>
                <a:lnTo>
                  <a:pt x="333" y="7"/>
                </a:lnTo>
                <a:lnTo>
                  <a:pt x="330" y="7"/>
                </a:lnTo>
                <a:lnTo>
                  <a:pt x="326" y="6"/>
                </a:lnTo>
                <a:lnTo>
                  <a:pt x="325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60" name="Freeform 21">
            <a:extLst>
              <a:ext uri="{FF2B5EF4-FFF2-40B4-BE49-F238E27FC236}">
                <a16:creationId xmlns:a16="http://schemas.microsoft.com/office/drawing/2014/main" id="{DA8B1405-C9A0-44DD-A0A1-8E9ADCDE00A7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637463" y="3979863"/>
            <a:ext cx="424009" cy="296863"/>
          </a:xfrm>
          <a:custGeom>
            <a:avLst/>
            <a:gdLst/>
            <a:ahLst/>
            <a:cxnLst>
              <a:cxn ang="0">
                <a:pos x="1559" y="152"/>
              </a:cxn>
              <a:cxn ang="0">
                <a:pos x="1479" y="175"/>
              </a:cxn>
              <a:cxn ang="0">
                <a:pos x="1464" y="231"/>
              </a:cxn>
              <a:cxn ang="0">
                <a:pos x="1405" y="655"/>
              </a:cxn>
              <a:cxn ang="0">
                <a:pos x="1287" y="654"/>
              </a:cxn>
              <a:cxn ang="0">
                <a:pos x="1104" y="600"/>
              </a:cxn>
              <a:cxn ang="0">
                <a:pos x="1072" y="526"/>
              </a:cxn>
              <a:cxn ang="0">
                <a:pos x="1004" y="494"/>
              </a:cxn>
              <a:cxn ang="0">
                <a:pos x="947" y="453"/>
              </a:cxn>
              <a:cxn ang="0">
                <a:pos x="887" y="244"/>
              </a:cxn>
              <a:cxn ang="0">
                <a:pos x="837" y="336"/>
              </a:cxn>
              <a:cxn ang="0">
                <a:pos x="778" y="534"/>
              </a:cxn>
              <a:cxn ang="0">
                <a:pos x="657" y="579"/>
              </a:cxn>
              <a:cxn ang="0">
                <a:pos x="535" y="538"/>
              </a:cxn>
              <a:cxn ang="0">
                <a:pos x="528" y="674"/>
              </a:cxn>
              <a:cxn ang="0">
                <a:pos x="2" y="767"/>
              </a:cxn>
              <a:cxn ang="0">
                <a:pos x="62" y="814"/>
              </a:cxn>
              <a:cxn ang="0">
                <a:pos x="107" y="891"/>
              </a:cxn>
              <a:cxn ang="0">
                <a:pos x="147" y="977"/>
              </a:cxn>
              <a:cxn ang="0">
                <a:pos x="219" y="1022"/>
              </a:cxn>
              <a:cxn ang="0">
                <a:pos x="264" y="1055"/>
              </a:cxn>
              <a:cxn ang="0">
                <a:pos x="318" y="1093"/>
              </a:cxn>
              <a:cxn ang="0">
                <a:pos x="381" y="1122"/>
              </a:cxn>
              <a:cxn ang="0">
                <a:pos x="534" y="1100"/>
              </a:cxn>
              <a:cxn ang="0">
                <a:pos x="569" y="1075"/>
              </a:cxn>
              <a:cxn ang="0">
                <a:pos x="743" y="1040"/>
              </a:cxn>
              <a:cxn ang="0">
                <a:pos x="832" y="988"/>
              </a:cxn>
              <a:cxn ang="0">
                <a:pos x="1019" y="875"/>
              </a:cxn>
              <a:cxn ang="0">
                <a:pos x="1183" y="757"/>
              </a:cxn>
              <a:cxn ang="0">
                <a:pos x="1260" y="843"/>
              </a:cxn>
              <a:cxn ang="0">
                <a:pos x="1310" y="899"/>
              </a:cxn>
              <a:cxn ang="0">
                <a:pos x="1360" y="939"/>
              </a:cxn>
              <a:cxn ang="0">
                <a:pos x="1462" y="1024"/>
              </a:cxn>
              <a:cxn ang="0">
                <a:pos x="1500" y="1058"/>
              </a:cxn>
              <a:cxn ang="0">
                <a:pos x="1578" y="1132"/>
              </a:cxn>
              <a:cxn ang="0">
                <a:pos x="1599" y="1361"/>
              </a:cxn>
              <a:cxn ang="0">
                <a:pos x="1801" y="1383"/>
              </a:cxn>
              <a:cxn ang="0">
                <a:pos x="1897" y="1506"/>
              </a:cxn>
              <a:cxn ang="0">
                <a:pos x="1941" y="1560"/>
              </a:cxn>
              <a:cxn ang="0">
                <a:pos x="1987" y="1625"/>
              </a:cxn>
              <a:cxn ang="0">
                <a:pos x="2025" y="1771"/>
              </a:cxn>
              <a:cxn ang="0">
                <a:pos x="2099" y="1829"/>
              </a:cxn>
              <a:cxn ang="0">
                <a:pos x="2163" y="1841"/>
              </a:cxn>
              <a:cxn ang="0">
                <a:pos x="2198" y="1809"/>
              </a:cxn>
              <a:cxn ang="0">
                <a:pos x="2223" y="1745"/>
              </a:cxn>
              <a:cxn ang="0">
                <a:pos x="2275" y="1664"/>
              </a:cxn>
              <a:cxn ang="0">
                <a:pos x="2309" y="1475"/>
              </a:cxn>
              <a:cxn ang="0">
                <a:pos x="2262" y="1420"/>
              </a:cxn>
              <a:cxn ang="0">
                <a:pos x="2231" y="1397"/>
              </a:cxn>
              <a:cxn ang="0">
                <a:pos x="2208" y="1366"/>
              </a:cxn>
              <a:cxn ang="0">
                <a:pos x="2118" y="1273"/>
              </a:cxn>
              <a:cxn ang="0">
                <a:pos x="2148" y="744"/>
              </a:cxn>
              <a:cxn ang="0">
                <a:pos x="2170" y="603"/>
              </a:cxn>
              <a:cxn ang="0">
                <a:pos x="2268" y="471"/>
              </a:cxn>
              <a:cxn ang="0">
                <a:pos x="2207" y="332"/>
              </a:cxn>
              <a:cxn ang="0">
                <a:pos x="2170" y="277"/>
              </a:cxn>
              <a:cxn ang="0">
                <a:pos x="2013" y="199"/>
              </a:cxn>
              <a:cxn ang="0">
                <a:pos x="1893" y="107"/>
              </a:cxn>
              <a:cxn ang="0">
                <a:pos x="1718" y="29"/>
              </a:cxn>
              <a:cxn ang="0">
                <a:pos x="1465" y="13"/>
              </a:cxn>
            </a:cxnLst>
            <a:rect l="0" t="0" r="r" b="b"/>
            <a:pathLst>
              <a:path w="2316" h="1848">
                <a:moveTo>
                  <a:pt x="1558" y="74"/>
                </a:moveTo>
                <a:lnTo>
                  <a:pt x="1574" y="74"/>
                </a:lnTo>
                <a:lnTo>
                  <a:pt x="1574" y="90"/>
                </a:lnTo>
                <a:lnTo>
                  <a:pt x="1577" y="92"/>
                </a:lnTo>
                <a:lnTo>
                  <a:pt x="1582" y="98"/>
                </a:lnTo>
                <a:lnTo>
                  <a:pt x="1587" y="107"/>
                </a:lnTo>
                <a:lnTo>
                  <a:pt x="1591" y="117"/>
                </a:lnTo>
                <a:lnTo>
                  <a:pt x="1593" y="122"/>
                </a:lnTo>
                <a:lnTo>
                  <a:pt x="1593" y="127"/>
                </a:lnTo>
                <a:lnTo>
                  <a:pt x="1593" y="132"/>
                </a:lnTo>
                <a:lnTo>
                  <a:pt x="1591" y="137"/>
                </a:lnTo>
                <a:lnTo>
                  <a:pt x="1588" y="141"/>
                </a:lnTo>
                <a:lnTo>
                  <a:pt x="1585" y="145"/>
                </a:lnTo>
                <a:lnTo>
                  <a:pt x="1579" y="147"/>
                </a:lnTo>
                <a:lnTo>
                  <a:pt x="1571" y="149"/>
                </a:lnTo>
                <a:lnTo>
                  <a:pt x="1559" y="152"/>
                </a:lnTo>
                <a:lnTo>
                  <a:pt x="1539" y="159"/>
                </a:lnTo>
                <a:lnTo>
                  <a:pt x="1529" y="163"/>
                </a:lnTo>
                <a:lnTo>
                  <a:pt x="1519" y="164"/>
                </a:lnTo>
                <a:lnTo>
                  <a:pt x="1510" y="165"/>
                </a:lnTo>
                <a:lnTo>
                  <a:pt x="1502" y="163"/>
                </a:lnTo>
                <a:lnTo>
                  <a:pt x="1494" y="148"/>
                </a:lnTo>
                <a:lnTo>
                  <a:pt x="1489" y="140"/>
                </a:lnTo>
                <a:lnTo>
                  <a:pt x="1486" y="138"/>
                </a:lnTo>
                <a:lnTo>
                  <a:pt x="1485" y="138"/>
                </a:lnTo>
                <a:lnTo>
                  <a:pt x="1483" y="139"/>
                </a:lnTo>
                <a:lnTo>
                  <a:pt x="1482" y="140"/>
                </a:lnTo>
                <a:lnTo>
                  <a:pt x="1480" y="146"/>
                </a:lnTo>
                <a:lnTo>
                  <a:pt x="1480" y="154"/>
                </a:lnTo>
                <a:lnTo>
                  <a:pt x="1479" y="163"/>
                </a:lnTo>
                <a:lnTo>
                  <a:pt x="1479" y="170"/>
                </a:lnTo>
                <a:lnTo>
                  <a:pt x="1479" y="175"/>
                </a:lnTo>
                <a:lnTo>
                  <a:pt x="1478" y="177"/>
                </a:lnTo>
                <a:lnTo>
                  <a:pt x="1476" y="178"/>
                </a:lnTo>
                <a:lnTo>
                  <a:pt x="1475" y="178"/>
                </a:lnTo>
                <a:lnTo>
                  <a:pt x="1474" y="178"/>
                </a:lnTo>
                <a:lnTo>
                  <a:pt x="1472" y="179"/>
                </a:lnTo>
                <a:lnTo>
                  <a:pt x="1472" y="181"/>
                </a:lnTo>
                <a:lnTo>
                  <a:pt x="1471" y="186"/>
                </a:lnTo>
                <a:lnTo>
                  <a:pt x="1455" y="186"/>
                </a:lnTo>
                <a:lnTo>
                  <a:pt x="1457" y="192"/>
                </a:lnTo>
                <a:lnTo>
                  <a:pt x="1463" y="205"/>
                </a:lnTo>
                <a:lnTo>
                  <a:pt x="1468" y="217"/>
                </a:lnTo>
                <a:lnTo>
                  <a:pt x="1470" y="223"/>
                </a:lnTo>
                <a:lnTo>
                  <a:pt x="1468" y="223"/>
                </a:lnTo>
                <a:lnTo>
                  <a:pt x="1466" y="225"/>
                </a:lnTo>
                <a:lnTo>
                  <a:pt x="1465" y="227"/>
                </a:lnTo>
                <a:lnTo>
                  <a:pt x="1464" y="231"/>
                </a:lnTo>
                <a:lnTo>
                  <a:pt x="1462" y="238"/>
                </a:lnTo>
                <a:lnTo>
                  <a:pt x="1461" y="250"/>
                </a:lnTo>
                <a:lnTo>
                  <a:pt x="1457" y="279"/>
                </a:lnTo>
                <a:lnTo>
                  <a:pt x="1455" y="311"/>
                </a:lnTo>
                <a:lnTo>
                  <a:pt x="1454" y="346"/>
                </a:lnTo>
                <a:lnTo>
                  <a:pt x="1454" y="377"/>
                </a:lnTo>
                <a:lnTo>
                  <a:pt x="1454" y="402"/>
                </a:lnTo>
                <a:lnTo>
                  <a:pt x="1454" y="417"/>
                </a:lnTo>
                <a:lnTo>
                  <a:pt x="1454" y="635"/>
                </a:lnTo>
                <a:lnTo>
                  <a:pt x="1446" y="642"/>
                </a:lnTo>
                <a:lnTo>
                  <a:pt x="1438" y="644"/>
                </a:lnTo>
                <a:lnTo>
                  <a:pt x="1430" y="647"/>
                </a:lnTo>
                <a:lnTo>
                  <a:pt x="1418" y="649"/>
                </a:lnTo>
                <a:lnTo>
                  <a:pt x="1407" y="650"/>
                </a:lnTo>
                <a:lnTo>
                  <a:pt x="1406" y="654"/>
                </a:lnTo>
                <a:lnTo>
                  <a:pt x="1405" y="655"/>
                </a:lnTo>
                <a:lnTo>
                  <a:pt x="1402" y="657"/>
                </a:lnTo>
                <a:lnTo>
                  <a:pt x="1398" y="657"/>
                </a:lnTo>
                <a:lnTo>
                  <a:pt x="1389" y="658"/>
                </a:lnTo>
                <a:lnTo>
                  <a:pt x="1379" y="658"/>
                </a:lnTo>
                <a:lnTo>
                  <a:pt x="1369" y="658"/>
                </a:lnTo>
                <a:lnTo>
                  <a:pt x="1361" y="659"/>
                </a:lnTo>
                <a:lnTo>
                  <a:pt x="1358" y="660"/>
                </a:lnTo>
                <a:lnTo>
                  <a:pt x="1355" y="661"/>
                </a:lnTo>
                <a:lnTo>
                  <a:pt x="1354" y="664"/>
                </a:lnTo>
                <a:lnTo>
                  <a:pt x="1353" y="666"/>
                </a:lnTo>
                <a:lnTo>
                  <a:pt x="1336" y="665"/>
                </a:lnTo>
                <a:lnTo>
                  <a:pt x="1319" y="663"/>
                </a:lnTo>
                <a:lnTo>
                  <a:pt x="1303" y="659"/>
                </a:lnTo>
                <a:lnTo>
                  <a:pt x="1290" y="658"/>
                </a:lnTo>
                <a:lnTo>
                  <a:pt x="1289" y="656"/>
                </a:lnTo>
                <a:lnTo>
                  <a:pt x="1287" y="654"/>
                </a:lnTo>
                <a:lnTo>
                  <a:pt x="1282" y="652"/>
                </a:lnTo>
                <a:lnTo>
                  <a:pt x="1278" y="651"/>
                </a:lnTo>
                <a:lnTo>
                  <a:pt x="1268" y="650"/>
                </a:lnTo>
                <a:lnTo>
                  <a:pt x="1259" y="650"/>
                </a:lnTo>
                <a:lnTo>
                  <a:pt x="1127" y="635"/>
                </a:lnTo>
                <a:lnTo>
                  <a:pt x="1127" y="630"/>
                </a:lnTo>
                <a:lnTo>
                  <a:pt x="1126" y="628"/>
                </a:lnTo>
                <a:lnTo>
                  <a:pt x="1125" y="627"/>
                </a:lnTo>
                <a:lnTo>
                  <a:pt x="1124" y="627"/>
                </a:lnTo>
                <a:lnTo>
                  <a:pt x="1121" y="627"/>
                </a:lnTo>
                <a:lnTo>
                  <a:pt x="1120" y="626"/>
                </a:lnTo>
                <a:lnTo>
                  <a:pt x="1119" y="623"/>
                </a:lnTo>
                <a:lnTo>
                  <a:pt x="1119" y="619"/>
                </a:lnTo>
                <a:lnTo>
                  <a:pt x="1104" y="619"/>
                </a:lnTo>
                <a:lnTo>
                  <a:pt x="1104" y="611"/>
                </a:lnTo>
                <a:lnTo>
                  <a:pt x="1104" y="600"/>
                </a:lnTo>
                <a:lnTo>
                  <a:pt x="1104" y="589"/>
                </a:lnTo>
                <a:lnTo>
                  <a:pt x="1104" y="581"/>
                </a:lnTo>
                <a:lnTo>
                  <a:pt x="1101" y="579"/>
                </a:lnTo>
                <a:lnTo>
                  <a:pt x="1098" y="575"/>
                </a:lnTo>
                <a:lnTo>
                  <a:pt x="1096" y="570"/>
                </a:lnTo>
                <a:lnTo>
                  <a:pt x="1094" y="564"/>
                </a:lnTo>
                <a:lnTo>
                  <a:pt x="1089" y="551"/>
                </a:lnTo>
                <a:lnTo>
                  <a:pt x="1088" y="542"/>
                </a:lnTo>
                <a:lnTo>
                  <a:pt x="1086" y="541"/>
                </a:lnTo>
                <a:lnTo>
                  <a:pt x="1082" y="541"/>
                </a:lnTo>
                <a:lnTo>
                  <a:pt x="1080" y="539"/>
                </a:lnTo>
                <a:lnTo>
                  <a:pt x="1078" y="536"/>
                </a:lnTo>
                <a:lnTo>
                  <a:pt x="1076" y="534"/>
                </a:lnTo>
                <a:lnTo>
                  <a:pt x="1073" y="532"/>
                </a:lnTo>
                <a:lnTo>
                  <a:pt x="1073" y="529"/>
                </a:lnTo>
                <a:lnTo>
                  <a:pt x="1072" y="526"/>
                </a:lnTo>
                <a:lnTo>
                  <a:pt x="1066" y="525"/>
                </a:lnTo>
                <a:lnTo>
                  <a:pt x="1056" y="522"/>
                </a:lnTo>
                <a:lnTo>
                  <a:pt x="1046" y="520"/>
                </a:lnTo>
                <a:lnTo>
                  <a:pt x="1033" y="519"/>
                </a:lnTo>
                <a:lnTo>
                  <a:pt x="1033" y="515"/>
                </a:lnTo>
                <a:lnTo>
                  <a:pt x="1031" y="513"/>
                </a:lnTo>
                <a:lnTo>
                  <a:pt x="1029" y="510"/>
                </a:lnTo>
                <a:lnTo>
                  <a:pt x="1025" y="507"/>
                </a:lnTo>
                <a:lnTo>
                  <a:pt x="1018" y="504"/>
                </a:lnTo>
                <a:lnTo>
                  <a:pt x="1011" y="503"/>
                </a:lnTo>
                <a:lnTo>
                  <a:pt x="1010" y="498"/>
                </a:lnTo>
                <a:lnTo>
                  <a:pt x="1009" y="496"/>
                </a:lnTo>
                <a:lnTo>
                  <a:pt x="1008" y="495"/>
                </a:lnTo>
                <a:lnTo>
                  <a:pt x="1006" y="495"/>
                </a:lnTo>
                <a:lnTo>
                  <a:pt x="1005" y="495"/>
                </a:lnTo>
                <a:lnTo>
                  <a:pt x="1004" y="494"/>
                </a:lnTo>
                <a:lnTo>
                  <a:pt x="1003" y="492"/>
                </a:lnTo>
                <a:lnTo>
                  <a:pt x="1003" y="487"/>
                </a:lnTo>
                <a:lnTo>
                  <a:pt x="991" y="483"/>
                </a:lnTo>
                <a:lnTo>
                  <a:pt x="980" y="479"/>
                </a:lnTo>
                <a:lnTo>
                  <a:pt x="979" y="474"/>
                </a:lnTo>
                <a:lnTo>
                  <a:pt x="976" y="471"/>
                </a:lnTo>
                <a:lnTo>
                  <a:pt x="974" y="467"/>
                </a:lnTo>
                <a:lnTo>
                  <a:pt x="972" y="465"/>
                </a:lnTo>
                <a:lnTo>
                  <a:pt x="969" y="463"/>
                </a:lnTo>
                <a:lnTo>
                  <a:pt x="966" y="461"/>
                </a:lnTo>
                <a:lnTo>
                  <a:pt x="964" y="458"/>
                </a:lnTo>
                <a:lnTo>
                  <a:pt x="964" y="456"/>
                </a:lnTo>
                <a:lnTo>
                  <a:pt x="958" y="456"/>
                </a:lnTo>
                <a:lnTo>
                  <a:pt x="954" y="455"/>
                </a:lnTo>
                <a:lnTo>
                  <a:pt x="950" y="454"/>
                </a:lnTo>
                <a:lnTo>
                  <a:pt x="947" y="453"/>
                </a:lnTo>
                <a:lnTo>
                  <a:pt x="943" y="448"/>
                </a:lnTo>
                <a:lnTo>
                  <a:pt x="939" y="444"/>
                </a:lnTo>
                <a:lnTo>
                  <a:pt x="936" y="431"/>
                </a:lnTo>
                <a:lnTo>
                  <a:pt x="932" y="418"/>
                </a:lnTo>
                <a:lnTo>
                  <a:pt x="927" y="410"/>
                </a:lnTo>
                <a:lnTo>
                  <a:pt x="924" y="402"/>
                </a:lnTo>
                <a:lnTo>
                  <a:pt x="921" y="394"/>
                </a:lnTo>
                <a:lnTo>
                  <a:pt x="918" y="385"/>
                </a:lnTo>
                <a:lnTo>
                  <a:pt x="914" y="366"/>
                </a:lnTo>
                <a:lnTo>
                  <a:pt x="912" y="347"/>
                </a:lnTo>
                <a:lnTo>
                  <a:pt x="907" y="309"/>
                </a:lnTo>
                <a:lnTo>
                  <a:pt x="903" y="276"/>
                </a:lnTo>
                <a:lnTo>
                  <a:pt x="898" y="263"/>
                </a:lnTo>
                <a:lnTo>
                  <a:pt x="894" y="253"/>
                </a:lnTo>
                <a:lnTo>
                  <a:pt x="890" y="248"/>
                </a:lnTo>
                <a:lnTo>
                  <a:pt x="887" y="244"/>
                </a:lnTo>
                <a:lnTo>
                  <a:pt x="884" y="242"/>
                </a:lnTo>
                <a:lnTo>
                  <a:pt x="880" y="240"/>
                </a:lnTo>
                <a:lnTo>
                  <a:pt x="877" y="240"/>
                </a:lnTo>
                <a:lnTo>
                  <a:pt x="873" y="240"/>
                </a:lnTo>
                <a:lnTo>
                  <a:pt x="868" y="241"/>
                </a:lnTo>
                <a:lnTo>
                  <a:pt x="865" y="243"/>
                </a:lnTo>
                <a:lnTo>
                  <a:pt x="860" y="247"/>
                </a:lnTo>
                <a:lnTo>
                  <a:pt x="856" y="252"/>
                </a:lnTo>
                <a:lnTo>
                  <a:pt x="851" y="258"/>
                </a:lnTo>
                <a:lnTo>
                  <a:pt x="847" y="266"/>
                </a:lnTo>
                <a:lnTo>
                  <a:pt x="843" y="275"/>
                </a:lnTo>
                <a:lnTo>
                  <a:pt x="841" y="283"/>
                </a:lnTo>
                <a:lnTo>
                  <a:pt x="839" y="291"/>
                </a:lnTo>
                <a:lnTo>
                  <a:pt x="839" y="299"/>
                </a:lnTo>
                <a:lnTo>
                  <a:pt x="838" y="317"/>
                </a:lnTo>
                <a:lnTo>
                  <a:pt x="837" y="336"/>
                </a:lnTo>
                <a:lnTo>
                  <a:pt x="836" y="357"/>
                </a:lnTo>
                <a:lnTo>
                  <a:pt x="832" y="381"/>
                </a:lnTo>
                <a:lnTo>
                  <a:pt x="829" y="396"/>
                </a:lnTo>
                <a:lnTo>
                  <a:pt x="825" y="411"/>
                </a:lnTo>
                <a:lnTo>
                  <a:pt x="820" y="427"/>
                </a:lnTo>
                <a:lnTo>
                  <a:pt x="812" y="446"/>
                </a:lnTo>
                <a:lnTo>
                  <a:pt x="812" y="454"/>
                </a:lnTo>
                <a:lnTo>
                  <a:pt x="809" y="466"/>
                </a:lnTo>
                <a:lnTo>
                  <a:pt x="806" y="481"/>
                </a:lnTo>
                <a:lnTo>
                  <a:pt x="801" y="495"/>
                </a:lnTo>
                <a:lnTo>
                  <a:pt x="795" y="510"/>
                </a:lnTo>
                <a:lnTo>
                  <a:pt x="789" y="522"/>
                </a:lnTo>
                <a:lnTo>
                  <a:pt x="787" y="527"/>
                </a:lnTo>
                <a:lnTo>
                  <a:pt x="783" y="531"/>
                </a:lnTo>
                <a:lnTo>
                  <a:pt x="780" y="533"/>
                </a:lnTo>
                <a:lnTo>
                  <a:pt x="778" y="534"/>
                </a:lnTo>
                <a:lnTo>
                  <a:pt x="778" y="558"/>
                </a:lnTo>
                <a:lnTo>
                  <a:pt x="770" y="565"/>
                </a:lnTo>
                <a:lnTo>
                  <a:pt x="754" y="565"/>
                </a:lnTo>
                <a:lnTo>
                  <a:pt x="753" y="567"/>
                </a:lnTo>
                <a:lnTo>
                  <a:pt x="751" y="568"/>
                </a:lnTo>
                <a:lnTo>
                  <a:pt x="749" y="569"/>
                </a:lnTo>
                <a:lnTo>
                  <a:pt x="745" y="570"/>
                </a:lnTo>
                <a:lnTo>
                  <a:pt x="735" y="571"/>
                </a:lnTo>
                <a:lnTo>
                  <a:pt x="724" y="572"/>
                </a:lnTo>
                <a:lnTo>
                  <a:pt x="702" y="572"/>
                </a:lnTo>
                <a:lnTo>
                  <a:pt x="684" y="573"/>
                </a:lnTo>
                <a:lnTo>
                  <a:pt x="683" y="575"/>
                </a:lnTo>
                <a:lnTo>
                  <a:pt x="681" y="578"/>
                </a:lnTo>
                <a:lnTo>
                  <a:pt x="676" y="579"/>
                </a:lnTo>
                <a:lnTo>
                  <a:pt x="670" y="579"/>
                </a:lnTo>
                <a:lnTo>
                  <a:pt x="657" y="579"/>
                </a:lnTo>
                <a:lnTo>
                  <a:pt x="641" y="577"/>
                </a:lnTo>
                <a:lnTo>
                  <a:pt x="626" y="573"/>
                </a:lnTo>
                <a:lnTo>
                  <a:pt x="611" y="569"/>
                </a:lnTo>
                <a:lnTo>
                  <a:pt x="606" y="565"/>
                </a:lnTo>
                <a:lnTo>
                  <a:pt x="602" y="563"/>
                </a:lnTo>
                <a:lnTo>
                  <a:pt x="599" y="560"/>
                </a:lnTo>
                <a:lnTo>
                  <a:pt x="598" y="558"/>
                </a:lnTo>
                <a:lnTo>
                  <a:pt x="582" y="558"/>
                </a:lnTo>
                <a:lnTo>
                  <a:pt x="581" y="554"/>
                </a:lnTo>
                <a:lnTo>
                  <a:pt x="577" y="552"/>
                </a:lnTo>
                <a:lnTo>
                  <a:pt x="570" y="549"/>
                </a:lnTo>
                <a:lnTo>
                  <a:pt x="562" y="546"/>
                </a:lnTo>
                <a:lnTo>
                  <a:pt x="547" y="543"/>
                </a:lnTo>
                <a:lnTo>
                  <a:pt x="537" y="542"/>
                </a:lnTo>
                <a:lnTo>
                  <a:pt x="535" y="539"/>
                </a:lnTo>
                <a:lnTo>
                  <a:pt x="535" y="538"/>
                </a:lnTo>
                <a:lnTo>
                  <a:pt x="534" y="536"/>
                </a:lnTo>
                <a:lnTo>
                  <a:pt x="532" y="535"/>
                </a:lnTo>
                <a:lnTo>
                  <a:pt x="529" y="535"/>
                </a:lnTo>
                <a:lnTo>
                  <a:pt x="523" y="535"/>
                </a:lnTo>
                <a:lnTo>
                  <a:pt x="513" y="540"/>
                </a:lnTo>
                <a:lnTo>
                  <a:pt x="505" y="542"/>
                </a:lnTo>
                <a:lnTo>
                  <a:pt x="505" y="627"/>
                </a:lnTo>
                <a:lnTo>
                  <a:pt x="507" y="629"/>
                </a:lnTo>
                <a:lnTo>
                  <a:pt x="511" y="632"/>
                </a:lnTo>
                <a:lnTo>
                  <a:pt x="513" y="638"/>
                </a:lnTo>
                <a:lnTo>
                  <a:pt x="515" y="644"/>
                </a:lnTo>
                <a:lnTo>
                  <a:pt x="519" y="657"/>
                </a:lnTo>
                <a:lnTo>
                  <a:pt x="521" y="666"/>
                </a:lnTo>
                <a:lnTo>
                  <a:pt x="524" y="667"/>
                </a:lnTo>
                <a:lnTo>
                  <a:pt x="526" y="669"/>
                </a:lnTo>
                <a:lnTo>
                  <a:pt x="528" y="674"/>
                </a:lnTo>
                <a:lnTo>
                  <a:pt x="528" y="678"/>
                </a:lnTo>
                <a:lnTo>
                  <a:pt x="525" y="690"/>
                </a:lnTo>
                <a:lnTo>
                  <a:pt x="521" y="705"/>
                </a:lnTo>
                <a:lnTo>
                  <a:pt x="511" y="732"/>
                </a:lnTo>
                <a:lnTo>
                  <a:pt x="505" y="744"/>
                </a:lnTo>
                <a:lnTo>
                  <a:pt x="497" y="752"/>
                </a:lnTo>
                <a:lnTo>
                  <a:pt x="434" y="751"/>
                </a:lnTo>
                <a:lnTo>
                  <a:pt x="371" y="750"/>
                </a:lnTo>
                <a:lnTo>
                  <a:pt x="310" y="746"/>
                </a:lnTo>
                <a:lnTo>
                  <a:pt x="248" y="744"/>
                </a:lnTo>
                <a:lnTo>
                  <a:pt x="187" y="741"/>
                </a:lnTo>
                <a:lnTo>
                  <a:pt x="126" y="738"/>
                </a:lnTo>
                <a:lnTo>
                  <a:pt x="63" y="736"/>
                </a:lnTo>
                <a:lnTo>
                  <a:pt x="0" y="736"/>
                </a:lnTo>
                <a:lnTo>
                  <a:pt x="0" y="767"/>
                </a:lnTo>
                <a:lnTo>
                  <a:pt x="2" y="767"/>
                </a:lnTo>
                <a:lnTo>
                  <a:pt x="5" y="770"/>
                </a:lnTo>
                <a:lnTo>
                  <a:pt x="7" y="773"/>
                </a:lnTo>
                <a:lnTo>
                  <a:pt x="10" y="776"/>
                </a:lnTo>
                <a:lnTo>
                  <a:pt x="14" y="783"/>
                </a:lnTo>
                <a:lnTo>
                  <a:pt x="15" y="791"/>
                </a:lnTo>
                <a:lnTo>
                  <a:pt x="26" y="794"/>
                </a:lnTo>
                <a:lnTo>
                  <a:pt x="39" y="799"/>
                </a:lnTo>
                <a:lnTo>
                  <a:pt x="39" y="803"/>
                </a:lnTo>
                <a:lnTo>
                  <a:pt x="40" y="805"/>
                </a:lnTo>
                <a:lnTo>
                  <a:pt x="41" y="805"/>
                </a:lnTo>
                <a:lnTo>
                  <a:pt x="42" y="806"/>
                </a:lnTo>
                <a:lnTo>
                  <a:pt x="43" y="806"/>
                </a:lnTo>
                <a:lnTo>
                  <a:pt x="44" y="806"/>
                </a:lnTo>
                <a:lnTo>
                  <a:pt x="45" y="810"/>
                </a:lnTo>
                <a:lnTo>
                  <a:pt x="46" y="814"/>
                </a:lnTo>
                <a:lnTo>
                  <a:pt x="62" y="814"/>
                </a:lnTo>
                <a:lnTo>
                  <a:pt x="70" y="822"/>
                </a:lnTo>
                <a:lnTo>
                  <a:pt x="77" y="829"/>
                </a:lnTo>
                <a:lnTo>
                  <a:pt x="77" y="844"/>
                </a:lnTo>
                <a:lnTo>
                  <a:pt x="84" y="852"/>
                </a:lnTo>
                <a:lnTo>
                  <a:pt x="89" y="853"/>
                </a:lnTo>
                <a:lnTo>
                  <a:pt x="92" y="853"/>
                </a:lnTo>
                <a:lnTo>
                  <a:pt x="92" y="856"/>
                </a:lnTo>
                <a:lnTo>
                  <a:pt x="92" y="857"/>
                </a:lnTo>
                <a:lnTo>
                  <a:pt x="93" y="858"/>
                </a:lnTo>
                <a:lnTo>
                  <a:pt x="93" y="859"/>
                </a:lnTo>
                <a:lnTo>
                  <a:pt x="96" y="860"/>
                </a:lnTo>
                <a:lnTo>
                  <a:pt x="100" y="860"/>
                </a:lnTo>
                <a:lnTo>
                  <a:pt x="100" y="883"/>
                </a:lnTo>
                <a:lnTo>
                  <a:pt x="103" y="885"/>
                </a:lnTo>
                <a:lnTo>
                  <a:pt x="104" y="888"/>
                </a:lnTo>
                <a:lnTo>
                  <a:pt x="107" y="891"/>
                </a:lnTo>
                <a:lnTo>
                  <a:pt x="107" y="897"/>
                </a:lnTo>
                <a:lnTo>
                  <a:pt x="108" y="907"/>
                </a:lnTo>
                <a:lnTo>
                  <a:pt x="108" y="915"/>
                </a:lnTo>
                <a:lnTo>
                  <a:pt x="111" y="916"/>
                </a:lnTo>
                <a:lnTo>
                  <a:pt x="113" y="919"/>
                </a:lnTo>
                <a:lnTo>
                  <a:pt x="117" y="923"/>
                </a:lnTo>
                <a:lnTo>
                  <a:pt x="119" y="927"/>
                </a:lnTo>
                <a:lnTo>
                  <a:pt x="122" y="938"/>
                </a:lnTo>
                <a:lnTo>
                  <a:pt x="123" y="946"/>
                </a:lnTo>
                <a:lnTo>
                  <a:pt x="127" y="947"/>
                </a:lnTo>
                <a:lnTo>
                  <a:pt x="129" y="948"/>
                </a:lnTo>
                <a:lnTo>
                  <a:pt x="132" y="952"/>
                </a:lnTo>
                <a:lnTo>
                  <a:pt x="135" y="955"/>
                </a:lnTo>
                <a:lnTo>
                  <a:pt x="138" y="963"/>
                </a:lnTo>
                <a:lnTo>
                  <a:pt x="139" y="969"/>
                </a:lnTo>
                <a:lnTo>
                  <a:pt x="147" y="977"/>
                </a:lnTo>
                <a:lnTo>
                  <a:pt x="163" y="977"/>
                </a:lnTo>
                <a:lnTo>
                  <a:pt x="164" y="979"/>
                </a:lnTo>
                <a:lnTo>
                  <a:pt x="165" y="982"/>
                </a:lnTo>
                <a:lnTo>
                  <a:pt x="168" y="983"/>
                </a:lnTo>
                <a:lnTo>
                  <a:pt x="171" y="984"/>
                </a:lnTo>
                <a:lnTo>
                  <a:pt x="179" y="985"/>
                </a:lnTo>
                <a:lnTo>
                  <a:pt x="186" y="985"/>
                </a:lnTo>
                <a:lnTo>
                  <a:pt x="194" y="993"/>
                </a:lnTo>
                <a:lnTo>
                  <a:pt x="202" y="1001"/>
                </a:lnTo>
                <a:lnTo>
                  <a:pt x="209" y="1008"/>
                </a:lnTo>
                <a:lnTo>
                  <a:pt x="209" y="1011"/>
                </a:lnTo>
                <a:lnTo>
                  <a:pt x="211" y="1014"/>
                </a:lnTo>
                <a:lnTo>
                  <a:pt x="212" y="1016"/>
                </a:lnTo>
                <a:lnTo>
                  <a:pt x="214" y="1019"/>
                </a:lnTo>
                <a:lnTo>
                  <a:pt x="216" y="1021"/>
                </a:lnTo>
                <a:lnTo>
                  <a:pt x="219" y="1022"/>
                </a:lnTo>
                <a:lnTo>
                  <a:pt x="222" y="1023"/>
                </a:lnTo>
                <a:lnTo>
                  <a:pt x="225" y="1024"/>
                </a:lnTo>
                <a:lnTo>
                  <a:pt x="225" y="1026"/>
                </a:lnTo>
                <a:lnTo>
                  <a:pt x="226" y="1030"/>
                </a:lnTo>
                <a:lnTo>
                  <a:pt x="227" y="1032"/>
                </a:lnTo>
                <a:lnTo>
                  <a:pt x="230" y="1034"/>
                </a:lnTo>
                <a:lnTo>
                  <a:pt x="232" y="1036"/>
                </a:lnTo>
                <a:lnTo>
                  <a:pt x="235" y="1038"/>
                </a:lnTo>
                <a:lnTo>
                  <a:pt x="237" y="1039"/>
                </a:lnTo>
                <a:lnTo>
                  <a:pt x="241" y="1040"/>
                </a:lnTo>
                <a:lnTo>
                  <a:pt x="241" y="1042"/>
                </a:lnTo>
                <a:lnTo>
                  <a:pt x="243" y="1045"/>
                </a:lnTo>
                <a:lnTo>
                  <a:pt x="246" y="1048"/>
                </a:lnTo>
                <a:lnTo>
                  <a:pt x="250" y="1050"/>
                </a:lnTo>
                <a:lnTo>
                  <a:pt x="256" y="1053"/>
                </a:lnTo>
                <a:lnTo>
                  <a:pt x="264" y="1055"/>
                </a:lnTo>
                <a:lnTo>
                  <a:pt x="264" y="1060"/>
                </a:lnTo>
                <a:lnTo>
                  <a:pt x="265" y="1062"/>
                </a:lnTo>
                <a:lnTo>
                  <a:pt x="266" y="1062"/>
                </a:lnTo>
                <a:lnTo>
                  <a:pt x="267" y="1063"/>
                </a:lnTo>
                <a:lnTo>
                  <a:pt x="269" y="1063"/>
                </a:lnTo>
                <a:lnTo>
                  <a:pt x="271" y="1063"/>
                </a:lnTo>
                <a:lnTo>
                  <a:pt x="271" y="1065"/>
                </a:lnTo>
                <a:lnTo>
                  <a:pt x="272" y="1070"/>
                </a:lnTo>
                <a:lnTo>
                  <a:pt x="288" y="1070"/>
                </a:lnTo>
                <a:lnTo>
                  <a:pt x="288" y="1073"/>
                </a:lnTo>
                <a:lnTo>
                  <a:pt x="290" y="1077"/>
                </a:lnTo>
                <a:lnTo>
                  <a:pt x="292" y="1079"/>
                </a:lnTo>
                <a:lnTo>
                  <a:pt x="295" y="1081"/>
                </a:lnTo>
                <a:lnTo>
                  <a:pt x="303" y="1084"/>
                </a:lnTo>
                <a:lnTo>
                  <a:pt x="310" y="1086"/>
                </a:lnTo>
                <a:lnTo>
                  <a:pt x="318" y="1093"/>
                </a:lnTo>
                <a:lnTo>
                  <a:pt x="319" y="1098"/>
                </a:lnTo>
                <a:lnTo>
                  <a:pt x="320" y="1100"/>
                </a:lnTo>
                <a:lnTo>
                  <a:pt x="321" y="1101"/>
                </a:lnTo>
                <a:lnTo>
                  <a:pt x="322" y="1101"/>
                </a:lnTo>
                <a:lnTo>
                  <a:pt x="323" y="1101"/>
                </a:lnTo>
                <a:lnTo>
                  <a:pt x="324" y="1102"/>
                </a:lnTo>
                <a:lnTo>
                  <a:pt x="326" y="1104"/>
                </a:lnTo>
                <a:lnTo>
                  <a:pt x="326" y="1109"/>
                </a:lnTo>
                <a:lnTo>
                  <a:pt x="341" y="1109"/>
                </a:lnTo>
                <a:lnTo>
                  <a:pt x="342" y="1111"/>
                </a:lnTo>
                <a:lnTo>
                  <a:pt x="343" y="1113"/>
                </a:lnTo>
                <a:lnTo>
                  <a:pt x="344" y="1115"/>
                </a:lnTo>
                <a:lnTo>
                  <a:pt x="347" y="1117"/>
                </a:lnTo>
                <a:lnTo>
                  <a:pt x="353" y="1119"/>
                </a:lnTo>
                <a:lnTo>
                  <a:pt x="361" y="1120"/>
                </a:lnTo>
                <a:lnTo>
                  <a:pt x="381" y="1122"/>
                </a:lnTo>
                <a:lnTo>
                  <a:pt x="406" y="1122"/>
                </a:lnTo>
                <a:lnTo>
                  <a:pt x="453" y="1119"/>
                </a:lnTo>
                <a:lnTo>
                  <a:pt x="482" y="1117"/>
                </a:lnTo>
                <a:lnTo>
                  <a:pt x="482" y="1115"/>
                </a:lnTo>
                <a:lnTo>
                  <a:pt x="483" y="1112"/>
                </a:lnTo>
                <a:lnTo>
                  <a:pt x="484" y="1111"/>
                </a:lnTo>
                <a:lnTo>
                  <a:pt x="486" y="1110"/>
                </a:lnTo>
                <a:lnTo>
                  <a:pt x="492" y="1109"/>
                </a:lnTo>
                <a:lnTo>
                  <a:pt x="497" y="1109"/>
                </a:lnTo>
                <a:lnTo>
                  <a:pt x="524" y="1115"/>
                </a:lnTo>
                <a:lnTo>
                  <a:pt x="525" y="1111"/>
                </a:lnTo>
                <a:lnTo>
                  <a:pt x="526" y="1108"/>
                </a:lnTo>
                <a:lnTo>
                  <a:pt x="528" y="1106"/>
                </a:lnTo>
                <a:lnTo>
                  <a:pt x="530" y="1103"/>
                </a:lnTo>
                <a:lnTo>
                  <a:pt x="532" y="1101"/>
                </a:lnTo>
                <a:lnTo>
                  <a:pt x="534" y="1100"/>
                </a:lnTo>
                <a:lnTo>
                  <a:pt x="538" y="1099"/>
                </a:lnTo>
                <a:lnTo>
                  <a:pt x="540" y="1099"/>
                </a:lnTo>
                <a:lnTo>
                  <a:pt x="541" y="1094"/>
                </a:lnTo>
                <a:lnTo>
                  <a:pt x="541" y="1092"/>
                </a:lnTo>
                <a:lnTo>
                  <a:pt x="542" y="1091"/>
                </a:lnTo>
                <a:lnTo>
                  <a:pt x="544" y="1091"/>
                </a:lnTo>
                <a:lnTo>
                  <a:pt x="545" y="1091"/>
                </a:lnTo>
                <a:lnTo>
                  <a:pt x="547" y="1090"/>
                </a:lnTo>
                <a:lnTo>
                  <a:pt x="548" y="1088"/>
                </a:lnTo>
                <a:lnTo>
                  <a:pt x="548" y="1083"/>
                </a:lnTo>
                <a:lnTo>
                  <a:pt x="563" y="1083"/>
                </a:lnTo>
                <a:lnTo>
                  <a:pt x="563" y="1079"/>
                </a:lnTo>
                <a:lnTo>
                  <a:pt x="564" y="1077"/>
                </a:lnTo>
                <a:lnTo>
                  <a:pt x="566" y="1075"/>
                </a:lnTo>
                <a:lnTo>
                  <a:pt x="568" y="1075"/>
                </a:lnTo>
                <a:lnTo>
                  <a:pt x="569" y="1075"/>
                </a:lnTo>
                <a:lnTo>
                  <a:pt x="570" y="1074"/>
                </a:lnTo>
                <a:lnTo>
                  <a:pt x="571" y="1072"/>
                </a:lnTo>
                <a:lnTo>
                  <a:pt x="571" y="1068"/>
                </a:lnTo>
                <a:lnTo>
                  <a:pt x="647" y="1053"/>
                </a:lnTo>
                <a:lnTo>
                  <a:pt x="648" y="1052"/>
                </a:lnTo>
                <a:lnTo>
                  <a:pt x="650" y="1051"/>
                </a:lnTo>
                <a:lnTo>
                  <a:pt x="655" y="1050"/>
                </a:lnTo>
                <a:lnTo>
                  <a:pt x="659" y="1049"/>
                </a:lnTo>
                <a:lnTo>
                  <a:pt x="672" y="1048"/>
                </a:lnTo>
                <a:lnTo>
                  <a:pt x="687" y="1048"/>
                </a:lnTo>
                <a:lnTo>
                  <a:pt x="717" y="1046"/>
                </a:lnTo>
                <a:lnTo>
                  <a:pt x="739" y="1048"/>
                </a:lnTo>
                <a:lnTo>
                  <a:pt x="739" y="1044"/>
                </a:lnTo>
                <a:lnTo>
                  <a:pt x="740" y="1043"/>
                </a:lnTo>
                <a:lnTo>
                  <a:pt x="741" y="1041"/>
                </a:lnTo>
                <a:lnTo>
                  <a:pt x="743" y="1040"/>
                </a:lnTo>
                <a:lnTo>
                  <a:pt x="747" y="1040"/>
                </a:lnTo>
                <a:lnTo>
                  <a:pt x="754" y="1040"/>
                </a:lnTo>
                <a:lnTo>
                  <a:pt x="778" y="1016"/>
                </a:lnTo>
                <a:lnTo>
                  <a:pt x="792" y="1016"/>
                </a:lnTo>
                <a:lnTo>
                  <a:pt x="793" y="1012"/>
                </a:lnTo>
                <a:lnTo>
                  <a:pt x="794" y="1010"/>
                </a:lnTo>
                <a:lnTo>
                  <a:pt x="795" y="1008"/>
                </a:lnTo>
                <a:lnTo>
                  <a:pt x="797" y="1008"/>
                </a:lnTo>
                <a:lnTo>
                  <a:pt x="798" y="1008"/>
                </a:lnTo>
                <a:lnTo>
                  <a:pt x="799" y="1007"/>
                </a:lnTo>
                <a:lnTo>
                  <a:pt x="800" y="1005"/>
                </a:lnTo>
                <a:lnTo>
                  <a:pt x="800" y="1001"/>
                </a:lnTo>
                <a:lnTo>
                  <a:pt x="816" y="996"/>
                </a:lnTo>
                <a:lnTo>
                  <a:pt x="831" y="993"/>
                </a:lnTo>
                <a:lnTo>
                  <a:pt x="832" y="991"/>
                </a:lnTo>
                <a:lnTo>
                  <a:pt x="832" y="988"/>
                </a:lnTo>
                <a:lnTo>
                  <a:pt x="835" y="987"/>
                </a:lnTo>
                <a:lnTo>
                  <a:pt x="837" y="986"/>
                </a:lnTo>
                <a:lnTo>
                  <a:pt x="841" y="985"/>
                </a:lnTo>
                <a:lnTo>
                  <a:pt x="847" y="985"/>
                </a:lnTo>
                <a:lnTo>
                  <a:pt x="848" y="983"/>
                </a:lnTo>
                <a:lnTo>
                  <a:pt x="848" y="981"/>
                </a:lnTo>
                <a:lnTo>
                  <a:pt x="850" y="979"/>
                </a:lnTo>
                <a:lnTo>
                  <a:pt x="852" y="978"/>
                </a:lnTo>
                <a:lnTo>
                  <a:pt x="857" y="977"/>
                </a:lnTo>
                <a:lnTo>
                  <a:pt x="862" y="977"/>
                </a:lnTo>
                <a:lnTo>
                  <a:pt x="869" y="972"/>
                </a:lnTo>
                <a:lnTo>
                  <a:pt x="886" y="961"/>
                </a:lnTo>
                <a:lnTo>
                  <a:pt x="913" y="944"/>
                </a:lnTo>
                <a:lnTo>
                  <a:pt x="945" y="924"/>
                </a:lnTo>
                <a:lnTo>
                  <a:pt x="981" y="900"/>
                </a:lnTo>
                <a:lnTo>
                  <a:pt x="1019" y="875"/>
                </a:lnTo>
                <a:lnTo>
                  <a:pt x="1056" y="849"/>
                </a:lnTo>
                <a:lnTo>
                  <a:pt x="1090" y="823"/>
                </a:lnTo>
                <a:lnTo>
                  <a:pt x="1097" y="817"/>
                </a:lnTo>
                <a:lnTo>
                  <a:pt x="1105" y="810"/>
                </a:lnTo>
                <a:lnTo>
                  <a:pt x="1110" y="803"/>
                </a:lnTo>
                <a:lnTo>
                  <a:pt x="1116" y="795"/>
                </a:lnTo>
                <a:lnTo>
                  <a:pt x="1125" y="782"/>
                </a:lnTo>
                <a:lnTo>
                  <a:pt x="1131" y="770"/>
                </a:lnTo>
                <a:lnTo>
                  <a:pt x="1140" y="751"/>
                </a:lnTo>
                <a:lnTo>
                  <a:pt x="1145" y="743"/>
                </a:lnTo>
                <a:lnTo>
                  <a:pt x="1146" y="741"/>
                </a:lnTo>
                <a:lnTo>
                  <a:pt x="1148" y="741"/>
                </a:lnTo>
                <a:lnTo>
                  <a:pt x="1152" y="741"/>
                </a:lnTo>
                <a:lnTo>
                  <a:pt x="1157" y="743"/>
                </a:lnTo>
                <a:lnTo>
                  <a:pt x="1168" y="748"/>
                </a:lnTo>
                <a:lnTo>
                  <a:pt x="1183" y="757"/>
                </a:lnTo>
                <a:lnTo>
                  <a:pt x="1209" y="774"/>
                </a:lnTo>
                <a:lnTo>
                  <a:pt x="1221" y="783"/>
                </a:lnTo>
                <a:lnTo>
                  <a:pt x="1222" y="790"/>
                </a:lnTo>
                <a:lnTo>
                  <a:pt x="1225" y="798"/>
                </a:lnTo>
                <a:lnTo>
                  <a:pt x="1227" y="801"/>
                </a:lnTo>
                <a:lnTo>
                  <a:pt x="1230" y="803"/>
                </a:lnTo>
                <a:lnTo>
                  <a:pt x="1233" y="805"/>
                </a:lnTo>
                <a:lnTo>
                  <a:pt x="1236" y="806"/>
                </a:lnTo>
                <a:lnTo>
                  <a:pt x="1244" y="822"/>
                </a:lnTo>
                <a:lnTo>
                  <a:pt x="1252" y="837"/>
                </a:lnTo>
                <a:lnTo>
                  <a:pt x="1257" y="838"/>
                </a:lnTo>
                <a:lnTo>
                  <a:pt x="1259" y="839"/>
                </a:lnTo>
                <a:lnTo>
                  <a:pt x="1259" y="840"/>
                </a:lnTo>
                <a:lnTo>
                  <a:pt x="1259" y="841"/>
                </a:lnTo>
                <a:lnTo>
                  <a:pt x="1260" y="842"/>
                </a:lnTo>
                <a:lnTo>
                  <a:pt x="1260" y="843"/>
                </a:lnTo>
                <a:lnTo>
                  <a:pt x="1262" y="844"/>
                </a:lnTo>
                <a:lnTo>
                  <a:pt x="1267" y="844"/>
                </a:lnTo>
                <a:lnTo>
                  <a:pt x="1268" y="848"/>
                </a:lnTo>
                <a:lnTo>
                  <a:pt x="1270" y="852"/>
                </a:lnTo>
                <a:lnTo>
                  <a:pt x="1272" y="856"/>
                </a:lnTo>
                <a:lnTo>
                  <a:pt x="1275" y="859"/>
                </a:lnTo>
                <a:lnTo>
                  <a:pt x="1280" y="863"/>
                </a:lnTo>
                <a:lnTo>
                  <a:pt x="1283" y="866"/>
                </a:lnTo>
                <a:lnTo>
                  <a:pt x="1287" y="868"/>
                </a:lnTo>
                <a:lnTo>
                  <a:pt x="1290" y="868"/>
                </a:lnTo>
                <a:lnTo>
                  <a:pt x="1291" y="872"/>
                </a:lnTo>
                <a:lnTo>
                  <a:pt x="1294" y="877"/>
                </a:lnTo>
                <a:lnTo>
                  <a:pt x="1298" y="882"/>
                </a:lnTo>
                <a:lnTo>
                  <a:pt x="1302" y="888"/>
                </a:lnTo>
                <a:lnTo>
                  <a:pt x="1307" y="894"/>
                </a:lnTo>
                <a:lnTo>
                  <a:pt x="1310" y="899"/>
                </a:lnTo>
                <a:lnTo>
                  <a:pt x="1312" y="904"/>
                </a:lnTo>
                <a:lnTo>
                  <a:pt x="1313" y="907"/>
                </a:lnTo>
                <a:lnTo>
                  <a:pt x="1326" y="911"/>
                </a:lnTo>
                <a:lnTo>
                  <a:pt x="1337" y="915"/>
                </a:lnTo>
                <a:lnTo>
                  <a:pt x="1337" y="918"/>
                </a:lnTo>
                <a:lnTo>
                  <a:pt x="1338" y="920"/>
                </a:lnTo>
                <a:lnTo>
                  <a:pt x="1340" y="924"/>
                </a:lnTo>
                <a:lnTo>
                  <a:pt x="1342" y="926"/>
                </a:lnTo>
                <a:lnTo>
                  <a:pt x="1345" y="928"/>
                </a:lnTo>
                <a:lnTo>
                  <a:pt x="1347" y="929"/>
                </a:lnTo>
                <a:lnTo>
                  <a:pt x="1349" y="930"/>
                </a:lnTo>
                <a:lnTo>
                  <a:pt x="1353" y="930"/>
                </a:lnTo>
                <a:lnTo>
                  <a:pt x="1354" y="933"/>
                </a:lnTo>
                <a:lnTo>
                  <a:pt x="1355" y="935"/>
                </a:lnTo>
                <a:lnTo>
                  <a:pt x="1357" y="937"/>
                </a:lnTo>
                <a:lnTo>
                  <a:pt x="1360" y="939"/>
                </a:lnTo>
                <a:lnTo>
                  <a:pt x="1364" y="942"/>
                </a:lnTo>
                <a:lnTo>
                  <a:pt x="1366" y="945"/>
                </a:lnTo>
                <a:lnTo>
                  <a:pt x="1367" y="948"/>
                </a:lnTo>
                <a:lnTo>
                  <a:pt x="1368" y="954"/>
                </a:lnTo>
                <a:lnTo>
                  <a:pt x="1384" y="954"/>
                </a:lnTo>
                <a:lnTo>
                  <a:pt x="1395" y="969"/>
                </a:lnTo>
                <a:lnTo>
                  <a:pt x="1407" y="985"/>
                </a:lnTo>
                <a:lnTo>
                  <a:pt x="1415" y="993"/>
                </a:lnTo>
                <a:lnTo>
                  <a:pt x="1421" y="994"/>
                </a:lnTo>
                <a:lnTo>
                  <a:pt x="1426" y="997"/>
                </a:lnTo>
                <a:lnTo>
                  <a:pt x="1432" y="1003"/>
                </a:lnTo>
                <a:lnTo>
                  <a:pt x="1438" y="1008"/>
                </a:lnTo>
                <a:lnTo>
                  <a:pt x="1444" y="1014"/>
                </a:lnTo>
                <a:lnTo>
                  <a:pt x="1450" y="1019"/>
                </a:lnTo>
                <a:lnTo>
                  <a:pt x="1455" y="1022"/>
                </a:lnTo>
                <a:lnTo>
                  <a:pt x="1462" y="1024"/>
                </a:lnTo>
                <a:lnTo>
                  <a:pt x="1462" y="1026"/>
                </a:lnTo>
                <a:lnTo>
                  <a:pt x="1464" y="1030"/>
                </a:lnTo>
                <a:lnTo>
                  <a:pt x="1466" y="1032"/>
                </a:lnTo>
                <a:lnTo>
                  <a:pt x="1470" y="1034"/>
                </a:lnTo>
                <a:lnTo>
                  <a:pt x="1478" y="1038"/>
                </a:lnTo>
                <a:lnTo>
                  <a:pt x="1485" y="1040"/>
                </a:lnTo>
                <a:lnTo>
                  <a:pt x="1485" y="1044"/>
                </a:lnTo>
                <a:lnTo>
                  <a:pt x="1486" y="1046"/>
                </a:lnTo>
                <a:lnTo>
                  <a:pt x="1488" y="1046"/>
                </a:lnTo>
                <a:lnTo>
                  <a:pt x="1489" y="1048"/>
                </a:lnTo>
                <a:lnTo>
                  <a:pt x="1490" y="1048"/>
                </a:lnTo>
                <a:lnTo>
                  <a:pt x="1491" y="1048"/>
                </a:lnTo>
                <a:lnTo>
                  <a:pt x="1492" y="1051"/>
                </a:lnTo>
                <a:lnTo>
                  <a:pt x="1493" y="1055"/>
                </a:lnTo>
                <a:lnTo>
                  <a:pt x="1495" y="1055"/>
                </a:lnTo>
                <a:lnTo>
                  <a:pt x="1500" y="1058"/>
                </a:lnTo>
                <a:lnTo>
                  <a:pt x="1504" y="1060"/>
                </a:lnTo>
                <a:lnTo>
                  <a:pt x="1508" y="1063"/>
                </a:lnTo>
                <a:lnTo>
                  <a:pt x="1517" y="1071"/>
                </a:lnTo>
                <a:lnTo>
                  <a:pt x="1523" y="1078"/>
                </a:lnTo>
                <a:lnTo>
                  <a:pt x="1523" y="1093"/>
                </a:lnTo>
                <a:lnTo>
                  <a:pt x="1527" y="1094"/>
                </a:lnTo>
                <a:lnTo>
                  <a:pt x="1529" y="1096"/>
                </a:lnTo>
                <a:lnTo>
                  <a:pt x="1532" y="1097"/>
                </a:lnTo>
                <a:lnTo>
                  <a:pt x="1534" y="1099"/>
                </a:lnTo>
                <a:lnTo>
                  <a:pt x="1537" y="1101"/>
                </a:lnTo>
                <a:lnTo>
                  <a:pt x="1538" y="1103"/>
                </a:lnTo>
                <a:lnTo>
                  <a:pt x="1539" y="1107"/>
                </a:lnTo>
                <a:lnTo>
                  <a:pt x="1539" y="1109"/>
                </a:lnTo>
                <a:lnTo>
                  <a:pt x="1547" y="1117"/>
                </a:lnTo>
                <a:lnTo>
                  <a:pt x="1562" y="1117"/>
                </a:lnTo>
                <a:lnTo>
                  <a:pt x="1578" y="1132"/>
                </a:lnTo>
                <a:lnTo>
                  <a:pt x="1590" y="1132"/>
                </a:lnTo>
                <a:lnTo>
                  <a:pt x="1601" y="1132"/>
                </a:lnTo>
                <a:lnTo>
                  <a:pt x="1601" y="1157"/>
                </a:lnTo>
                <a:lnTo>
                  <a:pt x="1601" y="1181"/>
                </a:lnTo>
                <a:lnTo>
                  <a:pt x="1603" y="1207"/>
                </a:lnTo>
                <a:lnTo>
                  <a:pt x="1603" y="1232"/>
                </a:lnTo>
                <a:lnTo>
                  <a:pt x="1604" y="1257"/>
                </a:lnTo>
                <a:lnTo>
                  <a:pt x="1604" y="1281"/>
                </a:lnTo>
                <a:lnTo>
                  <a:pt x="1605" y="1304"/>
                </a:lnTo>
                <a:lnTo>
                  <a:pt x="1605" y="1325"/>
                </a:lnTo>
                <a:lnTo>
                  <a:pt x="1603" y="1327"/>
                </a:lnTo>
                <a:lnTo>
                  <a:pt x="1600" y="1329"/>
                </a:lnTo>
                <a:lnTo>
                  <a:pt x="1599" y="1332"/>
                </a:lnTo>
                <a:lnTo>
                  <a:pt x="1598" y="1337"/>
                </a:lnTo>
                <a:lnTo>
                  <a:pt x="1598" y="1348"/>
                </a:lnTo>
                <a:lnTo>
                  <a:pt x="1599" y="1361"/>
                </a:lnTo>
                <a:lnTo>
                  <a:pt x="1603" y="1385"/>
                </a:lnTo>
                <a:lnTo>
                  <a:pt x="1605" y="1396"/>
                </a:lnTo>
                <a:lnTo>
                  <a:pt x="1623" y="1396"/>
                </a:lnTo>
                <a:lnTo>
                  <a:pt x="1642" y="1395"/>
                </a:lnTo>
                <a:lnTo>
                  <a:pt x="1662" y="1394"/>
                </a:lnTo>
                <a:lnTo>
                  <a:pt x="1683" y="1394"/>
                </a:lnTo>
                <a:lnTo>
                  <a:pt x="1704" y="1392"/>
                </a:lnTo>
                <a:lnTo>
                  <a:pt x="1726" y="1391"/>
                </a:lnTo>
                <a:lnTo>
                  <a:pt x="1750" y="1390"/>
                </a:lnTo>
                <a:lnTo>
                  <a:pt x="1772" y="1390"/>
                </a:lnTo>
                <a:lnTo>
                  <a:pt x="1773" y="1389"/>
                </a:lnTo>
                <a:lnTo>
                  <a:pt x="1774" y="1388"/>
                </a:lnTo>
                <a:lnTo>
                  <a:pt x="1778" y="1387"/>
                </a:lnTo>
                <a:lnTo>
                  <a:pt x="1781" y="1386"/>
                </a:lnTo>
                <a:lnTo>
                  <a:pt x="1790" y="1385"/>
                </a:lnTo>
                <a:lnTo>
                  <a:pt x="1801" y="1383"/>
                </a:lnTo>
                <a:lnTo>
                  <a:pt x="1821" y="1382"/>
                </a:lnTo>
                <a:lnTo>
                  <a:pt x="1835" y="1382"/>
                </a:lnTo>
                <a:lnTo>
                  <a:pt x="1843" y="1398"/>
                </a:lnTo>
                <a:lnTo>
                  <a:pt x="1848" y="1399"/>
                </a:lnTo>
                <a:lnTo>
                  <a:pt x="1854" y="1402"/>
                </a:lnTo>
                <a:lnTo>
                  <a:pt x="1859" y="1408"/>
                </a:lnTo>
                <a:lnTo>
                  <a:pt x="1865" y="1414"/>
                </a:lnTo>
                <a:lnTo>
                  <a:pt x="1869" y="1419"/>
                </a:lnTo>
                <a:lnTo>
                  <a:pt x="1874" y="1425"/>
                </a:lnTo>
                <a:lnTo>
                  <a:pt x="1878" y="1428"/>
                </a:lnTo>
                <a:lnTo>
                  <a:pt x="1882" y="1429"/>
                </a:lnTo>
                <a:lnTo>
                  <a:pt x="1882" y="1445"/>
                </a:lnTo>
                <a:lnTo>
                  <a:pt x="1884" y="1454"/>
                </a:lnTo>
                <a:lnTo>
                  <a:pt x="1889" y="1475"/>
                </a:lnTo>
                <a:lnTo>
                  <a:pt x="1895" y="1496"/>
                </a:lnTo>
                <a:lnTo>
                  <a:pt x="1897" y="1506"/>
                </a:lnTo>
                <a:lnTo>
                  <a:pt x="1902" y="1506"/>
                </a:lnTo>
                <a:lnTo>
                  <a:pt x="1904" y="1507"/>
                </a:lnTo>
                <a:lnTo>
                  <a:pt x="1905" y="1508"/>
                </a:lnTo>
                <a:lnTo>
                  <a:pt x="1905" y="1510"/>
                </a:lnTo>
                <a:lnTo>
                  <a:pt x="1905" y="1511"/>
                </a:lnTo>
                <a:lnTo>
                  <a:pt x="1906" y="1513"/>
                </a:lnTo>
                <a:lnTo>
                  <a:pt x="1908" y="1513"/>
                </a:lnTo>
                <a:lnTo>
                  <a:pt x="1913" y="1514"/>
                </a:lnTo>
                <a:lnTo>
                  <a:pt x="1916" y="1530"/>
                </a:lnTo>
                <a:lnTo>
                  <a:pt x="1921" y="1544"/>
                </a:lnTo>
                <a:lnTo>
                  <a:pt x="1929" y="1552"/>
                </a:lnTo>
                <a:lnTo>
                  <a:pt x="1931" y="1553"/>
                </a:lnTo>
                <a:lnTo>
                  <a:pt x="1934" y="1554"/>
                </a:lnTo>
                <a:lnTo>
                  <a:pt x="1936" y="1555"/>
                </a:lnTo>
                <a:lnTo>
                  <a:pt x="1939" y="1558"/>
                </a:lnTo>
                <a:lnTo>
                  <a:pt x="1941" y="1560"/>
                </a:lnTo>
                <a:lnTo>
                  <a:pt x="1942" y="1562"/>
                </a:lnTo>
                <a:lnTo>
                  <a:pt x="1943" y="1565"/>
                </a:lnTo>
                <a:lnTo>
                  <a:pt x="1944" y="1568"/>
                </a:lnTo>
                <a:lnTo>
                  <a:pt x="1952" y="1575"/>
                </a:lnTo>
                <a:lnTo>
                  <a:pt x="1960" y="1583"/>
                </a:lnTo>
                <a:lnTo>
                  <a:pt x="1974" y="1583"/>
                </a:lnTo>
                <a:lnTo>
                  <a:pt x="1974" y="1599"/>
                </a:lnTo>
                <a:lnTo>
                  <a:pt x="1978" y="1600"/>
                </a:lnTo>
                <a:lnTo>
                  <a:pt x="1979" y="1600"/>
                </a:lnTo>
                <a:lnTo>
                  <a:pt x="1981" y="1602"/>
                </a:lnTo>
                <a:lnTo>
                  <a:pt x="1982" y="1604"/>
                </a:lnTo>
                <a:lnTo>
                  <a:pt x="1982" y="1609"/>
                </a:lnTo>
                <a:lnTo>
                  <a:pt x="1982" y="1615"/>
                </a:lnTo>
                <a:lnTo>
                  <a:pt x="1984" y="1616"/>
                </a:lnTo>
                <a:lnTo>
                  <a:pt x="1985" y="1619"/>
                </a:lnTo>
                <a:lnTo>
                  <a:pt x="1987" y="1625"/>
                </a:lnTo>
                <a:lnTo>
                  <a:pt x="1987" y="1632"/>
                </a:lnTo>
                <a:lnTo>
                  <a:pt x="1989" y="1650"/>
                </a:lnTo>
                <a:lnTo>
                  <a:pt x="1990" y="1671"/>
                </a:lnTo>
                <a:lnTo>
                  <a:pt x="1990" y="1713"/>
                </a:lnTo>
                <a:lnTo>
                  <a:pt x="1990" y="1740"/>
                </a:lnTo>
                <a:lnTo>
                  <a:pt x="1993" y="1740"/>
                </a:lnTo>
                <a:lnTo>
                  <a:pt x="1997" y="1741"/>
                </a:lnTo>
                <a:lnTo>
                  <a:pt x="1999" y="1742"/>
                </a:lnTo>
                <a:lnTo>
                  <a:pt x="2001" y="1744"/>
                </a:lnTo>
                <a:lnTo>
                  <a:pt x="2003" y="1746"/>
                </a:lnTo>
                <a:lnTo>
                  <a:pt x="2004" y="1748"/>
                </a:lnTo>
                <a:lnTo>
                  <a:pt x="2006" y="1752"/>
                </a:lnTo>
                <a:lnTo>
                  <a:pt x="2006" y="1755"/>
                </a:lnTo>
                <a:lnTo>
                  <a:pt x="2013" y="1763"/>
                </a:lnTo>
                <a:lnTo>
                  <a:pt x="2021" y="1771"/>
                </a:lnTo>
                <a:lnTo>
                  <a:pt x="2025" y="1771"/>
                </a:lnTo>
                <a:lnTo>
                  <a:pt x="2028" y="1773"/>
                </a:lnTo>
                <a:lnTo>
                  <a:pt x="2032" y="1775"/>
                </a:lnTo>
                <a:lnTo>
                  <a:pt x="2036" y="1779"/>
                </a:lnTo>
                <a:lnTo>
                  <a:pt x="2039" y="1783"/>
                </a:lnTo>
                <a:lnTo>
                  <a:pt x="2042" y="1786"/>
                </a:lnTo>
                <a:lnTo>
                  <a:pt x="2045" y="1791"/>
                </a:lnTo>
                <a:lnTo>
                  <a:pt x="2045" y="1793"/>
                </a:lnTo>
                <a:lnTo>
                  <a:pt x="2051" y="1795"/>
                </a:lnTo>
                <a:lnTo>
                  <a:pt x="2058" y="1799"/>
                </a:lnTo>
                <a:lnTo>
                  <a:pt x="2065" y="1803"/>
                </a:lnTo>
                <a:lnTo>
                  <a:pt x="2073" y="1809"/>
                </a:lnTo>
                <a:lnTo>
                  <a:pt x="2079" y="1815"/>
                </a:lnTo>
                <a:lnTo>
                  <a:pt x="2086" y="1820"/>
                </a:lnTo>
                <a:lnTo>
                  <a:pt x="2093" y="1823"/>
                </a:lnTo>
                <a:lnTo>
                  <a:pt x="2099" y="1824"/>
                </a:lnTo>
                <a:lnTo>
                  <a:pt x="2099" y="1829"/>
                </a:lnTo>
                <a:lnTo>
                  <a:pt x="2100" y="1831"/>
                </a:lnTo>
                <a:lnTo>
                  <a:pt x="2102" y="1832"/>
                </a:lnTo>
                <a:lnTo>
                  <a:pt x="2103" y="1832"/>
                </a:lnTo>
                <a:lnTo>
                  <a:pt x="2105" y="1832"/>
                </a:lnTo>
                <a:lnTo>
                  <a:pt x="2106" y="1833"/>
                </a:lnTo>
                <a:lnTo>
                  <a:pt x="2107" y="1835"/>
                </a:lnTo>
                <a:lnTo>
                  <a:pt x="2107" y="1840"/>
                </a:lnTo>
                <a:lnTo>
                  <a:pt x="2123" y="1840"/>
                </a:lnTo>
                <a:lnTo>
                  <a:pt x="2124" y="1843"/>
                </a:lnTo>
                <a:lnTo>
                  <a:pt x="2127" y="1844"/>
                </a:lnTo>
                <a:lnTo>
                  <a:pt x="2133" y="1847"/>
                </a:lnTo>
                <a:lnTo>
                  <a:pt x="2140" y="1847"/>
                </a:lnTo>
                <a:lnTo>
                  <a:pt x="2152" y="1848"/>
                </a:lnTo>
                <a:lnTo>
                  <a:pt x="2162" y="1848"/>
                </a:lnTo>
                <a:lnTo>
                  <a:pt x="2162" y="1843"/>
                </a:lnTo>
                <a:lnTo>
                  <a:pt x="2163" y="1841"/>
                </a:lnTo>
                <a:lnTo>
                  <a:pt x="2164" y="1840"/>
                </a:lnTo>
                <a:lnTo>
                  <a:pt x="2165" y="1840"/>
                </a:lnTo>
                <a:lnTo>
                  <a:pt x="2166" y="1840"/>
                </a:lnTo>
                <a:lnTo>
                  <a:pt x="2169" y="1839"/>
                </a:lnTo>
                <a:lnTo>
                  <a:pt x="2169" y="1837"/>
                </a:lnTo>
                <a:lnTo>
                  <a:pt x="2170" y="1832"/>
                </a:lnTo>
                <a:lnTo>
                  <a:pt x="2172" y="1832"/>
                </a:lnTo>
                <a:lnTo>
                  <a:pt x="2175" y="1831"/>
                </a:lnTo>
                <a:lnTo>
                  <a:pt x="2177" y="1830"/>
                </a:lnTo>
                <a:lnTo>
                  <a:pt x="2180" y="1828"/>
                </a:lnTo>
                <a:lnTo>
                  <a:pt x="2182" y="1825"/>
                </a:lnTo>
                <a:lnTo>
                  <a:pt x="2183" y="1822"/>
                </a:lnTo>
                <a:lnTo>
                  <a:pt x="2184" y="1820"/>
                </a:lnTo>
                <a:lnTo>
                  <a:pt x="2185" y="1817"/>
                </a:lnTo>
                <a:lnTo>
                  <a:pt x="2193" y="1809"/>
                </a:lnTo>
                <a:lnTo>
                  <a:pt x="2198" y="1809"/>
                </a:lnTo>
                <a:lnTo>
                  <a:pt x="2200" y="1808"/>
                </a:lnTo>
                <a:lnTo>
                  <a:pt x="2200" y="1806"/>
                </a:lnTo>
                <a:lnTo>
                  <a:pt x="2201" y="1805"/>
                </a:lnTo>
                <a:lnTo>
                  <a:pt x="2201" y="1804"/>
                </a:lnTo>
                <a:lnTo>
                  <a:pt x="2201" y="1803"/>
                </a:lnTo>
                <a:lnTo>
                  <a:pt x="2203" y="1802"/>
                </a:lnTo>
                <a:lnTo>
                  <a:pt x="2208" y="1801"/>
                </a:lnTo>
                <a:lnTo>
                  <a:pt x="2210" y="1790"/>
                </a:lnTo>
                <a:lnTo>
                  <a:pt x="2212" y="1779"/>
                </a:lnTo>
                <a:lnTo>
                  <a:pt x="2214" y="1766"/>
                </a:lnTo>
                <a:lnTo>
                  <a:pt x="2215" y="1755"/>
                </a:lnTo>
                <a:lnTo>
                  <a:pt x="2219" y="1754"/>
                </a:lnTo>
                <a:lnTo>
                  <a:pt x="2220" y="1753"/>
                </a:lnTo>
                <a:lnTo>
                  <a:pt x="2222" y="1752"/>
                </a:lnTo>
                <a:lnTo>
                  <a:pt x="2223" y="1750"/>
                </a:lnTo>
                <a:lnTo>
                  <a:pt x="2223" y="1745"/>
                </a:lnTo>
                <a:lnTo>
                  <a:pt x="2223" y="1740"/>
                </a:lnTo>
                <a:lnTo>
                  <a:pt x="2227" y="1738"/>
                </a:lnTo>
                <a:lnTo>
                  <a:pt x="2228" y="1737"/>
                </a:lnTo>
                <a:lnTo>
                  <a:pt x="2230" y="1736"/>
                </a:lnTo>
                <a:lnTo>
                  <a:pt x="2231" y="1734"/>
                </a:lnTo>
                <a:lnTo>
                  <a:pt x="2231" y="1729"/>
                </a:lnTo>
                <a:lnTo>
                  <a:pt x="2231" y="1724"/>
                </a:lnTo>
                <a:lnTo>
                  <a:pt x="2234" y="1723"/>
                </a:lnTo>
                <a:lnTo>
                  <a:pt x="2236" y="1723"/>
                </a:lnTo>
                <a:lnTo>
                  <a:pt x="2238" y="1721"/>
                </a:lnTo>
                <a:lnTo>
                  <a:pt x="2238" y="1718"/>
                </a:lnTo>
                <a:lnTo>
                  <a:pt x="2239" y="1714"/>
                </a:lnTo>
                <a:lnTo>
                  <a:pt x="2239" y="1708"/>
                </a:lnTo>
                <a:lnTo>
                  <a:pt x="2250" y="1695"/>
                </a:lnTo>
                <a:lnTo>
                  <a:pt x="2267" y="1674"/>
                </a:lnTo>
                <a:lnTo>
                  <a:pt x="2275" y="1664"/>
                </a:lnTo>
                <a:lnTo>
                  <a:pt x="2284" y="1655"/>
                </a:lnTo>
                <a:lnTo>
                  <a:pt x="2289" y="1648"/>
                </a:lnTo>
                <a:lnTo>
                  <a:pt x="2294" y="1646"/>
                </a:lnTo>
                <a:lnTo>
                  <a:pt x="2294" y="1630"/>
                </a:lnTo>
                <a:lnTo>
                  <a:pt x="2297" y="1630"/>
                </a:lnTo>
                <a:lnTo>
                  <a:pt x="2300" y="1629"/>
                </a:lnTo>
                <a:lnTo>
                  <a:pt x="2303" y="1627"/>
                </a:lnTo>
                <a:lnTo>
                  <a:pt x="2306" y="1625"/>
                </a:lnTo>
                <a:lnTo>
                  <a:pt x="2309" y="1617"/>
                </a:lnTo>
                <a:lnTo>
                  <a:pt x="2313" y="1608"/>
                </a:lnTo>
                <a:lnTo>
                  <a:pt x="2315" y="1598"/>
                </a:lnTo>
                <a:lnTo>
                  <a:pt x="2316" y="1585"/>
                </a:lnTo>
                <a:lnTo>
                  <a:pt x="2316" y="1572"/>
                </a:lnTo>
                <a:lnTo>
                  <a:pt x="2316" y="1559"/>
                </a:lnTo>
                <a:lnTo>
                  <a:pt x="2313" y="1505"/>
                </a:lnTo>
                <a:lnTo>
                  <a:pt x="2309" y="1475"/>
                </a:lnTo>
                <a:lnTo>
                  <a:pt x="2305" y="1474"/>
                </a:lnTo>
                <a:lnTo>
                  <a:pt x="2303" y="1474"/>
                </a:lnTo>
                <a:lnTo>
                  <a:pt x="2301" y="1473"/>
                </a:lnTo>
                <a:lnTo>
                  <a:pt x="2301" y="1471"/>
                </a:lnTo>
                <a:lnTo>
                  <a:pt x="2301" y="1469"/>
                </a:lnTo>
                <a:lnTo>
                  <a:pt x="2300" y="1468"/>
                </a:lnTo>
                <a:lnTo>
                  <a:pt x="2298" y="1467"/>
                </a:lnTo>
                <a:lnTo>
                  <a:pt x="2294" y="1467"/>
                </a:lnTo>
                <a:lnTo>
                  <a:pt x="2292" y="1462"/>
                </a:lnTo>
                <a:lnTo>
                  <a:pt x="2289" y="1455"/>
                </a:lnTo>
                <a:lnTo>
                  <a:pt x="2284" y="1449"/>
                </a:lnTo>
                <a:lnTo>
                  <a:pt x="2278" y="1444"/>
                </a:lnTo>
                <a:lnTo>
                  <a:pt x="2272" y="1438"/>
                </a:lnTo>
                <a:lnTo>
                  <a:pt x="2268" y="1431"/>
                </a:lnTo>
                <a:lnTo>
                  <a:pt x="2263" y="1426"/>
                </a:lnTo>
                <a:lnTo>
                  <a:pt x="2262" y="1420"/>
                </a:lnTo>
                <a:lnTo>
                  <a:pt x="2260" y="1420"/>
                </a:lnTo>
                <a:lnTo>
                  <a:pt x="2257" y="1419"/>
                </a:lnTo>
                <a:lnTo>
                  <a:pt x="2255" y="1417"/>
                </a:lnTo>
                <a:lnTo>
                  <a:pt x="2252" y="1416"/>
                </a:lnTo>
                <a:lnTo>
                  <a:pt x="2250" y="1414"/>
                </a:lnTo>
                <a:lnTo>
                  <a:pt x="2249" y="1410"/>
                </a:lnTo>
                <a:lnTo>
                  <a:pt x="2248" y="1408"/>
                </a:lnTo>
                <a:lnTo>
                  <a:pt x="2247" y="1405"/>
                </a:lnTo>
                <a:lnTo>
                  <a:pt x="2242" y="1405"/>
                </a:lnTo>
                <a:lnTo>
                  <a:pt x="2240" y="1404"/>
                </a:lnTo>
                <a:lnTo>
                  <a:pt x="2239" y="1402"/>
                </a:lnTo>
                <a:lnTo>
                  <a:pt x="2239" y="1401"/>
                </a:lnTo>
                <a:lnTo>
                  <a:pt x="2239" y="1399"/>
                </a:lnTo>
                <a:lnTo>
                  <a:pt x="2238" y="1398"/>
                </a:lnTo>
                <a:lnTo>
                  <a:pt x="2236" y="1397"/>
                </a:lnTo>
                <a:lnTo>
                  <a:pt x="2231" y="1397"/>
                </a:lnTo>
                <a:lnTo>
                  <a:pt x="2231" y="1395"/>
                </a:lnTo>
                <a:lnTo>
                  <a:pt x="2230" y="1391"/>
                </a:lnTo>
                <a:lnTo>
                  <a:pt x="2229" y="1389"/>
                </a:lnTo>
                <a:lnTo>
                  <a:pt x="2227" y="1387"/>
                </a:lnTo>
                <a:lnTo>
                  <a:pt x="2224" y="1385"/>
                </a:lnTo>
                <a:lnTo>
                  <a:pt x="2222" y="1382"/>
                </a:lnTo>
                <a:lnTo>
                  <a:pt x="2219" y="1381"/>
                </a:lnTo>
                <a:lnTo>
                  <a:pt x="2215" y="1381"/>
                </a:lnTo>
                <a:lnTo>
                  <a:pt x="2215" y="1377"/>
                </a:lnTo>
                <a:lnTo>
                  <a:pt x="2214" y="1375"/>
                </a:lnTo>
                <a:lnTo>
                  <a:pt x="2213" y="1373"/>
                </a:lnTo>
                <a:lnTo>
                  <a:pt x="2212" y="1373"/>
                </a:lnTo>
                <a:lnTo>
                  <a:pt x="2211" y="1373"/>
                </a:lnTo>
                <a:lnTo>
                  <a:pt x="2210" y="1372"/>
                </a:lnTo>
                <a:lnTo>
                  <a:pt x="2209" y="1370"/>
                </a:lnTo>
                <a:lnTo>
                  <a:pt x="2208" y="1366"/>
                </a:lnTo>
                <a:lnTo>
                  <a:pt x="2203" y="1365"/>
                </a:lnTo>
                <a:lnTo>
                  <a:pt x="2195" y="1360"/>
                </a:lnTo>
                <a:lnTo>
                  <a:pt x="2185" y="1353"/>
                </a:lnTo>
                <a:lnTo>
                  <a:pt x="2174" y="1346"/>
                </a:lnTo>
                <a:lnTo>
                  <a:pt x="2164" y="1338"/>
                </a:lnTo>
                <a:lnTo>
                  <a:pt x="2154" y="1330"/>
                </a:lnTo>
                <a:lnTo>
                  <a:pt x="2148" y="1323"/>
                </a:lnTo>
                <a:lnTo>
                  <a:pt x="2146" y="1319"/>
                </a:lnTo>
                <a:lnTo>
                  <a:pt x="2138" y="1319"/>
                </a:lnTo>
                <a:lnTo>
                  <a:pt x="2133" y="1317"/>
                </a:lnTo>
                <a:lnTo>
                  <a:pt x="2128" y="1312"/>
                </a:lnTo>
                <a:lnTo>
                  <a:pt x="2125" y="1306"/>
                </a:lnTo>
                <a:lnTo>
                  <a:pt x="2122" y="1300"/>
                </a:lnTo>
                <a:lnTo>
                  <a:pt x="2121" y="1292"/>
                </a:lnTo>
                <a:lnTo>
                  <a:pt x="2119" y="1283"/>
                </a:lnTo>
                <a:lnTo>
                  <a:pt x="2118" y="1273"/>
                </a:lnTo>
                <a:lnTo>
                  <a:pt x="2121" y="1224"/>
                </a:lnTo>
                <a:lnTo>
                  <a:pt x="2122" y="1165"/>
                </a:lnTo>
                <a:lnTo>
                  <a:pt x="2121" y="1118"/>
                </a:lnTo>
                <a:lnTo>
                  <a:pt x="2118" y="1070"/>
                </a:lnTo>
                <a:lnTo>
                  <a:pt x="2117" y="1023"/>
                </a:lnTo>
                <a:lnTo>
                  <a:pt x="2115" y="978"/>
                </a:lnTo>
                <a:lnTo>
                  <a:pt x="2114" y="939"/>
                </a:lnTo>
                <a:lnTo>
                  <a:pt x="2113" y="906"/>
                </a:lnTo>
                <a:lnTo>
                  <a:pt x="2113" y="881"/>
                </a:lnTo>
                <a:lnTo>
                  <a:pt x="2114" y="867"/>
                </a:lnTo>
                <a:lnTo>
                  <a:pt x="2118" y="846"/>
                </a:lnTo>
                <a:lnTo>
                  <a:pt x="2124" y="825"/>
                </a:lnTo>
                <a:lnTo>
                  <a:pt x="2131" y="805"/>
                </a:lnTo>
                <a:lnTo>
                  <a:pt x="2137" y="784"/>
                </a:lnTo>
                <a:lnTo>
                  <a:pt x="2144" y="764"/>
                </a:lnTo>
                <a:lnTo>
                  <a:pt x="2148" y="744"/>
                </a:lnTo>
                <a:lnTo>
                  <a:pt x="2153" y="725"/>
                </a:lnTo>
                <a:lnTo>
                  <a:pt x="2154" y="705"/>
                </a:lnTo>
                <a:lnTo>
                  <a:pt x="2156" y="704"/>
                </a:lnTo>
                <a:lnTo>
                  <a:pt x="2158" y="698"/>
                </a:lnTo>
                <a:lnTo>
                  <a:pt x="2160" y="693"/>
                </a:lnTo>
                <a:lnTo>
                  <a:pt x="2161" y="685"/>
                </a:lnTo>
                <a:lnTo>
                  <a:pt x="2162" y="669"/>
                </a:lnTo>
                <a:lnTo>
                  <a:pt x="2162" y="658"/>
                </a:lnTo>
                <a:lnTo>
                  <a:pt x="2163" y="658"/>
                </a:lnTo>
                <a:lnTo>
                  <a:pt x="2164" y="656"/>
                </a:lnTo>
                <a:lnTo>
                  <a:pt x="2165" y="654"/>
                </a:lnTo>
                <a:lnTo>
                  <a:pt x="2166" y="651"/>
                </a:lnTo>
                <a:lnTo>
                  <a:pt x="2167" y="644"/>
                </a:lnTo>
                <a:lnTo>
                  <a:pt x="2169" y="633"/>
                </a:lnTo>
                <a:lnTo>
                  <a:pt x="2170" y="616"/>
                </a:lnTo>
                <a:lnTo>
                  <a:pt x="2170" y="603"/>
                </a:lnTo>
                <a:lnTo>
                  <a:pt x="2171" y="603"/>
                </a:lnTo>
                <a:lnTo>
                  <a:pt x="2173" y="602"/>
                </a:lnTo>
                <a:lnTo>
                  <a:pt x="2175" y="600"/>
                </a:lnTo>
                <a:lnTo>
                  <a:pt x="2176" y="597"/>
                </a:lnTo>
                <a:lnTo>
                  <a:pt x="2181" y="589"/>
                </a:lnTo>
                <a:lnTo>
                  <a:pt x="2184" y="579"/>
                </a:lnTo>
                <a:lnTo>
                  <a:pt x="2189" y="569"/>
                </a:lnTo>
                <a:lnTo>
                  <a:pt x="2193" y="558"/>
                </a:lnTo>
                <a:lnTo>
                  <a:pt x="2200" y="548"/>
                </a:lnTo>
                <a:lnTo>
                  <a:pt x="2207" y="539"/>
                </a:lnTo>
                <a:lnTo>
                  <a:pt x="2228" y="516"/>
                </a:lnTo>
                <a:lnTo>
                  <a:pt x="2244" y="500"/>
                </a:lnTo>
                <a:lnTo>
                  <a:pt x="2252" y="493"/>
                </a:lnTo>
                <a:lnTo>
                  <a:pt x="2258" y="485"/>
                </a:lnTo>
                <a:lnTo>
                  <a:pt x="2263" y="478"/>
                </a:lnTo>
                <a:lnTo>
                  <a:pt x="2268" y="471"/>
                </a:lnTo>
                <a:lnTo>
                  <a:pt x="2272" y="463"/>
                </a:lnTo>
                <a:lnTo>
                  <a:pt x="2275" y="453"/>
                </a:lnTo>
                <a:lnTo>
                  <a:pt x="2276" y="447"/>
                </a:lnTo>
                <a:lnTo>
                  <a:pt x="2276" y="442"/>
                </a:lnTo>
                <a:lnTo>
                  <a:pt x="2275" y="435"/>
                </a:lnTo>
                <a:lnTo>
                  <a:pt x="2273" y="427"/>
                </a:lnTo>
                <a:lnTo>
                  <a:pt x="2270" y="420"/>
                </a:lnTo>
                <a:lnTo>
                  <a:pt x="2267" y="411"/>
                </a:lnTo>
                <a:lnTo>
                  <a:pt x="2262" y="402"/>
                </a:lnTo>
                <a:lnTo>
                  <a:pt x="2256" y="394"/>
                </a:lnTo>
                <a:lnTo>
                  <a:pt x="2248" y="382"/>
                </a:lnTo>
                <a:lnTo>
                  <a:pt x="2239" y="371"/>
                </a:lnTo>
                <a:lnTo>
                  <a:pt x="2229" y="359"/>
                </a:lnTo>
                <a:lnTo>
                  <a:pt x="2217" y="347"/>
                </a:lnTo>
                <a:lnTo>
                  <a:pt x="2212" y="340"/>
                </a:lnTo>
                <a:lnTo>
                  <a:pt x="2207" y="332"/>
                </a:lnTo>
                <a:lnTo>
                  <a:pt x="2202" y="323"/>
                </a:lnTo>
                <a:lnTo>
                  <a:pt x="2198" y="314"/>
                </a:lnTo>
                <a:lnTo>
                  <a:pt x="2193" y="306"/>
                </a:lnTo>
                <a:lnTo>
                  <a:pt x="2189" y="299"/>
                </a:lnTo>
                <a:lnTo>
                  <a:pt x="2185" y="296"/>
                </a:lnTo>
                <a:lnTo>
                  <a:pt x="2183" y="294"/>
                </a:lnTo>
                <a:lnTo>
                  <a:pt x="2180" y="293"/>
                </a:lnTo>
                <a:lnTo>
                  <a:pt x="2177" y="293"/>
                </a:lnTo>
                <a:lnTo>
                  <a:pt x="2176" y="289"/>
                </a:lnTo>
                <a:lnTo>
                  <a:pt x="2176" y="286"/>
                </a:lnTo>
                <a:lnTo>
                  <a:pt x="2174" y="285"/>
                </a:lnTo>
                <a:lnTo>
                  <a:pt x="2173" y="285"/>
                </a:lnTo>
                <a:lnTo>
                  <a:pt x="2172" y="285"/>
                </a:lnTo>
                <a:lnTo>
                  <a:pt x="2171" y="284"/>
                </a:lnTo>
                <a:lnTo>
                  <a:pt x="2170" y="282"/>
                </a:lnTo>
                <a:lnTo>
                  <a:pt x="2170" y="277"/>
                </a:lnTo>
                <a:lnTo>
                  <a:pt x="2154" y="277"/>
                </a:lnTo>
                <a:lnTo>
                  <a:pt x="2152" y="274"/>
                </a:lnTo>
                <a:lnTo>
                  <a:pt x="2147" y="269"/>
                </a:lnTo>
                <a:lnTo>
                  <a:pt x="2142" y="264"/>
                </a:lnTo>
                <a:lnTo>
                  <a:pt x="2134" y="257"/>
                </a:lnTo>
                <a:lnTo>
                  <a:pt x="2127" y="252"/>
                </a:lnTo>
                <a:lnTo>
                  <a:pt x="2121" y="246"/>
                </a:lnTo>
                <a:lnTo>
                  <a:pt x="2116" y="242"/>
                </a:lnTo>
                <a:lnTo>
                  <a:pt x="2115" y="238"/>
                </a:lnTo>
                <a:lnTo>
                  <a:pt x="2099" y="238"/>
                </a:lnTo>
                <a:lnTo>
                  <a:pt x="2084" y="223"/>
                </a:lnTo>
                <a:lnTo>
                  <a:pt x="2068" y="207"/>
                </a:lnTo>
                <a:lnTo>
                  <a:pt x="2056" y="206"/>
                </a:lnTo>
                <a:lnTo>
                  <a:pt x="2041" y="204"/>
                </a:lnTo>
                <a:lnTo>
                  <a:pt x="2027" y="200"/>
                </a:lnTo>
                <a:lnTo>
                  <a:pt x="2013" y="199"/>
                </a:lnTo>
                <a:lnTo>
                  <a:pt x="1998" y="184"/>
                </a:lnTo>
                <a:lnTo>
                  <a:pt x="1982" y="184"/>
                </a:lnTo>
                <a:lnTo>
                  <a:pt x="1974" y="177"/>
                </a:lnTo>
                <a:lnTo>
                  <a:pt x="1954" y="160"/>
                </a:lnTo>
                <a:lnTo>
                  <a:pt x="1943" y="152"/>
                </a:lnTo>
                <a:lnTo>
                  <a:pt x="1933" y="145"/>
                </a:lnTo>
                <a:lnTo>
                  <a:pt x="1925" y="139"/>
                </a:lnTo>
                <a:lnTo>
                  <a:pt x="1921" y="137"/>
                </a:lnTo>
                <a:lnTo>
                  <a:pt x="1913" y="129"/>
                </a:lnTo>
                <a:lnTo>
                  <a:pt x="1912" y="127"/>
                </a:lnTo>
                <a:lnTo>
                  <a:pt x="1910" y="122"/>
                </a:lnTo>
                <a:lnTo>
                  <a:pt x="1907" y="119"/>
                </a:lnTo>
                <a:lnTo>
                  <a:pt x="1904" y="115"/>
                </a:lnTo>
                <a:lnTo>
                  <a:pt x="1900" y="111"/>
                </a:lnTo>
                <a:lnTo>
                  <a:pt x="1896" y="109"/>
                </a:lnTo>
                <a:lnTo>
                  <a:pt x="1893" y="107"/>
                </a:lnTo>
                <a:lnTo>
                  <a:pt x="1889" y="107"/>
                </a:lnTo>
                <a:lnTo>
                  <a:pt x="1885" y="94"/>
                </a:lnTo>
                <a:lnTo>
                  <a:pt x="1882" y="83"/>
                </a:lnTo>
                <a:lnTo>
                  <a:pt x="1875" y="82"/>
                </a:lnTo>
                <a:lnTo>
                  <a:pt x="1866" y="80"/>
                </a:lnTo>
                <a:lnTo>
                  <a:pt x="1856" y="78"/>
                </a:lnTo>
                <a:lnTo>
                  <a:pt x="1845" y="74"/>
                </a:lnTo>
                <a:lnTo>
                  <a:pt x="1825" y="67"/>
                </a:lnTo>
                <a:lnTo>
                  <a:pt x="1809" y="60"/>
                </a:lnTo>
                <a:lnTo>
                  <a:pt x="1798" y="56"/>
                </a:lnTo>
                <a:lnTo>
                  <a:pt x="1773" y="48"/>
                </a:lnTo>
                <a:lnTo>
                  <a:pt x="1761" y="42"/>
                </a:lnTo>
                <a:lnTo>
                  <a:pt x="1750" y="38"/>
                </a:lnTo>
                <a:lnTo>
                  <a:pt x="1742" y="33"/>
                </a:lnTo>
                <a:lnTo>
                  <a:pt x="1739" y="29"/>
                </a:lnTo>
                <a:lnTo>
                  <a:pt x="1718" y="29"/>
                </a:lnTo>
                <a:lnTo>
                  <a:pt x="1697" y="26"/>
                </a:lnTo>
                <a:lnTo>
                  <a:pt x="1678" y="24"/>
                </a:lnTo>
                <a:lnTo>
                  <a:pt x="1661" y="21"/>
                </a:lnTo>
                <a:lnTo>
                  <a:pt x="1627" y="14"/>
                </a:lnTo>
                <a:lnTo>
                  <a:pt x="1598" y="10"/>
                </a:lnTo>
                <a:lnTo>
                  <a:pt x="1532" y="6"/>
                </a:lnTo>
                <a:lnTo>
                  <a:pt x="1488" y="3"/>
                </a:lnTo>
                <a:lnTo>
                  <a:pt x="1461" y="1"/>
                </a:lnTo>
                <a:lnTo>
                  <a:pt x="1450" y="0"/>
                </a:lnTo>
                <a:lnTo>
                  <a:pt x="1449" y="1"/>
                </a:lnTo>
                <a:lnTo>
                  <a:pt x="1449" y="1"/>
                </a:lnTo>
                <a:lnTo>
                  <a:pt x="1449" y="2"/>
                </a:lnTo>
                <a:lnTo>
                  <a:pt x="1450" y="2"/>
                </a:lnTo>
                <a:lnTo>
                  <a:pt x="1453" y="5"/>
                </a:lnTo>
                <a:lnTo>
                  <a:pt x="1459" y="9"/>
                </a:lnTo>
                <a:lnTo>
                  <a:pt x="1465" y="13"/>
                </a:lnTo>
                <a:lnTo>
                  <a:pt x="1473" y="20"/>
                </a:lnTo>
                <a:lnTo>
                  <a:pt x="1481" y="26"/>
                </a:lnTo>
                <a:lnTo>
                  <a:pt x="1490" y="35"/>
                </a:lnTo>
                <a:lnTo>
                  <a:pt x="1492" y="38"/>
                </a:lnTo>
                <a:lnTo>
                  <a:pt x="1497" y="40"/>
                </a:lnTo>
                <a:lnTo>
                  <a:pt x="1501" y="42"/>
                </a:lnTo>
                <a:lnTo>
                  <a:pt x="1505" y="43"/>
                </a:lnTo>
                <a:lnTo>
                  <a:pt x="1517" y="46"/>
                </a:lnTo>
                <a:lnTo>
                  <a:pt x="1529" y="50"/>
                </a:lnTo>
                <a:lnTo>
                  <a:pt x="1540" y="53"/>
                </a:lnTo>
                <a:lnTo>
                  <a:pt x="1549" y="59"/>
                </a:lnTo>
                <a:lnTo>
                  <a:pt x="1553" y="61"/>
                </a:lnTo>
                <a:lnTo>
                  <a:pt x="1556" y="65"/>
                </a:lnTo>
                <a:lnTo>
                  <a:pt x="1558" y="70"/>
                </a:lnTo>
                <a:lnTo>
                  <a:pt x="1558" y="74"/>
                </a:lnTo>
                <a:close/>
              </a:path>
            </a:pathLst>
          </a:custGeom>
          <a:solidFill>
            <a:schemeClr val="accent4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61" name="Freeform 22">
            <a:extLst>
              <a:ext uri="{FF2B5EF4-FFF2-40B4-BE49-F238E27FC236}">
                <a16:creationId xmlns:a16="http://schemas.microsoft.com/office/drawing/2014/main" id="{95C83119-2C20-4D9E-93A5-37EBB5FF34D5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510463" y="3881438"/>
            <a:ext cx="433450" cy="192088"/>
          </a:xfrm>
          <a:custGeom>
            <a:avLst/>
            <a:gdLst/>
            <a:ahLst/>
            <a:cxnLst>
              <a:cxn ang="0">
                <a:pos x="615" y="23"/>
              </a:cxn>
              <a:cxn ang="0">
                <a:pos x="573" y="67"/>
              </a:cxn>
              <a:cxn ang="0">
                <a:pos x="413" y="99"/>
              </a:cxn>
              <a:cxn ang="0">
                <a:pos x="322" y="94"/>
              </a:cxn>
              <a:cxn ang="0">
                <a:pos x="41" y="95"/>
              </a:cxn>
              <a:cxn ang="0">
                <a:pos x="22" y="139"/>
              </a:cxn>
              <a:cxn ang="0">
                <a:pos x="83" y="199"/>
              </a:cxn>
              <a:cxn ang="0">
                <a:pos x="125" y="301"/>
              </a:cxn>
              <a:cxn ang="0">
                <a:pos x="149" y="334"/>
              </a:cxn>
              <a:cxn ang="0">
                <a:pos x="205" y="399"/>
              </a:cxn>
              <a:cxn ang="0">
                <a:pos x="260" y="493"/>
              </a:cxn>
              <a:cxn ang="0">
                <a:pos x="325" y="489"/>
              </a:cxn>
              <a:cxn ang="0">
                <a:pos x="404" y="576"/>
              </a:cxn>
              <a:cxn ang="0">
                <a:pos x="462" y="665"/>
              </a:cxn>
              <a:cxn ang="0">
                <a:pos x="502" y="733"/>
              </a:cxn>
              <a:cxn ang="0">
                <a:pos x="568" y="794"/>
              </a:cxn>
              <a:cxn ang="0">
                <a:pos x="639" y="798"/>
              </a:cxn>
              <a:cxn ang="0">
                <a:pos x="720" y="875"/>
              </a:cxn>
              <a:cxn ang="0">
                <a:pos x="778" y="911"/>
              </a:cxn>
              <a:cxn ang="0">
                <a:pos x="853" y="964"/>
              </a:cxn>
              <a:cxn ang="0">
                <a:pos x="913" y="901"/>
              </a:cxn>
              <a:cxn ang="0">
                <a:pos x="1062" y="926"/>
              </a:cxn>
              <a:cxn ang="0">
                <a:pos x="1169" y="973"/>
              </a:cxn>
              <a:cxn ang="0">
                <a:pos x="1231" y="897"/>
              </a:cxn>
              <a:cxn ang="0">
                <a:pos x="1290" y="918"/>
              </a:cxn>
              <a:cxn ang="0">
                <a:pos x="1322" y="975"/>
              </a:cxn>
              <a:cxn ang="0">
                <a:pos x="1384" y="1089"/>
              </a:cxn>
              <a:cxn ang="0">
                <a:pos x="1486" y="1104"/>
              </a:cxn>
              <a:cxn ang="0">
                <a:pos x="1585" y="1062"/>
              </a:cxn>
              <a:cxn ang="0">
                <a:pos x="1638" y="888"/>
              </a:cxn>
              <a:cxn ang="0">
                <a:pos x="1675" y="771"/>
              </a:cxn>
              <a:cxn ang="0">
                <a:pos x="1723" y="925"/>
              </a:cxn>
              <a:cxn ang="0">
                <a:pos x="1768" y="992"/>
              </a:cxn>
              <a:cxn ang="0">
                <a:pos x="1810" y="1026"/>
              </a:cxn>
              <a:cxn ang="0">
                <a:pos x="1874" y="1057"/>
              </a:cxn>
              <a:cxn ang="0">
                <a:pos x="1903" y="1110"/>
              </a:cxn>
              <a:cxn ang="0">
                <a:pos x="1929" y="1161"/>
              </a:cxn>
              <a:cxn ang="0">
                <a:pos x="2156" y="1195"/>
              </a:cxn>
              <a:cxn ang="0">
                <a:pos x="2232" y="1178"/>
              </a:cxn>
              <a:cxn ang="0">
                <a:pos x="2267" y="758"/>
              </a:cxn>
              <a:cxn ang="0">
                <a:pos x="2278" y="709"/>
              </a:cxn>
              <a:cxn ang="0">
                <a:pos x="2304" y="694"/>
              </a:cxn>
              <a:cxn ang="0">
                <a:pos x="2395" y="653"/>
              </a:cxn>
              <a:cxn ang="0">
                <a:pos x="2331" y="581"/>
              </a:cxn>
              <a:cxn ang="0">
                <a:pos x="2251" y="532"/>
              </a:cxn>
              <a:cxn ang="0">
                <a:pos x="2227" y="515"/>
              </a:cxn>
              <a:cxn ang="0">
                <a:pos x="2186" y="425"/>
              </a:cxn>
              <a:cxn ang="0">
                <a:pos x="2166" y="294"/>
              </a:cxn>
              <a:cxn ang="0">
                <a:pos x="2111" y="244"/>
              </a:cxn>
              <a:cxn ang="0">
                <a:pos x="2022" y="226"/>
              </a:cxn>
              <a:cxn ang="0">
                <a:pos x="1980" y="266"/>
              </a:cxn>
              <a:cxn ang="0">
                <a:pos x="1928" y="233"/>
              </a:cxn>
              <a:cxn ang="0">
                <a:pos x="1867" y="206"/>
              </a:cxn>
              <a:cxn ang="0">
                <a:pos x="1784" y="189"/>
              </a:cxn>
              <a:cxn ang="0">
                <a:pos x="1615" y="217"/>
              </a:cxn>
              <a:cxn ang="0">
                <a:pos x="1573" y="255"/>
              </a:cxn>
              <a:cxn ang="0">
                <a:pos x="1418" y="214"/>
              </a:cxn>
              <a:cxn ang="0">
                <a:pos x="1170" y="141"/>
              </a:cxn>
              <a:cxn ang="0">
                <a:pos x="869" y="122"/>
              </a:cxn>
              <a:cxn ang="0">
                <a:pos x="831" y="94"/>
              </a:cxn>
              <a:cxn ang="0">
                <a:pos x="783" y="37"/>
              </a:cxn>
              <a:cxn ang="0">
                <a:pos x="709" y="6"/>
              </a:cxn>
            </a:cxnLst>
            <a:rect l="0" t="0" r="r" b="b"/>
            <a:pathLst>
              <a:path w="2395" h="1197">
                <a:moveTo>
                  <a:pt x="681" y="0"/>
                </a:moveTo>
                <a:lnTo>
                  <a:pt x="677" y="2"/>
                </a:lnTo>
                <a:lnTo>
                  <a:pt x="670" y="4"/>
                </a:lnTo>
                <a:lnTo>
                  <a:pt x="664" y="7"/>
                </a:lnTo>
                <a:lnTo>
                  <a:pt x="659" y="12"/>
                </a:lnTo>
                <a:lnTo>
                  <a:pt x="653" y="12"/>
                </a:lnTo>
                <a:lnTo>
                  <a:pt x="648" y="13"/>
                </a:lnTo>
                <a:lnTo>
                  <a:pt x="642" y="15"/>
                </a:lnTo>
                <a:lnTo>
                  <a:pt x="637" y="17"/>
                </a:lnTo>
                <a:lnTo>
                  <a:pt x="632" y="19"/>
                </a:lnTo>
                <a:lnTo>
                  <a:pt x="626" y="21"/>
                </a:lnTo>
                <a:lnTo>
                  <a:pt x="621" y="22"/>
                </a:lnTo>
                <a:lnTo>
                  <a:pt x="615" y="23"/>
                </a:lnTo>
                <a:lnTo>
                  <a:pt x="610" y="28"/>
                </a:lnTo>
                <a:lnTo>
                  <a:pt x="610" y="40"/>
                </a:lnTo>
                <a:lnTo>
                  <a:pt x="606" y="40"/>
                </a:lnTo>
                <a:lnTo>
                  <a:pt x="604" y="43"/>
                </a:lnTo>
                <a:lnTo>
                  <a:pt x="604" y="46"/>
                </a:lnTo>
                <a:lnTo>
                  <a:pt x="604" y="50"/>
                </a:lnTo>
                <a:lnTo>
                  <a:pt x="600" y="51"/>
                </a:lnTo>
                <a:lnTo>
                  <a:pt x="596" y="54"/>
                </a:lnTo>
                <a:lnTo>
                  <a:pt x="594" y="57"/>
                </a:lnTo>
                <a:lnTo>
                  <a:pt x="593" y="61"/>
                </a:lnTo>
                <a:lnTo>
                  <a:pt x="586" y="62"/>
                </a:lnTo>
                <a:lnTo>
                  <a:pt x="577" y="65"/>
                </a:lnTo>
                <a:lnTo>
                  <a:pt x="573" y="67"/>
                </a:lnTo>
                <a:lnTo>
                  <a:pt x="568" y="71"/>
                </a:lnTo>
                <a:lnTo>
                  <a:pt x="566" y="74"/>
                </a:lnTo>
                <a:lnTo>
                  <a:pt x="565" y="77"/>
                </a:lnTo>
                <a:lnTo>
                  <a:pt x="557" y="80"/>
                </a:lnTo>
                <a:lnTo>
                  <a:pt x="546" y="84"/>
                </a:lnTo>
                <a:lnTo>
                  <a:pt x="540" y="86"/>
                </a:lnTo>
                <a:lnTo>
                  <a:pt x="536" y="90"/>
                </a:lnTo>
                <a:lnTo>
                  <a:pt x="533" y="92"/>
                </a:lnTo>
                <a:lnTo>
                  <a:pt x="531" y="94"/>
                </a:lnTo>
                <a:lnTo>
                  <a:pt x="504" y="96"/>
                </a:lnTo>
                <a:lnTo>
                  <a:pt x="457" y="100"/>
                </a:lnTo>
                <a:lnTo>
                  <a:pt x="433" y="101"/>
                </a:lnTo>
                <a:lnTo>
                  <a:pt x="413" y="99"/>
                </a:lnTo>
                <a:lnTo>
                  <a:pt x="404" y="98"/>
                </a:lnTo>
                <a:lnTo>
                  <a:pt x="399" y="95"/>
                </a:lnTo>
                <a:lnTo>
                  <a:pt x="396" y="94"/>
                </a:lnTo>
                <a:lnTo>
                  <a:pt x="394" y="93"/>
                </a:lnTo>
                <a:lnTo>
                  <a:pt x="394" y="91"/>
                </a:lnTo>
                <a:lnTo>
                  <a:pt x="393" y="89"/>
                </a:lnTo>
                <a:lnTo>
                  <a:pt x="376" y="87"/>
                </a:lnTo>
                <a:lnTo>
                  <a:pt x="359" y="86"/>
                </a:lnTo>
                <a:lnTo>
                  <a:pt x="344" y="84"/>
                </a:lnTo>
                <a:lnTo>
                  <a:pt x="327" y="83"/>
                </a:lnTo>
                <a:lnTo>
                  <a:pt x="326" y="89"/>
                </a:lnTo>
                <a:lnTo>
                  <a:pt x="325" y="92"/>
                </a:lnTo>
                <a:lnTo>
                  <a:pt x="322" y="94"/>
                </a:lnTo>
                <a:lnTo>
                  <a:pt x="319" y="96"/>
                </a:lnTo>
                <a:lnTo>
                  <a:pt x="315" y="99"/>
                </a:lnTo>
                <a:lnTo>
                  <a:pt x="310" y="99"/>
                </a:lnTo>
                <a:lnTo>
                  <a:pt x="306" y="100"/>
                </a:lnTo>
                <a:lnTo>
                  <a:pt x="300" y="100"/>
                </a:lnTo>
                <a:lnTo>
                  <a:pt x="280" y="96"/>
                </a:lnTo>
                <a:lnTo>
                  <a:pt x="266" y="94"/>
                </a:lnTo>
                <a:lnTo>
                  <a:pt x="258" y="86"/>
                </a:lnTo>
                <a:lnTo>
                  <a:pt x="249" y="77"/>
                </a:lnTo>
                <a:lnTo>
                  <a:pt x="45" y="77"/>
                </a:lnTo>
                <a:lnTo>
                  <a:pt x="45" y="86"/>
                </a:lnTo>
                <a:lnTo>
                  <a:pt x="45" y="94"/>
                </a:lnTo>
                <a:lnTo>
                  <a:pt x="41" y="95"/>
                </a:lnTo>
                <a:lnTo>
                  <a:pt x="39" y="98"/>
                </a:lnTo>
                <a:lnTo>
                  <a:pt x="39" y="101"/>
                </a:lnTo>
                <a:lnTo>
                  <a:pt x="39" y="105"/>
                </a:lnTo>
                <a:lnTo>
                  <a:pt x="37" y="106"/>
                </a:lnTo>
                <a:lnTo>
                  <a:pt x="34" y="109"/>
                </a:lnTo>
                <a:lnTo>
                  <a:pt x="29" y="112"/>
                </a:lnTo>
                <a:lnTo>
                  <a:pt x="28" y="117"/>
                </a:lnTo>
                <a:lnTo>
                  <a:pt x="19" y="119"/>
                </a:lnTo>
                <a:lnTo>
                  <a:pt x="10" y="122"/>
                </a:lnTo>
                <a:lnTo>
                  <a:pt x="2" y="125"/>
                </a:lnTo>
                <a:lnTo>
                  <a:pt x="0" y="128"/>
                </a:lnTo>
                <a:lnTo>
                  <a:pt x="9" y="133"/>
                </a:lnTo>
                <a:lnTo>
                  <a:pt x="22" y="139"/>
                </a:lnTo>
                <a:lnTo>
                  <a:pt x="25" y="144"/>
                </a:lnTo>
                <a:lnTo>
                  <a:pt x="28" y="150"/>
                </a:lnTo>
                <a:lnTo>
                  <a:pt x="31" y="151"/>
                </a:lnTo>
                <a:lnTo>
                  <a:pt x="36" y="153"/>
                </a:lnTo>
                <a:lnTo>
                  <a:pt x="38" y="157"/>
                </a:lnTo>
                <a:lnTo>
                  <a:pt x="39" y="161"/>
                </a:lnTo>
                <a:lnTo>
                  <a:pt x="50" y="161"/>
                </a:lnTo>
                <a:lnTo>
                  <a:pt x="56" y="167"/>
                </a:lnTo>
                <a:lnTo>
                  <a:pt x="61" y="178"/>
                </a:lnTo>
                <a:lnTo>
                  <a:pt x="71" y="178"/>
                </a:lnTo>
                <a:lnTo>
                  <a:pt x="77" y="183"/>
                </a:lnTo>
                <a:lnTo>
                  <a:pt x="83" y="189"/>
                </a:lnTo>
                <a:lnTo>
                  <a:pt x="83" y="199"/>
                </a:lnTo>
                <a:lnTo>
                  <a:pt x="88" y="205"/>
                </a:lnTo>
                <a:lnTo>
                  <a:pt x="94" y="210"/>
                </a:lnTo>
                <a:lnTo>
                  <a:pt x="99" y="214"/>
                </a:lnTo>
                <a:lnTo>
                  <a:pt x="105" y="216"/>
                </a:lnTo>
                <a:lnTo>
                  <a:pt x="106" y="227"/>
                </a:lnTo>
                <a:lnTo>
                  <a:pt x="108" y="237"/>
                </a:lnTo>
                <a:lnTo>
                  <a:pt x="111" y="247"/>
                </a:lnTo>
                <a:lnTo>
                  <a:pt x="114" y="258"/>
                </a:lnTo>
                <a:lnTo>
                  <a:pt x="116" y="268"/>
                </a:lnTo>
                <a:lnTo>
                  <a:pt x="119" y="278"/>
                </a:lnTo>
                <a:lnTo>
                  <a:pt x="121" y="290"/>
                </a:lnTo>
                <a:lnTo>
                  <a:pt x="122" y="300"/>
                </a:lnTo>
                <a:lnTo>
                  <a:pt x="125" y="301"/>
                </a:lnTo>
                <a:lnTo>
                  <a:pt x="126" y="303"/>
                </a:lnTo>
                <a:lnTo>
                  <a:pt x="127" y="306"/>
                </a:lnTo>
                <a:lnTo>
                  <a:pt x="127" y="311"/>
                </a:lnTo>
                <a:lnTo>
                  <a:pt x="138" y="316"/>
                </a:lnTo>
                <a:lnTo>
                  <a:pt x="138" y="319"/>
                </a:lnTo>
                <a:lnTo>
                  <a:pt x="140" y="320"/>
                </a:lnTo>
                <a:lnTo>
                  <a:pt x="141" y="321"/>
                </a:lnTo>
                <a:lnTo>
                  <a:pt x="141" y="320"/>
                </a:lnTo>
                <a:lnTo>
                  <a:pt x="142" y="321"/>
                </a:lnTo>
                <a:lnTo>
                  <a:pt x="143" y="322"/>
                </a:lnTo>
                <a:lnTo>
                  <a:pt x="144" y="326"/>
                </a:lnTo>
                <a:lnTo>
                  <a:pt x="144" y="333"/>
                </a:lnTo>
                <a:lnTo>
                  <a:pt x="149" y="334"/>
                </a:lnTo>
                <a:lnTo>
                  <a:pt x="154" y="339"/>
                </a:lnTo>
                <a:lnTo>
                  <a:pt x="159" y="344"/>
                </a:lnTo>
                <a:lnTo>
                  <a:pt x="161" y="349"/>
                </a:lnTo>
                <a:lnTo>
                  <a:pt x="165" y="353"/>
                </a:lnTo>
                <a:lnTo>
                  <a:pt x="172" y="363"/>
                </a:lnTo>
                <a:lnTo>
                  <a:pt x="176" y="368"/>
                </a:lnTo>
                <a:lnTo>
                  <a:pt x="180" y="372"/>
                </a:lnTo>
                <a:lnTo>
                  <a:pt x="184" y="375"/>
                </a:lnTo>
                <a:lnTo>
                  <a:pt x="189" y="377"/>
                </a:lnTo>
                <a:lnTo>
                  <a:pt x="194" y="382"/>
                </a:lnTo>
                <a:lnTo>
                  <a:pt x="194" y="393"/>
                </a:lnTo>
                <a:lnTo>
                  <a:pt x="200" y="397"/>
                </a:lnTo>
                <a:lnTo>
                  <a:pt x="205" y="399"/>
                </a:lnTo>
                <a:lnTo>
                  <a:pt x="205" y="410"/>
                </a:lnTo>
                <a:lnTo>
                  <a:pt x="207" y="411"/>
                </a:lnTo>
                <a:lnTo>
                  <a:pt x="210" y="413"/>
                </a:lnTo>
                <a:lnTo>
                  <a:pt x="212" y="418"/>
                </a:lnTo>
                <a:lnTo>
                  <a:pt x="215" y="423"/>
                </a:lnTo>
                <a:lnTo>
                  <a:pt x="221" y="437"/>
                </a:lnTo>
                <a:lnTo>
                  <a:pt x="229" y="451"/>
                </a:lnTo>
                <a:lnTo>
                  <a:pt x="236" y="467"/>
                </a:lnTo>
                <a:lnTo>
                  <a:pt x="243" y="480"/>
                </a:lnTo>
                <a:lnTo>
                  <a:pt x="248" y="486"/>
                </a:lnTo>
                <a:lnTo>
                  <a:pt x="252" y="489"/>
                </a:lnTo>
                <a:lnTo>
                  <a:pt x="256" y="493"/>
                </a:lnTo>
                <a:lnTo>
                  <a:pt x="260" y="493"/>
                </a:lnTo>
                <a:lnTo>
                  <a:pt x="266" y="504"/>
                </a:lnTo>
                <a:lnTo>
                  <a:pt x="275" y="504"/>
                </a:lnTo>
                <a:lnTo>
                  <a:pt x="285" y="504"/>
                </a:lnTo>
                <a:lnTo>
                  <a:pt x="296" y="504"/>
                </a:lnTo>
                <a:lnTo>
                  <a:pt x="305" y="504"/>
                </a:lnTo>
                <a:lnTo>
                  <a:pt x="306" y="502"/>
                </a:lnTo>
                <a:lnTo>
                  <a:pt x="308" y="499"/>
                </a:lnTo>
                <a:lnTo>
                  <a:pt x="311" y="499"/>
                </a:lnTo>
                <a:lnTo>
                  <a:pt x="316" y="498"/>
                </a:lnTo>
                <a:lnTo>
                  <a:pt x="316" y="495"/>
                </a:lnTo>
                <a:lnTo>
                  <a:pt x="318" y="493"/>
                </a:lnTo>
                <a:lnTo>
                  <a:pt x="322" y="490"/>
                </a:lnTo>
                <a:lnTo>
                  <a:pt x="325" y="489"/>
                </a:lnTo>
                <a:lnTo>
                  <a:pt x="335" y="489"/>
                </a:lnTo>
                <a:lnTo>
                  <a:pt x="346" y="490"/>
                </a:lnTo>
                <a:lnTo>
                  <a:pt x="367" y="496"/>
                </a:lnTo>
                <a:lnTo>
                  <a:pt x="376" y="498"/>
                </a:lnTo>
                <a:lnTo>
                  <a:pt x="382" y="504"/>
                </a:lnTo>
                <a:lnTo>
                  <a:pt x="385" y="518"/>
                </a:lnTo>
                <a:lnTo>
                  <a:pt x="387" y="532"/>
                </a:lnTo>
                <a:lnTo>
                  <a:pt x="390" y="534"/>
                </a:lnTo>
                <a:lnTo>
                  <a:pt x="393" y="538"/>
                </a:lnTo>
                <a:lnTo>
                  <a:pt x="395" y="545"/>
                </a:lnTo>
                <a:lnTo>
                  <a:pt x="399" y="552"/>
                </a:lnTo>
                <a:lnTo>
                  <a:pt x="403" y="567"/>
                </a:lnTo>
                <a:lnTo>
                  <a:pt x="404" y="576"/>
                </a:lnTo>
                <a:lnTo>
                  <a:pt x="406" y="576"/>
                </a:lnTo>
                <a:lnTo>
                  <a:pt x="409" y="579"/>
                </a:lnTo>
                <a:lnTo>
                  <a:pt x="412" y="581"/>
                </a:lnTo>
                <a:lnTo>
                  <a:pt x="414" y="584"/>
                </a:lnTo>
                <a:lnTo>
                  <a:pt x="420" y="593"/>
                </a:lnTo>
                <a:lnTo>
                  <a:pt x="425" y="603"/>
                </a:lnTo>
                <a:lnTo>
                  <a:pt x="430" y="614"/>
                </a:lnTo>
                <a:lnTo>
                  <a:pt x="434" y="625"/>
                </a:lnTo>
                <a:lnTo>
                  <a:pt x="437" y="635"/>
                </a:lnTo>
                <a:lnTo>
                  <a:pt x="438" y="642"/>
                </a:lnTo>
                <a:lnTo>
                  <a:pt x="449" y="648"/>
                </a:lnTo>
                <a:lnTo>
                  <a:pt x="449" y="659"/>
                </a:lnTo>
                <a:lnTo>
                  <a:pt x="462" y="665"/>
                </a:lnTo>
                <a:lnTo>
                  <a:pt x="477" y="670"/>
                </a:lnTo>
                <a:lnTo>
                  <a:pt x="482" y="676"/>
                </a:lnTo>
                <a:lnTo>
                  <a:pt x="488" y="687"/>
                </a:lnTo>
                <a:lnTo>
                  <a:pt x="488" y="692"/>
                </a:lnTo>
                <a:lnTo>
                  <a:pt x="491" y="700"/>
                </a:lnTo>
                <a:lnTo>
                  <a:pt x="492" y="704"/>
                </a:lnTo>
                <a:lnTo>
                  <a:pt x="495" y="707"/>
                </a:lnTo>
                <a:lnTo>
                  <a:pt x="497" y="708"/>
                </a:lnTo>
                <a:lnTo>
                  <a:pt x="499" y="709"/>
                </a:lnTo>
                <a:lnTo>
                  <a:pt x="499" y="726"/>
                </a:lnTo>
                <a:lnTo>
                  <a:pt x="500" y="727"/>
                </a:lnTo>
                <a:lnTo>
                  <a:pt x="501" y="729"/>
                </a:lnTo>
                <a:lnTo>
                  <a:pt x="502" y="733"/>
                </a:lnTo>
                <a:lnTo>
                  <a:pt x="504" y="737"/>
                </a:lnTo>
                <a:lnTo>
                  <a:pt x="504" y="747"/>
                </a:lnTo>
                <a:lnTo>
                  <a:pt x="504" y="754"/>
                </a:lnTo>
                <a:lnTo>
                  <a:pt x="512" y="765"/>
                </a:lnTo>
                <a:lnTo>
                  <a:pt x="520" y="782"/>
                </a:lnTo>
                <a:lnTo>
                  <a:pt x="526" y="783"/>
                </a:lnTo>
                <a:lnTo>
                  <a:pt x="531" y="787"/>
                </a:lnTo>
                <a:lnTo>
                  <a:pt x="536" y="793"/>
                </a:lnTo>
                <a:lnTo>
                  <a:pt x="537" y="797"/>
                </a:lnTo>
                <a:lnTo>
                  <a:pt x="565" y="797"/>
                </a:lnTo>
                <a:lnTo>
                  <a:pt x="565" y="796"/>
                </a:lnTo>
                <a:lnTo>
                  <a:pt x="567" y="795"/>
                </a:lnTo>
                <a:lnTo>
                  <a:pt x="568" y="794"/>
                </a:lnTo>
                <a:lnTo>
                  <a:pt x="572" y="793"/>
                </a:lnTo>
                <a:lnTo>
                  <a:pt x="577" y="793"/>
                </a:lnTo>
                <a:lnTo>
                  <a:pt x="582" y="792"/>
                </a:lnTo>
                <a:lnTo>
                  <a:pt x="583" y="791"/>
                </a:lnTo>
                <a:lnTo>
                  <a:pt x="587" y="789"/>
                </a:lnTo>
                <a:lnTo>
                  <a:pt x="593" y="788"/>
                </a:lnTo>
                <a:lnTo>
                  <a:pt x="598" y="787"/>
                </a:lnTo>
                <a:lnTo>
                  <a:pt x="612" y="787"/>
                </a:lnTo>
                <a:lnTo>
                  <a:pt x="621" y="787"/>
                </a:lnTo>
                <a:lnTo>
                  <a:pt x="624" y="788"/>
                </a:lnTo>
                <a:lnTo>
                  <a:pt x="632" y="793"/>
                </a:lnTo>
                <a:lnTo>
                  <a:pt x="635" y="796"/>
                </a:lnTo>
                <a:lnTo>
                  <a:pt x="639" y="798"/>
                </a:lnTo>
                <a:lnTo>
                  <a:pt x="642" y="801"/>
                </a:lnTo>
                <a:lnTo>
                  <a:pt x="643" y="803"/>
                </a:lnTo>
                <a:lnTo>
                  <a:pt x="653" y="803"/>
                </a:lnTo>
                <a:lnTo>
                  <a:pt x="659" y="814"/>
                </a:lnTo>
                <a:lnTo>
                  <a:pt x="675" y="823"/>
                </a:lnTo>
                <a:lnTo>
                  <a:pt x="692" y="831"/>
                </a:lnTo>
                <a:lnTo>
                  <a:pt x="698" y="836"/>
                </a:lnTo>
                <a:lnTo>
                  <a:pt x="703" y="842"/>
                </a:lnTo>
                <a:lnTo>
                  <a:pt x="703" y="853"/>
                </a:lnTo>
                <a:lnTo>
                  <a:pt x="706" y="855"/>
                </a:lnTo>
                <a:lnTo>
                  <a:pt x="712" y="862"/>
                </a:lnTo>
                <a:lnTo>
                  <a:pt x="718" y="870"/>
                </a:lnTo>
                <a:lnTo>
                  <a:pt x="720" y="875"/>
                </a:lnTo>
                <a:lnTo>
                  <a:pt x="726" y="881"/>
                </a:lnTo>
                <a:lnTo>
                  <a:pt x="731" y="883"/>
                </a:lnTo>
                <a:lnTo>
                  <a:pt x="737" y="887"/>
                </a:lnTo>
                <a:lnTo>
                  <a:pt x="737" y="898"/>
                </a:lnTo>
                <a:lnTo>
                  <a:pt x="742" y="903"/>
                </a:lnTo>
                <a:lnTo>
                  <a:pt x="747" y="904"/>
                </a:lnTo>
                <a:lnTo>
                  <a:pt x="752" y="907"/>
                </a:lnTo>
                <a:lnTo>
                  <a:pt x="755" y="908"/>
                </a:lnTo>
                <a:lnTo>
                  <a:pt x="757" y="910"/>
                </a:lnTo>
                <a:lnTo>
                  <a:pt x="758" y="912"/>
                </a:lnTo>
                <a:lnTo>
                  <a:pt x="759" y="914"/>
                </a:lnTo>
                <a:lnTo>
                  <a:pt x="768" y="913"/>
                </a:lnTo>
                <a:lnTo>
                  <a:pt x="778" y="911"/>
                </a:lnTo>
                <a:lnTo>
                  <a:pt x="788" y="909"/>
                </a:lnTo>
                <a:lnTo>
                  <a:pt x="797" y="909"/>
                </a:lnTo>
                <a:lnTo>
                  <a:pt x="799" y="913"/>
                </a:lnTo>
                <a:lnTo>
                  <a:pt x="802" y="918"/>
                </a:lnTo>
                <a:lnTo>
                  <a:pt x="806" y="923"/>
                </a:lnTo>
                <a:lnTo>
                  <a:pt x="812" y="929"/>
                </a:lnTo>
                <a:lnTo>
                  <a:pt x="816" y="935"/>
                </a:lnTo>
                <a:lnTo>
                  <a:pt x="821" y="940"/>
                </a:lnTo>
                <a:lnTo>
                  <a:pt x="824" y="947"/>
                </a:lnTo>
                <a:lnTo>
                  <a:pt x="825" y="952"/>
                </a:lnTo>
                <a:lnTo>
                  <a:pt x="831" y="958"/>
                </a:lnTo>
                <a:lnTo>
                  <a:pt x="842" y="961"/>
                </a:lnTo>
                <a:lnTo>
                  <a:pt x="853" y="964"/>
                </a:lnTo>
                <a:lnTo>
                  <a:pt x="853" y="952"/>
                </a:lnTo>
                <a:lnTo>
                  <a:pt x="858" y="947"/>
                </a:lnTo>
                <a:lnTo>
                  <a:pt x="864" y="945"/>
                </a:lnTo>
                <a:lnTo>
                  <a:pt x="870" y="941"/>
                </a:lnTo>
                <a:lnTo>
                  <a:pt x="870" y="931"/>
                </a:lnTo>
                <a:lnTo>
                  <a:pt x="875" y="926"/>
                </a:lnTo>
                <a:lnTo>
                  <a:pt x="881" y="920"/>
                </a:lnTo>
                <a:lnTo>
                  <a:pt x="886" y="914"/>
                </a:lnTo>
                <a:lnTo>
                  <a:pt x="898" y="914"/>
                </a:lnTo>
                <a:lnTo>
                  <a:pt x="903" y="903"/>
                </a:lnTo>
                <a:lnTo>
                  <a:pt x="906" y="903"/>
                </a:lnTo>
                <a:lnTo>
                  <a:pt x="911" y="902"/>
                </a:lnTo>
                <a:lnTo>
                  <a:pt x="913" y="901"/>
                </a:lnTo>
                <a:lnTo>
                  <a:pt x="914" y="898"/>
                </a:lnTo>
                <a:lnTo>
                  <a:pt x="1030" y="898"/>
                </a:lnTo>
                <a:lnTo>
                  <a:pt x="1032" y="901"/>
                </a:lnTo>
                <a:lnTo>
                  <a:pt x="1036" y="903"/>
                </a:lnTo>
                <a:lnTo>
                  <a:pt x="1038" y="906"/>
                </a:lnTo>
                <a:lnTo>
                  <a:pt x="1039" y="908"/>
                </a:lnTo>
                <a:lnTo>
                  <a:pt x="1040" y="910"/>
                </a:lnTo>
                <a:lnTo>
                  <a:pt x="1042" y="914"/>
                </a:lnTo>
                <a:lnTo>
                  <a:pt x="1053" y="914"/>
                </a:lnTo>
                <a:lnTo>
                  <a:pt x="1058" y="920"/>
                </a:lnTo>
                <a:lnTo>
                  <a:pt x="1058" y="921"/>
                </a:lnTo>
                <a:lnTo>
                  <a:pt x="1059" y="923"/>
                </a:lnTo>
                <a:lnTo>
                  <a:pt x="1062" y="926"/>
                </a:lnTo>
                <a:lnTo>
                  <a:pt x="1064" y="927"/>
                </a:lnTo>
                <a:lnTo>
                  <a:pt x="1069" y="930"/>
                </a:lnTo>
                <a:lnTo>
                  <a:pt x="1075" y="931"/>
                </a:lnTo>
                <a:lnTo>
                  <a:pt x="1081" y="936"/>
                </a:lnTo>
                <a:lnTo>
                  <a:pt x="1086" y="941"/>
                </a:lnTo>
                <a:lnTo>
                  <a:pt x="1091" y="952"/>
                </a:lnTo>
                <a:lnTo>
                  <a:pt x="1096" y="964"/>
                </a:lnTo>
                <a:lnTo>
                  <a:pt x="1107" y="964"/>
                </a:lnTo>
                <a:lnTo>
                  <a:pt x="1111" y="969"/>
                </a:lnTo>
                <a:lnTo>
                  <a:pt x="1113" y="975"/>
                </a:lnTo>
                <a:lnTo>
                  <a:pt x="1135" y="975"/>
                </a:lnTo>
                <a:lnTo>
                  <a:pt x="1158" y="974"/>
                </a:lnTo>
                <a:lnTo>
                  <a:pt x="1169" y="973"/>
                </a:lnTo>
                <a:lnTo>
                  <a:pt x="1180" y="970"/>
                </a:lnTo>
                <a:lnTo>
                  <a:pt x="1191" y="968"/>
                </a:lnTo>
                <a:lnTo>
                  <a:pt x="1202" y="964"/>
                </a:lnTo>
                <a:lnTo>
                  <a:pt x="1202" y="952"/>
                </a:lnTo>
                <a:lnTo>
                  <a:pt x="1206" y="947"/>
                </a:lnTo>
                <a:lnTo>
                  <a:pt x="1213" y="932"/>
                </a:lnTo>
                <a:lnTo>
                  <a:pt x="1220" y="918"/>
                </a:lnTo>
                <a:lnTo>
                  <a:pt x="1225" y="909"/>
                </a:lnTo>
                <a:lnTo>
                  <a:pt x="1227" y="908"/>
                </a:lnTo>
                <a:lnTo>
                  <a:pt x="1229" y="906"/>
                </a:lnTo>
                <a:lnTo>
                  <a:pt x="1229" y="901"/>
                </a:lnTo>
                <a:lnTo>
                  <a:pt x="1230" y="898"/>
                </a:lnTo>
                <a:lnTo>
                  <a:pt x="1231" y="897"/>
                </a:lnTo>
                <a:lnTo>
                  <a:pt x="1232" y="896"/>
                </a:lnTo>
                <a:lnTo>
                  <a:pt x="1234" y="893"/>
                </a:lnTo>
                <a:lnTo>
                  <a:pt x="1235" y="891"/>
                </a:lnTo>
                <a:lnTo>
                  <a:pt x="1235" y="885"/>
                </a:lnTo>
                <a:lnTo>
                  <a:pt x="1236" y="881"/>
                </a:lnTo>
                <a:lnTo>
                  <a:pt x="1247" y="878"/>
                </a:lnTo>
                <a:lnTo>
                  <a:pt x="1263" y="875"/>
                </a:lnTo>
                <a:lnTo>
                  <a:pt x="1265" y="882"/>
                </a:lnTo>
                <a:lnTo>
                  <a:pt x="1268" y="889"/>
                </a:lnTo>
                <a:lnTo>
                  <a:pt x="1274" y="896"/>
                </a:lnTo>
                <a:lnTo>
                  <a:pt x="1279" y="903"/>
                </a:lnTo>
                <a:lnTo>
                  <a:pt x="1286" y="910"/>
                </a:lnTo>
                <a:lnTo>
                  <a:pt x="1290" y="918"/>
                </a:lnTo>
                <a:lnTo>
                  <a:pt x="1295" y="925"/>
                </a:lnTo>
                <a:lnTo>
                  <a:pt x="1296" y="931"/>
                </a:lnTo>
                <a:lnTo>
                  <a:pt x="1298" y="931"/>
                </a:lnTo>
                <a:lnTo>
                  <a:pt x="1301" y="932"/>
                </a:lnTo>
                <a:lnTo>
                  <a:pt x="1302" y="935"/>
                </a:lnTo>
                <a:lnTo>
                  <a:pt x="1304" y="938"/>
                </a:lnTo>
                <a:lnTo>
                  <a:pt x="1307" y="945"/>
                </a:lnTo>
                <a:lnTo>
                  <a:pt x="1311" y="952"/>
                </a:lnTo>
                <a:lnTo>
                  <a:pt x="1313" y="961"/>
                </a:lnTo>
                <a:lnTo>
                  <a:pt x="1316" y="968"/>
                </a:lnTo>
                <a:lnTo>
                  <a:pt x="1318" y="971"/>
                </a:lnTo>
                <a:lnTo>
                  <a:pt x="1320" y="974"/>
                </a:lnTo>
                <a:lnTo>
                  <a:pt x="1322" y="975"/>
                </a:lnTo>
                <a:lnTo>
                  <a:pt x="1324" y="975"/>
                </a:lnTo>
                <a:lnTo>
                  <a:pt x="1324" y="986"/>
                </a:lnTo>
                <a:lnTo>
                  <a:pt x="1325" y="997"/>
                </a:lnTo>
                <a:lnTo>
                  <a:pt x="1327" y="1009"/>
                </a:lnTo>
                <a:lnTo>
                  <a:pt x="1331" y="1022"/>
                </a:lnTo>
                <a:lnTo>
                  <a:pt x="1339" y="1047"/>
                </a:lnTo>
                <a:lnTo>
                  <a:pt x="1349" y="1074"/>
                </a:lnTo>
                <a:lnTo>
                  <a:pt x="1360" y="1076"/>
                </a:lnTo>
                <a:lnTo>
                  <a:pt x="1372" y="1080"/>
                </a:lnTo>
                <a:lnTo>
                  <a:pt x="1376" y="1082"/>
                </a:lnTo>
                <a:lnTo>
                  <a:pt x="1381" y="1084"/>
                </a:lnTo>
                <a:lnTo>
                  <a:pt x="1383" y="1086"/>
                </a:lnTo>
                <a:lnTo>
                  <a:pt x="1384" y="1089"/>
                </a:lnTo>
                <a:lnTo>
                  <a:pt x="1400" y="1089"/>
                </a:lnTo>
                <a:lnTo>
                  <a:pt x="1401" y="1091"/>
                </a:lnTo>
                <a:lnTo>
                  <a:pt x="1404" y="1094"/>
                </a:lnTo>
                <a:lnTo>
                  <a:pt x="1408" y="1096"/>
                </a:lnTo>
                <a:lnTo>
                  <a:pt x="1413" y="1100"/>
                </a:lnTo>
                <a:lnTo>
                  <a:pt x="1428" y="1104"/>
                </a:lnTo>
                <a:lnTo>
                  <a:pt x="1443" y="1108"/>
                </a:lnTo>
                <a:lnTo>
                  <a:pt x="1459" y="1110"/>
                </a:lnTo>
                <a:lnTo>
                  <a:pt x="1472" y="1110"/>
                </a:lnTo>
                <a:lnTo>
                  <a:pt x="1478" y="1110"/>
                </a:lnTo>
                <a:lnTo>
                  <a:pt x="1483" y="1109"/>
                </a:lnTo>
                <a:lnTo>
                  <a:pt x="1485" y="1106"/>
                </a:lnTo>
                <a:lnTo>
                  <a:pt x="1486" y="1104"/>
                </a:lnTo>
                <a:lnTo>
                  <a:pt x="1504" y="1103"/>
                </a:lnTo>
                <a:lnTo>
                  <a:pt x="1526" y="1103"/>
                </a:lnTo>
                <a:lnTo>
                  <a:pt x="1537" y="1102"/>
                </a:lnTo>
                <a:lnTo>
                  <a:pt x="1547" y="1101"/>
                </a:lnTo>
                <a:lnTo>
                  <a:pt x="1551" y="1100"/>
                </a:lnTo>
                <a:lnTo>
                  <a:pt x="1553" y="1099"/>
                </a:lnTo>
                <a:lnTo>
                  <a:pt x="1555" y="1098"/>
                </a:lnTo>
                <a:lnTo>
                  <a:pt x="1556" y="1096"/>
                </a:lnTo>
                <a:lnTo>
                  <a:pt x="1572" y="1096"/>
                </a:lnTo>
                <a:lnTo>
                  <a:pt x="1580" y="1089"/>
                </a:lnTo>
                <a:lnTo>
                  <a:pt x="1580" y="1065"/>
                </a:lnTo>
                <a:lnTo>
                  <a:pt x="1582" y="1064"/>
                </a:lnTo>
                <a:lnTo>
                  <a:pt x="1585" y="1062"/>
                </a:lnTo>
                <a:lnTo>
                  <a:pt x="1589" y="1058"/>
                </a:lnTo>
                <a:lnTo>
                  <a:pt x="1591" y="1053"/>
                </a:lnTo>
                <a:lnTo>
                  <a:pt x="1597" y="1041"/>
                </a:lnTo>
                <a:lnTo>
                  <a:pt x="1603" y="1026"/>
                </a:lnTo>
                <a:lnTo>
                  <a:pt x="1608" y="1012"/>
                </a:lnTo>
                <a:lnTo>
                  <a:pt x="1611" y="997"/>
                </a:lnTo>
                <a:lnTo>
                  <a:pt x="1614" y="985"/>
                </a:lnTo>
                <a:lnTo>
                  <a:pt x="1614" y="977"/>
                </a:lnTo>
                <a:lnTo>
                  <a:pt x="1622" y="958"/>
                </a:lnTo>
                <a:lnTo>
                  <a:pt x="1627" y="942"/>
                </a:lnTo>
                <a:lnTo>
                  <a:pt x="1631" y="927"/>
                </a:lnTo>
                <a:lnTo>
                  <a:pt x="1634" y="912"/>
                </a:lnTo>
                <a:lnTo>
                  <a:pt x="1638" y="888"/>
                </a:lnTo>
                <a:lnTo>
                  <a:pt x="1639" y="867"/>
                </a:lnTo>
                <a:lnTo>
                  <a:pt x="1640" y="848"/>
                </a:lnTo>
                <a:lnTo>
                  <a:pt x="1641" y="830"/>
                </a:lnTo>
                <a:lnTo>
                  <a:pt x="1641" y="822"/>
                </a:lnTo>
                <a:lnTo>
                  <a:pt x="1643" y="814"/>
                </a:lnTo>
                <a:lnTo>
                  <a:pt x="1645" y="806"/>
                </a:lnTo>
                <a:lnTo>
                  <a:pt x="1649" y="797"/>
                </a:lnTo>
                <a:lnTo>
                  <a:pt x="1653" y="789"/>
                </a:lnTo>
                <a:lnTo>
                  <a:pt x="1658" y="783"/>
                </a:lnTo>
                <a:lnTo>
                  <a:pt x="1662" y="778"/>
                </a:lnTo>
                <a:lnTo>
                  <a:pt x="1667" y="774"/>
                </a:lnTo>
                <a:lnTo>
                  <a:pt x="1670" y="772"/>
                </a:lnTo>
                <a:lnTo>
                  <a:pt x="1675" y="771"/>
                </a:lnTo>
                <a:lnTo>
                  <a:pt x="1679" y="771"/>
                </a:lnTo>
                <a:lnTo>
                  <a:pt x="1682" y="771"/>
                </a:lnTo>
                <a:lnTo>
                  <a:pt x="1686" y="773"/>
                </a:lnTo>
                <a:lnTo>
                  <a:pt x="1689" y="775"/>
                </a:lnTo>
                <a:lnTo>
                  <a:pt x="1692" y="779"/>
                </a:lnTo>
                <a:lnTo>
                  <a:pt x="1696" y="784"/>
                </a:lnTo>
                <a:lnTo>
                  <a:pt x="1700" y="794"/>
                </a:lnTo>
                <a:lnTo>
                  <a:pt x="1705" y="807"/>
                </a:lnTo>
                <a:lnTo>
                  <a:pt x="1709" y="840"/>
                </a:lnTo>
                <a:lnTo>
                  <a:pt x="1714" y="878"/>
                </a:lnTo>
                <a:lnTo>
                  <a:pt x="1716" y="897"/>
                </a:lnTo>
                <a:lnTo>
                  <a:pt x="1720" y="916"/>
                </a:lnTo>
                <a:lnTo>
                  <a:pt x="1723" y="925"/>
                </a:lnTo>
                <a:lnTo>
                  <a:pt x="1726" y="933"/>
                </a:lnTo>
                <a:lnTo>
                  <a:pt x="1729" y="941"/>
                </a:lnTo>
                <a:lnTo>
                  <a:pt x="1734" y="949"/>
                </a:lnTo>
                <a:lnTo>
                  <a:pt x="1738" y="962"/>
                </a:lnTo>
                <a:lnTo>
                  <a:pt x="1741" y="975"/>
                </a:lnTo>
                <a:lnTo>
                  <a:pt x="1745" y="979"/>
                </a:lnTo>
                <a:lnTo>
                  <a:pt x="1749" y="984"/>
                </a:lnTo>
                <a:lnTo>
                  <a:pt x="1752" y="985"/>
                </a:lnTo>
                <a:lnTo>
                  <a:pt x="1756" y="986"/>
                </a:lnTo>
                <a:lnTo>
                  <a:pt x="1760" y="987"/>
                </a:lnTo>
                <a:lnTo>
                  <a:pt x="1766" y="987"/>
                </a:lnTo>
                <a:lnTo>
                  <a:pt x="1766" y="989"/>
                </a:lnTo>
                <a:lnTo>
                  <a:pt x="1768" y="992"/>
                </a:lnTo>
                <a:lnTo>
                  <a:pt x="1771" y="994"/>
                </a:lnTo>
                <a:lnTo>
                  <a:pt x="1774" y="996"/>
                </a:lnTo>
                <a:lnTo>
                  <a:pt x="1776" y="998"/>
                </a:lnTo>
                <a:lnTo>
                  <a:pt x="1778" y="1002"/>
                </a:lnTo>
                <a:lnTo>
                  <a:pt x="1781" y="1005"/>
                </a:lnTo>
                <a:lnTo>
                  <a:pt x="1782" y="1010"/>
                </a:lnTo>
                <a:lnTo>
                  <a:pt x="1793" y="1014"/>
                </a:lnTo>
                <a:lnTo>
                  <a:pt x="1805" y="1018"/>
                </a:lnTo>
                <a:lnTo>
                  <a:pt x="1805" y="1023"/>
                </a:lnTo>
                <a:lnTo>
                  <a:pt x="1806" y="1025"/>
                </a:lnTo>
                <a:lnTo>
                  <a:pt x="1807" y="1026"/>
                </a:lnTo>
                <a:lnTo>
                  <a:pt x="1808" y="1026"/>
                </a:lnTo>
                <a:lnTo>
                  <a:pt x="1810" y="1026"/>
                </a:lnTo>
                <a:lnTo>
                  <a:pt x="1811" y="1027"/>
                </a:lnTo>
                <a:lnTo>
                  <a:pt x="1812" y="1029"/>
                </a:lnTo>
                <a:lnTo>
                  <a:pt x="1813" y="1034"/>
                </a:lnTo>
                <a:lnTo>
                  <a:pt x="1820" y="1035"/>
                </a:lnTo>
                <a:lnTo>
                  <a:pt x="1827" y="1038"/>
                </a:lnTo>
                <a:lnTo>
                  <a:pt x="1831" y="1041"/>
                </a:lnTo>
                <a:lnTo>
                  <a:pt x="1833" y="1044"/>
                </a:lnTo>
                <a:lnTo>
                  <a:pt x="1835" y="1046"/>
                </a:lnTo>
                <a:lnTo>
                  <a:pt x="1835" y="1050"/>
                </a:lnTo>
                <a:lnTo>
                  <a:pt x="1848" y="1051"/>
                </a:lnTo>
                <a:lnTo>
                  <a:pt x="1858" y="1053"/>
                </a:lnTo>
                <a:lnTo>
                  <a:pt x="1868" y="1056"/>
                </a:lnTo>
                <a:lnTo>
                  <a:pt x="1874" y="1057"/>
                </a:lnTo>
                <a:lnTo>
                  <a:pt x="1875" y="1060"/>
                </a:lnTo>
                <a:lnTo>
                  <a:pt x="1875" y="1063"/>
                </a:lnTo>
                <a:lnTo>
                  <a:pt x="1878" y="1065"/>
                </a:lnTo>
                <a:lnTo>
                  <a:pt x="1880" y="1067"/>
                </a:lnTo>
                <a:lnTo>
                  <a:pt x="1882" y="1070"/>
                </a:lnTo>
                <a:lnTo>
                  <a:pt x="1884" y="1072"/>
                </a:lnTo>
                <a:lnTo>
                  <a:pt x="1888" y="1072"/>
                </a:lnTo>
                <a:lnTo>
                  <a:pt x="1890" y="1073"/>
                </a:lnTo>
                <a:lnTo>
                  <a:pt x="1891" y="1082"/>
                </a:lnTo>
                <a:lnTo>
                  <a:pt x="1896" y="1095"/>
                </a:lnTo>
                <a:lnTo>
                  <a:pt x="1898" y="1101"/>
                </a:lnTo>
                <a:lnTo>
                  <a:pt x="1900" y="1106"/>
                </a:lnTo>
                <a:lnTo>
                  <a:pt x="1903" y="1110"/>
                </a:lnTo>
                <a:lnTo>
                  <a:pt x="1906" y="1112"/>
                </a:lnTo>
                <a:lnTo>
                  <a:pt x="1906" y="1120"/>
                </a:lnTo>
                <a:lnTo>
                  <a:pt x="1906" y="1131"/>
                </a:lnTo>
                <a:lnTo>
                  <a:pt x="1906" y="1142"/>
                </a:lnTo>
                <a:lnTo>
                  <a:pt x="1906" y="1150"/>
                </a:lnTo>
                <a:lnTo>
                  <a:pt x="1921" y="1150"/>
                </a:lnTo>
                <a:lnTo>
                  <a:pt x="1921" y="1154"/>
                </a:lnTo>
                <a:lnTo>
                  <a:pt x="1922" y="1157"/>
                </a:lnTo>
                <a:lnTo>
                  <a:pt x="1923" y="1158"/>
                </a:lnTo>
                <a:lnTo>
                  <a:pt x="1926" y="1158"/>
                </a:lnTo>
                <a:lnTo>
                  <a:pt x="1927" y="1158"/>
                </a:lnTo>
                <a:lnTo>
                  <a:pt x="1928" y="1159"/>
                </a:lnTo>
                <a:lnTo>
                  <a:pt x="1929" y="1161"/>
                </a:lnTo>
                <a:lnTo>
                  <a:pt x="1929" y="1166"/>
                </a:lnTo>
                <a:lnTo>
                  <a:pt x="2061" y="1181"/>
                </a:lnTo>
                <a:lnTo>
                  <a:pt x="2070" y="1181"/>
                </a:lnTo>
                <a:lnTo>
                  <a:pt x="2080" y="1182"/>
                </a:lnTo>
                <a:lnTo>
                  <a:pt x="2084" y="1183"/>
                </a:lnTo>
                <a:lnTo>
                  <a:pt x="2089" y="1185"/>
                </a:lnTo>
                <a:lnTo>
                  <a:pt x="2091" y="1187"/>
                </a:lnTo>
                <a:lnTo>
                  <a:pt x="2092" y="1189"/>
                </a:lnTo>
                <a:lnTo>
                  <a:pt x="2105" y="1190"/>
                </a:lnTo>
                <a:lnTo>
                  <a:pt x="2121" y="1194"/>
                </a:lnTo>
                <a:lnTo>
                  <a:pt x="2138" y="1196"/>
                </a:lnTo>
                <a:lnTo>
                  <a:pt x="2155" y="1197"/>
                </a:lnTo>
                <a:lnTo>
                  <a:pt x="2156" y="1195"/>
                </a:lnTo>
                <a:lnTo>
                  <a:pt x="2157" y="1192"/>
                </a:lnTo>
                <a:lnTo>
                  <a:pt x="2160" y="1191"/>
                </a:lnTo>
                <a:lnTo>
                  <a:pt x="2163" y="1190"/>
                </a:lnTo>
                <a:lnTo>
                  <a:pt x="2171" y="1189"/>
                </a:lnTo>
                <a:lnTo>
                  <a:pt x="2181" y="1189"/>
                </a:lnTo>
                <a:lnTo>
                  <a:pt x="2191" y="1189"/>
                </a:lnTo>
                <a:lnTo>
                  <a:pt x="2200" y="1188"/>
                </a:lnTo>
                <a:lnTo>
                  <a:pt x="2204" y="1188"/>
                </a:lnTo>
                <a:lnTo>
                  <a:pt x="2207" y="1186"/>
                </a:lnTo>
                <a:lnTo>
                  <a:pt x="2208" y="1185"/>
                </a:lnTo>
                <a:lnTo>
                  <a:pt x="2209" y="1181"/>
                </a:lnTo>
                <a:lnTo>
                  <a:pt x="2220" y="1180"/>
                </a:lnTo>
                <a:lnTo>
                  <a:pt x="2232" y="1178"/>
                </a:lnTo>
                <a:lnTo>
                  <a:pt x="2240" y="1175"/>
                </a:lnTo>
                <a:lnTo>
                  <a:pt x="2248" y="1173"/>
                </a:lnTo>
                <a:lnTo>
                  <a:pt x="2256" y="1166"/>
                </a:lnTo>
                <a:lnTo>
                  <a:pt x="2256" y="948"/>
                </a:lnTo>
                <a:lnTo>
                  <a:pt x="2256" y="933"/>
                </a:lnTo>
                <a:lnTo>
                  <a:pt x="2256" y="908"/>
                </a:lnTo>
                <a:lnTo>
                  <a:pt x="2256" y="877"/>
                </a:lnTo>
                <a:lnTo>
                  <a:pt x="2257" y="842"/>
                </a:lnTo>
                <a:lnTo>
                  <a:pt x="2259" y="810"/>
                </a:lnTo>
                <a:lnTo>
                  <a:pt x="2263" y="781"/>
                </a:lnTo>
                <a:lnTo>
                  <a:pt x="2264" y="769"/>
                </a:lnTo>
                <a:lnTo>
                  <a:pt x="2266" y="762"/>
                </a:lnTo>
                <a:lnTo>
                  <a:pt x="2267" y="758"/>
                </a:lnTo>
                <a:lnTo>
                  <a:pt x="2268" y="756"/>
                </a:lnTo>
                <a:lnTo>
                  <a:pt x="2270" y="754"/>
                </a:lnTo>
                <a:lnTo>
                  <a:pt x="2272" y="754"/>
                </a:lnTo>
                <a:lnTo>
                  <a:pt x="2270" y="748"/>
                </a:lnTo>
                <a:lnTo>
                  <a:pt x="2265" y="736"/>
                </a:lnTo>
                <a:lnTo>
                  <a:pt x="2259" y="723"/>
                </a:lnTo>
                <a:lnTo>
                  <a:pt x="2257" y="717"/>
                </a:lnTo>
                <a:lnTo>
                  <a:pt x="2273" y="717"/>
                </a:lnTo>
                <a:lnTo>
                  <a:pt x="2274" y="712"/>
                </a:lnTo>
                <a:lnTo>
                  <a:pt x="2274" y="710"/>
                </a:lnTo>
                <a:lnTo>
                  <a:pt x="2276" y="709"/>
                </a:lnTo>
                <a:lnTo>
                  <a:pt x="2277" y="709"/>
                </a:lnTo>
                <a:lnTo>
                  <a:pt x="2278" y="709"/>
                </a:lnTo>
                <a:lnTo>
                  <a:pt x="2280" y="708"/>
                </a:lnTo>
                <a:lnTo>
                  <a:pt x="2281" y="706"/>
                </a:lnTo>
                <a:lnTo>
                  <a:pt x="2281" y="701"/>
                </a:lnTo>
                <a:lnTo>
                  <a:pt x="2281" y="694"/>
                </a:lnTo>
                <a:lnTo>
                  <a:pt x="2282" y="685"/>
                </a:lnTo>
                <a:lnTo>
                  <a:pt x="2282" y="677"/>
                </a:lnTo>
                <a:lnTo>
                  <a:pt x="2284" y="671"/>
                </a:lnTo>
                <a:lnTo>
                  <a:pt x="2285" y="670"/>
                </a:lnTo>
                <a:lnTo>
                  <a:pt x="2287" y="669"/>
                </a:lnTo>
                <a:lnTo>
                  <a:pt x="2288" y="669"/>
                </a:lnTo>
                <a:lnTo>
                  <a:pt x="2291" y="671"/>
                </a:lnTo>
                <a:lnTo>
                  <a:pt x="2296" y="679"/>
                </a:lnTo>
                <a:lnTo>
                  <a:pt x="2304" y="694"/>
                </a:lnTo>
                <a:lnTo>
                  <a:pt x="2312" y="696"/>
                </a:lnTo>
                <a:lnTo>
                  <a:pt x="2321" y="695"/>
                </a:lnTo>
                <a:lnTo>
                  <a:pt x="2331" y="694"/>
                </a:lnTo>
                <a:lnTo>
                  <a:pt x="2341" y="690"/>
                </a:lnTo>
                <a:lnTo>
                  <a:pt x="2361" y="683"/>
                </a:lnTo>
                <a:lnTo>
                  <a:pt x="2373" y="680"/>
                </a:lnTo>
                <a:lnTo>
                  <a:pt x="2381" y="678"/>
                </a:lnTo>
                <a:lnTo>
                  <a:pt x="2387" y="676"/>
                </a:lnTo>
                <a:lnTo>
                  <a:pt x="2390" y="672"/>
                </a:lnTo>
                <a:lnTo>
                  <a:pt x="2393" y="668"/>
                </a:lnTo>
                <a:lnTo>
                  <a:pt x="2395" y="663"/>
                </a:lnTo>
                <a:lnTo>
                  <a:pt x="2395" y="658"/>
                </a:lnTo>
                <a:lnTo>
                  <a:pt x="2395" y="653"/>
                </a:lnTo>
                <a:lnTo>
                  <a:pt x="2393" y="648"/>
                </a:lnTo>
                <a:lnTo>
                  <a:pt x="2389" y="638"/>
                </a:lnTo>
                <a:lnTo>
                  <a:pt x="2384" y="629"/>
                </a:lnTo>
                <a:lnTo>
                  <a:pt x="2379" y="623"/>
                </a:lnTo>
                <a:lnTo>
                  <a:pt x="2376" y="621"/>
                </a:lnTo>
                <a:lnTo>
                  <a:pt x="2376" y="605"/>
                </a:lnTo>
                <a:lnTo>
                  <a:pt x="2360" y="605"/>
                </a:lnTo>
                <a:lnTo>
                  <a:pt x="2360" y="601"/>
                </a:lnTo>
                <a:lnTo>
                  <a:pt x="2358" y="596"/>
                </a:lnTo>
                <a:lnTo>
                  <a:pt x="2355" y="592"/>
                </a:lnTo>
                <a:lnTo>
                  <a:pt x="2351" y="590"/>
                </a:lnTo>
                <a:lnTo>
                  <a:pt x="2342" y="584"/>
                </a:lnTo>
                <a:lnTo>
                  <a:pt x="2331" y="581"/>
                </a:lnTo>
                <a:lnTo>
                  <a:pt x="2319" y="577"/>
                </a:lnTo>
                <a:lnTo>
                  <a:pt x="2307" y="574"/>
                </a:lnTo>
                <a:lnTo>
                  <a:pt x="2303" y="573"/>
                </a:lnTo>
                <a:lnTo>
                  <a:pt x="2299" y="571"/>
                </a:lnTo>
                <a:lnTo>
                  <a:pt x="2294" y="569"/>
                </a:lnTo>
                <a:lnTo>
                  <a:pt x="2292" y="566"/>
                </a:lnTo>
                <a:lnTo>
                  <a:pt x="2280" y="554"/>
                </a:lnTo>
                <a:lnTo>
                  <a:pt x="2270" y="545"/>
                </a:lnTo>
                <a:lnTo>
                  <a:pt x="2259" y="538"/>
                </a:lnTo>
                <a:lnTo>
                  <a:pt x="2253" y="534"/>
                </a:lnTo>
                <a:lnTo>
                  <a:pt x="2252" y="533"/>
                </a:lnTo>
                <a:lnTo>
                  <a:pt x="2251" y="532"/>
                </a:lnTo>
                <a:lnTo>
                  <a:pt x="2251" y="532"/>
                </a:lnTo>
                <a:lnTo>
                  <a:pt x="2253" y="531"/>
                </a:lnTo>
                <a:lnTo>
                  <a:pt x="2261" y="532"/>
                </a:lnTo>
                <a:lnTo>
                  <a:pt x="2276" y="533"/>
                </a:lnTo>
                <a:lnTo>
                  <a:pt x="2274" y="532"/>
                </a:lnTo>
                <a:lnTo>
                  <a:pt x="2273" y="532"/>
                </a:lnTo>
                <a:lnTo>
                  <a:pt x="2272" y="531"/>
                </a:lnTo>
                <a:lnTo>
                  <a:pt x="2271" y="526"/>
                </a:lnTo>
                <a:lnTo>
                  <a:pt x="2255" y="524"/>
                </a:lnTo>
                <a:lnTo>
                  <a:pt x="2238" y="521"/>
                </a:lnTo>
                <a:lnTo>
                  <a:pt x="2237" y="517"/>
                </a:lnTo>
                <a:lnTo>
                  <a:pt x="2235" y="516"/>
                </a:lnTo>
                <a:lnTo>
                  <a:pt x="2230" y="515"/>
                </a:lnTo>
                <a:lnTo>
                  <a:pt x="2227" y="515"/>
                </a:lnTo>
                <a:lnTo>
                  <a:pt x="2227" y="504"/>
                </a:lnTo>
                <a:lnTo>
                  <a:pt x="2224" y="504"/>
                </a:lnTo>
                <a:lnTo>
                  <a:pt x="2222" y="500"/>
                </a:lnTo>
                <a:lnTo>
                  <a:pt x="2222" y="497"/>
                </a:lnTo>
                <a:lnTo>
                  <a:pt x="2222" y="493"/>
                </a:lnTo>
                <a:lnTo>
                  <a:pt x="2210" y="493"/>
                </a:lnTo>
                <a:lnTo>
                  <a:pt x="2210" y="479"/>
                </a:lnTo>
                <a:lnTo>
                  <a:pt x="2210" y="466"/>
                </a:lnTo>
                <a:lnTo>
                  <a:pt x="2207" y="464"/>
                </a:lnTo>
                <a:lnTo>
                  <a:pt x="2203" y="457"/>
                </a:lnTo>
                <a:lnTo>
                  <a:pt x="2197" y="447"/>
                </a:lnTo>
                <a:lnTo>
                  <a:pt x="2191" y="437"/>
                </a:lnTo>
                <a:lnTo>
                  <a:pt x="2186" y="425"/>
                </a:lnTo>
                <a:lnTo>
                  <a:pt x="2181" y="415"/>
                </a:lnTo>
                <a:lnTo>
                  <a:pt x="2178" y="406"/>
                </a:lnTo>
                <a:lnTo>
                  <a:pt x="2177" y="399"/>
                </a:lnTo>
                <a:lnTo>
                  <a:pt x="2174" y="399"/>
                </a:lnTo>
                <a:lnTo>
                  <a:pt x="2170" y="398"/>
                </a:lnTo>
                <a:lnTo>
                  <a:pt x="2168" y="396"/>
                </a:lnTo>
                <a:lnTo>
                  <a:pt x="2167" y="393"/>
                </a:lnTo>
                <a:lnTo>
                  <a:pt x="2163" y="390"/>
                </a:lnTo>
                <a:lnTo>
                  <a:pt x="2160" y="388"/>
                </a:lnTo>
                <a:lnTo>
                  <a:pt x="2161" y="364"/>
                </a:lnTo>
                <a:lnTo>
                  <a:pt x="2163" y="341"/>
                </a:lnTo>
                <a:lnTo>
                  <a:pt x="2165" y="317"/>
                </a:lnTo>
                <a:lnTo>
                  <a:pt x="2166" y="294"/>
                </a:lnTo>
                <a:lnTo>
                  <a:pt x="2165" y="293"/>
                </a:lnTo>
                <a:lnTo>
                  <a:pt x="2162" y="292"/>
                </a:lnTo>
                <a:lnTo>
                  <a:pt x="2161" y="290"/>
                </a:lnTo>
                <a:lnTo>
                  <a:pt x="2161" y="287"/>
                </a:lnTo>
                <a:lnTo>
                  <a:pt x="2160" y="282"/>
                </a:lnTo>
                <a:lnTo>
                  <a:pt x="2160" y="277"/>
                </a:lnTo>
                <a:lnTo>
                  <a:pt x="2155" y="272"/>
                </a:lnTo>
                <a:lnTo>
                  <a:pt x="2143" y="272"/>
                </a:lnTo>
                <a:lnTo>
                  <a:pt x="2141" y="264"/>
                </a:lnTo>
                <a:lnTo>
                  <a:pt x="2138" y="255"/>
                </a:lnTo>
                <a:lnTo>
                  <a:pt x="2127" y="253"/>
                </a:lnTo>
                <a:lnTo>
                  <a:pt x="2117" y="249"/>
                </a:lnTo>
                <a:lnTo>
                  <a:pt x="2111" y="244"/>
                </a:lnTo>
                <a:lnTo>
                  <a:pt x="2110" y="240"/>
                </a:lnTo>
                <a:lnTo>
                  <a:pt x="2108" y="236"/>
                </a:lnTo>
                <a:lnTo>
                  <a:pt x="2104" y="233"/>
                </a:lnTo>
                <a:lnTo>
                  <a:pt x="2101" y="229"/>
                </a:lnTo>
                <a:lnTo>
                  <a:pt x="2090" y="224"/>
                </a:lnTo>
                <a:lnTo>
                  <a:pt x="2077" y="219"/>
                </a:lnTo>
                <a:lnTo>
                  <a:pt x="2065" y="216"/>
                </a:lnTo>
                <a:lnTo>
                  <a:pt x="2052" y="212"/>
                </a:lnTo>
                <a:lnTo>
                  <a:pt x="2041" y="211"/>
                </a:lnTo>
                <a:lnTo>
                  <a:pt x="2033" y="210"/>
                </a:lnTo>
                <a:lnTo>
                  <a:pt x="2027" y="216"/>
                </a:lnTo>
                <a:lnTo>
                  <a:pt x="2022" y="221"/>
                </a:lnTo>
                <a:lnTo>
                  <a:pt x="2022" y="226"/>
                </a:lnTo>
                <a:lnTo>
                  <a:pt x="2019" y="231"/>
                </a:lnTo>
                <a:lnTo>
                  <a:pt x="2016" y="236"/>
                </a:lnTo>
                <a:lnTo>
                  <a:pt x="2014" y="242"/>
                </a:lnTo>
                <a:lnTo>
                  <a:pt x="2011" y="246"/>
                </a:lnTo>
                <a:lnTo>
                  <a:pt x="2008" y="252"/>
                </a:lnTo>
                <a:lnTo>
                  <a:pt x="2006" y="256"/>
                </a:lnTo>
                <a:lnTo>
                  <a:pt x="2005" y="260"/>
                </a:lnTo>
                <a:lnTo>
                  <a:pt x="1994" y="260"/>
                </a:lnTo>
                <a:lnTo>
                  <a:pt x="1994" y="263"/>
                </a:lnTo>
                <a:lnTo>
                  <a:pt x="1993" y="264"/>
                </a:lnTo>
                <a:lnTo>
                  <a:pt x="1990" y="265"/>
                </a:lnTo>
                <a:lnTo>
                  <a:pt x="1987" y="266"/>
                </a:lnTo>
                <a:lnTo>
                  <a:pt x="1980" y="266"/>
                </a:lnTo>
                <a:lnTo>
                  <a:pt x="1973" y="265"/>
                </a:lnTo>
                <a:lnTo>
                  <a:pt x="1964" y="263"/>
                </a:lnTo>
                <a:lnTo>
                  <a:pt x="1957" y="259"/>
                </a:lnTo>
                <a:lnTo>
                  <a:pt x="1954" y="257"/>
                </a:lnTo>
                <a:lnTo>
                  <a:pt x="1951" y="255"/>
                </a:lnTo>
                <a:lnTo>
                  <a:pt x="1950" y="253"/>
                </a:lnTo>
                <a:lnTo>
                  <a:pt x="1950" y="249"/>
                </a:lnTo>
                <a:lnTo>
                  <a:pt x="1944" y="248"/>
                </a:lnTo>
                <a:lnTo>
                  <a:pt x="1937" y="245"/>
                </a:lnTo>
                <a:lnTo>
                  <a:pt x="1933" y="243"/>
                </a:lnTo>
                <a:lnTo>
                  <a:pt x="1930" y="240"/>
                </a:lnTo>
                <a:lnTo>
                  <a:pt x="1928" y="237"/>
                </a:lnTo>
                <a:lnTo>
                  <a:pt x="1928" y="233"/>
                </a:lnTo>
                <a:lnTo>
                  <a:pt x="1923" y="231"/>
                </a:lnTo>
                <a:lnTo>
                  <a:pt x="1918" y="229"/>
                </a:lnTo>
                <a:lnTo>
                  <a:pt x="1913" y="226"/>
                </a:lnTo>
                <a:lnTo>
                  <a:pt x="1907" y="221"/>
                </a:lnTo>
                <a:lnTo>
                  <a:pt x="1900" y="218"/>
                </a:lnTo>
                <a:lnTo>
                  <a:pt x="1893" y="215"/>
                </a:lnTo>
                <a:lnTo>
                  <a:pt x="1885" y="211"/>
                </a:lnTo>
                <a:lnTo>
                  <a:pt x="1878" y="210"/>
                </a:lnTo>
                <a:lnTo>
                  <a:pt x="1878" y="209"/>
                </a:lnTo>
                <a:lnTo>
                  <a:pt x="1877" y="208"/>
                </a:lnTo>
                <a:lnTo>
                  <a:pt x="1874" y="207"/>
                </a:lnTo>
                <a:lnTo>
                  <a:pt x="1872" y="206"/>
                </a:lnTo>
                <a:lnTo>
                  <a:pt x="1867" y="206"/>
                </a:lnTo>
                <a:lnTo>
                  <a:pt x="1861" y="205"/>
                </a:lnTo>
                <a:lnTo>
                  <a:pt x="1861" y="204"/>
                </a:lnTo>
                <a:lnTo>
                  <a:pt x="1859" y="202"/>
                </a:lnTo>
                <a:lnTo>
                  <a:pt x="1855" y="201"/>
                </a:lnTo>
                <a:lnTo>
                  <a:pt x="1852" y="200"/>
                </a:lnTo>
                <a:lnTo>
                  <a:pt x="1845" y="200"/>
                </a:lnTo>
                <a:lnTo>
                  <a:pt x="1839" y="199"/>
                </a:lnTo>
                <a:lnTo>
                  <a:pt x="1836" y="198"/>
                </a:lnTo>
                <a:lnTo>
                  <a:pt x="1831" y="196"/>
                </a:lnTo>
                <a:lnTo>
                  <a:pt x="1822" y="194"/>
                </a:lnTo>
                <a:lnTo>
                  <a:pt x="1812" y="192"/>
                </a:lnTo>
                <a:lnTo>
                  <a:pt x="1793" y="189"/>
                </a:lnTo>
                <a:lnTo>
                  <a:pt x="1784" y="189"/>
                </a:lnTo>
                <a:lnTo>
                  <a:pt x="1782" y="187"/>
                </a:lnTo>
                <a:lnTo>
                  <a:pt x="1777" y="186"/>
                </a:lnTo>
                <a:lnTo>
                  <a:pt x="1769" y="185"/>
                </a:lnTo>
                <a:lnTo>
                  <a:pt x="1760" y="183"/>
                </a:lnTo>
                <a:lnTo>
                  <a:pt x="1744" y="183"/>
                </a:lnTo>
                <a:lnTo>
                  <a:pt x="1734" y="183"/>
                </a:lnTo>
                <a:lnTo>
                  <a:pt x="1723" y="195"/>
                </a:lnTo>
                <a:lnTo>
                  <a:pt x="1711" y="205"/>
                </a:lnTo>
                <a:lnTo>
                  <a:pt x="1691" y="206"/>
                </a:lnTo>
                <a:lnTo>
                  <a:pt x="1667" y="208"/>
                </a:lnTo>
                <a:lnTo>
                  <a:pt x="1641" y="210"/>
                </a:lnTo>
                <a:lnTo>
                  <a:pt x="1618" y="210"/>
                </a:lnTo>
                <a:lnTo>
                  <a:pt x="1615" y="217"/>
                </a:lnTo>
                <a:lnTo>
                  <a:pt x="1611" y="224"/>
                </a:lnTo>
                <a:lnTo>
                  <a:pt x="1609" y="227"/>
                </a:lnTo>
                <a:lnTo>
                  <a:pt x="1605" y="230"/>
                </a:lnTo>
                <a:lnTo>
                  <a:pt x="1603" y="233"/>
                </a:lnTo>
                <a:lnTo>
                  <a:pt x="1601" y="233"/>
                </a:lnTo>
                <a:lnTo>
                  <a:pt x="1601" y="244"/>
                </a:lnTo>
                <a:lnTo>
                  <a:pt x="1595" y="249"/>
                </a:lnTo>
                <a:lnTo>
                  <a:pt x="1587" y="249"/>
                </a:lnTo>
                <a:lnTo>
                  <a:pt x="1579" y="249"/>
                </a:lnTo>
                <a:lnTo>
                  <a:pt x="1579" y="252"/>
                </a:lnTo>
                <a:lnTo>
                  <a:pt x="1577" y="253"/>
                </a:lnTo>
                <a:lnTo>
                  <a:pt x="1575" y="255"/>
                </a:lnTo>
                <a:lnTo>
                  <a:pt x="1573" y="255"/>
                </a:lnTo>
                <a:lnTo>
                  <a:pt x="1566" y="257"/>
                </a:lnTo>
                <a:lnTo>
                  <a:pt x="1558" y="257"/>
                </a:lnTo>
                <a:lnTo>
                  <a:pt x="1536" y="256"/>
                </a:lnTo>
                <a:lnTo>
                  <a:pt x="1513" y="253"/>
                </a:lnTo>
                <a:lnTo>
                  <a:pt x="1467" y="244"/>
                </a:lnTo>
                <a:lnTo>
                  <a:pt x="1446" y="238"/>
                </a:lnTo>
                <a:lnTo>
                  <a:pt x="1445" y="235"/>
                </a:lnTo>
                <a:lnTo>
                  <a:pt x="1440" y="233"/>
                </a:lnTo>
                <a:lnTo>
                  <a:pt x="1438" y="230"/>
                </a:lnTo>
                <a:lnTo>
                  <a:pt x="1437" y="228"/>
                </a:lnTo>
                <a:lnTo>
                  <a:pt x="1436" y="226"/>
                </a:lnTo>
                <a:lnTo>
                  <a:pt x="1435" y="221"/>
                </a:lnTo>
                <a:lnTo>
                  <a:pt x="1418" y="214"/>
                </a:lnTo>
                <a:lnTo>
                  <a:pt x="1401" y="205"/>
                </a:lnTo>
                <a:lnTo>
                  <a:pt x="1399" y="199"/>
                </a:lnTo>
                <a:lnTo>
                  <a:pt x="1395" y="195"/>
                </a:lnTo>
                <a:lnTo>
                  <a:pt x="1380" y="189"/>
                </a:lnTo>
                <a:lnTo>
                  <a:pt x="1369" y="183"/>
                </a:lnTo>
                <a:lnTo>
                  <a:pt x="1357" y="172"/>
                </a:lnTo>
                <a:lnTo>
                  <a:pt x="1346" y="161"/>
                </a:lnTo>
                <a:lnTo>
                  <a:pt x="1330" y="156"/>
                </a:lnTo>
                <a:lnTo>
                  <a:pt x="1318" y="150"/>
                </a:lnTo>
                <a:lnTo>
                  <a:pt x="1280" y="149"/>
                </a:lnTo>
                <a:lnTo>
                  <a:pt x="1244" y="147"/>
                </a:lnTo>
                <a:lnTo>
                  <a:pt x="1207" y="144"/>
                </a:lnTo>
                <a:lnTo>
                  <a:pt x="1170" y="141"/>
                </a:lnTo>
                <a:lnTo>
                  <a:pt x="1134" y="139"/>
                </a:lnTo>
                <a:lnTo>
                  <a:pt x="1098" y="135"/>
                </a:lnTo>
                <a:lnTo>
                  <a:pt x="1064" y="134"/>
                </a:lnTo>
                <a:lnTo>
                  <a:pt x="1030" y="133"/>
                </a:lnTo>
                <a:lnTo>
                  <a:pt x="1025" y="131"/>
                </a:lnTo>
                <a:lnTo>
                  <a:pt x="1009" y="130"/>
                </a:lnTo>
                <a:lnTo>
                  <a:pt x="987" y="129"/>
                </a:lnTo>
                <a:lnTo>
                  <a:pt x="961" y="129"/>
                </a:lnTo>
                <a:lnTo>
                  <a:pt x="909" y="128"/>
                </a:lnTo>
                <a:lnTo>
                  <a:pt x="875" y="128"/>
                </a:lnTo>
                <a:lnTo>
                  <a:pt x="874" y="124"/>
                </a:lnTo>
                <a:lnTo>
                  <a:pt x="872" y="123"/>
                </a:lnTo>
                <a:lnTo>
                  <a:pt x="869" y="122"/>
                </a:lnTo>
                <a:lnTo>
                  <a:pt x="864" y="122"/>
                </a:lnTo>
                <a:lnTo>
                  <a:pt x="864" y="120"/>
                </a:lnTo>
                <a:lnTo>
                  <a:pt x="862" y="119"/>
                </a:lnTo>
                <a:lnTo>
                  <a:pt x="861" y="118"/>
                </a:lnTo>
                <a:lnTo>
                  <a:pt x="857" y="118"/>
                </a:lnTo>
                <a:lnTo>
                  <a:pt x="853" y="117"/>
                </a:lnTo>
                <a:lnTo>
                  <a:pt x="847" y="117"/>
                </a:lnTo>
                <a:lnTo>
                  <a:pt x="846" y="112"/>
                </a:lnTo>
                <a:lnTo>
                  <a:pt x="844" y="109"/>
                </a:lnTo>
                <a:lnTo>
                  <a:pt x="841" y="106"/>
                </a:lnTo>
                <a:lnTo>
                  <a:pt x="836" y="105"/>
                </a:lnTo>
                <a:lnTo>
                  <a:pt x="834" y="100"/>
                </a:lnTo>
                <a:lnTo>
                  <a:pt x="831" y="94"/>
                </a:lnTo>
                <a:lnTo>
                  <a:pt x="827" y="94"/>
                </a:lnTo>
                <a:lnTo>
                  <a:pt x="824" y="92"/>
                </a:lnTo>
                <a:lnTo>
                  <a:pt x="821" y="89"/>
                </a:lnTo>
                <a:lnTo>
                  <a:pt x="817" y="86"/>
                </a:lnTo>
                <a:lnTo>
                  <a:pt x="813" y="81"/>
                </a:lnTo>
                <a:lnTo>
                  <a:pt x="808" y="77"/>
                </a:lnTo>
                <a:lnTo>
                  <a:pt x="808" y="66"/>
                </a:lnTo>
                <a:lnTo>
                  <a:pt x="803" y="61"/>
                </a:lnTo>
                <a:lnTo>
                  <a:pt x="797" y="55"/>
                </a:lnTo>
                <a:lnTo>
                  <a:pt x="793" y="53"/>
                </a:lnTo>
                <a:lnTo>
                  <a:pt x="787" y="50"/>
                </a:lnTo>
                <a:lnTo>
                  <a:pt x="786" y="44"/>
                </a:lnTo>
                <a:lnTo>
                  <a:pt x="783" y="37"/>
                </a:lnTo>
                <a:lnTo>
                  <a:pt x="780" y="34"/>
                </a:lnTo>
                <a:lnTo>
                  <a:pt x="777" y="31"/>
                </a:lnTo>
                <a:lnTo>
                  <a:pt x="774" y="28"/>
                </a:lnTo>
                <a:lnTo>
                  <a:pt x="770" y="28"/>
                </a:lnTo>
                <a:lnTo>
                  <a:pt x="770" y="17"/>
                </a:lnTo>
                <a:lnTo>
                  <a:pt x="765" y="12"/>
                </a:lnTo>
                <a:lnTo>
                  <a:pt x="754" y="12"/>
                </a:lnTo>
                <a:lnTo>
                  <a:pt x="751" y="9"/>
                </a:lnTo>
                <a:lnTo>
                  <a:pt x="747" y="8"/>
                </a:lnTo>
                <a:lnTo>
                  <a:pt x="741" y="7"/>
                </a:lnTo>
                <a:lnTo>
                  <a:pt x="733" y="6"/>
                </a:lnTo>
                <a:lnTo>
                  <a:pt x="718" y="6"/>
                </a:lnTo>
                <a:lnTo>
                  <a:pt x="709" y="6"/>
                </a:lnTo>
                <a:lnTo>
                  <a:pt x="709" y="3"/>
                </a:lnTo>
                <a:lnTo>
                  <a:pt x="707" y="2"/>
                </a:lnTo>
                <a:lnTo>
                  <a:pt x="704" y="0"/>
                </a:lnTo>
                <a:lnTo>
                  <a:pt x="701" y="0"/>
                </a:lnTo>
                <a:lnTo>
                  <a:pt x="698" y="2"/>
                </a:lnTo>
                <a:lnTo>
                  <a:pt x="692" y="2"/>
                </a:lnTo>
                <a:lnTo>
                  <a:pt x="688" y="2"/>
                </a:lnTo>
                <a:lnTo>
                  <a:pt x="68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62" name="Freeform 23">
            <a:extLst>
              <a:ext uri="{FF2B5EF4-FFF2-40B4-BE49-F238E27FC236}">
                <a16:creationId xmlns:a16="http://schemas.microsoft.com/office/drawing/2014/main" id="{5A4D5680-0774-46E8-B868-3FACFF781519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308850" y="3773488"/>
            <a:ext cx="283385" cy="196850"/>
          </a:xfrm>
          <a:custGeom>
            <a:avLst/>
            <a:gdLst/>
            <a:ahLst/>
            <a:cxnLst>
              <a:cxn ang="0">
                <a:pos x="302" y="115"/>
              </a:cxn>
              <a:cxn ang="0">
                <a:pos x="259" y="163"/>
              </a:cxn>
              <a:cxn ang="0">
                <a:pos x="215" y="189"/>
              </a:cxn>
              <a:cxn ang="0">
                <a:pos x="205" y="361"/>
              </a:cxn>
              <a:cxn ang="0">
                <a:pos x="205" y="527"/>
              </a:cxn>
              <a:cxn ang="0">
                <a:pos x="243" y="572"/>
              </a:cxn>
              <a:cxn ang="0">
                <a:pos x="241" y="724"/>
              </a:cxn>
              <a:cxn ang="0">
                <a:pos x="188" y="748"/>
              </a:cxn>
              <a:cxn ang="0">
                <a:pos x="116" y="791"/>
              </a:cxn>
              <a:cxn ang="0">
                <a:pos x="77" y="822"/>
              </a:cxn>
              <a:cxn ang="0">
                <a:pos x="55" y="848"/>
              </a:cxn>
              <a:cxn ang="0">
                <a:pos x="5" y="897"/>
              </a:cxn>
              <a:cxn ang="0">
                <a:pos x="137" y="935"/>
              </a:cxn>
              <a:cxn ang="0">
                <a:pos x="198" y="925"/>
              </a:cxn>
              <a:cxn ang="0">
                <a:pos x="304" y="954"/>
              </a:cxn>
              <a:cxn ang="0">
                <a:pos x="365" y="1009"/>
              </a:cxn>
              <a:cxn ang="0">
                <a:pos x="410" y="1055"/>
              </a:cxn>
              <a:cxn ang="0">
                <a:pos x="525" y="1053"/>
              </a:cxn>
              <a:cxn ang="0">
                <a:pos x="620" y="1080"/>
              </a:cxn>
              <a:cxn ang="0">
                <a:pos x="1069" y="1092"/>
              </a:cxn>
              <a:cxn ang="0">
                <a:pos x="1019" y="1064"/>
              </a:cxn>
              <a:cxn ang="0">
                <a:pos x="985" y="931"/>
              </a:cxn>
              <a:cxn ang="0">
                <a:pos x="1066" y="923"/>
              </a:cxn>
              <a:cxn ang="0">
                <a:pos x="1125" y="954"/>
              </a:cxn>
              <a:cxn ang="0">
                <a:pos x="1185" y="998"/>
              </a:cxn>
              <a:cxn ang="0">
                <a:pos x="1220" y="1032"/>
              </a:cxn>
              <a:cxn ang="0">
                <a:pos x="1250" y="1095"/>
              </a:cxn>
              <a:cxn ang="0">
                <a:pos x="1279" y="1217"/>
              </a:cxn>
              <a:cxn ang="0">
                <a:pos x="1335" y="1200"/>
              </a:cxn>
              <a:cxn ang="0">
                <a:pos x="1383" y="1141"/>
              </a:cxn>
              <a:cxn ang="0">
                <a:pos x="1542" y="1035"/>
              </a:cxn>
              <a:cxn ang="0">
                <a:pos x="1496" y="1031"/>
              </a:cxn>
              <a:cxn ang="0">
                <a:pos x="1437" y="1021"/>
              </a:cxn>
              <a:cxn ang="0">
                <a:pos x="1390" y="942"/>
              </a:cxn>
              <a:cxn ang="0">
                <a:pos x="1350" y="885"/>
              </a:cxn>
              <a:cxn ang="0">
                <a:pos x="1326" y="853"/>
              </a:cxn>
              <a:cxn ang="0">
                <a:pos x="1304" y="810"/>
              </a:cxn>
              <a:cxn ang="0">
                <a:pos x="1268" y="731"/>
              </a:cxn>
              <a:cxn ang="0">
                <a:pos x="1216" y="683"/>
              </a:cxn>
              <a:cxn ang="0">
                <a:pos x="1214" y="644"/>
              </a:cxn>
              <a:cxn ang="0">
                <a:pos x="1296" y="609"/>
              </a:cxn>
              <a:cxn ang="0">
                <a:pos x="1340" y="502"/>
              </a:cxn>
              <a:cxn ang="0">
                <a:pos x="1313" y="429"/>
              </a:cxn>
              <a:cxn ang="0">
                <a:pos x="1265" y="383"/>
              </a:cxn>
              <a:cxn ang="0">
                <a:pos x="1167" y="292"/>
              </a:cxn>
              <a:cxn ang="0">
                <a:pos x="1140" y="239"/>
              </a:cxn>
              <a:cxn ang="0">
                <a:pos x="1092" y="201"/>
              </a:cxn>
              <a:cxn ang="0">
                <a:pos x="937" y="188"/>
              </a:cxn>
              <a:cxn ang="0">
                <a:pos x="861" y="92"/>
              </a:cxn>
              <a:cxn ang="0">
                <a:pos x="830" y="6"/>
              </a:cxn>
              <a:cxn ang="0">
                <a:pos x="779" y="26"/>
              </a:cxn>
              <a:cxn ang="0">
                <a:pos x="764" y="63"/>
              </a:cxn>
              <a:cxn ang="0">
                <a:pos x="672" y="77"/>
              </a:cxn>
              <a:cxn ang="0">
                <a:pos x="643" y="89"/>
              </a:cxn>
              <a:cxn ang="0">
                <a:pos x="626" y="128"/>
              </a:cxn>
              <a:cxn ang="0">
                <a:pos x="534" y="167"/>
              </a:cxn>
              <a:cxn ang="0">
                <a:pos x="439" y="141"/>
              </a:cxn>
              <a:cxn ang="0">
                <a:pos x="408" y="128"/>
              </a:cxn>
              <a:cxn ang="0">
                <a:pos x="376" y="95"/>
              </a:cxn>
            </a:cxnLst>
            <a:rect l="0" t="0" r="r" b="b"/>
            <a:pathLst>
              <a:path w="1556" h="1230">
                <a:moveTo>
                  <a:pt x="349" y="84"/>
                </a:moveTo>
                <a:lnTo>
                  <a:pt x="343" y="86"/>
                </a:lnTo>
                <a:lnTo>
                  <a:pt x="338" y="89"/>
                </a:lnTo>
                <a:lnTo>
                  <a:pt x="331" y="95"/>
                </a:lnTo>
                <a:lnTo>
                  <a:pt x="327" y="101"/>
                </a:lnTo>
                <a:lnTo>
                  <a:pt x="315" y="101"/>
                </a:lnTo>
                <a:lnTo>
                  <a:pt x="312" y="106"/>
                </a:lnTo>
                <a:lnTo>
                  <a:pt x="310" y="112"/>
                </a:lnTo>
                <a:lnTo>
                  <a:pt x="305" y="113"/>
                </a:lnTo>
                <a:lnTo>
                  <a:pt x="302" y="115"/>
                </a:lnTo>
                <a:lnTo>
                  <a:pt x="300" y="118"/>
                </a:lnTo>
                <a:lnTo>
                  <a:pt x="299" y="123"/>
                </a:lnTo>
                <a:lnTo>
                  <a:pt x="288" y="128"/>
                </a:lnTo>
                <a:lnTo>
                  <a:pt x="288" y="138"/>
                </a:lnTo>
                <a:lnTo>
                  <a:pt x="282" y="142"/>
                </a:lnTo>
                <a:lnTo>
                  <a:pt x="276" y="144"/>
                </a:lnTo>
                <a:lnTo>
                  <a:pt x="276" y="155"/>
                </a:lnTo>
                <a:lnTo>
                  <a:pt x="271" y="161"/>
                </a:lnTo>
                <a:lnTo>
                  <a:pt x="260" y="161"/>
                </a:lnTo>
                <a:lnTo>
                  <a:pt x="259" y="163"/>
                </a:lnTo>
                <a:lnTo>
                  <a:pt x="255" y="165"/>
                </a:lnTo>
                <a:lnTo>
                  <a:pt x="251" y="167"/>
                </a:lnTo>
                <a:lnTo>
                  <a:pt x="245" y="169"/>
                </a:lnTo>
                <a:lnTo>
                  <a:pt x="234" y="171"/>
                </a:lnTo>
                <a:lnTo>
                  <a:pt x="226" y="172"/>
                </a:lnTo>
                <a:lnTo>
                  <a:pt x="221" y="178"/>
                </a:lnTo>
                <a:lnTo>
                  <a:pt x="221" y="182"/>
                </a:lnTo>
                <a:lnTo>
                  <a:pt x="221" y="185"/>
                </a:lnTo>
                <a:lnTo>
                  <a:pt x="218" y="188"/>
                </a:lnTo>
                <a:lnTo>
                  <a:pt x="215" y="189"/>
                </a:lnTo>
                <a:lnTo>
                  <a:pt x="215" y="224"/>
                </a:lnTo>
                <a:lnTo>
                  <a:pt x="213" y="263"/>
                </a:lnTo>
                <a:lnTo>
                  <a:pt x="211" y="303"/>
                </a:lnTo>
                <a:lnTo>
                  <a:pt x="211" y="338"/>
                </a:lnTo>
                <a:lnTo>
                  <a:pt x="208" y="339"/>
                </a:lnTo>
                <a:lnTo>
                  <a:pt x="207" y="342"/>
                </a:lnTo>
                <a:lnTo>
                  <a:pt x="206" y="344"/>
                </a:lnTo>
                <a:lnTo>
                  <a:pt x="205" y="347"/>
                </a:lnTo>
                <a:lnTo>
                  <a:pt x="205" y="355"/>
                </a:lnTo>
                <a:lnTo>
                  <a:pt x="205" y="361"/>
                </a:lnTo>
                <a:lnTo>
                  <a:pt x="203" y="361"/>
                </a:lnTo>
                <a:lnTo>
                  <a:pt x="200" y="363"/>
                </a:lnTo>
                <a:lnTo>
                  <a:pt x="199" y="365"/>
                </a:lnTo>
                <a:lnTo>
                  <a:pt x="198" y="367"/>
                </a:lnTo>
                <a:lnTo>
                  <a:pt x="196" y="375"/>
                </a:lnTo>
                <a:lnTo>
                  <a:pt x="195" y="386"/>
                </a:lnTo>
                <a:lnTo>
                  <a:pt x="195" y="412"/>
                </a:lnTo>
                <a:lnTo>
                  <a:pt x="196" y="442"/>
                </a:lnTo>
                <a:lnTo>
                  <a:pt x="202" y="499"/>
                </a:lnTo>
                <a:lnTo>
                  <a:pt x="205" y="527"/>
                </a:lnTo>
                <a:lnTo>
                  <a:pt x="211" y="529"/>
                </a:lnTo>
                <a:lnTo>
                  <a:pt x="215" y="532"/>
                </a:lnTo>
                <a:lnTo>
                  <a:pt x="218" y="544"/>
                </a:lnTo>
                <a:lnTo>
                  <a:pt x="221" y="555"/>
                </a:lnTo>
                <a:lnTo>
                  <a:pt x="225" y="557"/>
                </a:lnTo>
                <a:lnTo>
                  <a:pt x="231" y="563"/>
                </a:lnTo>
                <a:lnTo>
                  <a:pt x="233" y="566"/>
                </a:lnTo>
                <a:lnTo>
                  <a:pt x="236" y="568"/>
                </a:lnTo>
                <a:lnTo>
                  <a:pt x="240" y="570"/>
                </a:lnTo>
                <a:lnTo>
                  <a:pt x="243" y="572"/>
                </a:lnTo>
                <a:lnTo>
                  <a:pt x="246" y="597"/>
                </a:lnTo>
                <a:lnTo>
                  <a:pt x="252" y="631"/>
                </a:lnTo>
                <a:lnTo>
                  <a:pt x="254" y="649"/>
                </a:lnTo>
                <a:lnTo>
                  <a:pt x="257" y="666"/>
                </a:lnTo>
                <a:lnTo>
                  <a:pt x="260" y="683"/>
                </a:lnTo>
                <a:lnTo>
                  <a:pt x="260" y="699"/>
                </a:lnTo>
                <a:lnTo>
                  <a:pt x="254" y="708"/>
                </a:lnTo>
                <a:lnTo>
                  <a:pt x="248" y="721"/>
                </a:lnTo>
                <a:lnTo>
                  <a:pt x="245" y="721"/>
                </a:lnTo>
                <a:lnTo>
                  <a:pt x="241" y="724"/>
                </a:lnTo>
                <a:lnTo>
                  <a:pt x="238" y="728"/>
                </a:lnTo>
                <a:lnTo>
                  <a:pt x="237" y="731"/>
                </a:lnTo>
                <a:lnTo>
                  <a:pt x="232" y="737"/>
                </a:lnTo>
                <a:lnTo>
                  <a:pt x="221" y="737"/>
                </a:lnTo>
                <a:lnTo>
                  <a:pt x="219" y="741"/>
                </a:lnTo>
                <a:lnTo>
                  <a:pt x="216" y="743"/>
                </a:lnTo>
                <a:lnTo>
                  <a:pt x="212" y="746"/>
                </a:lnTo>
                <a:lnTo>
                  <a:pt x="206" y="747"/>
                </a:lnTo>
                <a:lnTo>
                  <a:pt x="195" y="748"/>
                </a:lnTo>
                <a:lnTo>
                  <a:pt x="188" y="748"/>
                </a:lnTo>
                <a:lnTo>
                  <a:pt x="180" y="752"/>
                </a:lnTo>
                <a:lnTo>
                  <a:pt x="163" y="762"/>
                </a:lnTo>
                <a:lnTo>
                  <a:pt x="144" y="771"/>
                </a:lnTo>
                <a:lnTo>
                  <a:pt x="132" y="776"/>
                </a:lnTo>
                <a:lnTo>
                  <a:pt x="127" y="781"/>
                </a:lnTo>
                <a:lnTo>
                  <a:pt x="127" y="784"/>
                </a:lnTo>
                <a:lnTo>
                  <a:pt x="125" y="786"/>
                </a:lnTo>
                <a:lnTo>
                  <a:pt x="123" y="788"/>
                </a:lnTo>
                <a:lnTo>
                  <a:pt x="121" y="789"/>
                </a:lnTo>
                <a:lnTo>
                  <a:pt x="116" y="791"/>
                </a:lnTo>
                <a:lnTo>
                  <a:pt x="110" y="792"/>
                </a:lnTo>
                <a:lnTo>
                  <a:pt x="108" y="797"/>
                </a:lnTo>
                <a:lnTo>
                  <a:pt x="104" y="800"/>
                </a:lnTo>
                <a:lnTo>
                  <a:pt x="100" y="805"/>
                </a:lnTo>
                <a:lnTo>
                  <a:pt x="96" y="808"/>
                </a:lnTo>
                <a:lnTo>
                  <a:pt x="91" y="810"/>
                </a:lnTo>
                <a:lnTo>
                  <a:pt x="87" y="813"/>
                </a:lnTo>
                <a:lnTo>
                  <a:pt x="81" y="814"/>
                </a:lnTo>
                <a:lnTo>
                  <a:pt x="77" y="815"/>
                </a:lnTo>
                <a:lnTo>
                  <a:pt x="77" y="822"/>
                </a:lnTo>
                <a:lnTo>
                  <a:pt x="77" y="825"/>
                </a:lnTo>
                <a:lnTo>
                  <a:pt x="75" y="827"/>
                </a:lnTo>
                <a:lnTo>
                  <a:pt x="74" y="827"/>
                </a:lnTo>
                <a:lnTo>
                  <a:pt x="73" y="827"/>
                </a:lnTo>
                <a:lnTo>
                  <a:pt x="72" y="827"/>
                </a:lnTo>
                <a:lnTo>
                  <a:pt x="72" y="828"/>
                </a:lnTo>
                <a:lnTo>
                  <a:pt x="71" y="832"/>
                </a:lnTo>
                <a:lnTo>
                  <a:pt x="63" y="834"/>
                </a:lnTo>
                <a:lnTo>
                  <a:pt x="55" y="837"/>
                </a:lnTo>
                <a:lnTo>
                  <a:pt x="55" y="848"/>
                </a:lnTo>
                <a:lnTo>
                  <a:pt x="51" y="849"/>
                </a:lnTo>
                <a:lnTo>
                  <a:pt x="48" y="852"/>
                </a:lnTo>
                <a:lnTo>
                  <a:pt x="45" y="855"/>
                </a:lnTo>
                <a:lnTo>
                  <a:pt x="44" y="859"/>
                </a:lnTo>
                <a:lnTo>
                  <a:pt x="40" y="859"/>
                </a:lnTo>
                <a:lnTo>
                  <a:pt x="36" y="863"/>
                </a:lnTo>
                <a:lnTo>
                  <a:pt x="34" y="866"/>
                </a:lnTo>
                <a:lnTo>
                  <a:pt x="33" y="871"/>
                </a:lnTo>
                <a:lnTo>
                  <a:pt x="19" y="884"/>
                </a:lnTo>
                <a:lnTo>
                  <a:pt x="5" y="897"/>
                </a:lnTo>
                <a:lnTo>
                  <a:pt x="0" y="903"/>
                </a:lnTo>
                <a:lnTo>
                  <a:pt x="0" y="917"/>
                </a:lnTo>
                <a:lnTo>
                  <a:pt x="0" y="931"/>
                </a:lnTo>
                <a:lnTo>
                  <a:pt x="11" y="936"/>
                </a:lnTo>
                <a:lnTo>
                  <a:pt x="13" y="942"/>
                </a:lnTo>
                <a:lnTo>
                  <a:pt x="16" y="948"/>
                </a:lnTo>
                <a:lnTo>
                  <a:pt x="116" y="948"/>
                </a:lnTo>
                <a:lnTo>
                  <a:pt x="127" y="936"/>
                </a:lnTo>
                <a:lnTo>
                  <a:pt x="132" y="936"/>
                </a:lnTo>
                <a:lnTo>
                  <a:pt x="137" y="935"/>
                </a:lnTo>
                <a:lnTo>
                  <a:pt x="140" y="935"/>
                </a:lnTo>
                <a:lnTo>
                  <a:pt x="141" y="934"/>
                </a:lnTo>
                <a:lnTo>
                  <a:pt x="144" y="933"/>
                </a:lnTo>
                <a:lnTo>
                  <a:pt x="144" y="931"/>
                </a:lnTo>
                <a:lnTo>
                  <a:pt x="177" y="931"/>
                </a:lnTo>
                <a:lnTo>
                  <a:pt x="178" y="930"/>
                </a:lnTo>
                <a:lnTo>
                  <a:pt x="180" y="928"/>
                </a:lnTo>
                <a:lnTo>
                  <a:pt x="184" y="926"/>
                </a:lnTo>
                <a:lnTo>
                  <a:pt x="188" y="926"/>
                </a:lnTo>
                <a:lnTo>
                  <a:pt x="198" y="925"/>
                </a:lnTo>
                <a:lnTo>
                  <a:pt x="205" y="925"/>
                </a:lnTo>
                <a:lnTo>
                  <a:pt x="217" y="926"/>
                </a:lnTo>
                <a:lnTo>
                  <a:pt x="232" y="929"/>
                </a:lnTo>
                <a:lnTo>
                  <a:pt x="246" y="930"/>
                </a:lnTo>
                <a:lnTo>
                  <a:pt x="260" y="931"/>
                </a:lnTo>
                <a:lnTo>
                  <a:pt x="271" y="942"/>
                </a:lnTo>
                <a:lnTo>
                  <a:pt x="286" y="945"/>
                </a:lnTo>
                <a:lnTo>
                  <a:pt x="299" y="948"/>
                </a:lnTo>
                <a:lnTo>
                  <a:pt x="300" y="951"/>
                </a:lnTo>
                <a:lnTo>
                  <a:pt x="304" y="954"/>
                </a:lnTo>
                <a:lnTo>
                  <a:pt x="307" y="955"/>
                </a:lnTo>
                <a:lnTo>
                  <a:pt x="308" y="958"/>
                </a:lnTo>
                <a:lnTo>
                  <a:pt x="309" y="961"/>
                </a:lnTo>
                <a:lnTo>
                  <a:pt x="310" y="964"/>
                </a:lnTo>
                <a:lnTo>
                  <a:pt x="318" y="968"/>
                </a:lnTo>
                <a:lnTo>
                  <a:pt x="329" y="976"/>
                </a:lnTo>
                <a:lnTo>
                  <a:pt x="341" y="983"/>
                </a:lnTo>
                <a:lnTo>
                  <a:pt x="349" y="987"/>
                </a:lnTo>
                <a:lnTo>
                  <a:pt x="357" y="998"/>
                </a:lnTo>
                <a:lnTo>
                  <a:pt x="365" y="1009"/>
                </a:lnTo>
                <a:lnTo>
                  <a:pt x="370" y="1012"/>
                </a:lnTo>
                <a:lnTo>
                  <a:pt x="377" y="1022"/>
                </a:lnTo>
                <a:lnTo>
                  <a:pt x="380" y="1028"/>
                </a:lnTo>
                <a:lnTo>
                  <a:pt x="385" y="1032"/>
                </a:lnTo>
                <a:lnTo>
                  <a:pt x="389" y="1035"/>
                </a:lnTo>
                <a:lnTo>
                  <a:pt x="392" y="1036"/>
                </a:lnTo>
                <a:lnTo>
                  <a:pt x="395" y="1040"/>
                </a:lnTo>
                <a:lnTo>
                  <a:pt x="398" y="1046"/>
                </a:lnTo>
                <a:lnTo>
                  <a:pt x="404" y="1050"/>
                </a:lnTo>
                <a:lnTo>
                  <a:pt x="410" y="1055"/>
                </a:lnTo>
                <a:lnTo>
                  <a:pt x="423" y="1064"/>
                </a:lnTo>
                <a:lnTo>
                  <a:pt x="432" y="1069"/>
                </a:lnTo>
                <a:lnTo>
                  <a:pt x="493" y="1069"/>
                </a:lnTo>
                <a:lnTo>
                  <a:pt x="493" y="1066"/>
                </a:lnTo>
                <a:lnTo>
                  <a:pt x="496" y="1065"/>
                </a:lnTo>
                <a:lnTo>
                  <a:pt x="500" y="1064"/>
                </a:lnTo>
                <a:lnTo>
                  <a:pt x="504" y="1064"/>
                </a:lnTo>
                <a:lnTo>
                  <a:pt x="506" y="1058"/>
                </a:lnTo>
                <a:lnTo>
                  <a:pt x="510" y="1053"/>
                </a:lnTo>
                <a:lnTo>
                  <a:pt x="525" y="1053"/>
                </a:lnTo>
                <a:lnTo>
                  <a:pt x="547" y="1053"/>
                </a:lnTo>
                <a:lnTo>
                  <a:pt x="557" y="1054"/>
                </a:lnTo>
                <a:lnTo>
                  <a:pt x="565" y="1055"/>
                </a:lnTo>
                <a:lnTo>
                  <a:pt x="569" y="1057"/>
                </a:lnTo>
                <a:lnTo>
                  <a:pt x="572" y="1059"/>
                </a:lnTo>
                <a:lnTo>
                  <a:pt x="574" y="1061"/>
                </a:lnTo>
                <a:lnTo>
                  <a:pt x="576" y="1064"/>
                </a:lnTo>
                <a:lnTo>
                  <a:pt x="589" y="1067"/>
                </a:lnTo>
                <a:lnTo>
                  <a:pt x="603" y="1069"/>
                </a:lnTo>
                <a:lnTo>
                  <a:pt x="620" y="1080"/>
                </a:lnTo>
                <a:lnTo>
                  <a:pt x="637" y="1092"/>
                </a:lnTo>
                <a:lnTo>
                  <a:pt x="687" y="1093"/>
                </a:lnTo>
                <a:lnTo>
                  <a:pt x="741" y="1094"/>
                </a:lnTo>
                <a:lnTo>
                  <a:pt x="795" y="1097"/>
                </a:lnTo>
                <a:lnTo>
                  <a:pt x="850" y="1099"/>
                </a:lnTo>
                <a:lnTo>
                  <a:pt x="906" y="1103"/>
                </a:lnTo>
                <a:lnTo>
                  <a:pt x="962" y="1106"/>
                </a:lnTo>
                <a:lnTo>
                  <a:pt x="1015" y="1107"/>
                </a:lnTo>
                <a:lnTo>
                  <a:pt x="1069" y="1108"/>
                </a:lnTo>
                <a:lnTo>
                  <a:pt x="1069" y="1092"/>
                </a:lnTo>
                <a:lnTo>
                  <a:pt x="1064" y="1090"/>
                </a:lnTo>
                <a:lnTo>
                  <a:pt x="1061" y="1086"/>
                </a:lnTo>
                <a:lnTo>
                  <a:pt x="1059" y="1083"/>
                </a:lnTo>
                <a:lnTo>
                  <a:pt x="1058" y="1080"/>
                </a:lnTo>
                <a:lnTo>
                  <a:pt x="1049" y="1078"/>
                </a:lnTo>
                <a:lnTo>
                  <a:pt x="1037" y="1075"/>
                </a:lnTo>
                <a:lnTo>
                  <a:pt x="1030" y="1072"/>
                </a:lnTo>
                <a:lnTo>
                  <a:pt x="1024" y="1069"/>
                </a:lnTo>
                <a:lnTo>
                  <a:pt x="1020" y="1066"/>
                </a:lnTo>
                <a:lnTo>
                  <a:pt x="1019" y="1064"/>
                </a:lnTo>
                <a:lnTo>
                  <a:pt x="1008" y="1064"/>
                </a:lnTo>
                <a:lnTo>
                  <a:pt x="1002" y="1058"/>
                </a:lnTo>
                <a:lnTo>
                  <a:pt x="996" y="1053"/>
                </a:lnTo>
                <a:lnTo>
                  <a:pt x="994" y="1046"/>
                </a:lnTo>
                <a:lnTo>
                  <a:pt x="987" y="1036"/>
                </a:lnTo>
                <a:lnTo>
                  <a:pt x="981" y="1027"/>
                </a:lnTo>
                <a:lnTo>
                  <a:pt x="974" y="1020"/>
                </a:lnTo>
                <a:lnTo>
                  <a:pt x="974" y="942"/>
                </a:lnTo>
                <a:lnTo>
                  <a:pt x="980" y="936"/>
                </a:lnTo>
                <a:lnTo>
                  <a:pt x="985" y="931"/>
                </a:lnTo>
                <a:lnTo>
                  <a:pt x="995" y="930"/>
                </a:lnTo>
                <a:lnTo>
                  <a:pt x="1009" y="929"/>
                </a:lnTo>
                <a:lnTo>
                  <a:pt x="1022" y="926"/>
                </a:lnTo>
                <a:lnTo>
                  <a:pt x="1035" y="925"/>
                </a:lnTo>
                <a:lnTo>
                  <a:pt x="1037" y="923"/>
                </a:lnTo>
                <a:lnTo>
                  <a:pt x="1038" y="921"/>
                </a:lnTo>
                <a:lnTo>
                  <a:pt x="1041" y="920"/>
                </a:lnTo>
                <a:lnTo>
                  <a:pt x="1044" y="920"/>
                </a:lnTo>
                <a:lnTo>
                  <a:pt x="1054" y="920"/>
                </a:lnTo>
                <a:lnTo>
                  <a:pt x="1066" y="923"/>
                </a:lnTo>
                <a:lnTo>
                  <a:pt x="1077" y="926"/>
                </a:lnTo>
                <a:lnTo>
                  <a:pt x="1087" y="930"/>
                </a:lnTo>
                <a:lnTo>
                  <a:pt x="1094" y="934"/>
                </a:lnTo>
                <a:lnTo>
                  <a:pt x="1097" y="936"/>
                </a:lnTo>
                <a:lnTo>
                  <a:pt x="1107" y="940"/>
                </a:lnTo>
                <a:lnTo>
                  <a:pt x="1118" y="942"/>
                </a:lnTo>
                <a:lnTo>
                  <a:pt x="1119" y="945"/>
                </a:lnTo>
                <a:lnTo>
                  <a:pt x="1120" y="949"/>
                </a:lnTo>
                <a:lnTo>
                  <a:pt x="1123" y="951"/>
                </a:lnTo>
                <a:lnTo>
                  <a:pt x="1125" y="954"/>
                </a:lnTo>
                <a:lnTo>
                  <a:pt x="1131" y="961"/>
                </a:lnTo>
                <a:lnTo>
                  <a:pt x="1138" y="967"/>
                </a:lnTo>
                <a:lnTo>
                  <a:pt x="1146" y="972"/>
                </a:lnTo>
                <a:lnTo>
                  <a:pt x="1154" y="977"/>
                </a:lnTo>
                <a:lnTo>
                  <a:pt x="1159" y="982"/>
                </a:lnTo>
                <a:lnTo>
                  <a:pt x="1163" y="987"/>
                </a:lnTo>
                <a:lnTo>
                  <a:pt x="1171" y="989"/>
                </a:lnTo>
                <a:lnTo>
                  <a:pt x="1179" y="992"/>
                </a:lnTo>
                <a:lnTo>
                  <a:pt x="1181" y="996"/>
                </a:lnTo>
                <a:lnTo>
                  <a:pt x="1185" y="998"/>
                </a:lnTo>
                <a:lnTo>
                  <a:pt x="1187" y="1000"/>
                </a:lnTo>
                <a:lnTo>
                  <a:pt x="1188" y="1002"/>
                </a:lnTo>
                <a:lnTo>
                  <a:pt x="1190" y="1005"/>
                </a:lnTo>
                <a:lnTo>
                  <a:pt x="1191" y="1009"/>
                </a:lnTo>
                <a:lnTo>
                  <a:pt x="1198" y="1011"/>
                </a:lnTo>
                <a:lnTo>
                  <a:pt x="1207" y="1015"/>
                </a:lnTo>
                <a:lnTo>
                  <a:pt x="1213" y="1020"/>
                </a:lnTo>
                <a:lnTo>
                  <a:pt x="1213" y="1030"/>
                </a:lnTo>
                <a:lnTo>
                  <a:pt x="1216" y="1031"/>
                </a:lnTo>
                <a:lnTo>
                  <a:pt x="1220" y="1032"/>
                </a:lnTo>
                <a:lnTo>
                  <a:pt x="1221" y="1035"/>
                </a:lnTo>
                <a:lnTo>
                  <a:pt x="1223" y="1036"/>
                </a:lnTo>
                <a:lnTo>
                  <a:pt x="1226" y="1040"/>
                </a:lnTo>
                <a:lnTo>
                  <a:pt x="1230" y="1041"/>
                </a:lnTo>
                <a:lnTo>
                  <a:pt x="1232" y="1058"/>
                </a:lnTo>
                <a:lnTo>
                  <a:pt x="1235" y="1075"/>
                </a:lnTo>
                <a:lnTo>
                  <a:pt x="1246" y="1080"/>
                </a:lnTo>
                <a:lnTo>
                  <a:pt x="1246" y="1085"/>
                </a:lnTo>
                <a:lnTo>
                  <a:pt x="1248" y="1089"/>
                </a:lnTo>
                <a:lnTo>
                  <a:pt x="1250" y="1095"/>
                </a:lnTo>
                <a:lnTo>
                  <a:pt x="1252" y="1099"/>
                </a:lnTo>
                <a:lnTo>
                  <a:pt x="1258" y="1108"/>
                </a:lnTo>
                <a:lnTo>
                  <a:pt x="1262" y="1114"/>
                </a:lnTo>
                <a:lnTo>
                  <a:pt x="1263" y="1125"/>
                </a:lnTo>
                <a:lnTo>
                  <a:pt x="1265" y="1138"/>
                </a:lnTo>
                <a:lnTo>
                  <a:pt x="1268" y="1154"/>
                </a:lnTo>
                <a:lnTo>
                  <a:pt x="1271" y="1170"/>
                </a:lnTo>
                <a:lnTo>
                  <a:pt x="1274" y="1186"/>
                </a:lnTo>
                <a:lnTo>
                  <a:pt x="1277" y="1202"/>
                </a:lnTo>
                <a:lnTo>
                  <a:pt x="1279" y="1217"/>
                </a:lnTo>
                <a:lnTo>
                  <a:pt x="1279" y="1230"/>
                </a:lnTo>
                <a:lnTo>
                  <a:pt x="1307" y="1230"/>
                </a:lnTo>
                <a:lnTo>
                  <a:pt x="1308" y="1227"/>
                </a:lnTo>
                <a:lnTo>
                  <a:pt x="1310" y="1226"/>
                </a:lnTo>
                <a:lnTo>
                  <a:pt x="1313" y="1224"/>
                </a:lnTo>
                <a:lnTo>
                  <a:pt x="1318" y="1224"/>
                </a:lnTo>
                <a:lnTo>
                  <a:pt x="1322" y="1215"/>
                </a:lnTo>
                <a:lnTo>
                  <a:pt x="1329" y="1207"/>
                </a:lnTo>
                <a:lnTo>
                  <a:pt x="1332" y="1203"/>
                </a:lnTo>
                <a:lnTo>
                  <a:pt x="1335" y="1200"/>
                </a:lnTo>
                <a:lnTo>
                  <a:pt x="1338" y="1198"/>
                </a:lnTo>
                <a:lnTo>
                  <a:pt x="1340" y="1197"/>
                </a:lnTo>
                <a:lnTo>
                  <a:pt x="1340" y="1185"/>
                </a:lnTo>
                <a:lnTo>
                  <a:pt x="1346" y="1180"/>
                </a:lnTo>
                <a:lnTo>
                  <a:pt x="1351" y="1174"/>
                </a:lnTo>
                <a:lnTo>
                  <a:pt x="1354" y="1173"/>
                </a:lnTo>
                <a:lnTo>
                  <a:pt x="1358" y="1170"/>
                </a:lnTo>
                <a:lnTo>
                  <a:pt x="1363" y="1165"/>
                </a:lnTo>
                <a:lnTo>
                  <a:pt x="1369" y="1159"/>
                </a:lnTo>
                <a:lnTo>
                  <a:pt x="1383" y="1141"/>
                </a:lnTo>
                <a:lnTo>
                  <a:pt x="1397" y="1121"/>
                </a:lnTo>
                <a:lnTo>
                  <a:pt x="1425" y="1082"/>
                </a:lnTo>
                <a:lnTo>
                  <a:pt x="1440" y="1058"/>
                </a:lnTo>
                <a:lnTo>
                  <a:pt x="1456" y="1058"/>
                </a:lnTo>
                <a:lnTo>
                  <a:pt x="1473" y="1056"/>
                </a:lnTo>
                <a:lnTo>
                  <a:pt x="1489" y="1054"/>
                </a:lnTo>
                <a:lnTo>
                  <a:pt x="1503" y="1050"/>
                </a:lnTo>
                <a:lnTo>
                  <a:pt x="1517" y="1046"/>
                </a:lnTo>
                <a:lnTo>
                  <a:pt x="1530" y="1040"/>
                </a:lnTo>
                <a:lnTo>
                  <a:pt x="1542" y="1035"/>
                </a:lnTo>
                <a:lnTo>
                  <a:pt x="1556" y="1028"/>
                </a:lnTo>
                <a:lnTo>
                  <a:pt x="1540" y="1025"/>
                </a:lnTo>
                <a:lnTo>
                  <a:pt x="1522" y="1021"/>
                </a:lnTo>
                <a:lnTo>
                  <a:pt x="1514" y="1021"/>
                </a:lnTo>
                <a:lnTo>
                  <a:pt x="1507" y="1022"/>
                </a:lnTo>
                <a:lnTo>
                  <a:pt x="1504" y="1024"/>
                </a:lnTo>
                <a:lnTo>
                  <a:pt x="1502" y="1026"/>
                </a:lnTo>
                <a:lnTo>
                  <a:pt x="1501" y="1028"/>
                </a:lnTo>
                <a:lnTo>
                  <a:pt x="1501" y="1030"/>
                </a:lnTo>
                <a:lnTo>
                  <a:pt x="1496" y="1031"/>
                </a:lnTo>
                <a:lnTo>
                  <a:pt x="1493" y="1031"/>
                </a:lnTo>
                <a:lnTo>
                  <a:pt x="1491" y="1034"/>
                </a:lnTo>
                <a:lnTo>
                  <a:pt x="1490" y="1036"/>
                </a:lnTo>
                <a:lnTo>
                  <a:pt x="1481" y="1036"/>
                </a:lnTo>
                <a:lnTo>
                  <a:pt x="1470" y="1036"/>
                </a:lnTo>
                <a:lnTo>
                  <a:pt x="1460" y="1036"/>
                </a:lnTo>
                <a:lnTo>
                  <a:pt x="1451" y="1036"/>
                </a:lnTo>
                <a:lnTo>
                  <a:pt x="1445" y="1025"/>
                </a:lnTo>
                <a:lnTo>
                  <a:pt x="1441" y="1025"/>
                </a:lnTo>
                <a:lnTo>
                  <a:pt x="1437" y="1021"/>
                </a:lnTo>
                <a:lnTo>
                  <a:pt x="1433" y="1018"/>
                </a:lnTo>
                <a:lnTo>
                  <a:pt x="1428" y="1012"/>
                </a:lnTo>
                <a:lnTo>
                  <a:pt x="1421" y="999"/>
                </a:lnTo>
                <a:lnTo>
                  <a:pt x="1414" y="983"/>
                </a:lnTo>
                <a:lnTo>
                  <a:pt x="1406" y="969"/>
                </a:lnTo>
                <a:lnTo>
                  <a:pt x="1400" y="955"/>
                </a:lnTo>
                <a:lnTo>
                  <a:pt x="1397" y="950"/>
                </a:lnTo>
                <a:lnTo>
                  <a:pt x="1395" y="945"/>
                </a:lnTo>
                <a:lnTo>
                  <a:pt x="1392" y="943"/>
                </a:lnTo>
                <a:lnTo>
                  <a:pt x="1390" y="942"/>
                </a:lnTo>
                <a:lnTo>
                  <a:pt x="1390" y="931"/>
                </a:lnTo>
                <a:lnTo>
                  <a:pt x="1385" y="929"/>
                </a:lnTo>
                <a:lnTo>
                  <a:pt x="1379" y="925"/>
                </a:lnTo>
                <a:lnTo>
                  <a:pt x="1379" y="914"/>
                </a:lnTo>
                <a:lnTo>
                  <a:pt x="1374" y="909"/>
                </a:lnTo>
                <a:lnTo>
                  <a:pt x="1369" y="907"/>
                </a:lnTo>
                <a:lnTo>
                  <a:pt x="1365" y="904"/>
                </a:lnTo>
                <a:lnTo>
                  <a:pt x="1361" y="900"/>
                </a:lnTo>
                <a:lnTo>
                  <a:pt x="1357" y="895"/>
                </a:lnTo>
                <a:lnTo>
                  <a:pt x="1350" y="885"/>
                </a:lnTo>
                <a:lnTo>
                  <a:pt x="1346" y="881"/>
                </a:lnTo>
                <a:lnTo>
                  <a:pt x="1344" y="876"/>
                </a:lnTo>
                <a:lnTo>
                  <a:pt x="1339" y="871"/>
                </a:lnTo>
                <a:lnTo>
                  <a:pt x="1334" y="866"/>
                </a:lnTo>
                <a:lnTo>
                  <a:pt x="1329" y="865"/>
                </a:lnTo>
                <a:lnTo>
                  <a:pt x="1329" y="858"/>
                </a:lnTo>
                <a:lnTo>
                  <a:pt x="1328" y="854"/>
                </a:lnTo>
                <a:lnTo>
                  <a:pt x="1327" y="853"/>
                </a:lnTo>
                <a:lnTo>
                  <a:pt x="1326" y="852"/>
                </a:lnTo>
                <a:lnTo>
                  <a:pt x="1326" y="853"/>
                </a:lnTo>
                <a:lnTo>
                  <a:pt x="1325" y="852"/>
                </a:lnTo>
                <a:lnTo>
                  <a:pt x="1323" y="851"/>
                </a:lnTo>
                <a:lnTo>
                  <a:pt x="1323" y="848"/>
                </a:lnTo>
                <a:lnTo>
                  <a:pt x="1312" y="843"/>
                </a:lnTo>
                <a:lnTo>
                  <a:pt x="1312" y="838"/>
                </a:lnTo>
                <a:lnTo>
                  <a:pt x="1311" y="835"/>
                </a:lnTo>
                <a:lnTo>
                  <a:pt x="1310" y="833"/>
                </a:lnTo>
                <a:lnTo>
                  <a:pt x="1307" y="832"/>
                </a:lnTo>
                <a:lnTo>
                  <a:pt x="1306" y="822"/>
                </a:lnTo>
                <a:lnTo>
                  <a:pt x="1304" y="810"/>
                </a:lnTo>
                <a:lnTo>
                  <a:pt x="1301" y="800"/>
                </a:lnTo>
                <a:lnTo>
                  <a:pt x="1299" y="790"/>
                </a:lnTo>
                <a:lnTo>
                  <a:pt x="1296" y="779"/>
                </a:lnTo>
                <a:lnTo>
                  <a:pt x="1293" y="769"/>
                </a:lnTo>
                <a:lnTo>
                  <a:pt x="1291" y="759"/>
                </a:lnTo>
                <a:lnTo>
                  <a:pt x="1290" y="748"/>
                </a:lnTo>
                <a:lnTo>
                  <a:pt x="1284" y="746"/>
                </a:lnTo>
                <a:lnTo>
                  <a:pt x="1279" y="742"/>
                </a:lnTo>
                <a:lnTo>
                  <a:pt x="1273" y="737"/>
                </a:lnTo>
                <a:lnTo>
                  <a:pt x="1268" y="731"/>
                </a:lnTo>
                <a:lnTo>
                  <a:pt x="1268" y="721"/>
                </a:lnTo>
                <a:lnTo>
                  <a:pt x="1262" y="715"/>
                </a:lnTo>
                <a:lnTo>
                  <a:pt x="1256" y="710"/>
                </a:lnTo>
                <a:lnTo>
                  <a:pt x="1246" y="710"/>
                </a:lnTo>
                <a:lnTo>
                  <a:pt x="1241" y="699"/>
                </a:lnTo>
                <a:lnTo>
                  <a:pt x="1235" y="693"/>
                </a:lnTo>
                <a:lnTo>
                  <a:pt x="1224" y="693"/>
                </a:lnTo>
                <a:lnTo>
                  <a:pt x="1223" y="689"/>
                </a:lnTo>
                <a:lnTo>
                  <a:pt x="1221" y="685"/>
                </a:lnTo>
                <a:lnTo>
                  <a:pt x="1216" y="683"/>
                </a:lnTo>
                <a:lnTo>
                  <a:pt x="1213" y="682"/>
                </a:lnTo>
                <a:lnTo>
                  <a:pt x="1210" y="676"/>
                </a:lnTo>
                <a:lnTo>
                  <a:pt x="1207" y="671"/>
                </a:lnTo>
                <a:lnTo>
                  <a:pt x="1194" y="665"/>
                </a:lnTo>
                <a:lnTo>
                  <a:pt x="1185" y="660"/>
                </a:lnTo>
                <a:lnTo>
                  <a:pt x="1187" y="657"/>
                </a:lnTo>
                <a:lnTo>
                  <a:pt x="1195" y="654"/>
                </a:lnTo>
                <a:lnTo>
                  <a:pt x="1204" y="651"/>
                </a:lnTo>
                <a:lnTo>
                  <a:pt x="1213" y="649"/>
                </a:lnTo>
                <a:lnTo>
                  <a:pt x="1214" y="644"/>
                </a:lnTo>
                <a:lnTo>
                  <a:pt x="1219" y="641"/>
                </a:lnTo>
                <a:lnTo>
                  <a:pt x="1222" y="638"/>
                </a:lnTo>
                <a:lnTo>
                  <a:pt x="1224" y="637"/>
                </a:lnTo>
                <a:lnTo>
                  <a:pt x="1224" y="633"/>
                </a:lnTo>
                <a:lnTo>
                  <a:pt x="1224" y="630"/>
                </a:lnTo>
                <a:lnTo>
                  <a:pt x="1226" y="627"/>
                </a:lnTo>
                <a:lnTo>
                  <a:pt x="1230" y="626"/>
                </a:lnTo>
                <a:lnTo>
                  <a:pt x="1230" y="618"/>
                </a:lnTo>
                <a:lnTo>
                  <a:pt x="1230" y="609"/>
                </a:lnTo>
                <a:lnTo>
                  <a:pt x="1296" y="609"/>
                </a:lnTo>
                <a:lnTo>
                  <a:pt x="1296" y="560"/>
                </a:lnTo>
                <a:lnTo>
                  <a:pt x="1301" y="551"/>
                </a:lnTo>
                <a:lnTo>
                  <a:pt x="1307" y="538"/>
                </a:lnTo>
                <a:lnTo>
                  <a:pt x="1318" y="538"/>
                </a:lnTo>
                <a:lnTo>
                  <a:pt x="1323" y="532"/>
                </a:lnTo>
                <a:lnTo>
                  <a:pt x="1329" y="527"/>
                </a:lnTo>
                <a:lnTo>
                  <a:pt x="1335" y="521"/>
                </a:lnTo>
                <a:lnTo>
                  <a:pt x="1340" y="516"/>
                </a:lnTo>
                <a:lnTo>
                  <a:pt x="1340" y="510"/>
                </a:lnTo>
                <a:lnTo>
                  <a:pt x="1340" y="502"/>
                </a:lnTo>
                <a:lnTo>
                  <a:pt x="1341" y="499"/>
                </a:lnTo>
                <a:lnTo>
                  <a:pt x="1342" y="497"/>
                </a:lnTo>
                <a:lnTo>
                  <a:pt x="1344" y="494"/>
                </a:lnTo>
                <a:lnTo>
                  <a:pt x="1346" y="493"/>
                </a:lnTo>
                <a:lnTo>
                  <a:pt x="1346" y="449"/>
                </a:lnTo>
                <a:lnTo>
                  <a:pt x="1335" y="443"/>
                </a:lnTo>
                <a:lnTo>
                  <a:pt x="1331" y="438"/>
                </a:lnTo>
                <a:lnTo>
                  <a:pt x="1329" y="433"/>
                </a:lnTo>
                <a:lnTo>
                  <a:pt x="1318" y="433"/>
                </a:lnTo>
                <a:lnTo>
                  <a:pt x="1313" y="429"/>
                </a:lnTo>
                <a:lnTo>
                  <a:pt x="1310" y="424"/>
                </a:lnTo>
                <a:lnTo>
                  <a:pt x="1308" y="420"/>
                </a:lnTo>
                <a:lnTo>
                  <a:pt x="1307" y="416"/>
                </a:lnTo>
                <a:lnTo>
                  <a:pt x="1296" y="411"/>
                </a:lnTo>
                <a:lnTo>
                  <a:pt x="1284" y="405"/>
                </a:lnTo>
                <a:lnTo>
                  <a:pt x="1283" y="401"/>
                </a:lnTo>
                <a:lnTo>
                  <a:pt x="1280" y="396"/>
                </a:lnTo>
                <a:lnTo>
                  <a:pt x="1275" y="392"/>
                </a:lnTo>
                <a:lnTo>
                  <a:pt x="1271" y="387"/>
                </a:lnTo>
                <a:lnTo>
                  <a:pt x="1265" y="383"/>
                </a:lnTo>
                <a:lnTo>
                  <a:pt x="1261" y="377"/>
                </a:lnTo>
                <a:lnTo>
                  <a:pt x="1258" y="372"/>
                </a:lnTo>
                <a:lnTo>
                  <a:pt x="1256" y="366"/>
                </a:lnTo>
                <a:lnTo>
                  <a:pt x="1246" y="359"/>
                </a:lnTo>
                <a:lnTo>
                  <a:pt x="1227" y="344"/>
                </a:lnTo>
                <a:lnTo>
                  <a:pt x="1210" y="328"/>
                </a:lnTo>
                <a:lnTo>
                  <a:pt x="1202" y="322"/>
                </a:lnTo>
                <a:lnTo>
                  <a:pt x="1185" y="310"/>
                </a:lnTo>
                <a:lnTo>
                  <a:pt x="1168" y="299"/>
                </a:lnTo>
                <a:lnTo>
                  <a:pt x="1167" y="292"/>
                </a:lnTo>
                <a:lnTo>
                  <a:pt x="1165" y="287"/>
                </a:lnTo>
                <a:lnTo>
                  <a:pt x="1162" y="281"/>
                </a:lnTo>
                <a:lnTo>
                  <a:pt x="1157" y="278"/>
                </a:lnTo>
                <a:lnTo>
                  <a:pt x="1157" y="267"/>
                </a:lnTo>
                <a:lnTo>
                  <a:pt x="1146" y="261"/>
                </a:lnTo>
                <a:lnTo>
                  <a:pt x="1146" y="250"/>
                </a:lnTo>
                <a:lnTo>
                  <a:pt x="1143" y="249"/>
                </a:lnTo>
                <a:lnTo>
                  <a:pt x="1142" y="247"/>
                </a:lnTo>
                <a:lnTo>
                  <a:pt x="1140" y="242"/>
                </a:lnTo>
                <a:lnTo>
                  <a:pt x="1140" y="239"/>
                </a:lnTo>
                <a:lnTo>
                  <a:pt x="1135" y="233"/>
                </a:lnTo>
                <a:lnTo>
                  <a:pt x="1129" y="228"/>
                </a:lnTo>
                <a:lnTo>
                  <a:pt x="1124" y="222"/>
                </a:lnTo>
                <a:lnTo>
                  <a:pt x="1118" y="217"/>
                </a:lnTo>
                <a:lnTo>
                  <a:pt x="1110" y="213"/>
                </a:lnTo>
                <a:lnTo>
                  <a:pt x="1101" y="211"/>
                </a:lnTo>
                <a:lnTo>
                  <a:pt x="1101" y="209"/>
                </a:lnTo>
                <a:lnTo>
                  <a:pt x="1099" y="207"/>
                </a:lnTo>
                <a:lnTo>
                  <a:pt x="1096" y="203"/>
                </a:lnTo>
                <a:lnTo>
                  <a:pt x="1092" y="201"/>
                </a:lnTo>
                <a:lnTo>
                  <a:pt x="1086" y="197"/>
                </a:lnTo>
                <a:lnTo>
                  <a:pt x="1080" y="194"/>
                </a:lnTo>
                <a:lnTo>
                  <a:pt x="1077" y="189"/>
                </a:lnTo>
                <a:lnTo>
                  <a:pt x="1075" y="183"/>
                </a:lnTo>
                <a:lnTo>
                  <a:pt x="1051" y="183"/>
                </a:lnTo>
                <a:lnTo>
                  <a:pt x="1029" y="184"/>
                </a:lnTo>
                <a:lnTo>
                  <a:pt x="1005" y="185"/>
                </a:lnTo>
                <a:lnTo>
                  <a:pt x="983" y="186"/>
                </a:lnTo>
                <a:lnTo>
                  <a:pt x="960" y="188"/>
                </a:lnTo>
                <a:lnTo>
                  <a:pt x="937" y="188"/>
                </a:lnTo>
                <a:lnTo>
                  <a:pt x="914" y="189"/>
                </a:lnTo>
                <a:lnTo>
                  <a:pt x="891" y="189"/>
                </a:lnTo>
                <a:lnTo>
                  <a:pt x="889" y="186"/>
                </a:lnTo>
                <a:lnTo>
                  <a:pt x="885" y="181"/>
                </a:lnTo>
                <a:lnTo>
                  <a:pt x="879" y="175"/>
                </a:lnTo>
                <a:lnTo>
                  <a:pt x="875" y="172"/>
                </a:lnTo>
                <a:lnTo>
                  <a:pt x="875" y="161"/>
                </a:lnTo>
                <a:lnTo>
                  <a:pt x="864" y="150"/>
                </a:lnTo>
                <a:lnTo>
                  <a:pt x="862" y="123"/>
                </a:lnTo>
                <a:lnTo>
                  <a:pt x="861" y="92"/>
                </a:lnTo>
                <a:lnTo>
                  <a:pt x="859" y="59"/>
                </a:lnTo>
                <a:lnTo>
                  <a:pt x="858" y="28"/>
                </a:lnTo>
                <a:lnTo>
                  <a:pt x="856" y="28"/>
                </a:lnTo>
                <a:lnTo>
                  <a:pt x="854" y="27"/>
                </a:lnTo>
                <a:lnTo>
                  <a:pt x="852" y="25"/>
                </a:lnTo>
                <a:lnTo>
                  <a:pt x="850" y="22"/>
                </a:lnTo>
                <a:lnTo>
                  <a:pt x="848" y="17"/>
                </a:lnTo>
                <a:lnTo>
                  <a:pt x="847" y="11"/>
                </a:lnTo>
                <a:lnTo>
                  <a:pt x="841" y="6"/>
                </a:lnTo>
                <a:lnTo>
                  <a:pt x="830" y="6"/>
                </a:lnTo>
                <a:lnTo>
                  <a:pt x="829" y="5"/>
                </a:lnTo>
                <a:lnTo>
                  <a:pt x="826" y="3"/>
                </a:lnTo>
                <a:lnTo>
                  <a:pt x="820" y="2"/>
                </a:lnTo>
                <a:lnTo>
                  <a:pt x="813" y="1"/>
                </a:lnTo>
                <a:lnTo>
                  <a:pt x="800" y="1"/>
                </a:lnTo>
                <a:lnTo>
                  <a:pt x="792" y="0"/>
                </a:lnTo>
                <a:lnTo>
                  <a:pt x="792" y="11"/>
                </a:lnTo>
                <a:lnTo>
                  <a:pt x="787" y="22"/>
                </a:lnTo>
                <a:lnTo>
                  <a:pt x="782" y="24"/>
                </a:lnTo>
                <a:lnTo>
                  <a:pt x="779" y="26"/>
                </a:lnTo>
                <a:lnTo>
                  <a:pt x="776" y="28"/>
                </a:lnTo>
                <a:lnTo>
                  <a:pt x="773" y="31"/>
                </a:lnTo>
                <a:lnTo>
                  <a:pt x="771" y="37"/>
                </a:lnTo>
                <a:lnTo>
                  <a:pt x="770" y="39"/>
                </a:lnTo>
                <a:lnTo>
                  <a:pt x="770" y="50"/>
                </a:lnTo>
                <a:lnTo>
                  <a:pt x="768" y="51"/>
                </a:lnTo>
                <a:lnTo>
                  <a:pt x="766" y="53"/>
                </a:lnTo>
                <a:lnTo>
                  <a:pt x="765" y="55"/>
                </a:lnTo>
                <a:lnTo>
                  <a:pt x="764" y="57"/>
                </a:lnTo>
                <a:lnTo>
                  <a:pt x="764" y="63"/>
                </a:lnTo>
                <a:lnTo>
                  <a:pt x="764" y="67"/>
                </a:lnTo>
                <a:lnTo>
                  <a:pt x="753" y="67"/>
                </a:lnTo>
                <a:lnTo>
                  <a:pt x="750" y="69"/>
                </a:lnTo>
                <a:lnTo>
                  <a:pt x="742" y="70"/>
                </a:lnTo>
                <a:lnTo>
                  <a:pt x="731" y="72"/>
                </a:lnTo>
                <a:lnTo>
                  <a:pt x="718" y="72"/>
                </a:lnTo>
                <a:lnTo>
                  <a:pt x="692" y="73"/>
                </a:lnTo>
                <a:lnTo>
                  <a:pt x="675" y="73"/>
                </a:lnTo>
                <a:lnTo>
                  <a:pt x="675" y="76"/>
                </a:lnTo>
                <a:lnTo>
                  <a:pt x="672" y="77"/>
                </a:lnTo>
                <a:lnTo>
                  <a:pt x="668" y="78"/>
                </a:lnTo>
                <a:lnTo>
                  <a:pt x="664" y="78"/>
                </a:lnTo>
                <a:lnTo>
                  <a:pt x="664" y="82"/>
                </a:lnTo>
                <a:lnTo>
                  <a:pt x="660" y="83"/>
                </a:lnTo>
                <a:lnTo>
                  <a:pt x="657" y="84"/>
                </a:lnTo>
                <a:lnTo>
                  <a:pt x="654" y="84"/>
                </a:lnTo>
                <a:lnTo>
                  <a:pt x="653" y="87"/>
                </a:lnTo>
                <a:lnTo>
                  <a:pt x="649" y="88"/>
                </a:lnTo>
                <a:lnTo>
                  <a:pt x="646" y="89"/>
                </a:lnTo>
                <a:lnTo>
                  <a:pt x="643" y="89"/>
                </a:lnTo>
                <a:lnTo>
                  <a:pt x="640" y="93"/>
                </a:lnTo>
                <a:lnTo>
                  <a:pt x="637" y="97"/>
                </a:lnTo>
                <a:lnTo>
                  <a:pt x="632" y="99"/>
                </a:lnTo>
                <a:lnTo>
                  <a:pt x="631" y="101"/>
                </a:lnTo>
                <a:lnTo>
                  <a:pt x="631" y="117"/>
                </a:lnTo>
                <a:lnTo>
                  <a:pt x="629" y="117"/>
                </a:lnTo>
                <a:lnTo>
                  <a:pt x="628" y="118"/>
                </a:lnTo>
                <a:lnTo>
                  <a:pt x="627" y="121"/>
                </a:lnTo>
                <a:lnTo>
                  <a:pt x="626" y="123"/>
                </a:lnTo>
                <a:lnTo>
                  <a:pt x="626" y="128"/>
                </a:lnTo>
                <a:lnTo>
                  <a:pt x="626" y="134"/>
                </a:lnTo>
                <a:lnTo>
                  <a:pt x="615" y="138"/>
                </a:lnTo>
                <a:lnTo>
                  <a:pt x="615" y="150"/>
                </a:lnTo>
                <a:lnTo>
                  <a:pt x="609" y="155"/>
                </a:lnTo>
                <a:lnTo>
                  <a:pt x="598" y="155"/>
                </a:lnTo>
                <a:lnTo>
                  <a:pt x="589" y="164"/>
                </a:lnTo>
                <a:lnTo>
                  <a:pt x="581" y="172"/>
                </a:lnTo>
                <a:lnTo>
                  <a:pt x="567" y="172"/>
                </a:lnTo>
                <a:lnTo>
                  <a:pt x="551" y="170"/>
                </a:lnTo>
                <a:lnTo>
                  <a:pt x="534" y="167"/>
                </a:lnTo>
                <a:lnTo>
                  <a:pt x="519" y="164"/>
                </a:lnTo>
                <a:lnTo>
                  <a:pt x="503" y="161"/>
                </a:lnTo>
                <a:lnTo>
                  <a:pt x="490" y="159"/>
                </a:lnTo>
                <a:lnTo>
                  <a:pt x="476" y="156"/>
                </a:lnTo>
                <a:lnTo>
                  <a:pt x="465" y="155"/>
                </a:lnTo>
                <a:lnTo>
                  <a:pt x="464" y="153"/>
                </a:lnTo>
                <a:lnTo>
                  <a:pt x="461" y="151"/>
                </a:lnTo>
                <a:lnTo>
                  <a:pt x="456" y="147"/>
                </a:lnTo>
                <a:lnTo>
                  <a:pt x="451" y="145"/>
                </a:lnTo>
                <a:lnTo>
                  <a:pt x="439" y="141"/>
                </a:lnTo>
                <a:lnTo>
                  <a:pt x="432" y="138"/>
                </a:lnTo>
                <a:lnTo>
                  <a:pt x="432" y="137"/>
                </a:lnTo>
                <a:lnTo>
                  <a:pt x="429" y="136"/>
                </a:lnTo>
                <a:lnTo>
                  <a:pt x="428" y="135"/>
                </a:lnTo>
                <a:lnTo>
                  <a:pt x="425" y="134"/>
                </a:lnTo>
                <a:lnTo>
                  <a:pt x="420" y="134"/>
                </a:lnTo>
                <a:lnTo>
                  <a:pt x="415" y="134"/>
                </a:lnTo>
                <a:lnTo>
                  <a:pt x="414" y="131"/>
                </a:lnTo>
                <a:lnTo>
                  <a:pt x="411" y="128"/>
                </a:lnTo>
                <a:lnTo>
                  <a:pt x="408" y="128"/>
                </a:lnTo>
                <a:lnTo>
                  <a:pt x="404" y="128"/>
                </a:lnTo>
                <a:lnTo>
                  <a:pt x="404" y="126"/>
                </a:lnTo>
                <a:lnTo>
                  <a:pt x="403" y="124"/>
                </a:lnTo>
                <a:lnTo>
                  <a:pt x="400" y="122"/>
                </a:lnTo>
                <a:lnTo>
                  <a:pt x="398" y="121"/>
                </a:lnTo>
                <a:lnTo>
                  <a:pt x="392" y="118"/>
                </a:lnTo>
                <a:lnTo>
                  <a:pt x="387" y="117"/>
                </a:lnTo>
                <a:lnTo>
                  <a:pt x="381" y="112"/>
                </a:lnTo>
                <a:lnTo>
                  <a:pt x="381" y="101"/>
                </a:lnTo>
                <a:lnTo>
                  <a:pt x="376" y="95"/>
                </a:lnTo>
                <a:lnTo>
                  <a:pt x="365" y="92"/>
                </a:lnTo>
                <a:lnTo>
                  <a:pt x="349" y="89"/>
                </a:lnTo>
                <a:lnTo>
                  <a:pt x="349" y="8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63" name="Freeform 24">
            <a:extLst>
              <a:ext uri="{FF2B5EF4-FFF2-40B4-BE49-F238E27FC236}">
                <a16:creationId xmlns:a16="http://schemas.microsoft.com/office/drawing/2014/main" id="{8CD4F9F8-5403-4AA6-8948-E7752EA5FE28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308850" y="3773488"/>
            <a:ext cx="283385" cy="196850"/>
          </a:xfrm>
          <a:custGeom>
            <a:avLst/>
            <a:gdLst/>
            <a:ahLst/>
            <a:cxnLst>
              <a:cxn ang="0">
                <a:pos x="302" y="115"/>
              </a:cxn>
              <a:cxn ang="0">
                <a:pos x="259" y="163"/>
              </a:cxn>
              <a:cxn ang="0">
                <a:pos x="215" y="189"/>
              </a:cxn>
              <a:cxn ang="0">
                <a:pos x="205" y="361"/>
              </a:cxn>
              <a:cxn ang="0">
                <a:pos x="205" y="527"/>
              </a:cxn>
              <a:cxn ang="0">
                <a:pos x="243" y="572"/>
              </a:cxn>
              <a:cxn ang="0">
                <a:pos x="241" y="724"/>
              </a:cxn>
              <a:cxn ang="0">
                <a:pos x="188" y="748"/>
              </a:cxn>
              <a:cxn ang="0">
                <a:pos x="116" y="791"/>
              </a:cxn>
              <a:cxn ang="0">
                <a:pos x="77" y="822"/>
              </a:cxn>
              <a:cxn ang="0">
                <a:pos x="55" y="848"/>
              </a:cxn>
              <a:cxn ang="0">
                <a:pos x="5" y="897"/>
              </a:cxn>
              <a:cxn ang="0">
                <a:pos x="137" y="935"/>
              </a:cxn>
              <a:cxn ang="0">
                <a:pos x="198" y="925"/>
              </a:cxn>
              <a:cxn ang="0">
                <a:pos x="304" y="954"/>
              </a:cxn>
              <a:cxn ang="0">
                <a:pos x="365" y="1009"/>
              </a:cxn>
              <a:cxn ang="0">
                <a:pos x="410" y="1055"/>
              </a:cxn>
              <a:cxn ang="0">
                <a:pos x="525" y="1053"/>
              </a:cxn>
              <a:cxn ang="0">
                <a:pos x="620" y="1080"/>
              </a:cxn>
              <a:cxn ang="0">
                <a:pos x="1069" y="1092"/>
              </a:cxn>
              <a:cxn ang="0">
                <a:pos x="1019" y="1064"/>
              </a:cxn>
              <a:cxn ang="0">
                <a:pos x="985" y="931"/>
              </a:cxn>
              <a:cxn ang="0">
                <a:pos x="1066" y="923"/>
              </a:cxn>
              <a:cxn ang="0">
                <a:pos x="1125" y="954"/>
              </a:cxn>
              <a:cxn ang="0">
                <a:pos x="1185" y="998"/>
              </a:cxn>
              <a:cxn ang="0">
                <a:pos x="1220" y="1032"/>
              </a:cxn>
              <a:cxn ang="0">
                <a:pos x="1250" y="1095"/>
              </a:cxn>
              <a:cxn ang="0">
                <a:pos x="1279" y="1217"/>
              </a:cxn>
              <a:cxn ang="0">
                <a:pos x="1335" y="1200"/>
              </a:cxn>
              <a:cxn ang="0">
                <a:pos x="1383" y="1141"/>
              </a:cxn>
              <a:cxn ang="0">
                <a:pos x="1542" y="1035"/>
              </a:cxn>
              <a:cxn ang="0">
                <a:pos x="1496" y="1031"/>
              </a:cxn>
              <a:cxn ang="0">
                <a:pos x="1437" y="1021"/>
              </a:cxn>
              <a:cxn ang="0">
                <a:pos x="1390" y="942"/>
              </a:cxn>
              <a:cxn ang="0">
                <a:pos x="1350" y="885"/>
              </a:cxn>
              <a:cxn ang="0">
                <a:pos x="1326" y="853"/>
              </a:cxn>
              <a:cxn ang="0">
                <a:pos x="1304" y="810"/>
              </a:cxn>
              <a:cxn ang="0">
                <a:pos x="1268" y="731"/>
              </a:cxn>
              <a:cxn ang="0">
                <a:pos x="1216" y="683"/>
              </a:cxn>
              <a:cxn ang="0">
                <a:pos x="1214" y="644"/>
              </a:cxn>
              <a:cxn ang="0">
                <a:pos x="1296" y="609"/>
              </a:cxn>
              <a:cxn ang="0">
                <a:pos x="1340" y="502"/>
              </a:cxn>
              <a:cxn ang="0">
                <a:pos x="1313" y="429"/>
              </a:cxn>
              <a:cxn ang="0">
                <a:pos x="1265" y="383"/>
              </a:cxn>
              <a:cxn ang="0">
                <a:pos x="1167" y="292"/>
              </a:cxn>
              <a:cxn ang="0">
                <a:pos x="1140" y="239"/>
              </a:cxn>
              <a:cxn ang="0">
                <a:pos x="1092" y="201"/>
              </a:cxn>
              <a:cxn ang="0">
                <a:pos x="937" y="188"/>
              </a:cxn>
              <a:cxn ang="0">
                <a:pos x="861" y="92"/>
              </a:cxn>
              <a:cxn ang="0">
                <a:pos x="830" y="6"/>
              </a:cxn>
              <a:cxn ang="0">
                <a:pos x="779" y="26"/>
              </a:cxn>
              <a:cxn ang="0">
                <a:pos x="764" y="63"/>
              </a:cxn>
              <a:cxn ang="0">
                <a:pos x="672" y="77"/>
              </a:cxn>
              <a:cxn ang="0">
                <a:pos x="643" y="89"/>
              </a:cxn>
              <a:cxn ang="0">
                <a:pos x="626" y="128"/>
              </a:cxn>
              <a:cxn ang="0">
                <a:pos x="534" y="167"/>
              </a:cxn>
              <a:cxn ang="0">
                <a:pos x="439" y="141"/>
              </a:cxn>
              <a:cxn ang="0">
                <a:pos x="408" y="128"/>
              </a:cxn>
              <a:cxn ang="0">
                <a:pos x="376" y="95"/>
              </a:cxn>
            </a:cxnLst>
            <a:rect l="0" t="0" r="r" b="b"/>
            <a:pathLst>
              <a:path w="1556" h="1230">
                <a:moveTo>
                  <a:pt x="349" y="84"/>
                </a:moveTo>
                <a:lnTo>
                  <a:pt x="343" y="86"/>
                </a:lnTo>
                <a:lnTo>
                  <a:pt x="338" y="89"/>
                </a:lnTo>
                <a:lnTo>
                  <a:pt x="331" y="95"/>
                </a:lnTo>
                <a:lnTo>
                  <a:pt x="327" y="101"/>
                </a:lnTo>
                <a:lnTo>
                  <a:pt x="315" y="101"/>
                </a:lnTo>
                <a:lnTo>
                  <a:pt x="312" y="106"/>
                </a:lnTo>
                <a:lnTo>
                  <a:pt x="310" y="112"/>
                </a:lnTo>
                <a:lnTo>
                  <a:pt x="305" y="113"/>
                </a:lnTo>
                <a:lnTo>
                  <a:pt x="302" y="115"/>
                </a:lnTo>
                <a:lnTo>
                  <a:pt x="300" y="118"/>
                </a:lnTo>
                <a:lnTo>
                  <a:pt x="299" y="123"/>
                </a:lnTo>
                <a:lnTo>
                  <a:pt x="288" y="128"/>
                </a:lnTo>
                <a:lnTo>
                  <a:pt x="288" y="138"/>
                </a:lnTo>
                <a:lnTo>
                  <a:pt x="282" y="142"/>
                </a:lnTo>
                <a:lnTo>
                  <a:pt x="276" y="144"/>
                </a:lnTo>
                <a:lnTo>
                  <a:pt x="276" y="155"/>
                </a:lnTo>
                <a:lnTo>
                  <a:pt x="271" y="161"/>
                </a:lnTo>
                <a:lnTo>
                  <a:pt x="260" y="161"/>
                </a:lnTo>
                <a:lnTo>
                  <a:pt x="259" y="163"/>
                </a:lnTo>
                <a:lnTo>
                  <a:pt x="255" y="165"/>
                </a:lnTo>
                <a:lnTo>
                  <a:pt x="251" y="167"/>
                </a:lnTo>
                <a:lnTo>
                  <a:pt x="245" y="169"/>
                </a:lnTo>
                <a:lnTo>
                  <a:pt x="234" y="171"/>
                </a:lnTo>
                <a:lnTo>
                  <a:pt x="226" y="172"/>
                </a:lnTo>
                <a:lnTo>
                  <a:pt x="221" y="178"/>
                </a:lnTo>
                <a:lnTo>
                  <a:pt x="221" y="182"/>
                </a:lnTo>
                <a:lnTo>
                  <a:pt x="221" y="185"/>
                </a:lnTo>
                <a:lnTo>
                  <a:pt x="218" y="188"/>
                </a:lnTo>
                <a:lnTo>
                  <a:pt x="215" y="189"/>
                </a:lnTo>
                <a:lnTo>
                  <a:pt x="215" y="224"/>
                </a:lnTo>
                <a:lnTo>
                  <a:pt x="213" y="263"/>
                </a:lnTo>
                <a:lnTo>
                  <a:pt x="211" y="303"/>
                </a:lnTo>
                <a:lnTo>
                  <a:pt x="211" y="338"/>
                </a:lnTo>
                <a:lnTo>
                  <a:pt x="208" y="339"/>
                </a:lnTo>
                <a:lnTo>
                  <a:pt x="207" y="342"/>
                </a:lnTo>
                <a:lnTo>
                  <a:pt x="206" y="344"/>
                </a:lnTo>
                <a:lnTo>
                  <a:pt x="205" y="347"/>
                </a:lnTo>
                <a:lnTo>
                  <a:pt x="205" y="355"/>
                </a:lnTo>
                <a:lnTo>
                  <a:pt x="205" y="361"/>
                </a:lnTo>
                <a:lnTo>
                  <a:pt x="203" y="361"/>
                </a:lnTo>
                <a:lnTo>
                  <a:pt x="200" y="363"/>
                </a:lnTo>
                <a:lnTo>
                  <a:pt x="199" y="365"/>
                </a:lnTo>
                <a:lnTo>
                  <a:pt x="198" y="367"/>
                </a:lnTo>
                <a:lnTo>
                  <a:pt x="196" y="375"/>
                </a:lnTo>
                <a:lnTo>
                  <a:pt x="195" y="386"/>
                </a:lnTo>
                <a:lnTo>
                  <a:pt x="195" y="412"/>
                </a:lnTo>
                <a:lnTo>
                  <a:pt x="196" y="442"/>
                </a:lnTo>
                <a:lnTo>
                  <a:pt x="202" y="499"/>
                </a:lnTo>
                <a:lnTo>
                  <a:pt x="205" y="527"/>
                </a:lnTo>
                <a:lnTo>
                  <a:pt x="211" y="529"/>
                </a:lnTo>
                <a:lnTo>
                  <a:pt x="215" y="532"/>
                </a:lnTo>
                <a:lnTo>
                  <a:pt x="218" y="544"/>
                </a:lnTo>
                <a:lnTo>
                  <a:pt x="221" y="555"/>
                </a:lnTo>
                <a:lnTo>
                  <a:pt x="225" y="557"/>
                </a:lnTo>
                <a:lnTo>
                  <a:pt x="231" y="563"/>
                </a:lnTo>
                <a:lnTo>
                  <a:pt x="233" y="566"/>
                </a:lnTo>
                <a:lnTo>
                  <a:pt x="236" y="568"/>
                </a:lnTo>
                <a:lnTo>
                  <a:pt x="240" y="570"/>
                </a:lnTo>
                <a:lnTo>
                  <a:pt x="243" y="572"/>
                </a:lnTo>
                <a:lnTo>
                  <a:pt x="246" y="597"/>
                </a:lnTo>
                <a:lnTo>
                  <a:pt x="252" y="631"/>
                </a:lnTo>
                <a:lnTo>
                  <a:pt x="254" y="649"/>
                </a:lnTo>
                <a:lnTo>
                  <a:pt x="257" y="666"/>
                </a:lnTo>
                <a:lnTo>
                  <a:pt x="260" y="683"/>
                </a:lnTo>
                <a:lnTo>
                  <a:pt x="260" y="699"/>
                </a:lnTo>
                <a:lnTo>
                  <a:pt x="254" y="708"/>
                </a:lnTo>
                <a:lnTo>
                  <a:pt x="248" y="721"/>
                </a:lnTo>
                <a:lnTo>
                  <a:pt x="245" y="721"/>
                </a:lnTo>
                <a:lnTo>
                  <a:pt x="241" y="724"/>
                </a:lnTo>
                <a:lnTo>
                  <a:pt x="238" y="728"/>
                </a:lnTo>
                <a:lnTo>
                  <a:pt x="237" y="731"/>
                </a:lnTo>
                <a:lnTo>
                  <a:pt x="232" y="737"/>
                </a:lnTo>
                <a:lnTo>
                  <a:pt x="221" y="737"/>
                </a:lnTo>
                <a:lnTo>
                  <a:pt x="219" y="741"/>
                </a:lnTo>
                <a:lnTo>
                  <a:pt x="216" y="743"/>
                </a:lnTo>
                <a:lnTo>
                  <a:pt x="212" y="746"/>
                </a:lnTo>
                <a:lnTo>
                  <a:pt x="206" y="747"/>
                </a:lnTo>
                <a:lnTo>
                  <a:pt x="195" y="748"/>
                </a:lnTo>
                <a:lnTo>
                  <a:pt x="188" y="748"/>
                </a:lnTo>
                <a:lnTo>
                  <a:pt x="180" y="752"/>
                </a:lnTo>
                <a:lnTo>
                  <a:pt x="163" y="762"/>
                </a:lnTo>
                <a:lnTo>
                  <a:pt x="144" y="771"/>
                </a:lnTo>
                <a:lnTo>
                  <a:pt x="132" y="776"/>
                </a:lnTo>
                <a:lnTo>
                  <a:pt x="127" y="781"/>
                </a:lnTo>
                <a:lnTo>
                  <a:pt x="127" y="784"/>
                </a:lnTo>
                <a:lnTo>
                  <a:pt x="125" y="786"/>
                </a:lnTo>
                <a:lnTo>
                  <a:pt x="123" y="788"/>
                </a:lnTo>
                <a:lnTo>
                  <a:pt x="121" y="789"/>
                </a:lnTo>
                <a:lnTo>
                  <a:pt x="116" y="791"/>
                </a:lnTo>
                <a:lnTo>
                  <a:pt x="110" y="792"/>
                </a:lnTo>
                <a:lnTo>
                  <a:pt x="108" y="797"/>
                </a:lnTo>
                <a:lnTo>
                  <a:pt x="104" y="800"/>
                </a:lnTo>
                <a:lnTo>
                  <a:pt x="100" y="805"/>
                </a:lnTo>
                <a:lnTo>
                  <a:pt x="96" y="808"/>
                </a:lnTo>
                <a:lnTo>
                  <a:pt x="91" y="810"/>
                </a:lnTo>
                <a:lnTo>
                  <a:pt x="87" y="813"/>
                </a:lnTo>
                <a:lnTo>
                  <a:pt x="81" y="814"/>
                </a:lnTo>
                <a:lnTo>
                  <a:pt x="77" y="815"/>
                </a:lnTo>
                <a:lnTo>
                  <a:pt x="77" y="822"/>
                </a:lnTo>
                <a:lnTo>
                  <a:pt x="77" y="825"/>
                </a:lnTo>
                <a:lnTo>
                  <a:pt x="75" y="827"/>
                </a:lnTo>
                <a:lnTo>
                  <a:pt x="74" y="827"/>
                </a:lnTo>
                <a:lnTo>
                  <a:pt x="73" y="827"/>
                </a:lnTo>
                <a:lnTo>
                  <a:pt x="72" y="827"/>
                </a:lnTo>
                <a:lnTo>
                  <a:pt x="72" y="828"/>
                </a:lnTo>
                <a:lnTo>
                  <a:pt x="71" y="832"/>
                </a:lnTo>
                <a:lnTo>
                  <a:pt x="63" y="834"/>
                </a:lnTo>
                <a:lnTo>
                  <a:pt x="55" y="837"/>
                </a:lnTo>
                <a:lnTo>
                  <a:pt x="55" y="848"/>
                </a:lnTo>
                <a:lnTo>
                  <a:pt x="51" y="849"/>
                </a:lnTo>
                <a:lnTo>
                  <a:pt x="48" y="852"/>
                </a:lnTo>
                <a:lnTo>
                  <a:pt x="45" y="855"/>
                </a:lnTo>
                <a:lnTo>
                  <a:pt x="44" y="859"/>
                </a:lnTo>
                <a:lnTo>
                  <a:pt x="40" y="859"/>
                </a:lnTo>
                <a:lnTo>
                  <a:pt x="36" y="863"/>
                </a:lnTo>
                <a:lnTo>
                  <a:pt x="34" y="866"/>
                </a:lnTo>
                <a:lnTo>
                  <a:pt x="33" y="871"/>
                </a:lnTo>
                <a:lnTo>
                  <a:pt x="19" y="884"/>
                </a:lnTo>
                <a:lnTo>
                  <a:pt x="5" y="897"/>
                </a:lnTo>
                <a:lnTo>
                  <a:pt x="0" y="903"/>
                </a:lnTo>
                <a:lnTo>
                  <a:pt x="0" y="917"/>
                </a:lnTo>
                <a:lnTo>
                  <a:pt x="0" y="931"/>
                </a:lnTo>
                <a:lnTo>
                  <a:pt x="11" y="936"/>
                </a:lnTo>
                <a:lnTo>
                  <a:pt x="13" y="942"/>
                </a:lnTo>
                <a:lnTo>
                  <a:pt x="16" y="948"/>
                </a:lnTo>
                <a:lnTo>
                  <a:pt x="116" y="948"/>
                </a:lnTo>
                <a:lnTo>
                  <a:pt x="127" y="936"/>
                </a:lnTo>
                <a:lnTo>
                  <a:pt x="132" y="936"/>
                </a:lnTo>
                <a:lnTo>
                  <a:pt x="137" y="935"/>
                </a:lnTo>
                <a:lnTo>
                  <a:pt x="140" y="935"/>
                </a:lnTo>
                <a:lnTo>
                  <a:pt x="141" y="934"/>
                </a:lnTo>
                <a:lnTo>
                  <a:pt x="144" y="933"/>
                </a:lnTo>
                <a:lnTo>
                  <a:pt x="144" y="931"/>
                </a:lnTo>
                <a:lnTo>
                  <a:pt x="177" y="931"/>
                </a:lnTo>
                <a:lnTo>
                  <a:pt x="178" y="930"/>
                </a:lnTo>
                <a:lnTo>
                  <a:pt x="180" y="928"/>
                </a:lnTo>
                <a:lnTo>
                  <a:pt x="184" y="926"/>
                </a:lnTo>
                <a:lnTo>
                  <a:pt x="188" y="926"/>
                </a:lnTo>
                <a:lnTo>
                  <a:pt x="198" y="925"/>
                </a:lnTo>
                <a:lnTo>
                  <a:pt x="205" y="925"/>
                </a:lnTo>
                <a:lnTo>
                  <a:pt x="217" y="926"/>
                </a:lnTo>
                <a:lnTo>
                  <a:pt x="232" y="929"/>
                </a:lnTo>
                <a:lnTo>
                  <a:pt x="246" y="930"/>
                </a:lnTo>
                <a:lnTo>
                  <a:pt x="260" y="931"/>
                </a:lnTo>
                <a:lnTo>
                  <a:pt x="271" y="942"/>
                </a:lnTo>
                <a:lnTo>
                  <a:pt x="286" y="945"/>
                </a:lnTo>
                <a:lnTo>
                  <a:pt x="299" y="948"/>
                </a:lnTo>
                <a:lnTo>
                  <a:pt x="300" y="951"/>
                </a:lnTo>
                <a:lnTo>
                  <a:pt x="304" y="954"/>
                </a:lnTo>
                <a:lnTo>
                  <a:pt x="307" y="955"/>
                </a:lnTo>
                <a:lnTo>
                  <a:pt x="308" y="958"/>
                </a:lnTo>
                <a:lnTo>
                  <a:pt x="309" y="961"/>
                </a:lnTo>
                <a:lnTo>
                  <a:pt x="310" y="964"/>
                </a:lnTo>
                <a:lnTo>
                  <a:pt x="318" y="968"/>
                </a:lnTo>
                <a:lnTo>
                  <a:pt x="329" y="976"/>
                </a:lnTo>
                <a:lnTo>
                  <a:pt x="341" y="983"/>
                </a:lnTo>
                <a:lnTo>
                  <a:pt x="349" y="987"/>
                </a:lnTo>
                <a:lnTo>
                  <a:pt x="357" y="998"/>
                </a:lnTo>
                <a:lnTo>
                  <a:pt x="365" y="1009"/>
                </a:lnTo>
                <a:lnTo>
                  <a:pt x="370" y="1012"/>
                </a:lnTo>
                <a:lnTo>
                  <a:pt x="377" y="1022"/>
                </a:lnTo>
                <a:lnTo>
                  <a:pt x="380" y="1028"/>
                </a:lnTo>
                <a:lnTo>
                  <a:pt x="385" y="1032"/>
                </a:lnTo>
                <a:lnTo>
                  <a:pt x="389" y="1035"/>
                </a:lnTo>
                <a:lnTo>
                  <a:pt x="392" y="1036"/>
                </a:lnTo>
                <a:lnTo>
                  <a:pt x="395" y="1040"/>
                </a:lnTo>
                <a:lnTo>
                  <a:pt x="398" y="1046"/>
                </a:lnTo>
                <a:lnTo>
                  <a:pt x="404" y="1050"/>
                </a:lnTo>
                <a:lnTo>
                  <a:pt x="410" y="1055"/>
                </a:lnTo>
                <a:lnTo>
                  <a:pt x="423" y="1064"/>
                </a:lnTo>
                <a:lnTo>
                  <a:pt x="432" y="1069"/>
                </a:lnTo>
                <a:lnTo>
                  <a:pt x="493" y="1069"/>
                </a:lnTo>
                <a:lnTo>
                  <a:pt x="493" y="1066"/>
                </a:lnTo>
                <a:lnTo>
                  <a:pt x="496" y="1065"/>
                </a:lnTo>
                <a:lnTo>
                  <a:pt x="500" y="1064"/>
                </a:lnTo>
                <a:lnTo>
                  <a:pt x="504" y="1064"/>
                </a:lnTo>
                <a:lnTo>
                  <a:pt x="506" y="1058"/>
                </a:lnTo>
                <a:lnTo>
                  <a:pt x="510" y="1053"/>
                </a:lnTo>
                <a:lnTo>
                  <a:pt x="525" y="1053"/>
                </a:lnTo>
                <a:lnTo>
                  <a:pt x="547" y="1053"/>
                </a:lnTo>
                <a:lnTo>
                  <a:pt x="557" y="1054"/>
                </a:lnTo>
                <a:lnTo>
                  <a:pt x="565" y="1055"/>
                </a:lnTo>
                <a:lnTo>
                  <a:pt x="569" y="1057"/>
                </a:lnTo>
                <a:lnTo>
                  <a:pt x="572" y="1059"/>
                </a:lnTo>
                <a:lnTo>
                  <a:pt x="574" y="1061"/>
                </a:lnTo>
                <a:lnTo>
                  <a:pt x="576" y="1064"/>
                </a:lnTo>
                <a:lnTo>
                  <a:pt x="589" y="1067"/>
                </a:lnTo>
                <a:lnTo>
                  <a:pt x="603" y="1069"/>
                </a:lnTo>
                <a:lnTo>
                  <a:pt x="620" y="1080"/>
                </a:lnTo>
                <a:lnTo>
                  <a:pt x="637" y="1092"/>
                </a:lnTo>
                <a:lnTo>
                  <a:pt x="687" y="1093"/>
                </a:lnTo>
                <a:lnTo>
                  <a:pt x="741" y="1094"/>
                </a:lnTo>
                <a:lnTo>
                  <a:pt x="795" y="1097"/>
                </a:lnTo>
                <a:lnTo>
                  <a:pt x="850" y="1099"/>
                </a:lnTo>
                <a:lnTo>
                  <a:pt x="906" y="1103"/>
                </a:lnTo>
                <a:lnTo>
                  <a:pt x="962" y="1106"/>
                </a:lnTo>
                <a:lnTo>
                  <a:pt x="1015" y="1107"/>
                </a:lnTo>
                <a:lnTo>
                  <a:pt x="1069" y="1108"/>
                </a:lnTo>
                <a:lnTo>
                  <a:pt x="1069" y="1092"/>
                </a:lnTo>
                <a:lnTo>
                  <a:pt x="1064" y="1090"/>
                </a:lnTo>
                <a:lnTo>
                  <a:pt x="1061" y="1086"/>
                </a:lnTo>
                <a:lnTo>
                  <a:pt x="1059" y="1083"/>
                </a:lnTo>
                <a:lnTo>
                  <a:pt x="1058" y="1080"/>
                </a:lnTo>
                <a:lnTo>
                  <a:pt x="1049" y="1078"/>
                </a:lnTo>
                <a:lnTo>
                  <a:pt x="1037" y="1075"/>
                </a:lnTo>
                <a:lnTo>
                  <a:pt x="1030" y="1072"/>
                </a:lnTo>
                <a:lnTo>
                  <a:pt x="1024" y="1069"/>
                </a:lnTo>
                <a:lnTo>
                  <a:pt x="1020" y="1066"/>
                </a:lnTo>
                <a:lnTo>
                  <a:pt x="1019" y="1064"/>
                </a:lnTo>
                <a:lnTo>
                  <a:pt x="1008" y="1064"/>
                </a:lnTo>
                <a:lnTo>
                  <a:pt x="1002" y="1058"/>
                </a:lnTo>
                <a:lnTo>
                  <a:pt x="996" y="1053"/>
                </a:lnTo>
                <a:lnTo>
                  <a:pt x="994" y="1046"/>
                </a:lnTo>
                <a:lnTo>
                  <a:pt x="987" y="1036"/>
                </a:lnTo>
                <a:lnTo>
                  <a:pt x="981" y="1027"/>
                </a:lnTo>
                <a:lnTo>
                  <a:pt x="974" y="1020"/>
                </a:lnTo>
                <a:lnTo>
                  <a:pt x="974" y="942"/>
                </a:lnTo>
                <a:lnTo>
                  <a:pt x="980" y="936"/>
                </a:lnTo>
                <a:lnTo>
                  <a:pt x="985" y="931"/>
                </a:lnTo>
                <a:lnTo>
                  <a:pt x="995" y="930"/>
                </a:lnTo>
                <a:lnTo>
                  <a:pt x="1009" y="929"/>
                </a:lnTo>
                <a:lnTo>
                  <a:pt x="1022" y="926"/>
                </a:lnTo>
                <a:lnTo>
                  <a:pt x="1035" y="925"/>
                </a:lnTo>
                <a:lnTo>
                  <a:pt x="1037" y="923"/>
                </a:lnTo>
                <a:lnTo>
                  <a:pt x="1038" y="921"/>
                </a:lnTo>
                <a:lnTo>
                  <a:pt x="1041" y="920"/>
                </a:lnTo>
                <a:lnTo>
                  <a:pt x="1044" y="920"/>
                </a:lnTo>
                <a:lnTo>
                  <a:pt x="1054" y="920"/>
                </a:lnTo>
                <a:lnTo>
                  <a:pt x="1066" y="923"/>
                </a:lnTo>
                <a:lnTo>
                  <a:pt x="1077" y="926"/>
                </a:lnTo>
                <a:lnTo>
                  <a:pt x="1087" y="930"/>
                </a:lnTo>
                <a:lnTo>
                  <a:pt x="1094" y="934"/>
                </a:lnTo>
                <a:lnTo>
                  <a:pt x="1097" y="936"/>
                </a:lnTo>
                <a:lnTo>
                  <a:pt x="1107" y="940"/>
                </a:lnTo>
                <a:lnTo>
                  <a:pt x="1118" y="942"/>
                </a:lnTo>
                <a:lnTo>
                  <a:pt x="1119" y="945"/>
                </a:lnTo>
                <a:lnTo>
                  <a:pt x="1120" y="949"/>
                </a:lnTo>
                <a:lnTo>
                  <a:pt x="1123" y="951"/>
                </a:lnTo>
                <a:lnTo>
                  <a:pt x="1125" y="954"/>
                </a:lnTo>
                <a:lnTo>
                  <a:pt x="1131" y="961"/>
                </a:lnTo>
                <a:lnTo>
                  <a:pt x="1138" y="967"/>
                </a:lnTo>
                <a:lnTo>
                  <a:pt x="1146" y="972"/>
                </a:lnTo>
                <a:lnTo>
                  <a:pt x="1154" y="977"/>
                </a:lnTo>
                <a:lnTo>
                  <a:pt x="1159" y="982"/>
                </a:lnTo>
                <a:lnTo>
                  <a:pt x="1163" y="987"/>
                </a:lnTo>
                <a:lnTo>
                  <a:pt x="1171" y="989"/>
                </a:lnTo>
                <a:lnTo>
                  <a:pt x="1179" y="992"/>
                </a:lnTo>
                <a:lnTo>
                  <a:pt x="1181" y="996"/>
                </a:lnTo>
                <a:lnTo>
                  <a:pt x="1185" y="998"/>
                </a:lnTo>
                <a:lnTo>
                  <a:pt x="1187" y="1000"/>
                </a:lnTo>
                <a:lnTo>
                  <a:pt x="1188" y="1002"/>
                </a:lnTo>
                <a:lnTo>
                  <a:pt x="1190" y="1005"/>
                </a:lnTo>
                <a:lnTo>
                  <a:pt x="1191" y="1009"/>
                </a:lnTo>
                <a:lnTo>
                  <a:pt x="1198" y="1011"/>
                </a:lnTo>
                <a:lnTo>
                  <a:pt x="1207" y="1015"/>
                </a:lnTo>
                <a:lnTo>
                  <a:pt x="1213" y="1020"/>
                </a:lnTo>
                <a:lnTo>
                  <a:pt x="1213" y="1030"/>
                </a:lnTo>
                <a:lnTo>
                  <a:pt x="1216" y="1031"/>
                </a:lnTo>
                <a:lnTo>
                  <a:pt x="1220" y="1032"/>
                </a:lnTo>
                <a:lnTo>
                  <a:pt x="1221" y="1035"/>
                </a:lnTo>
                <a:lnTo>
                  <a:pt x="1223" y="1036"/>
                </a:lnTo>
                <a:lnTo>
                  <a:pt x="1226" y="1040"/>
                </a:lnTo>
                <a:lnTo>
                  <a:pt x="1230" y="1041"/>
                </a:lnTo>
                <a:lnTo>
                  <a:pt x="1232" y="1058"/>
                </a:lnTo>
                <a:lnTo>
                  <a:pt x="1235" y="1075"/>
                </a:lnTo>
                <a:lnTo>
                  <a:pt x="1246" y="1080"/>
                </a:lnTo>
                <a:lnTo>
                  <a:pt x="1246" y="1085"/>
                </a:lnTo>
                <a:lnTo>
                  <a:pt x="1248" y="1089"/>
                </a:lnTo>
                <a:lnTo>
                  <a:pt x="1250" y="1095"/>
                </a:lnTo>
                <a:lnTo>
                  <a:pt x="1252" y="1099"/>
                </a:lnTo>
                <a:lnTo>
                  <a:pt x="1258" y="1108"/>
                </a:lnTo>
                <a:lnTo>
                  <a:pt x="1262" y="1114"/>
                </a:lnTo>
                <a:lnTo>
                  <a:pt x="1263" y="1125"/>
                </a:lnTo>
                <a:lnTo>
                  <a:pt x="1265" y="1138"/>
                </a:lnTo>
                <a:lnTo>
                  <a:pt x="1268" y="1154"/>
                </a:lnTo>
                <a:lnTo>
                  <a:pt x="1271" y="1170"/>
                </a:lnTo>
                <a:lnTo>
                  <a:pt x="1274" y="1186"/>
                </a:lnTo>
                <a:lnTo>
                  <a:pt x="1277" y="1202"/>
                </a:lnTo>
                <a:lnTo>
                  <a:pt x="1279" y="1217"/>
                </a:lnTo>
                <a:lnTo>
                  <a:pt x="1279" y="1230"/>
                </a:lnTo>
                <a:lnTo>
                  <a:pt x="1307" y="1230"/>
                </a:lnTo>
                <a:lnTo>
                  <a:pt x="1308" y="1227"/>
                </a:lnTo>
                <a:lnTo>
                  <a:pt x="1310" y="1226"/>
                </a:lnTo>
                <a:lnTo>
                  <a:pt x="1313" y="1224"/>
                </a:lnTo>
                <a:lnTo>
                  <a:pt x="1318" y="1224"/>
                </a:lnTo>
                <a:lnTo>
                  <a:pt x="1322" y="1215"/>
                </a:lnTo>
                <a:lnTo>
                  <a:pt x="1329" y="1207"/>
                </a:lnTo>
                <a:lnTo>
                  <a:pt x="1332" y="1203"/>
                </a:lnTo>
                <a:lnTo>
                  <a:pt x="1335" y="1200"/>
                </a:lnTo>
                <a:lnTo>
                  <a:pt x="1338" y="1198"/>
                </a:lnTo>
                <a:lnTo>
                  <a:pt x="1340" y="1197"/>
                </a:lnTo>
                <a:lnTo>
                  <a:pt x="1340" y="1185"/>
                </a:lnTo>
                <a:lnTo>
                  <a:pt x="1346" y="1180"/>
                </a:lnTo>
                <a:lnTo>
                  <a:pt x="1351" y="1174"/>
                </a:lnTo>
                <a:lnTo>
                  <a:pt x="1354" y="1173"/>
                </a:lnTo>
                <a:lnTo>
                  <a:pt x="1358" y="1170"/>
                </a:lnTo>
                <a:lnTo>
                  <a:pt x="1363" y="1165"/>
                </a:lnTo>
                <a:lnTo>
                  <a:pt x="1369" y="1159"/>
                </a:lnTo>
                <a:lnTo>
                  <a:pt x="1383" y="1141"/>
                </a:lnTo>
                <a:lnTo>
                  <a:pt x="1397" y="1121"/>
                </a:lnTo>
                <a:lnTo>
                  <a:pt x="1425" y="1082"/>
                </a:lnTo>
                <a:lnTo>
                  <a:pt x="1440" y="1058"/>
                </a:lnTo>
                <a:lnTo>
                  <a:pt x="1456" y="1058"/>
                </a:lnTo>
                <a:lnTo>
                  <a:pt x="1473" y="1056"/>
                </a:lnTo>
                <a:lnTo>
                  <a:pt x="1489" y="1054"/>
                </a:lnTo>
                <a:lnTo>
                  <a:pt x="1503" y="1050"/>
                </a:lnTo>
                <a:lnTo>
                  <a:pt x="1517" y="1046"/>
                </a:lnTo>
                <a:lnTo>
                  <a:pt x="1530" y="1040"/>
                </a:lnTo>
                <a:lnTo>
                  <a:pt x="1542" y="1035"/>
                </a:lnTo>
                <a:lnTo>
                  <a:pt x="1556" y="1028"/>
                </a:lnTo>
                <a:lnTo>
                  <a:pt x="1540" y="1025"/>
                </a:lnTo>
                <a:lnTo>
                  <a:pt x="1522" y="1021"/>
                </a:lnTo>
                <a:lnTo>
                  <a:pt x="1514" y="1021"/>
                </a:lnTo>
                <a:lnTo>
                  <a:pt x="1507" y="1022"/>
                </a:lnTo>
                <a:lnTo>
                  <a:pt x="1504" y="1024"/>
                </a:lnTo>
                <a:lnTo>
                  <a:pt x="1502" y="1026"/>
                </a:lnTo>
                <a:lnTo>
                  <a:pt x="1501" y="1028"/>
                </a:lnTo>
                <a:lnTo>
                  <a:pt x="1501" y="1030"/>
                </a:lnTo>
                <a:lnTo>
                  <a:pt x="1496" y="1031"/>
                </a:lnTo>
                <a:lnTo>
                  <a:pt x="1493" y="1031"/>
                </a:lnTo>
                <a:lnTo>
                  <a:pt x="1491" y="1034"/>
                </a:lnTo>
                <a:lnTo>
                  <a:pt x="1490" y="1036"/>
                </a:lnTo>
                <a:lnTo>
                  <a:pt x="1481" y="1036"/>
                </a:lnTo>
                <a:lnTo>
                  <a:pt x="1470" y="1036"/>
                </a:lnTo>
                <a:lnTo>
                  <a:pt x="1460" y="1036"/>
                </a:lnTo>
                <a:lnTo>
                  <a:pt x="1451" y="1036"/>
                </a:lnTo>
                <a:lnTo>
                  <a:pt x="1445" y="1025"/>
                </a:lnTo>
                <a:lnTo>
                  <a:pt x="1441" y="1025"/>
                </a:lnTo>
                <a:lnTo>
                  <a:pt x="1437" y="1021"/>
                </a:lnTo>
                <a:lnTo>
                  <a:pt x="1433" y="1018"/>
                </a:lnTo>
                <a:lnTo>
                  <a:pt x="1428" y="1012"/>
                </a:lnTo>
                <a:lnTo>
                  <a:pt x="1421" y="999"/>
                </a:lnTo>
                <a:lnTo>
                  <a:pt x="1414" y="983"/>
                </a:lnTo>
                <a:lnTo>
                  <a:pt x="1406" y="969"/>
                </a:lnTo>
                <a:lnTo>
                  <a:pt x="1400" y="955"/>
                </a:lnTo>
                <a:lnTo>
                  <a:pt x="1397" y="950"/>
                </a:lnTo>
                <a:lnTo>
                  <a:pt x="1395" y="945"/>
                </a:lnTo>
                <a:lnTo>
                  <a:pt x="1392" y="943"/>
                </a:lnTo>
                <a:lnTo>
                  <a:pt x="1390" y="942"/>
                </a:lnTo>
                <a:lnTo>
                  <a:pt x="1390" y="931"/>
                </a:lnTo>
                <a:lnTo>
                  <a:pt x="1385" y="929"/>
                </a:lnTo>
                <a:lnTo>
                  <a:pt x="1379" y="925"/>
                </a:lnTo>
                <a:lnTo>
                  <a:pt x="1379" y="914"/>
                </a:lnTo>
                <a:lnTo>
                  <a:pt x="1374" y="909"/>
                </a:lnTo>
                <a:lnTo>
                  <a:pt x="1369" y="907"/>
                </a:lnTo>
                <a:lnTo>
                  <a:pt x="1365" y="904"/>
                </a:lnTo>
                <a:lnTo>
                  <a:pt x="1361" y="900"/>
                </a:lnTo>
                <a:lnTo>
                  <a:pt x="1357" y="895"/>
                </a:lnTo>
                <a:lnTo>
                  <a:pt x="1350" y="885"/>
                </a:lnTo>
                <a:lnTo>
                  <a:pt x="1346" y="881"/>
                </a:lnTo>
                <a:lnTo>
                  <a:pt x="1344" y="876"/>
                </a:lnTo>
                <a:lnTo>
                  <a:pt x="1339" y="871"/>
                </a:lnTo>
                <a:lnTo>
                  <a:pt x="1334" y="866"/>
                </a:lnTo>
                <a:lnTo>
                  <a:pt x="1329" y="865"/>
                </a:lnTo>
                <a:lnTo>
                  <a:pt x="1329" y="858"/>
                </a:lnTo>
                <a:lnTo>
                  <a:pt x="1328" y="854"/>
                </a:lnTo>
                <a:lnTo>
                  <a:pt x="1327" y="853"/>
                </a:lnTo>
                <a:lnTo>
                  <a:pt x="1326" y="852"/>
                </a:lnTo>
                <a:lnTo>
                  <a:pt x="1326" y="853"/>
                </a:lnTo>
                <a:lnTo>
                  <a:pt x="1325" y="852"/>
                </a:lnTo>
                <a:lnTo>
                  <a:pt x="1323" y="851"/>
                </a:lnTo>
                <a:lnTo>
                  <a:pt x="1323" y="848"/>
                </a:lnTo>
                <a:lnTo>
                  <a:pt x="1312" y="843"/>
                </a:lnTo>
                <a:lnTo>
                  <a:pt x="1312" y="838"/>
                </a:lnTo>
                <a:lnTo>
                  <a:pt x="1311" y="835"/>
                </a:lnTo>
                <a:lnTo>
                  <a:pt x="1310" y="833"/>
                </a:lnTo>
                <a:lnTo>
                  <a:pt x="1307" y="832"/>
                </a:lnTo>
                <a:lnTo>
                  <a:pt x="1306" y="822"/>
                </a:lnTo>
                <a:lnTo>
                  <a:pt x="1304" y="810"/>
                </a:lnTo>
                <a:lnTo>
                  <a:pt x="1301" y="800"/>
                </a:lnTo>
                <a:lnTo>
                  <a:pt x="1299" y="790"/>
                </a:lnTo>
                <a:lnTo>
                  <a:pt x="1296" y="779"/>
                </a:lnTo>
                <a:lnTo>
                  <a:pt x="1293" y="769"/>
                </a:lnTo>
                <a:lnTo>
                  <a:pt x="1291" y="759"/>
                </a:lnTo>
                <a:lnTo>
                  <a:pt x="1290" y="748"/>
                </a:lnTo>
                <a:lnTo>
                  <a:pt x="1284" y="746"/>
                </a:lnTo>
                <a:lnTo>
                  <a:pt x="1279" y="742"/>
                </a:lnTo>
                <a:lnTo>
                  <a:pt x="1273" y="737"/>
                </a:lnTo>
                <a:lnTo>
                  <a:pt x="1268" y="731"/>
                </a:lnTo>
                <a:lnTo>
                  <a:pt x="1268" y="721"/>
                </a:lnTo>
                <a:lnTo>
                  <a:pt x="1262" y="715"/>
                </a:lnTo>
                <a:lnTo>
                  <a:pt x="1256" y="710"/>
                </a:lnTo>
                <a:lnTo>
                  <a:pt x="1246" y="710"/>
                </a:lnTo>
                <a:lnTo>
                  <a:pt x="1241" y="699"/>
                </a:lnTo>
                <a:lnTo>
                  <a:pt x="1235" y="693"/>
                </a:lnTo>
                <a:lnTo>
                  <a:pt x="1224" y="693"/>
                </a:lnTo>
                <a:lnTo>
                  <a:pt x="1223" y="689"/>
                </a:lnTo>
                <a:lnTo>
                  <a:pt x="1221" y="685"/>
                </a:lnTo>
                <a:lnTo>
                  <a:pt x="1216" y="683"/>
                </a:lnTo>
                <a:lnTo>
                  <a:pt x="1213" y="682"/>
                </a:lnTo>
                <a:lnTo>
                  <a:pt x="1210" y="676"/>
                </a:lnTo>
                <a:lnTo>
                  <a:pt x="1207" y="671"/>
                </a:lnTo>
                <a:lnTo>
                  <a:pt x="1194" y="665"/>
                </a:lnTo>
                <a:lnTo>
                  <a:pt x="1185" y="660"/>
                </a:lnTo>
                <a:lnTo>
                  <a:pt x="1187" y="657"/>
                </a:lnTo>
                <a:lnTo>
                  <a:pt x="1195" y="654"/>
                </a:lnTo>
                <a:lnTo>
                  <a:pt x="1204" y="651"/>
                </a:lnTo>
                <a:lnTo>
                  <a:pt x="1213" y="649"/>
                </a:lnTo>
                <a:lnTo>
                  <a:pt x="1214" y="644"/>
                </a:lnTo>
                <a:lnTo>
                  <a:pt x="1219" y="641"/>
                </a:lnTo>
                <a:lnTo>
                  <a:pt x="1222" y="638"/>
                </a:lnTo>
                <a:lnTo>
                  <a:pt x="1224" y="637"/>
                </a:lnTo>
                <a:lnTo>
                  <a:pt x="1224" y="633"/>
                </a:lnTo>
                <a:lnTo>
                  <a:pt x="1224" y="630"/>
                </a:lnTo>
                <a:lnTo>
                  <a:pt x="1226" y="627"/>
                </a:lnTo>
                <a:lnTo>
                  <a:pt x="1230" y="626"/>
                </a:lnTo>
                <a:lnTo>
                  <a:pt x="1230" y="618"/>
                </a:lnTo>
                <a:lnTo>
                  <a:pt x="1230" y="609"/>
                </a:lnTo>
                <a:lnTo>
                  <a:pt x="1296" y="609"/>
                </a:lnTo>
                <a:lnTo>
                  <a:pt x="1296" y="560"/>
                </a:lnTo>
                <a:lnTo>
                  <a:pt x="1301" y="551"/>
                </a:lnTo>
                <a:lnTo>
                  <a:pt x="1307" y="538"/>
                </a:lnTo>
                <a:lnTo>
                  <a:pt x="1318" y="538"/>
                </a:lnTo>
                <a:lnTo>
                  <a:pt x="1323" y="532"/>
                </a:lnTo>
                <a:lnTo>
                  <a:pt x="1329" y="527"/>
                </a:lnTo>
                <a:lnTo>
                  <a:pt x="1335" y="521"/>
                </a:lnTo>
                <a:lnTo>
                  <a:pt x="1340" y="516"/>
                </a:lnTo>
                <a:lnTo>
                  <a:pt x="1340" y="510"/>
                </a:lnTo>
                <a:lnTo>
                  <a:pt x="1340" y="502"/>
                </a:lnTo>
                <a:lnTo>
                  <a:pt x="1341" y="499"/>
                </a:lnTo>
                <a:lnTo>
                  <a:pt x="1342" y="497"/>
                </a:lnTo>
                <a:lnTo>
                  <a:pt x="1344" y="494"/>
                </a:lnTo>
                <a:lnTo>
                  <a:pt x="1346" y="493"/>
                </a:lnTo>
                <a:lnTo>
                  <a:pt x="1346" y="449"/>
                </a:lnTo>
                <a:lnTo>
                  <a:pt x="1335" y="443"/>
                </a:lnTo>
                <a:lnTo>
                  <a:pt x="1331" y="438"/>
                </a:lnTo>
                <a:lnTo>
                  <a:pt x="1329" y="433"/>
                </a:lnTo>
                <a:lnTo>
                  <a:pt x="1318" y="433"/>
                </a:lnTo>
                <a:lnTo>
                  <a:pt x="1313" y="429"/>
                </a:lnTo>
                <a:lnTo>
                  <a:pt x="1310" y="424"/>
                </a:lnTo>
                <a:lnTo>
                  <a:pt x="1308" y="420"/>
                </a:lnTo>
                <a:lnTo>
                  <a:pt x="1307" y="416"/>
                </a:lnTo>
                <a:lnTo>
                  <a:pt x="1296" y="411"/>
                </a:lnTo>
                <a:lnTo>
                  <a:pt x="1284" y="405"/>
                </a:lnTo>
                <a:lnTo>
                  <a:pt x="1283" y="401"/>
                </a:lnTo>
                <a:lnTo>
                  <a:pt x="1280" y="396"/>
                </a:lnTo>
                <a:lnTo>
                  <a:pt x="1275" y="392"/>
                </a:lnTo>
                <a:lnTo>
                  <a:pt x="1271" y="387"/>
                </a:lnTo>
                <a:lnTo>
                  <a:pt x="1265" y="383"/>
                </a:lnTo>
                <a:lnTo>
                  <a:pt x="1261" y="377"/>
                </a:lnTo>
                <a:lnTo>
                  <a:pt x="1258" y="372"/>
                </a:lnTo>
                <a:lnTo>
                  <a:pt x="1256" y="366"/>
                </a:lnTo>
                <a:lnTo>
                  <a:pt x="1246" y="359"/>
                </a:lnTo>
                <a:lnTo>
                  <a:pt x="1227" y="344"/>
                </a:lnTo>
                <a:lnTo>
                  <a:pt x="1210" y="328"/>
                </a:lnTo>
                <a:lnTo>
                  <a:pt x="1202" y="322"/>
                </a:lnTo>
                <a:lnTo>
                  <a:pt x="1185" y="310"/>
                </a:lnTo>
                <a:lnTo>
                  <a:pt x="1168" y="299"/>
                </a:lnTo>
                <a:lnTo>
                  <a:pt x="1167" y="292"/>
                </a:lnTo>
                <a:lnTo>
                  <a:pt x="1165" y="287"/>
                </a:lnTo>
                <a:lnTo>
                  <a:pt x="1162" y="281"/>
                </a:lnTo>
                <a:lnTo>
                  <a:pt x="1157" y="278"/>
                </a:lnTo>
                <a:lnTo>
                  <a:pt x="1157" y="267"/>
                </a:lnTo>
                <a:lnTo>
                  <a:pt x="1146" y="261"/>
                </a:lnTo>
                <a:lnTo>
                  <a:pt x="1146" y="250"/>
                </a:lnTo>
                <a:lnTo>
                  <a:pt x="1143" y="249"/>
                </a:lnTo>
                <a:lnTo>
                  <a:pt x="1142" y="247"/>
                </a:lnTo>
                <a:lnTo>
                  <a:pt x="1140" y="242"/>
                </a:lnTo>
                <a:lnTo>
                  <a:pt x="1140" y="239"/>
                </a:lnTo>
                <a:lnTo>
                  <a:pt x="1135" y="233"/>
                </a:lnTo>
                <a:lnTo>
                  <a:pt x="1129" y="228"/>
                </a:lnTo>
                <a:lnTo>
                  <a:pt x="1124" y="222"/>
                </a:lnTo>
                <a:lnTo>
                  <a:pt x="1118" y="217"/>
                </a:lnTo>
                <a:lnTo>
                  <a:pt x="1110" y="213"/>
                </a:lnTo>
                <a:lnTo>
                  <a:pt x="1101" y="211"/>
                </a:lnTo>
                <a:lnTo>
                  <a:pt x="1101" y="209"/>
                </a:lnTo>
                <a:lnTo>
                  <a:pt x="1099" y="207"/>
                </a:lnTo>
                <a:lnTo>
                  <a:pt x="1096" y="203"/>
                </a:lnTo>
                <a:lnTo>
                  <a:pt x="1092" y="201"/>
                </a:lnTo>
                <a:lnTo>
                  <a:pt x="1086" y="197"/>
                </a:lnTo>
                <a:lnTo>
                  <a:pt x="1080" y="194"/>
                </a:lnTo>
                <a:lnTo>
                  <a:pt x="1077" y="189"/>
                </a:lnTo>
                <a:lnTo>
                  <a:pt x="1075" y="183"/>
                </a:lnTo>
                <a:lnTo>
                  <a:pt x="1051" y="183"/>
                </a:lnTo>
                <a:lnTo>
                  <a:pt x="1029" y="184"/>
                </a:lnTo>
                <a:lnTo>
                  <a:pt x="1005" y="185"/>
                </a:lnTo>
                <a:lnTo>
                  <a:pt x="983" y="186"/>
                </a:lnTo>
                <a:lnTo>
                  <a:pt x="960" y="188"/>
                </a:lnTo>
                <a:lnTo>
                  <a:pt x="937" y="188"/>
                </a:lnTo>
                <a:lnTo>
                  <a:pt x="914" y="189"/>
                </a:lnTo>
                <a:lnTo>
                  <a:pt x="891" y="189"/>
                </a:lnTo>
                <a:lnTo>
                  <a:pt x="889" y="186"/>
                </a:lnTo>
                <a:lnTo>
                  <a:pt x="885" y="181"/>
                </a:lnTo>
                <a:lnTo>
                  <a:pt x="879" y="175"/>
                </a:lnTo>
                <a:lnTo>
                  <a:pt x="875" y="172"/>
                </a:lnTo>
                <a:lnTo>
                  <a:pt x="875" y="161"/>
                </a:lnTo>
                <a:lnTo>
                  <a:pt x="864" y="150"/>
                </a:lnTo>
                <a:lnTo>
                  <a:pt x="862" y="123"/>
                </a:lnTo>
                <a:lnTo>
                  <a:pt x="861" y="92"/>
                </a:lnTo>
                <a:lnTo>
                  <a:pt x="859" y="59"/>
                </a:lnTo>
                <a:lnTo>
                  <a:pt x="858" y="28"/>
                </a:lnTo>
                <a:lnTo>
                  <a:pt x="856" y="28"/>
                </a:lnTo>
                <a:lnTo>
                  <a:pt x="854" y="27"/>
                </a:lnTo>
                <a:lnTo>
                  <a:pt x="852" y="25"/>
                </a:lnTo>
                <a:lnTo>
                  <a:pt x="850" y="22"/>
                </a:lnTo>
                <a:lnTo>
                  <a:pt x="848" y="17"/>
                </a:lnTo>
                <a:lnTo>
                  <a:pt x="847" y="11"/>
                </a:lnTo>
                <a:lnTo>
                  <a:pt x="841" y="6"/>
                </a:lnTo>
                <a:lnTo>
                  <a:pt x="830" y="6"/>
                </a:lnTo>
                <a:lnTo>
                  <a:pt x="829" y="5"/>
                </a:lnTo>
                <a:lnTo>
                  <a:pt x="826" y="3"/>
                </a:lnTo>
                <a:lnTo>
                  <a:pt x="820" y="2"/>
                </a:lnTo>
                <a:lnTo>
                  <a:pt x="813" y="1"/>
                </a:lnTo>
                <a:lnTo>
                  <a:pt x="800" y="1"/>
                </a:lnTo>
                <a:lnTo>
                  <a:pt x="792" y="0"/>
                </a:lnTo>
                <a:lnTo>
                  <a:pt x="792" y="11"/>
                </a:lnTo>
                <a:lnTo>
                  <a:pt x="787" y="22"/>
                </a:lnTo>
                <a:lnTo>
                  <a:pt x="782" y="24"/>
                </a:lnTo>
                <a:lnTo>
                  <a:pt x="779" y="26"/>
                </a:lnTo>
                <a:lnTo>
                  <a:pt x="776" y="28"/>
                </a:lnTo>
                <a:lnTo>
                  <a:pt x="773" y="31"/>
                </a:lnTo>
                <a:lnTo>
                  <a:pt x="771" y="37"/>
                </a:lnTo>
                <a:lnTo>
                  <a:pt x="770" y="39"/>
                </a:lnTo>
                <a:lnTo>
                  <a:pt x="770" y="50"/>
                </a:lnTo>
                <a:lnTo>
                  <a:pt x="768" y="51"/>
                </a:lnTo>
                <a:lnTo>
                  <a:pt x="766" y="53"/>
                </a:lnTo>
                <a:lnTo>
                  <a:pt x="765" y="55"/>
                </a:lnTo>
                <a:lnTo>
                  <a:pt x="764" y="57"/>
                </a:lnTo>
                <a:lnTo>
                  <a:pt x="764" y="63"/>
                </a:lnTo>
                <a:lnTo>
                  <a:pt x="764" y="67"/>
                </a:lnTo>
                <a:lnTo>
                  <a:pt x="753" y="67"/>
                </a:lnTo>
                <a:lnTo>
                  <a:pt x="750" y="69"/>
                </a:lnTo>
                <a:lnTo>
                  <a:pt x="742" y="70"/>
                </a:lnTo>
                <a:lnTo>
                  <a:pt x="731" y="72"/>
                </a:lnTo>
                <a:lnTo>
                  <a:pt x="718" y="72"/>
                </a:lnTo>
                <a:lnTo>
                  <a:pt x="692" y="73"/>
                </a:lnTo>
                <a:lnTo>
                  <a:pt x="675" y="73"/>
                </a:lnTo>
                <a:lnTo>
                  <a:pt x="675" y="76"/>
                </a:lnTo>
                <a:lnTo>
                  <a:pt x="672" y="77"/>
                </a:lnTo>
                <a:lnTo>
                  <a:pt x="668" y="78"/>
                </a:lnTo>
                <a:lnTo>
                  <a:pt x="664" y="78"/>
                </a:lnTo>
                <a:lnTo>
                  <a:pt x="664" y="82"/>
                </a:lnTo>
                <a:lnTo>
                  <a:pt x="660" y="83"/>
                </a:lnTo>
                <a:lnTo>
                  <a:pt x="657" y="84"/>
                </a:lnTo>
                <a:lnTo>
                  <a:pt x="654" y="84"/>
                </a:lnTo>
                <a:lnTo>
                  <a:pt x="653" y="87"/>
                </a:lnTo>
                <a:lnTo>
                  <a:pt x="649" y="88"/>
                </a:lnTo>
                <a:lnTo>
                  <a:pt x="646" y="89"/>
                </a:lnTo>
                <a:lnTo>
                  <a:pt x="643" y="89"/>
                </a:lnTo>
                <a:lnTo>
                  <a:pt x="640" y="93"/>
                </a:lnTo>
                <a:lnTo>
                  <a:pt x="637" y="97"/>
                </a:lnTo>
                <a:lnTo>
                  <a:pt x="632" y="99"/>
                </a:lnTo>
                <a:lnTo>
                  <a:pt x="631" y="101"/>
                </a:lnTo>
                <a:lnTo>
                  <a:pt x="631" y="117"/>
                </a:lnTo>
                <a:lnTo>
                  <a:pt x="629" y="117"/>
                </a:lnTo>
                <a:lnTo>
                  <a:pt x="628" y="118"/>
                </a:lnTo>
                <a:lnTo>
                  <a:pt x="627" y="121"/>
                </a:lnTo>
                <a:lnTo>
                  <a:pt x="626" y="123"/>
                </a:lnTo>
                <a:lnTo>
                  <a:pt x="626" y="128"/>
                </a:lnTo>
                <a:lnTo>
                  <a:pt x="626" y="134"/>
                </a:lnTo>
                <a:lnTo>
                  <a:pt x="615" y="138"/>
                </a:lnTo>
                <a:lnTo>
                  <a:pt x="615" y="150"/>
                </a:lnTo>
                <a:lnTo>
                  <a:pt x="609" y="155"/>
                </a:lnTo>
                <a:lnTo>
                  <a:pt x="598" y="155"/>
                </a:lnTo>
                <a:lnTo>
                  <a:pt x="589" y="164"/>
                </a:lnTo>
                <a:lnTo>
                  <a:pt x="581" y="172"/>
                </a:lnTo>
                <a:lnTo>
                  <a:pt x="567" y="172"/>
                </a:lnTo>
                <a:lnTo>
                  <a:pt x="551" y="170"/>
                </a:lnTo>
                <a:lnTo>
                  <a:pt x="534" y="167"/>
                </a:lnTo>
                <a:lnTo>
                  <a:pt x="519" y="164"/>
                </a:lnTo>
                <a:lnTo>
                  <a:pt x="503" y="161"/>
                </a:lnTo>
                <a:lnTo>
                  <a:pt x="490" y="159"/>
                </a:lnTo>
                <a:lnTo>
                  <a:pt x="476" y="156"/>
                </a:lnTo>
                <a:lnTo>
                  <a:pt x="465" y="155"/>
                </a:lnTo>
                <a:lnTo>
                  <a:pt x="464" y="153"/>
                </a:lnTo>
                <a:lnTo>
                  <a:pt x="461" y="151"/>
                </a:lnTo>
                <a:lnTo>
                  <a:pt x="456" y="147"/>
                </a:lnTo>
                <a:lnTo>
                  <a:pt x="451" y="145"/>
                </a:lnTo>
                <a:lnTo>
                  <a:pt x="439" y="141"/>
                </a:lnTo>
                <a:lnTo>
                  <a:pt x="432" y="138"/>
                </a:lnTo>
                <a:lnTo>
                  <a:pt x="432" y="137"/>
                </a:lnTo>
                <a:lnTo>
                  <a:pt x="429" y="136"/>
                </a:lnTo>
                <a:lnTo>
                  <a:pt x="428" y="135"/>
                </a:lnTo>
                <a:lnTo>
                  <a:pt x="425" y="134"/>
                </a:lnTo>
                <a:lnTo>
                  <a:pt x="420" y="134"/>
                </a:lnTo>
                <a:lnTo>
                  <a:pt x="415" y="134"/>
                </a:lnTo>
                <a:lnTo>
                  <a:pt x="414" y="131"/>
                </a:lnTo>
                <a:lnTo>
                  <a:pt x="411" y="128"/>
                </a:lnTo>
                <a:lnTo>
                  <a:pt x="408" y="128"/>
                </a:lnTo>
                <a:lnTo>
                  <a:pt x="404" y="128"/>
                </a:lnTo>
                <a:lnTo>
                  <a:pt x="404" y="126"/>
                </a:lnTo>
                <a:lnTo>
                  <a:pt x="403" y="124"/>
                </a:lnTo>
                <a:lnTo>
                  <a:pt x="400" y="122"/>
                </a:lnTo>
                <a:lnTo>
                  <a:pt x="398" y="121"/>
                </a:lnTo>
                <a:lnTo>
                  <a:pt x="392" y="118"/>
                </a:lnTo>
                <a:lnTo>
                  <a:pt x="387" y="117"/>
                </a:lnTo>
                <a:lnTo>
                  <a:pt x="381" y="112"/>
                </a:lnTo>
                <a:lnTo>
                  <a:pt x="381" y="101"/>
                </a:lnTo>
                <a:lnTo>
                  <a:pt x="376" y="95"/>
                </a:lnTo>
                <a:lnTo>
                  <a:pt x="365" y="92"/>
                </a:lnTo>
                <a:lnTo>
                  <a:pt x="349" y="89"/>
                </a:lnTo>
                <a:lnTo>
                  <a:pt x="349" y="84"/>
                </a:lnTo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64" name="Freeform 25">
            <a:extLst>
              <a:ext uri="{FF2B5EF4-FFF2-40B4-BE49-F238E27FC236}">
                <a16:creationId xmlns:a16="http://schemas.microsoft.com/office/drawing/2014/main" id="{54F4D2EB-F6E7-4AC2-946D-B6CE381C37B5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313613" y="3598863"/>
            <a:ext cx="548629" cy="312738"/>
          </a:xfrm>
          <a:custGeom>
            <a:avLst/>
            <a:gdLst/>
            <a:ahLst/>
            <a:cxnLst>
              <a:cxn ang="0">
                <a:pos x="2941" y="1828"/>
              </a:cxn>
              <a:cxn ang="0">
                <a:pos x="2825" y="1778"/>
              </a:cxn>
              <a:cxn ang="0">
                <a:pos x="2753" y="1654"/>
              </a:cxn>
              <a:cxn ang="0">
                <a:pos x="2820" y="1585"/>
              </a:cxn>
              <a:cxn ang="0">
                <a:pos x="2699" y="1490"/>
              </a:cxn>
              <a:cxn ang="0">
                <a:pos x="2532" y="1462"/>
              </a:cxn>
              <a:cxn ang="0">
                <a:pos x="2444" y="1502"/>
              </a:cxn>
              <a:cxn ang="0">
                <a:pos x="2371" y="1363"/>
              </a:cxn>
              <a:cxn ang="0">
                <a:pos x="2218" y="1286"/>
              </a:cxn>
              <a:cxn ang="0">
                <a:pos x="1844" y="1192"/>
              </a:cxn>
              <a:cxn ang="0">
                <a:pos x="1762" y="1122"/>
              </a:cxn>
              <a:cxn ang="0">
                <a:pos x="1673" y="1047"/>
              </a:cxn>
              <a:cxn ang="0">
                <a:pos x="1656" y="948"/>
              </a:cxn>
              <a:cxn ang="0">
                <a:pos x="1914" y="870"/>
              </a:cxn>
              <a:cxn ang="0">
                <a:pos x="2072" y="810"/>
              </a:cxn>
              <a:cxn ang="0">
                <a:pos x="2182" y="731"/>
              </a:cxn>
              <a:cxn ang="0">
                <a:pos x="2210" y="621"/>
              </a:cxn>
              <a:cxn ang="0">
                <a:pos x="2139" y="688"/>
              </a:cxn>
              <a:cxn ang="0">
                <a:pos x="1961" y="704"/>
              </a:cxn>
              <a:cxn ang="0">
                <a:pos x="1852" y="669"/>
              </a:cxn>
              <a:cxn ang="0">
                <a:pos x="1746" y="622"/>
              </a:cxn>
              <a:cxn ang="0">
                <a:pos x="1578" y="569"/>
              </a:cxn>
              <a:cxn ang="0">
                <a:pos x="1440" y="537"/>
              </a:cxn>
              <a:cxn ang="0">
                <a:pos x="1296" y="560"/>
              </a:cxn>
              <a:cxn ang="0">
                <a:pos x="1252" y="471"/>
              </a:cxn>
              <a:cxn ang="0">
                <a:pos x="1210" y="394"/>
              </a:cxn>
              <a:cxn ang="0">
                <a:pos x="1166" y="256"/>
              </a:cxn>
              <a:cxn ang="0">
                <a:pos x="1092" y="127"/>
              </a:cxn>
              <a:cxn ang="0">
                <a:pos x="867" y="9"/>
              </a:cxn>
              <a:cxn ang="0">
                <a:pos x="731" y="17"/>
              </a:cxn>
              <a:cxn ang="0">
                <a:pos x="686" y="127"/>
              </a:cxn>
              <a:cxn ang="0">
                <a:pos x="612" y="281"/>
              </a:cxn>
              <a:cxn ang="0">
                <a:pos x="662" y="479"/>
              </a:cxn>
              <a:cxn ang="0">
                <a:pos x="486" y="533"/>
              </a:cxn>
              <a:cxn ang="0">
                <a:pos x="407" y="557"/>
              </a:cxn>
              <a:cxn ang="0">
                <a:pos x="39" y="593"/>
              </a:cxn>
              <a:cxn ang="0">
                <a:pos x="17" y="774"/>
              </a:cxn>
              <a:cxn ang="0">
                <a:pos x="101" y="899"/>
              </a:cxn>
              <a:cxn ang="0">
                <a:pos x="177" y="1114"/>
              </a:cxn>
              <a:cxn ang="0">
                <a:pos x="220" y="1182"/>
              </a:cxn>
              <a:cxn ang="0">
                <a:pos x="355" y="1252"/>
              </a:cxn>
              <a:cxn ang="0">
                <a:pos x="432" y="1297"/>
              </a:cxn>
              <a:cxn ang="0">
                <a:pos x="568" y="1333"/>
              </a:cxn>
              <a:cxn ang="0">
                <a:pos x="657" y="1256"/>
              </a:cxn>
              <a:cxn ang="0">
                <a:pos x="767" y="1232"/>
              </a:cxn>
              <a:cxn ang="0">
                <a:pos x="817" y="1164"/>
              </a:cxn>
              <a:cxn ang="0">
                <a:pos x="892" y="1324"/>
              </a:cxn>
              <a:cxn ang="0">
                <a:pos x="1113" y="1366"/>
              </a:cxn>
              <a:cxn ang="0">
                <a:pos x="1182" y="1450"/>
              </a:cxn>
              <a:cxn ang="0">
                <a:pos x="1324" y="1579"/>
              </a:cxn>
              <a:cxn ang="0">
                <a:pos x="1340" y="1695"/>
              </a:cxn>
              <a:cxn ang="0">
                <a:pos x="1529" y="1778"/>
              </a:cxn>
              <a:cxn ang="0">
                <a:pos x="1748" y="1779"/>
              </a:cxn>
              <a:cxn ang="0">
                <a:pos x="1817" y="1718"/>
              </a:cxn>
              <a:cxn ang="0">
                <a:pos x="1909" y="1697"/>
              </a:cxn>
              <a:cxn ang="0">
                <a:pos x="1995" y="1748"/>
              </a:cxn>
              <a:cxn ang="0">
                <a:pos x="2059" y="1813"/>
              </a:cxn>
              <a:cxn ang="0">
                <a:pos x="2372" y="1836"/>
              </a:cxn>
              <a:cxn ang="0">
                <a:pos x="2642" y="1928"/>
              </a:cxn>
              <a:cxn ang="0">
                <a:pos x="2807" y="1925"/>
              </a:cxn>
              <a:cxn ang="0">
                <a:pos x="3010" y="1886"/>
              </a:cxn>
            </a:cxnLst>
            <a:rect l="0" t="0" r="r" b="b"/>
            <a:pathLst>
              <a:path w="3010" h="1952">
                <a:moveTo>
                  <a:pt x="3010" y="1886"/>
                </a:moveTo>
                <a:lnTo>
                  <a:pt x="3004" y="1880"/>
                </a:lnTo>
                <a:lnTo>
                  <a:pt x="2998" y="1873"/>
                </a:lnTo>
                <a:lnTo>
                  <a:pt x="2995" y="1871"/>
                </a:lnTo>
                <a:lnTo>
                  <a:pt x="2991" y="1868"/>
                </a:lnTo>
                <a:lnTo>
                  <a:pt x="2989" y="1867"/>
                </a:lnTo>
                <a:lnTo>
                  <a:pt x="2986" y="1867"/>
                </a:lnTo>
                <a:lnTo>
                  <a:pt x="2985" y="1863"/>
                </a:lnTo>
                <a:lnTo>
                  <a:pt x="2984" y="1861"/>
                </a:lnTo>
                <a:lnTo>
                  <a:pt x="2983" y="1858"/>
                </a:lnTo>
                <a:lnTo>
                  <a:pt x="2980" y="1856"/>
                </a:lnTo>
                <a:lnTo>
                  <a:pt x="2976" y="1854"/>
                </a:lnTo>
                <a:lnTo>
                  <a:pt x="2975" y="1851"/>
                </a:lnTo>
                <a:lnTo>
                  <a:pt x="2964" y="1847"/>
                </a:lnTo>
                <a:lnTo>
                  <a:pt x="2952" y="1845"/>
                </a:lnTo>
                <a:lnTo>
                  <a:pt x="2947" y="1839"/>
                </a:lnTo>
                <a:lnTo>
                  <a:pt x="2945" y="1834"/>
                </a:lnTo>
                <a:lnTo>
                  <a:pt x="2941" y="1828"/>
                </a:lnTo>
                <a:lnTo>
                  <a:pt x="2928" y="1827"/>
                </a:lnTo>
                <a:lnTo>
                  <a:pt x="2913" y="1825"/>
                </a:lnTo>
                <a:lnTo>
                  <a:pt x="2899" y="1824"/>
                </a:lnTo>
                <a:lnTo>
                  <a:pt x="2885" y="1823"/>
                </a:lnTo>
                <a:lnTo>
                  <a:pt x="2885" y="1819"/>
                </a:lnTo>
                <a:lnTo>
                  <a:pt x="2882" y="1818"/>
                </a:lnTo>
                <a:lnTo>
                  <a:pt x="2879" y="1817"/>
                </a:lnTo>
                <a:lnTo>
                  <a:pt x="2875" y="1817"/>
                </a:lnTo>
                <a:lnTo>
                  <a:pt x="2866" y="1809"/>
                </a:lnTo>
                <a:lnTo>
                  <a:pt x="2859" y="1800"/>
                </a:lnTo>
                <a:lnTo>
                  <a:pt x="2847" y="1800"/>
                </a:lnTo>
                <a:lnTo>
                  <a:pt x="2846" y="1797"/>
                </a:lnTo>
                <a:lnTo>
                  <a:pt x="2844" y="1796"/>
                </a:lnTo>
                <a:lnTo>
                  <a:pt x="2840" y="1795"/>
                </a:lnTo>
                <a:lnTo>
                  <a:pt x="2836" y="1795"/>
                </a:lnTo>
                <a:lnTo>
                  <a:pt x="2831" y="1789"/>
                </a:lnTo>
                <a:lnTo>
                  <a:pt x="2827" y="1784"/>
                </a:lnTo>
                <a:lnTo>
                  <a:pt x="2825" y="1778"/>
                </a:lnTo>
                <a:lnTo>
                  <a:pt x="2814" y="1778"/>
                </a:lnTo>
                <a:lnTo>
                  <a:pt x="2808" y="1772"/>
                </a:lnTo>
                <a:lnTo>
                  <a:pt x="2806" y="1767"/>
                </a:lnTo>
                <a:lnTo>
                  <a:pt x="2801" y="1760"/>
                </a:lnTo>
                <a:lnTo>
                  <a:pt x="2794" y="1753"/>
                </a:lnTo>
                <a:lnTo>
                  <a:pt x="2792" y="1750"/>
                </a:lnTo>
                <a:lnTo>
                  <a:pt x="2792" y="1735"/>
                </a:lnTo>
                <a:lnTo>
                  <a:pt x="2797" y="1731"/>
                </a:lnTo>
                <a:lnTo>
                  <a:pt x="2803" y="1729"/>
                </a:lnTo>
                <a:lnTo>
                  <a:pt x="2803" y="1695"/>
                </a:lnTo>
                <a:lnTo>
                  <a:pt x="2792" y="1690"/>
                </a:lnTo>
                <a:lnTo>
                  <a:pt x="2789" y="1684"/>
                </a:lnTo>
                <a:lnTo>
                  <a:pt x="2786" y="1679"/>
                </a:lnTo>
                <a:lnTo>
                  <a:pt x="2769" y="1679"/>
                </a:lnTo>
                <a:lnTo>
                  <a:pt x="2764" y="1673"/>
                </a:lnTo>
                <a:lnTo>
                  <a:pt x="2758" y="1668"/>
                </a:lnTo>
                <a:lnTo>
                  <a:pt x="2753" y="1662"/>
                </a:lnTo>
                <a:lnTo>
                  <a:pt x="2753" y="1654"/>
                </a:lnTo>
                <a:lnTo>
                  <a:pt x="2753" y="1645"/>
                </a:lnTo>
                <a:lnTo>
                  <a:pt x="2758" y="1640"/>
                </a:lnTo>
                <a:lnTo>
                  <a:pt x="2767" y="1637"/>
                </a:lnTo>
                <a:lnTo>
                  <a:pt x="2775" y="1634"/>
                </a:lnTo>
                <a:lnTo>
                  <a:pt x="2778" y="1628"/>
                </a:lnTo>
                <a:lnTo>
                  <a:pt x="2781" y="1623"/>
                </a:lnTo>
                <a:lnTo>
                  <a:pt x="2785" y="1622"/>
                </a:lnTo>
                <a:lnTo>
                  <a:pt x="2788" y="1620"/>
                </a:lnTo>
                <a:lnTo>
                  <a:pt x="2791" y="1616"/>
                </a:lnTo>
                <a:lnTo>
                  <a:pt x="2792" y="1612"/>
                </a:lnTo>
                <a:lnTo>
                  <a:pt x="2803" y="1612"/>
                </a:lnTo>
                <a:lnTo>
                  <a:pt x="2803" y="1601"/>
                </a:lnTo>
                <a:lnTo>
                  <a:pt x="2806" y="1601"/>
                </a:lnTo>
                <a:lnTo>
                  <a:pt x="2807" y="1597"/>
                </a:lnTo>
                <a:lnTo>
                  <a:pt x="2808" y="1594"/>
                </a:lnTo>
                <a:lnTo>
                  <a:pt x="2808" y="1591"/>
                </a:lnTo>
                <a:lnTo>
                  <a:pt x="2814" y="1587"/>
                </a:lnTo>
                <a:lnTo>
                  <a:pt x="2820" y="1585"/>
                </a:lnTo>
                <a:lnTo>
                  <a:pt x="2820" y="1574"/>
                </a:lnTo>
                <a:lnTo>
                  <a:pt x="2824" y="1573"/>
                </a:lnTo>
                <a:lnTo>
                  <a:pt x="2827" y="1570"/>
                </a:lnTo>
                <a:lnTo>
                  <a:pt x="2830" y="1566"/>
                </a:lnTo>
                <a:lnTo>
                  <a:pt x="2831" y="1563"/>
                </a:lnTo>
                <a:lnTo>
                  <a:pt x="2836" y="1557"/>
                </a:lnTo>
                <a:lnTo>
                  <a:pt x="2847" y="1557"/>
                </a:lnTo>
                <a:lnTo>
                  <a:pt x="2853" y="1551"/>
                </a:lnTo>
                <a:lnTo>
                  <a:pt x="2859" y="1546"/>
                </a:lnTo>
                <a:lnTo>
                  <a:pt x="2853" y="1540"/>
                </a:lnTo>
                <a:lnTo>
                  <a:pt x="2847" y="1529"/>
                </a:lnTo>
                <a:lnTo>
                  <a:pt x="2836" y="1529"/>
                </a:lnTo>
                <a:lnTo>
                  <a:pt x="2820" y="1518"/>
                </a:lnTo>
                <a:lnTo>
                  <a:pt x="2803" y="1507"/>
                </a:lnTo>
                <a:lnTo>
                  <a:pt x="2731" y="1507"/>
                </a:lnTo>
                <a:lnTo>
                  <a:pt x="2717" y="1499"/>
                </a:lnTo>
                <a:lnTo>
                  <a:pt x="2703" y="1490"/>
                </a:lnTo>
                <a:lnTo>
                  <a:pt x="2699" y="1490"/>
                </a:lnTo>
                <a:lnTo>
                  <a:pt x="2693" y="1488"/>
                </a:lnTo>
                <a:lnTo>
                  <a:pt x="2688" y="1485"/>
                </a:lnTo>
                <a:lnTo>
                  <a:pt x="2682" y="1481"/>
                </a:lnTo>
                <a:lnTo>
                  <a:pt x="2678" y="1477"/>
                </a:lnTo>
                <a:lnTo>
                  <a:pt x="2673" y="1471"/>
                </a:lnTo>
                <a:lnTo>
                  <a:pt x="2671" y="1467"/>
                </a:lnTo>
                <a:lnTo>
                  <a:pt x="2670" y="1462"/>
                </a:lnTo>
                <a:lnTo>
                  <a:pt x="2659" y="1462"/>
                </a:lnTo>
                <a:lnTo>
                  <a:pt x="2654" y="1461"/>
                </a:lnTo>
                <a:lnTo>
                  <a:pt x="2642" y="1460"/>
                </a:lnTo>
                <a:lnTo>
                  <a:pt x="2625" y="1459"/>
                </a:lnTo>
                <a:lnTo>
                  <a:pt x="2605" y="1458"/>
                </a:lnTo>
                <a:lnTo>
                  <a:pt x="2565" y="1458"/>
                </a:lnTo>
                <a:lnTo>
                  <a:pt x="2543" y="1457"/>
                </a:lnTo>
                <a:lnTo>
                  <a:pt x="2542" y="1460"/>
                </a:lnTo>
                <a:lnTo>
                  <a:pt x="2539" y="1462"/>
                </a:lnTo>
                <a:lnTo>
                  <a:pt x="2536" y="1462"/>
                </a:lnTo>
                <a:lnTo>
                  <a:pt x="2532" y="1462"/>
                </a:lnTo>
                <a:lnTo>
                  <a:pt x="2526" y="1468"/>
                </a:lnTo>
                <a:lnTo>
                  <a:pt x="2526" y="1479"/>
                </a:lnTo>
                <a:lnTo>
                  <a:pt x="2524" y="1480"/>
                </a:lnTo>
                <a:lnTo>
                  <a:pt x="2523" y="1482"/>
                </a:lnTo>
                <a:lnTo>
                  <a:pt x="2522" y="1487"/>
                </a:lnTo>
                <a:lnTo>
                  <a:pt x="2522" y="1491"/>
                </a:lnTo>
                <a:lnTo>
                  <a:pt x="2520" y="1500"/>
                </a:lnTo>
                <a:lnTo>
                  <a:pt x="2520" y="1507"/>
                </a:lnTo>
                <a:lnTo>
                  <a:pt x="2515" y="1512"/>
                </a:lnTo>
                <a:lnTo>
                  <a:pt x="2509" y="1518"/>
                </a:lnTo>
                <a:lnTo>
                  <a:pt x="2496" y="1517"/>
                </a:lnTo>
                <a:lnTo>
                  <a:pt x="2481" y="1516"/>
                </a:lnTo>
                <a:lnTo>
                  <a:pt x="2467" y="1514"/>
                </a:lnTo>
                <a:lnTo>
                  <a:pt x="2453" y="1512"/>
                </a:lnTo>
                <a:lnTo>
                  <a:pt x="2452" y="1509"/>
                </a:lnTo>
                <a:lnTo>
                  <a:pt x="2448" y="1506"/>
                </a:lnTo>
                <a:lnTo>
                  <a:pt x="2447" y="1505"/>
                </a:lnTo>
                <a:lnTo>
                  <a:pt x="2444" y="1502"/>
                </a:lnTo>
                <a:lnTo>
                  <a:pt x="2443" y="1499"/>
                </a:lnTo>
                <a:lnTo>
                  <a:pt x="2442" y="1496"/>
                </a:lnTo>
                <a:lnTo>
                  <a:pt x="2439" y="1495"/>
                </a:lnTo>
                <a:lnTo>
                  <a:pt x="2436" y="1492"/>
                </a:lnTo>
                <a:lnTo>
                  <a:pt x="2432" y="1489"/>
                </a:lnTo>
                <a:lnTo>
                  <a:pt x="2432" y="1485"/>
                </a:lnTo>
                <a:lnTo>
                  <a:pt x="2421" y="1485"/>
                </a:lnTo>
                <a:lnTo>
                  <a:pt x="2419" y="1469"/>
                </a:lnTo>
                <a:lnTo>
                  <a:pt x="2415" y="1448"/>
                </a:lnTo>
                <a:lnTo>
                  <a:pt x="2411" y="1424"/>
                </a:lnTo>
                <a:lnTo>
                  <a:pt x="2410" y="1402"/>
                </a:lnTo>
                <a:lnTo>
                  <a:pt x="2404" y="1396"/>
                </a:lnTo>
                <a:lnTo>
                  <a:pt x="2399" y="1393"/>
                </a:lnTo>
                <a:lnTo>
                  <a:pt x="2393" y="1391"/>
                </a:lnTo>
                <a:lnTo>
                  <a:pt x="2393" y="1380"/>
                </a:lnTo>
                <a:lnTo>
                  <a:pt x="2388" y="1374"/>
                </a:lnTo>
                <a:lnTo>
                  <a:pt x="2376" y="1374"/>
                </a:lnTo>
                <a:lnTo>
                  <a:pt x="2371" y="1363"/>
                </a:lnTo>
                <a:lnTo>
                  <a:pt x="2364" y="1363"/>
                </a:lnTo>
                <a:lnTo>
                  <a:pt x="2357" y="1361"/>
                </a:lnTo>
                <a:lnTo>
                  <a:pt x="2350" y="1358"/>
                </a:lnTo>
                <a:lnTo>
                  <a:pt x="2343" y="1354"/>
                </a:lnTo>
                <a:lnTo>
                  <a:pt x="2326" y="1345"/>
                </a:lnTo>
                <a:lnTo>
                  <a:pt x="2309" y="1335"/>
                </a:lnTo>
                <a:lnTo>
                  <a:pt x="2294" y="1325"/>
                </a:lnTo>
                <a:lnTo>
                  <a:pt x="2277" y="1316"/>
                </a:lnTo>
                <a:lnTo>
                  <a:pt x="2269" y="1313"/>
                </a:lnTo>
                <a:lnTo>
                  <a:pt x="2263" y="1310"/>
                </a:lnTo>
                <a:lnTo>
                  <a:pt x="2256" y="1308"/>
                </a:lnTo>
                <a:lnTo>
                  <a:pt x="2249" y="1307"/>
                </a:lnTo>
                <a:lnTo>
                  <a:pt x="2240" y="1303"/>
                </a:lnTo>
                <a:lnTo>
                  <a:pt x="2227" y="1297"/>
                </a:lnTo>
                <a:lnTo>
                  <a:pt x="2226" y="1294"/>
                </a:lnTo>
                <a:lnTo>
                  <a:pt x="2225" y="1291"/>
                </a:lnTo>
                <a:lnTo>
                  <a:pt x="2221" y="1289"/>
                </a:lnTo>
                <a:lnTo>
                  <a:pt x="2218" y="1286"/>
                </a:lnTo>
                <a:lnTo>
                  <a:pt x="2210" y="1281"/>
                </a:lnTo>
                <a:lnTo>
                  <a:pt x="2204" y="1280"/>
                </a:lnTo>
                <a:lnTo>
                  <a:pt x="2199" y="1275"/>
                </a:lnTo>
                <a:lnTo>
                  <a:pt x="2198" y="1269"/>
                </a:lnTo>
                <a:lnTo>
                  <a:pt x="2196" y="1265"/>
                </a:lnTo>
                <a:lnTo>
                  <a:pt x="2191" y="1259"/>
                </a:lnTo>
                <a:lnTo>
                  <a:pt x="2184" y="1255"/>
                </a:lnTo>
                <a:lnTo>
                  <a:pt x="2177" y="1250"/>
                </a:lnTo>
                <a:lnTo>
                  <a:pt x="2168" y="1246"/>
                </a:lnTo>
                <a:lnTo>
                  <a:pt x="2158" y="1242"/>
                </a:lnTo>
                <a:lnTo>
                  <a:pt x="2146" y="1238"/>
                </a:lnTo>
                <a:lnTo>
                  <a:pt x="2121" y="1230"/>
                </a:lnTo>
                <a:lnTo>
                  <a:pt x="2091" y="1223"/>
                </a:lnTo>
                <a:lnTo>
                  <a:pt x="2059" y="1218"/>
                </a:lnTo>
                <a:lnTo>
                  <a:pt x="2026" y="1212"/>
                </a:lnTo>
                <a:lnTo>
                  <a:pt x="1958" y="1203"/>
                </a:lnTo>
                <a:lnTo>
                  <a:pt x="1895" y="1197"/>
                </a:lnTo>
                <a:lnTo>
                  <a:pt x="1844" y="1192"/>
                </a:lnTo>
                <a:lnTo>
                  <a:pt x="1812" y="1191"/>
                </a:lnTo>
                <a:lnTo>
                  <a:pt x="1808" y="1188"/>
                </a:lnTo>
                <a:lnTo>
                  <a:pt x="1800" y="1184"/>
                </a:lnTo>
                <a:lnTo>
                  <a:pt x="1796" y="1182"/>
                </a:lnTo>
                <a:lnTo>
                  <a:pt x="1793" y="1179"/>
                </a:lnTo>
                <a:lnTo>
                  <a:pt x="1790" y="1174"/>
                </a:lnTo>
                <a:lnTo>
                  <a:pt x="1789" y="1169"/>
                </a:lnTo>
                <a:lnTo>
                  <a:pt x="1784" y="1163"/>
                </a:lnTo>
                <a:lnTo>
                  <a:pt x="1772" y="1163"/>
                </a:lnTo>
                <a:lnTo>
                  <a:pt x="1772" y="1158"/>
                </a:lnTo>
                <a:lnTo>
                  <a:pt x="1771" y="1151"/>
                </a:lnTo>
                <a:lnTo>
                  <a:pt x="1771" y="1147"/>
                </a:lnTo>
                <a:lnTo>
                  <a:pt x="1770" y="1144"/>
                </a:lnTo>
                <a:lnTo>
                  <a:pt x="1769" y="1142"/>
                </a:lnTo>
                <a:lnTo>
                  <a:pt x="1767" y="1142"/>
                </a:lnTo>
                <a:lnTo>
                  <a:pt x="1767" y="1125"/>
                </a:lnTo>
                <a:lnTo>
                  <a:pt x="1764" y="1124"/>
                </a:lnTo>
                <a:lnTo>
                  <a:pt x="1762" y="1122"/>
                </a:lnTo>
                <a:lnTo>
                  <a:pt x="1761" y="1117"/>
                </a:lnTo>
                <a:lnTo>
                  <a:pt x="1761" y="1114"/>
                </a:lnTo>
                <a:lnTo>
                  <a:pt x="1759" y="1112"/>
                </a:lnTo>
                <a:lnTo>
                  <a:pt x="1754" y="1107"/>
                </a:lnTo>
                <a:lnTo>
                  <a:pt x="1748" y="1102"/>
                </a:lnTo>
                <a:lnTo>
                  <a:pt x="1745" y="1097"/>
                </a:lnTo>
                <a:lnTo>
                  <a:pt x="1740" y="1095"/>
                </a:lnTo>
                <a:lnTo>
                  <a:pt x="1735" y="1091"/>
                </a:lnTo>
                <a:lnTo>
                  <a:pt x="1730" y="1085"/>
                </a:lnTo>
                <a:lnTo>
                  <a:pt x="1728" y="1080"/>
                </a:lnTo>
                <a:lnTo>
                  <a:pt x="1723" y="1079"/>
                </a:lnTo>
                <a:lnTo>
                  <a:pt x="1717" y="1075"/>
                </a:lnTo>
                <a:lnTo>
                  <a:pt x="1710" y="1070"/>
                </a:lnTo>
                <a:lnTo>
                  <a:pt x="1702" y="1064"/>
                </a:lnTo>
                <a:lnTo>
                  <a:pt x="1694" y="1058"/>
                </a:lnTo>
                <a:lnTo>
                  <a:pt x="1687" y="1053"/>
                </a:lnTo>
                <a:lnTo>
                  <a:pt x="1680" y="1049"/>
                </a:lnTo>
                <a:lnTo>
                  <a:pt x="1673" y="1047"/>
                </a:lnTo>
                <a:lnTo>
                  <a:pt x="1671" y="1044"/>
                </a:lnTo>
                <a:lnTo>
                  <a:pt x="1666" y="1039"/>
                </a:lnTo>
                <a:lnTo>
                  <a:pt x="1659" y="1033"/>
                </a:lnTo>
                <a:lnTo>
                  <a:pt x="1651" y="1026"/>
                </a:lnTo>
                <a:lnTo>
                  <a:pt x="1635" y="1014"/>
                </a:lnTo>
                <a:lnTo>
                  <a:pt x="1628" y="1008"/>
                </a:lnTo>
                <a:lnTo>
                  <a:pt x="1628" y="998"/>
                </a:lnTo>
                <a:lnTo>
                  <a:pt x="1626" y="997"/>
                </a:lnTo>
                <a:lnTo>
                  <a:pt x="1625" y="993"/>
                </a:lnTo>
                <a:lnTo>
                  <a:pt x="1624" y="990"/>
                </a:lnTo>
                <a:lnTo>
                  <a:pt x="1624" y="986"/>
                </a:lnTo>
                <a:lnTo>
                  <a:pt x="1623" y="977"/>
                </a:lnTo>
                <a:lnTo>
                  <a:pt x="1623" y="970"/>
                </a:lnTo>
                <a:lnTo>
                  <a:pt x="1628" y="964"/>
                </a:lnTo>
                <a:lnTo>
                  <a:pt x="1640" y="964"/>
                </a:lnTo>
                <a:lnTo>
                  <a:pt x="1640" y="953"/>
                </a:lnTo>
                <a:lnTo>
                  <a:pt x="1651" y="953"/>
                </a:lnTo>
                <a:lnTo>
                  <a:pt x="1656" y="948"/>
                </a:lnTo>
                <a:lnTo>
                  <a:pt x="1659" y="942"/>
                </a:lnTo>
                <a:lnTo>
                  <a:pt x="1662" y="937"/>
                </a:lnTo>
                <a:lnTo>
                  <a:pt x="1666" y="935"/>
                </a:lnTo>
                <a:lnTo>
                  <a:pt x="1672" y="933"/>
                </a:lnTo>
                <a:lnTo>
                  <a:pt x="1674" y="931"/>
                </a:lnTo>
                <a:lnTo>
                  <a:pt x="1676" y="930"/>
                </a:lnTo>
                <a:lnTo>
                  <a:pt x="1678" y="928"/>
                </a:lnTo>
                <a:lnTo>
                  <a:pt x="1679" y="925"/>
                </a:lnTo>
                <a:lnTo>
                  <a:pt x="1823" y="903"/>
                </a:lnTo>
                <a:lnTo>
                  <a:pt x="1839" y="903"/>
                </a:lnTo>
                <a:lnTo>
                  <a:pt x="1842" y="901"/>
                </a:lnTo>
                <a:lnTo>
                  <a:pt x="1847" y="897"/>
                </a:lnTo>
                <a:lnTo>
                  <a:pt x="1855" y="894"/>
                </a:lnTo>
                <a:lnTo>
                  <a:pt x="1865" y="890"/>
                </a:lnTo>
                <a:lnTo>
                  <a:pt x="1885" y="884"/>
                </a:lnTo>
                <a:lnTo>
                  <a:pt x="1900" y="881"/>
                </a:lnTo>
                <a:lnTo>
                  <a:pt x="1911" y="875"/>
                </a:lnTo>
                <a:lnTo>
                  <a:pt x="1914" y="870"/>
                </a:lnTo>
                <a:lnTo>
                  <a:pt x="1916" y="864"/>
                </a:lnTo>
                <a:lnTo>
                  <a:pt x="1928" y="864"/>
                </a:lnTo>
                <a:lnTo>
                  <a:pt x="1930" y="858"/>
                </a:lnTo>
                <a:lnTo>
                  <a:pt x="1933" y="854"/>
                </a:lnTo>
                <a:lnTo>
                  <a:pt x="1949" y="851"/>
                </a:lnTo>
                <a:lnTo>
                  <a:pt x="1973" y="844"/>
                </a:lnTo>
                <a:lnTo>
                  <a:pt x="1986" y="839"/>
                </a:lnTo>
                <a:lnTo>
                  <a:pt x="1996" y="835"/>
                </a:lnTo>
                <a:lnTo>
                  <a:pt x="1999" y="833"/>
                </a:lnTo>
                <a:lnTo>
                  <a:pt x="2002" y="830"/>
                </a:lnTo>
                <a:lnTo>
                  <a:pt x="2005" y="828"/>
                </a:lnTo>
                <a:lnTo>
                  <a:pt x="2005" y="826"/>
                </a:lnTo>
                <a:lnTo>
                  <a:pt x="2038" y="826"/>
                </a:lnTo>
                <a:lnTo>
                  <a:pt x="2040" y="824"/>
                </a:lnTo>
                <a:lnTo>
                  <a:pt x="2044" y="820"/>
                </a:lnTo>
                <a:lnTo>
                  <a:pt x="2049" y="818"/>
                </a:lnTo>
                <a:lnTo>
                  <a:pt x="2056" y="815"/>
                </a:lnTo>
                <a:lnTo>
                  <a:pt x="2072" y="810"/>
                </a:lnTo>
                <a:lnTo>
                  <a:pt x="2083" y="809"/>
                </a:lnTo>
                <a:lnTo>
                  <a:pt x="2084" y="807"/>
                </a:lnTo>
                <a:lnTo>
                  <a:pt x="2086" y="804"/>
                </a:lnTo>
                <a:lnTo>
                  <a:pt x="2090" y="801"/>
                </a:lnTo>
                <a:lnTo>
                  <a:pt x="2094" y="799"/>
                </a:lnTo>
                <a:lnTo>
                  <a:pt x="2104" y="795"/>
                </a:lnTo>
                <a:lnTo>
                  <a:pt x="2111" y="793"/>
                </a:lnTo>
                <a:lnTo>
                  <a:pt x="2113" y="787"/>
                </a:lnTo>
                <a:lnTo>
                  <a:pt x="2116" y="781"/>
                </a:lnTo>
                <a:lnTo>
                  <a:pt x="2130" y="776"/>
                </a:lnTo>
                <a:lnTo>
                  <a:pt x="2144" y="770"/>
                </a:lnTo>
                <a:lnTo>
                  <a:pt x="2144" y="759"/>
                </a:lnTo>
                <a:lnTo>
                  <a:pt x="2152" y="757"/>
                </a:lnTo>
                <a:lnTo>
                  <a:pt x="2165" y="749"/>
                </a:lnTo>
                <a:lnTo>
                  <a:pt x="2172" y="746"/>
                </a:lnTo>
                <a:lnTo>
                  <a:pt x="2178" y="740"/>
                </a:lnTo>
                <a:lnTo>
                  <a:pt x="2181" y="736"/>
                </a:lnTo>
                <a:lnTo>
                  <a:pt x="2182" y="731"/>
                </a:lnTo>
                <a:lnTo>
                  <a:pt x="2191" y="729"/>
                </a:lnTo>
                <a:lnTo>
                  <a:pt x="2199" y="726"/>
                </a:lnTo>
                <a:lnTo>
                  <a:pt x="2204" y="720"/>
                </a:lnTo>
                <a:lnTo>
                  <a:pt x="2210" y="714"/>
                </a:lnTo>
                <a:lnTo>
                  <a:pt x="2216" y="710"/>
                </a:lnTo>
                <a:lnTo>
                  <a:pt x="2221" y="704"/>
                </a:lnTo>
                <a:lnTo>
                  <a:pt x="2221" y="695"/>
                </a:lnTo>
                <a:lnTo>
                  <a:pt x="2222" y="682"/>
                </a:lnTo>
                <a:lnTo>
                  <a:pt x="2222" y="676"/>
                </a:lnTo>
                <a:lnTo>
                  <a:pt x="2223" y="671"/>
                </a:lnTo>
                <a:lnTo>
                  <a:pt x="2225" y="666"/>
                </a:lnTo>
                <a:lnTo>
                  <a:pt x="2227" y="665"/>
                </a:lnTo>
                <a:lnTo>
                  <a:pt x="2222" y="661"/>
                </a:lnTo>
                <a:lnTo>
                  <a:pt x="2219" y="656"/>
                </a:lnTo>
                <a:lnTo>
                  <a:pt x="2217" y="651"/>
                </a:lnTo>
                <a:lnTo>
                  <a:pt x="2215" y="645"/>
                </a:lnTo>
                <a:lnTo>
                  <a:pt x="2211" y="633"/>
                </a:lnTo>
                <a:lnTo>
                  <a:pt x="2210" y="621"/>
                </a:lnTo>
                <a:lnTo>
                  <a:pt x="2193" y="621"/>
                </a:lnTo>
                <a:lnTo>
                  <a:pt x="2192" y="625"/>
                </a:lnTo>
                <a:lnTo>
                  <a:pt x="2190" y="628"/>
                </a:lnTo>
                <a:lnTo>
                  <a:pt x="2187" y="631"/>
                </a:lnTo>
                <a:lnTo>
                  <a:pt x="2182" y="632"/>
                </a:lnTo>
                <a:lnTo>
                  <a:pt x="2180" y="637"/>
                </a:lnTo>
                <a:lnTo>
                  <a:pt x="2177" y="643"/>
                </a:lnTo>
                <a:lnTo>
                  <a:pt x="2173" y="644"/>
                </a:lnTo>
                <a:lnTo>
                  <a:pt x="2169" y="646"/>
                </a:lnTo>
                <a:lnTo>
                  <a:pt x="2167" y="650"/>
                </a:lnTo>
                <a:lnTo>
                  <a:pt x="2165" y="654"/>
                </a:lnTo>
                <a:lnTo>
                  <a:pt x="2162" y="655"/>
                </a:lnTo>
                <a:lnTo>
                  <a:pt x="2158" y="658"/>
                </a:lnTo>
                <a:lnTo>
                  <a:pt x="2154" y="661"/>
                </a:lnTo>
                <a:lnTo>
                  <a:pt x="2151" y="665"/>
                </a:lnTo>
                <a:lnTo>
                  <a:pt x="2145" y="675"/>
                </a:lnTo>
                <a:lnTo>
                  <a:pt x="2144" y="682"/>
                </a:lnTo>
                <a:lnTo>
                  <a:pt x="2139" y="688"/>
                </a:lnTo>
                <a:lnTo>
                  <a:pt x="2127" y="688"/>
                </a:lnTo>
                <a:lnTo>
                  <a:pt x="2124" y="693"/>
                </a:lnTo>
                <a:lnTo>
                  <a:pt x="2122" y="699"/>
                </a:lnTo>
                <a:lnTo>
                  <a:pt x="2105" y="699"/>
                </a:lnTo>
                <a:lnTo>
                  <a:pt x="2104" y="700"/>
                </a:lnTo>
                <a:lnTo>
                  <a:pt x="2101" y="702"/>
                </a:lnTo>
                <a:lnTo>
                  <a:pt x="2096" y="703"/>
                </a:lnTo>
                <a:lnTo>
                  <a:pt x="2091" y="704"/>
                </a:lnTo>
                <a:lnTo>
                  <a:pt x="2076" y="707"/>
                </a:lnTo>
                <a:lnTo>
                  <a:pt x="2058" y="708"/>
                </a:lnTo>
                <a:lnTo>
                  <a:pt x="2023" y="709"/>
                </a:lnTo>
                <a:lnTo>
                  <a:pt x="1999" y="710"/>
                </a:lnTo>
                <a:lnTo>
                  <a:pt x="1998" y="708"/>
                </a:lnTo>
                <a:lnTo>
                  <a:pt x="1995" y="707"/>
                </a:lnTo>
                <a:lnTo>
                  <a:pt x="1989" y="705"/>
                </a:lnTo>
                <a:lnTo>
                  <a:pt x="1982" y="704"/>
                </a:lnTo>
                <a:lnTo>
                  <a:pt x="1969" y="704"/>
                </a:lnTo>
                <a:lnTo>
                  <a:pt x="1961" y="704"/>
                </a:lnTo>
                <a:lnTo>
                  <a:pt x="1960" y="701"/>
                </a:lnTo>
                <a:lnTo>
                  <a:pt x="1958" y="699"/>
                </a:lnTo>
                <a:lnTo>
                  <a:pt x="1953" y="699"/>
                </a:lnTo>
                <a:lnTo>
                  <a:pt x="1950" y="699"/>
                </a:lnTo>
                <a:lnTo>
                  <a:pt x="1889" y="688"/>
                </a:lnTo>
                <a:lnTo>
                  <a:pt x="1887" y="684"/>
                </a:lnTo>
                <a:lnTo>
                  <a:pt x="1885" y="682"/>
                </a:lnTo>
                <a:lnTo>
                  <a:pt x="1882" y="682"/>
                </a:lnTo>
                <a:lnTo>
                  <a:pt x="1877" y="682"/>
                </a:lnTo>
                <a:lnTo>
                  <a:pt x="1876" y="679"/>
                </a:lnTo>
                <a:lnTo>
                  <a:pt x="1874" y="676"/>
                </a:lnTo>
                <a:lnTo>
                  <a:pt x="1871" y="676"/>
                </a:lnTo>
                <a:lnTo>
                  <a:pt x="1866" y="676"/>
                </a:lnTo>
                <a:lnTo>
                  <a:pt x="1866" y="674"/>
                </a:lnTo>
                <a:lnTo>
                  <a:pt x="1863" y="673"/>
                </a:lnTo>
                <a:lnTo>
                  <a:pt x="1860" y="671"/>
                </a:lnTo>
                <a:lnTo>
                  <a:pt x="1855" y="670"/>
                </a:lnTo>
                <a:lnTo>
                  <a:pt x="1852" y="669"/>
                </a:lnTo>
                <a:lnTo>
                  <a:pt x="1848" y="666"/>
                </a:lnTo>
                <a:lnTo>
                  <a:pt x="1845" y="663"/>
                </a:lnTo>
                <a:lnTo>
                  <a:pt x="1845" y="660"/>
                </a:lnTo>
                <a:lnTo>
                  <a:pt x="1828" y="660"/>
                </a:lnTo>
                <a:lnTo>
                  <a:pt x="1820" y="656"/>
                </a:lnTo>
                <a:lnTo>
                  <a:pt x="1805" y="649"/>
                </a:lnTo>
                <a:lnTo>
                  <a:pt x="1786" y="641"/>
                </a:lnTo>
                <a:lnTo>
                  <a:pt x="1772" y="637"/>
                </a:lnTo>
                <a:lnTo>
                  <a:pt x="1771" y="634"/>
                </a:lnTo>
                <a:lnTo>
                  <a:pt x="1769" y="633"/>
                </a:lnTo>
                <a:lnTo>
                  <a:pt x="1766" y="632"/>
                </a:lnTo>
                <a:lnTo>
                  <a:pt x="1761" y="632"/>
                </a:lnTo>
                <a:lnTo>
                  <a:pt x="1760" y="628"/>
                </a:lnTo>
                <a:lnTo>
                  <a:pt x="1758" y="627"/>
                </a:lnTo>
                <a:lnTo>
                  <a:pt x="1755" y="626"/>
                </a:lnTo>
                <a:lnTo>
                  <a:pt x="1750" y="626"/>
                </a:lnTo>
                <a:lnTo>
                  <a:pt x="1749" y="624"/>
                </a:lnTo>
                <a:lnTo>
                  <a:pt x="1746" y="622"/>
                </a:lnTo>
                <a:lnTo>
                  <a:pt x="1740" y="621"/>
                </a:lnTo>
                <a:lnTo>
                  <a:pt x="1733" y="618"/>
                </a:lnTo>
                <a:lnTo>
                  <a:pt x="1717" y="614"/>
                </a:lnTo>
                <a:lnTo>
                  <a:pt x="1698" y="610"/>
                </a:lnTo>
                <a:lnTo>
                  <a:pt x="1679" y="605"/>
                </a:lnTo>
                <a:lnTo>
                  <a:pt x="1662" y="602"/>
                </a:lnTo>
                <a:lnTo>
                  <a:pt x="1655" y="599"/>
                </a:lnTo>
                <a:lnTo>
                  <a:pt x="1650" y="597"/>
                </a:lnTo>
                <a:lnTo>
                  <a:pt x="1646" y="595"/>
                </a:lnTo>
                <a:lnTo>
                  <a:pt x="1645" y="593"/>
                </a:lnTo>
                <a:lnTo>
                  <a:pt x="1628" y="593"/>
                </a:lnTo>
                <a:lnTo>
                  <a:pt x="1626" y="591"/>
                </a:lnTo>
                <a:lnTo>
                  <a:pt x="1622" y="587"/>
                </a:lnTo>
                <a:lnTo>
                  <a:pt x="1615" y="584"/>
                </a:lnTo>
                <a:lnTo>
                  <a:pt x="1607" y="580"/>
                </a:lnTo>
                <a:lnTo>
                  <a:pt x="1592" y="574"/>
                </a:lnTo>
                <a:lnTo>
                  <a:pt x="1578" y="570"/>
                </a:lnTo>
                <a:lnTo>
                  <a:pt x="1578" y="569"/>
                </a:lnTo>
                <a:lnTo>
                  <a:pt x="1577" y="568"/>
                </a:lnTo>
                <a:lnTo>
                  <a:pt x="1575" y="567"/>
                </a:lnTo>
                <a:lnTo>
                  <a:pt x="1573" y="566"/>
                </a:lnTo>
                <a:lnTo>
                  <a:pt x="1567" y="566"/>
                </a:lnTo>
                <a:lnTo>
                  <a:pt x="1561" y="565"/>
                </a:lnTo>
                <a:lnTo>
                  <a:pt x="1561" y="564"/>
                </a:lnTo>
                <a:lnTo>
                  <a:pt x="1560" y="563"/>
                </a:lnTo>
                <a:lnTo>
                  <a:pt x="1558" y="562"/>
                </a:lnTo>
                <a:lnTo>
                  <a:pt x="1556" y="560"/>
                </a:lnTo>
                <a:lnTo>
                  <a:pt x="1550" y="560"/>
                </a:lnTo>
                <a:lnTo>
                  <a:pt x="1546" y="560"/>
                </a:lnTo>
                <a:lnTo>
                  <a:pt x="1543" y="555"/>
                </a:lnTo>
                <a:lnTo>
                  <a:pt x="1540" y="549"/>
                </a:lnTo>
                <a:lnTo>
                  <a:pt x="1522" y="548"/>
                </a:lnTo>
                <a:lnTo>
                  <a:pt x="1503" y="546"/>
                </a:lnTo>
                <a:lnTo>
                  <a:pt x="1482" y="544"/>
                </a:lnTo>
                <a:lnTo>
                  <a:pt x="1462" y="540"/>
                </a:lnTo>
                <a:lnTo>
                  <a:pt x="1440" y="537"/>
                </a:lnTo>
                <a:lnTo>
                  <a:pt x="1419" y="535"/>
                </a:lnTo>
                <a:lnTo>
                  <a:pt x="1399" y="533"/>
                </a:lnTo>
                <a:lnTo>
                  <a:pt x="1380" y="533"/>
                </a:lnTo>
                <a:lnTo>
                  <a:pt x="1365" y="540"/>
                </a:lnTo>
                <a:lnTo>
                  <a:pt x="1352" y="549"/>
                </a:lnTo>
                <a:lnTo>
                  <a:pt x="1329" y="549"/>
                </a:lnTo>
                <a:lnTo>
                  <a:pt x="1329" y="550"/>
                </a:lnTo>
                <a:lnTo>
                  <a:pt x="1327" y="551"/>
                </a:lnTo>
                <a:lnTo>
                  <a:pt x="1326" y="553"/>
                </a:lnTo>
                <a:lnTo>
                  <a:pt x="1323" y="554"/>
                </a:lnTo>
                <a:lnTo>
                  <a:pt x="1318" y="554"/>
                </a:lnTo>
                <a:lnTo>
                  <a:pt x="1313" y="555"/>
                </a:lnTo>
                <a:lnTo>
                  <a:pt x="1313" y="556"/>
                </a:lnTo>
                <a:lnTo>
                  <a:pt x="1311" y="557"/>
                </a:lnTo>
                <a:lnTo>
                  <a:pt x="1309" y="558"/>
                </a:lnTo>
                <a:lnTo>
                  <a:pt x="1307" y="559"/>
                </a:lnTo>
                <a:lnTo>
                  <a:pt x="1301" y="559"/>
                </a:lnTo>
                <a:lnTo>
                  <a:pt x="1296" y="560"/>
                </a:lnTo>
                <a:lnTo>
                  <a:pt x="1295" y="556"/>
                </a:lnTo>
                <a:lnTo>
                  <a:pt x="1290" y="553"/>
                </a:lnTo>
                <a:lnTo>
                  <a:pt x="1287" y="549"/>
                </a:lnTo>
                <a:lnTo>
                  <a:pt x="1285" y="549"/>
                </a:lnTo>
                <a:lnTo>
                  <a:pt x="1285" y="538"/>
                </a:lnTo>
                <a:lnTo>
                  <a:pt x="1282" y="537"/>
                </a:lnTo>
                <a:lnTo>
                  <a:pt x="1281" y="536"/>
                </a:lnTo>
                <a:lnTo>
                  <a:pt x="1279" y="534"/>
                </a:lnTo>
                <a:lnTo>
                  <a:pt x="1277" y="531"/>
                </a:lnTo>
                <a:lnTo>
                  <a:pt x="1273" y="525"/>
                </a:lnTo>
                <a:lnTo>
                  <a:pt x="1270" y="517"/>
                </a:lnTo>
                <a:lnTo>
                  <a:pt x="1265" y="500"/>
                </a:lnTo>
                <a:lnTo>
                  <a:pt x="1263" y="488"/>
                </a:lnTo>
                <a:lnTo>
                  <a:pt x="1261" y="487"/>
                </a:lnTo>
                <a:lnTo>
                  <a:pt x="1259" y="486"/>
                </a:lnTo>
                <a:lnTo>
                  <a:pt x="1257" y="482"/>
                </a:lnTo>
                <a:lnTo>
                  <a:pt x="1256" y="479"/>
                </a:lnTo>
                <a:lnTo>
                  <a:pt x="1252" y="471"/>
                </a:lnTo>
                <a:lnTo>
                  <a:pt x="1252" y="466"/>
                </a:lnTo>
                <a:lnTo>
                  <a:pt x="1250" y="464"/>
                </a:lnTo>
                <a:lnTo>
                  <a:pt x="1248" y="462"/>
                </a:lnTo>
                <a:lnTo>
                  <a:pt x="1246" y="459"/>
                </a:lnTo>
                <a:lnTo>
                  <a:pt x="1244" y="454"/>
                </a:lnTo>
                <a:lnTo>
                  <a:pt x="1241" y="444"/>
                </a:lnTo>
                <a:lnTo>
                  <a:pt x="1241" y="438"/>
                </a:lnTo>
                <a:lnTo>
                  <a:pt x="1239" y="438"/>
                </a:lnTo>
                <a:lnTo>
                  <a:pt x="1237" y="437"/>
                </a:lnTo>
                <a:lnTo>
                  <a:pt x="1234" y="434"/>
                </a:lnTo>
                <a:lnTo>
                  <a:pt x="1232" y="431"/>
                </a:lnTo>
                <a:lnTo>
                  <a:pt x="1228" y="424"/>
                </a:lnTo>
                <a:lnTo>
                  <a:pt x="1224" y="415"/>
                </a:lnTo>
                <a:lnTo>
                  <a:pt x="1220" y="408"/>
                </a:lnTo>
                <a:lnTo>
                  <a:pt x="1215" y="401"/>
                </a:lnTo>
                <a:lnTo>
                  <a:pt x="1213" y="397"/>
                </a:lnTo>
                <a:lnTo>
                  <a:pt x="1212" y="395"/>
                </a:lnTo>
                <a:lnTo>
                  <a:pt x="1210" y="394"/>
                </a:lnTo>
                <a:lnTo>
                  <a:pt x="1208" y="394"/>
                </a:lnTo>
                <a:lnTo>
                  <a:pt x="1208" y="377"/>
                </a:lnTo>
                <a:lnTo>
                  <a:pt x="1205" y="376"/>
                </a:lnTo>
                <a:lnTo>
                  <a:pt x="1204" y="375"/>
                </a:lnTo>
                <a:lnTo>
                  <a:pt x="1202" y="374"/>
                </a:lnTo>
                <a:lnTo>
                  <a:pt x="1201" y="372"/>
                </a:lnTo>
                <a:lnTo>
                  <a:pt x="1199" y="366"/>
                </a:lnTo>
                <a:lnTo>
                  <a:pt x="1198" y="360"/>
                </a:lnTo>
                <a:lnTo>
                  <a:pt x="1196" y="344"/>
                </a:lnTo>
                <a:lnTo>
                  <a:pt x="1196" y="333"/>
                </a:lnTo>
                <a:lnTo>
                  <a:pt x="1185" y="288"/>
                </a:lnTo>
                <a:lnTo>
                  <a:pt x="1180" y="286"/>
                </a:lnTo>
                <a:lnTo>
                  <a:pt x="1174" y="283"/>
                </a:lnTo>
                <a:lnTo>
                  <a:pt x="1174" y="277"/>
                </a:lnTo>
                <a:lnTo>
                  <a:pt x="1173" y="271"/>
                </a:lnTo>
                <a:lnTo>
                  <a:pt x="1171" y="266"/>
                </a:lnTo>
                <a:lnTo>
                  <a:pt x="1169" y="261"/>
                </a:lnTo>
                <a:lnTo>
                  <a:pt x="1166" y="256"/>
                </a:lnTo>
                <a:lnTo>
                  <a:pt x="1165" y="250"/>
                </a:lnTo>
                <a:lnTo>
                  <a:pt x="1164" y="245"/>
                </a:lnTo>
                <a:lnTo>
                  <a:pt x="1163" y="239"/>
                </a:lnTo>
                <a:lnTo>
                  <a:pt x="1152" y="228"/>
                </a:lnTo>
                <a:lnTo>
                  <a:pt x="1152" y="223"/>
                </a:lnTo>
                <a:lnTo>
                  <a:pt x="1152" y="220"/>
                </a:lnTo>
                <a:lnTo>
                  <a:pt x="1150" y="218"/>
                </a:lnTo>
                <a:lnTo>
                  <a:pt x="1146" y="217"/>
                </a:lnTo>
                <a:lnTo>
                  <a:pt x="1141" y="200"/>
                </a:lnTo>
                <a:lnTo>
                  <a:pt x="1135" y="183"/>
                </a:lnTo>
                <a:lnTo>
                  <a:pt x="1129" y="181"/>
                </a:lnTo>
                <a:lnTo>
                  <a:pt x="1124" y="178"/>
                </a:lnTo>
                <a:lnTo>
                  <a:pt x="1118" y="166"/>
                </a:lnTo>
                <a:lnTo>
                  <a:pt x="1114" y="155"/>
                </a:lnTo>
                <a:lnTo>
                  <a:pt x="1109" y="152"/>
                </a:lnTo>
                <a:lnTo>
                  <a:pt x="1103" y="144"/>
                </a:lnTo>
                <a:lnTo>
                  <a:pt x="1095" y="134"/>
                </a:lnTo>
                <a:lnTo>
                  <a:pt x="1092" y="127"/>
                </a:lnTo>
                <a:lnTo>
                  <a:pt x="1052" y="89"/>
                </a:lnTo>
                <a:lnTo>
                  <a:pt x="1047" y="84"/>
                </a:lnTo>
                <a:lnTo>
                  <a:pt x="1036" y="84"/>
                </a:lnTo>
                <a:lnTo>
                  <a:pt x="1030" y="78"/>
                </a:lnTo>
                <a:lnTo>
                  <a:pt x="1028" y="73"/>
                </a:lnTo>
                <a:lnTo>
                  <a:pt x="1025" y="67"/>
                </a:lnTo>
                <a:lnTo>
                  <a:pt x="1011" y="64"/>
                </a:lnTo>
                <a:lnTo>
                  <a:pt x="997" y="62"/>
                </a:lnTo>
                <a:lnTo>
                  <a:pt x="993" y="58"/>
                </a:lnTo>
                <a:lnTo>
                  <a:pt x="982" y="54"/>
                </a:lnTo>
                <a:lnTo>
                  <a:pt x="968" y="48"/>
                </a:lnTo>
                <a:lnTo>
                  <a:pt x="950" y="43"/>
                </a:lnTo>
                <a:lnTo>
                  <a:pt x="917" y="33"/>
                </a:lnTo>
                <a:lnTo>
                  <a:pt x="903" y="28"/>
                </a:lnTo>
                <a:lnTo>
                  <a:pt x="900" y="22"/>
                </a:lnTo>
                <a:lnTo>
                  <a:pt x="897" y="17"/>
                </a:lnTo>
                <a:lnTo>
                  <a:pt x="881" y="17"/>
                </a:lnTo>
                <a:lnTo>
                  <a:pt x="867" y="9"/>
                </a:lnTo>
                <a:lnTo>
                  <a:pt x="853" y="0"/>
                </a:lnTo>
                <a:lnTo>
                  <a:pt x="787" y="0"/>
                </a:lnTo>
                <a:lnTo>
                  <a:pt x="786" y="2"/>
                </a:lnTo>
                <a:lnTo>
                  <a:pt x="783" y="3"/>
                </a:lnTo>
                <a:lnTo>
                  <a:pt x="781" y="5"/>
                </a:lnTo>
                <a:lnTo>
                  <a:pt x="778" y="6"/>
                </a:lnTo>
                <a:lnTo>
                  <a:pt x="770" y="6"/>
                </a:lnTo>
                <a:lnTo>
                  <a:pt x="764" y="6"/>
                </a:lnTo>
                <a:lnTo>
                  <a:pt x="763" y="8"/>
                </a:lnTo>
                <a:lnTo>
                  <a:pt x="761" y="9"/>
                </a:lnTo>
                <a:lnTo>
                  <a:pt x="759" y="10"/>
                </a:lnTo>
                <a:lnTo>
                  <a:pt x="756" y="11"/>
                </a:lnTo>
                <a:lnTo>
                  <a:pt x="748" y="11"/>
                </a:lnTo>
                <a:lnTo>
                  <a:pt x="742" y="11"/>
                </a:lnTo>
                <a:lnTo>
                  <a:pt x="741" y="15"/>
                </a:lnTo>
                <a:lnTo>
                  <a:pt x="739" y="17"/>
                </a:lnTo>
                <a:lnTo>
                  <a:pt x="735" y="17"/>
                </a:lnTo>
                <a:lnTo>
                  <a:pt x="731" y="17"/>
                </a:lnTo>
                <a:lnTo>
                  <a:pt x="729" y="22"/>
                </a:lnTo>
                <a:lnTo>
                  <a:pt x="725" y="28"/>
                </a:lnTo>
                <a:lnTo>
                  <a:pt x="720" y="31"/>
                </a:lnTo>
                <a:lnTo>
                  <a:pt x="714" y="34"/>
                </a:lnTo>
                <a:lnTo>
                  <a:pt x="714" y="45"/>
                </a:lnTo>
                <a:lnTo>
                  <a:pt x="713" y="51"/>
                </a:lnTo>
                <a:lnTo>
                  <a:pt x="709" y="67"/>
                </a:lnTo>
                <a:lnTo>
                  <a:pt x="705" y="85"/>
                </a:lnTo>
                <a:lnTo>
                  <a:pt x="703" y="95"/>
                </a:lnTo>
                <a:lnTo>
                  <a:pt x="702" y="96"/>
                </a:lnTo>
                <a:lnTo>
                  <a:pt x="700" y="98"/>
                </a:lnTo>
                <a:lnTo>
                  <a:pt x="699" y="102"/>
                </a:lnTo>
                <a:lnTo>
                  <a:pt x="697" y="106"/>
                </a:lnTo>
                <a:lnTo>
                  <a:pt x="695" y="110"/>
                </a:lnTo>
                <a:lnTo>
                  <a:pt x="693" y="113"/>
                </a:lnTo>
                <a:lnTo>
                  <a:pt x="691" y="116"/>
                </a:lnTo>
                <a:lnTo>
                  <a:pt x="686" y="117"/>
                </a:lnTo>
                <a:lnTo>
                  <a:pt x="686" y="127"/>
                </a:lnTo>
                <a:lnTo>
                  <a:pt x="683" y="128"/>
                </a:lnTo>
                <a:lnTo>
                  <a:pt x="678" y="132"/>
                </a:lnTo>
                <a:lnTo>
                  <a:pt x="675" y="135"/>
                </a:lnTo>
                <a:lnTo>
                  <a:pt x="672" y="140"/>
                </a:lnTo>
                <a:lnTo>
                  <a:pt x="666" y="149"/>
                </a:lnTo>
                <a:lnTo>
                  <a:pt x="665" y="155"/>
                </a:lnTo>
                <a:lnTo>
                  <a:pt x="654" y="161"/>
                </a:lnTo>
                <a:lnTo>
                  <a:pt x="654" y="172"/>
                </a:lnTo>
                <a:lnTo>
                  <a:pt x="648" y="178"/>
                </a:lnTo>
                <a:lnTo>
                  <a:pt x="643" y="183"/>
                </a:lnTo>
                <a:lnTo>
                  <a:pt x="637" y="187"/>
                </a:lnTo>
                <a:lnTo>
                  <a:pt x="632" y="189"/>
                </a:lnTo>
                <a:lnTo>
                  <a:pt x="632" y="200"/>
                </a:lnTo>
                <a:lnTo>
                  <a:pt x="628" y="203"/>
                </a:lnTo>
                <a:lnTo>
                  <a:pt x="626" y="214"/>
                </a:lnTo>
                <a:lnTo>
                  <a:pt x="622" y="229"/>
                </a:lnTo>
                <a:lnTo>
                  <a:pt x="618" y="247"/>
                </a:lnTo>
                <a:lnTo>
                  <a:pt x="612" y="281"/>
                </a:lnTo>
                <a:lnTo>
                  <a:pt x="609" y="305"/>
                </a:lnTo>
                <a:lnTo>
                  <a:pt x="607" y="330"/>
                </a:lnTo>
                <a:lnTo>
                  <a:pt x="604" y="357"/>
                </a:lnTo>
                <a:lnTo>
                  <a:pt x="600" y="384"/>
                </a:lnTo>
                <a:lnTo>
                  <a:pt x="598" y="411"/>
                </a:lnTo>
                <a:lnTo>
                  <a:pt x="605" y="416"/>
                </a:lnTo>
                <a:lnTo>
                  <a:pt x="614" y="424"/>
                </a:lnTo>
                <a:lnTo>
                  <a:pt x="623" y="432"/>
                </a:lnTo>
                <a:lnTo>
                  <a:pt x="626" y="438"/>
                </a:lnTo>
                <a:lnTo>
                  <a:pt x="632" y="443"/>
                </a:lnTo>
                <a:lnTo>
                  <a:pt x="643" y="443"/>
                </a:lnTo>
                <a:lnTo>
                  <a:pt x="645" y="450"/>
                </a:lnTo>
                <a:lnTo>
                  <a:pt x="651" y="457"/>
                </a:lnTo>
                <a:lnTo>
                  <a:pt x="656" y="463"/>
                </a:lnTo>
                <a:lnTo>
                  <a:pt x="660" y="466"/>
                </a:lnTo>
                <a:lnTo>
                  <a:pt x="660" y="477"/>
                </a:lnTo>
                <a:lnTo>
                  <a:pt x="661" y="478"/>
                </a:lnTo>
                <a:lnTo>
                  <a:pt x="662" y="479"/>
                </a:lnTo>
                <a:lnTo>
                  <a:pt x="663" y="480"/>
                </a:lnTo>
                <a:lnTo>
                  <a:pt x="664" y="483"/>
                </a:lnTo>
                <a:lnTo>
                  <a:pt x="664" y="489"/>
                </a:lnTo>
                <a:lnTo>
                  <a:pt x="665" y="493"/>
                </a:lnTo>
                <a:lnTo>
                  <a:pt x="662" y="495"/>
                </a:lnTo>
                <a:lnTo>
                  <a:pt x="660" y="497"/>
                </a:lnTo>
                <a:lnTo>
                  <a:pt x="657" y="501"/>
                </a:lnTo>
                <a:lnTo>
                  <a:pt x="654" y="506"/>
                </a:lnTo>
                <a:lnTo>
                  <a:pt x="649" y="515"/>
                </a:lnTo>
                <a:lnTo>
                  <a:pt x="648" y="521"/>
                </a:lnTo>
                <a:lnTo>
                  <a:pt x="643" y="527"/>
                </a:lnTo>
                <a:lnTo>
                  <a:pt x="623" y="527"/>
                </a:lnTo>
                <a:lnTo>
                  <a:pt x="601" y="528"/>
                </a:lnTo>
                <a:lnTo>
                  <a:pt x="579" y="528"/>
                </a:lnTo>
                <a:lnTo>
                  <a:pt x="556" y="529"/>
                </a:lnTo>
                <a:lnTo>
                  <a:pt x="532" y="530"/>
                </a:lnTo>
                <a:lnTo>
                  <a:pt x="509" y="531"/>
                </a:lnTo>
                <a:lnTo>
                  <a:pt x="486" y="533"/>
                </a:lnTo>
                <a:lnTo>
                  <a:pt x="465" y="533"/>
                </a:lnTo>
                <a:lnTo>
                  <a:pt x="464" y="534"/>
                </a:lnTo>
                <a:lnTo>
                  <a:pt x="463" y="536"/>
                </a:lnTo>
                <a:lnTo>
                  <a:pt x="462" y="536"/>
                </a:lnTo>
                <a:lnTo>
                  <a:pt x="459" y="537"/>
                </a:lnTo>
                <a:lnTo>
                  <a:pt x="453" y="538"/>
                </a:lnTo>
                <a:lnTo>
                  <a:pt x="449" y="538"/>
                </a:lnTo>
                <a:lnTo>
                  <a:pt x="446" y="544"/>
                </a:lnTo>
                <a:lnTo>
                  <a:pt x="443" y="549"/>
                </a:lnTo>
                <a:lnTo>
                  <a:pt x="438" y="549"/>
                </a:lnTo>
                <a:lnTo>
                  <a:pt x="433" y="549"/>
                </a:lnTo>
                <a:lnTo>
                  <a:pt x="431" y="550"/>
                </a:lnTo>
                <a:lnTo>
                  <a:pt x="428" y="551"/>
                </a:lnTo>
                <a:lnTo>
                  <a:pt x="427" y="553"/>
                </a:lnTo>
                <a:lnTo>
                  <a:pt x="426" y="555"/>
                </a:lnTo>
                <a:lnTo>
                  <a:pt x="409" y="555"/>
                </a:lnTo>
                <a:lnTo>
                  <a:pt x="409" y="556"/>
                </a:lnTo>
                <a:lnTo>
                  <a:pt x="407" y="557"/>
                </a:lnTo>
                <a:lnTo>
                  <a:pt x="404" y="558"/>
                </a:lnTo>
                <a:lnTo>
                  <a:pt x="401" y="559"/>
                </a:lnTo>
                <a:lnTo>
                  <a:pt x="394" y="559"/>
                </a:lnTo>
                <a:lnTo>
                  <a:pt x="387" y="560"/>
                </a:lnTo>
                <a:lnTo>
                  <a:pt x="379" y="563"/>
                </a:lnTo>
                <a:lnTo>
                  <a:pt x="358" y="566"/>
                </a:lnTo>
                <a:lnTo>
                  <a:pt x="327" y="569"/>
                </a:lnTo>
                <a:lnTo>
                  <a:pt x="291" y="573"/>
                </a:lnTo>
                <a:lnTo>
                  <a:pt x="254" y="576"/>
                </a:lnTo>
                <a:lnTo>
                  <a:pt x="222" y="579"/>
                </a:lnTo>
                <a:lnTo>
                  <a:pt x="196" y="582"/>
                </a:lnTo>
                <a:lnTo>
                  <a:pt x="183" y="582"/>
                </a:lnTo>
                <a:lnTo>
                  <a:pt x="177" y="584"/>
                </a:lnTo>
                <a:lnTo>
                  <a:pt x="163" y="586"/>
                </a:lnTo>
                <a:lnTo>
                  <a:pt x="143" y="588"/>
                </a:lnTo>
                <a:lnTo>
                  <a:pt x="119" y="589"/>
                </a:lnTo>
                <a:lnTo>
                  <a:pt x="70" y="592"/>
                </a:lnTo>
                <a:lnTo>
                  <a:pt x="39" y="593"/>
                </a:lnTo>
                <a:lnTo>
                  <a:pt x="36" y="598"/>
                </a:lnTo>
                <a:lnTo>
                  <a:pt x="33" y="604"/>
                </a:lnTo>
                <a:lnTo>
                  <a:pt x="22" y="604"/>
                </a:lnTo>
                <a:lnTo>
                  <a:pt x="20" y="608"/>
                </a:lnTo>
                <a:lnTo>
                  <a:pt x="13" y="618"/>
                </a:lnTo>
                <a:lnTo>
                  <a:pt x="10" y="623"/>
                </a:lnTo>
                <a:lnTo>
                  <a:pt x="5" y="627"/>
                </a:lnTo>
                <a:lnTo>
                  <a:pt x="2" y="631"/>
                </a:lnTo>
                <a:lnTo>
                  <a:pt x="0" y="632"/>
                </a:lnTo>
                <a:lnTo>
                  <a:pt x="5" y="742"/>
                </a:lnTo>
                <a:lnTo>
                  <a:pt x="8" y="743"/>
                </a:lnTo>
                <a:lnTo>
                  <a:pt x="9" y="746"/>
                </a:lnTo>
                <a:lnTo>
                  <a:pt x="10" y="750"/>
                </a:lnTo>
                <a:lnTo>
                  <a:pt x="10" y="755"/>
                </a:lnTo>
                <a:lnTo>
                  <a:pt x="11" y="764"/>
                </a:lnTo>
                <a:lnTo>
                  <a:pt x="11" y="770"/>
                </a:lnTo>
                <a:lnTo>
                  <a:pt x="14" y="771"/>
                </a:lnTo>
                <a:lnTo>
                  <a:pt x="17" y="774"/>
                </a:lnTo>
                <a:lnTo>
                  <a:pt x="19" y="777"/>
                </a:lnTo>
                <a:lnTo>
                  <a:pt x="21" y="781"/>
                </a:lnTo>
                <a:lnTo>
                  <a:pt x="23" y="793"/>
                </a:lnTo>
                <a:lnTo>
                  <a:pt x="25" y="806"/>
                </a:lnTo>
                <a:lnTo>
                  <a:pt x="28" y="834"/>
                </a:lnTo>
                <a:lnTo>
                  <a:pt x="28" y="854"/>
                </a:lnTo>
                <a:lnTo>
                  <a:pt x="30" y="854"/>
                </a:lnTo>
                <a:lnTo>
                  <a:pt x="32" y="855"/>
                </a:lnTo>
                <a:lnTo>
                  <a:pt x="33" y="857"/>
                </a:lnTo>
                <a:lnTo>
                  <a:pt x="36" y="860"/>
                </a:lnTo>
                <a:lnTo>
                  <a:pt x="38" y="865"/>
                </a:lnTo>
                <a:lnTo>
                  <a:pt x="39" y="870"/>
                </a:lnTo>
                <a:lnTo>
                  <a:pt x="53" y="873"/>
                </a:lnTo>
                <a:lnTo>
                  <a:pt x="72" y="875"/>
                </a:lnTo>
                <a:lnTo>
                  <a:pt x="84" y="881"/>
                </a:lnTo>
                <a:lnTo>
                  <a:pt x="99" y="886"/>
                </a:lnTo>
                <a:lnTo>
                  <a:pt x="99" y="897"/>
                </a:lnTo>
                <a:lnTo>
                  <a:pt x="101" y="899"/>
                </a:lnTo>
                <a:lnTo>
                  <a:pt x="104" y="901"/>
                </a:lnTo>
                <a:lnTo>
                  <a:pt x="106" y="903"/>
                </a:lnTo>
                <a:lnTo>
                  <a:pt x="107" y="906"/>
                </a:lnTo>
                <a:lnTo>
                  <a:pt x="109" y="914"/>
                </a:lnTo>
                <a:lnTo>
                  <a:pt x="110" y="920"/>
                </a:lnTo>
                <a:lnTo>
                  <a:pt x="121" y="925"/>
                </a:lnTo>
                <a:lnTo>
                  <a:pt x="121" y="937"/>
                </a:lnTo>
                <a:lnTo>
                  <a:pt x="125" y="943"/>
                </a:lnTo>
                <a:lnTo>
                  <a:pt x="130" y="959"/>
                </a:lnTo>
                <a:lnTo>
                  <a:pt x="136" y="982"/>
                </a:lnTo>
                <a:lnTo>
                  <a:pt x="143" y="1008"/>
                </a:lnTo>
                <a:lnTo>
                  <a:pt x="155" y="1058"/>
                </a:lnTo>
                <a:lnTo>
                  <a:pt x="161" y="1080"/>
                </a:lnTo>
                <a:lnTo>
                  <a:pt x="163" y="1083"/>
                </a:lnTo>
                <a:lnTo>
                  <a:pt x="167" y="1088"/>
                </a:lnTo>
                <a:lnTo>
                  <a:pt x="172" y="1095"/>
                </a:lnTo>
                <a:lnTo>
                  <a:pt x="177" y="1097"/>
                </a:lnTo>
                <a:lnTo>
                  <a:pt x="177" y="1114"/>
                </a:lnTo>
                <a:lnTo>
                  <a:pt x="178" y="1114"/>
                </a:lnTo>
                <a:lnTo>
                  <a:pt x="181" y="1115"/>
                </a:lnTo>
                <a:lnTo>
                  <a:pt x="182" y="1117"/>
                </a:lnTo>
                <a:lnTo>
                  <a:pt x="182" y="1120"/>
                </a:lnTo>
                <a:lnTo>
                  <a:pt x="183" y="1125"/>
                </a:lnTo>
                <a:lnTo>
                  <a:pt x="183" y="1131"/>
                </a:lnTo>
                <a:lnTo>
                  <a:pt x="188" y="1136"/>
                </a:lnTo>
                <a:lnTo>
                  <a:pt x="194" y="1139"/>
                </a:lnTo>
                <a:lnTo>
                  <a:pt x="200" y="1142"/>
                </a:lnTo>
                <a:lnTo>
                  <a:pt x="200" y="1153"/>
                </a:lnTo>
                <a:lnTo>
                  <a:pt x="203" y="1153"/>
                </a:lnTo>
                <a:lnTo>
                  <a:pt x="206" y="1156"/>
                </a:lnTo>
                <a:lnTo>
                  <a:pt x="210" y="1160"/>
                </a:lnTo>
                <a:lnTo>
                  <a:pt x="212" y="1164"/>
                </a:lnTo>
                <a:lnTo>
                  <a:pt x="215" y="1173"/>
                </a:lnTo>
                <a:lnTo>
                  <a:pt x="216" y="1180"/>
                </a:lnTo>
                <a:lnTo>
                  <a:pt x="217" y="1181"/>
                </a:lnTo>
                <a:lnTo>
                  <a:pt x="220" y="1182"/>
                </a:lnTo>
                <a:lnTo>
                  <a:pt x="222" y="1185"/>
                </a:lnTo>
                <a:lnTo>
                  <a:pt x="223" y="1189"/>
                </a:lnTo>
                <a:lnTo>
                  <a:pt x="226" y="1198"/>
                </a:lnTo>
                <a:lnTo>
                  <a:pt x="229" y="1209"/>
                </a:lnTo>
                <a:lnTo>
                  <a:pt x="234" y="1229"/>
                </a:lnTo>
                <a:lnTo>
                  <a:pt x="238" y="1241"/>
                </a:lnTo>
                <a:lnTo>
                  <a:pt x="238" y="1258"/>
                </a:lnTo>
                <a:lnTo>
                  <a:pt x="252" y="1257"/>
                </a:lnTo>
                <a:lnTo>
                  <a:pt x="278" y="1255"/>
                </a:lnTo>
                <a:lnTo>
                  <a:pt x="307" y="1253"/>
                </a:lnTo>
                <a:lnTo>
                  <a:pt x="327" y="1252"/>
                </a:lnTo>
                <a:lnTo>
                  <a:pt x="329" y="1259"/>
                </a:lnTo>
                <a:lnTo>
                  <a:pt x="332" y="1267"/>
                </a:lnTo>
                <a:lnTo>
                  <a:pt x="332" y="1266"/>
                </a:lnTo>
                <a:lnTo>
                  <a:pt x="332" y="1264"/>
                </a:lnTo>
                <a:lnTo>
                  <a:pt x="344" y="1264"/>
                </a:lnTo>
                <a:lnTo>
                  <a:pt x="348" y="1258"/>
                </a:lnTo>
                <a:lnTo>
                  <a:pt x="355" y="1252"/>
                </a:lnTo>
                <a:lnTo>
                  <a:pt x="360" y="1249"/>
                </a:lnTo>
                <a:lnTo>
                  <a:pt x="366" y="1247"/>
                </a:lnTo>
                <a:lnTo>
                  <a:pt x="366" y="1252"/>
                </a:lnTo>
                <a:lnTo>
                  <a:pt x="382" y="1255"/>
                </a:lnTo>
                <a:lnTo>
                  <a:pt x="393" y="1258"/>
                </a:lnTo>
                <a:lnTo>
                  <a:pt x="398" y="1264"/>
                </a:lnTo>
                <a:lnTo>
                  <a:pt x="398" y="1275"/>
                </a:lnTo>
                <a:lnTo>
                  <a:pt x="404" y="1280"/>
                </a:lnTo>
                <a:lnTo>
                  <a:pt x="409" y="1281"/>
                </a:lnTo>
                <a:lnTo>
                  <a:pt x="415" y="1284"/>
                </a:lnTo>
                <a:lnTo>
                  <a:pt x="417" y="1285"/>
                </a:lnTo>
                <a:lnTo>
                  <a:pt x="420" y="1287"/>
                </a:lnTo>
                <a:lnTo>
                  <a:pt x="421" y="1289"/>
                </a:lnTo>
                <a:lnTo>
                  <a:pt x="421" y="1291"/>
                </a:lnTo>
                <a:lnTo>
                  <a:pt x="425" y="1291"/>
                </a:lnTo>
                <a:lnTo>
                  <a:pt x="428" y="1291"/>
                </a:lnTo>
                <a:lnTo>
                  <a:pt x="431" y="1294"/>
                </a:lnTo>
                <a:lnTo>
                  <a:pt x="432" y="1297"/>
                </a:lnTo>
                <a:lnTo>
                  <a:pt x="437" y="1297"/>
                </a:lnTo>
                <a:lnTo>
                  <a:pt x="442" y="1297"/>
                </a:lnTo>
                <a:lnTo>
                  <a:pt x="445" y="1298"/>
                </a:lnTo>
                <a:lnTo>
                  <a:pt x="446" y="1299"/>
                </a:lnTo>
                <a:lnTo>
                  <a:pt x="449" y="1300"/>
                </a:lnTo>
                <a:lnTo>
                  <a:pt x="449" y="1301"/>
                </a:lnTo>
                <a:lnTo>
                  <a:pt x="456" y="1304"/>
                </a:lnTo>
                <a:lnTo>
                  <a:pt x="468" y="1308"/>
                </a:lnTo>
                <a:lnTo>
                  <a:pt x="473" y="1310"/>
                </a:lnTo>
                <a:lnTo>
                  <a:pt x="478" y="1314"/>
                </a:lnTo>
                <a:lnTo>
                  <a:pt x="481" y="1316"/>
                </a:lnTo>
                <a:lnTo>
                  <a:pt x="482" y="1318"/>
                </a:lnTo>
                <a:lnTo>
                  <a:pt x="493" y="1319"/>
                </a:lnTo>
                <a:lnTo>
                  <a:pt x="507" y="1322"/>
                </a:lnTo>
                <a:lnTo>
                  <a:pt x="520" y="1324"/>
                </a:lnTo>
                <a:lnTo>
                  <a:pt x="536" y="1327"/>
                </a:lnTo>
                <a:lnTo>
                  <a:pt x="551" y="1330"/>
                </a:lnTo>
                <a:lnTo>
                  <a:pt x="568" y="1333"/>
                </a:lnTo>
                <a:lnTo>
                  <a:pt x="584" y="1335"/>
                </a:lnTo>
                <a:lnTo>
                  <a:pt x="598" y="1335"/>
                </a:lnTo>
                <a:lnTo>
                  <a:pt x="606" y="1327"/>
                </a:lnTo>
                <a:lnTo>
                  <a:pt x="615" y="1318"/>
                </a:lnTo>
                <a:lnTo>
                  <a:pt x="626" y="1318"/>
                </a:lnTo>
                <a:lnTo>
                  <a:pt x="632" y="1313"/>
                </a:lnTo>
                <a:lnTo>
                  <a:pt x="632" y="1301"/>
                </a:lnTo>
                <a:lnTo>
                  <a:pt x="643" y="1297"/>
                </a:lnTo>
                <a:lnTo>
                  <a:pt x="643" y="1291"/>
                </a:lnTo>
                <a:lnTo>
                  <a:pt x="643" y="1286"/>
                </a:lnTo>
                <a:lnTo>
                  <a:pt x="644" y="1284"/>
                </a:lnTo>
                <a:lnTo>
                  <a:pt x="645" y="1281"/>
                </a:lnTo>
                <a:lnTo>
                  <a:pt x="646" y="1280"/>
                </a:lnTo>
                <a:lnTo>
                  <a:pt x="648" y="1280"/>
                </a:lnTo>
                <a:lnTo>
                  <a:pt x="648" y="1264"/>
                </a:lnTo>
                <a:lnTo>
                  <a:pt x="649" y="1262"/>
                </a:lnTo>
                <a:lnTo>
                  <a:pt x="654" y="1260"/>
                </a:lnTo>
                <a:lnTo>
                  <a:pt x="657" y="1256"/>
                </a:lnTo>
                <a:lnTo>
                  <a:pt x="660" y="1252"/>
                </a:lnTo>
                <a:lnTo>
                  <a:pt x="663" y="1252"/>
                </a:lnTo>
                <a:lnTo>
                  <a:pt x="666" y="1251"/>
                </a:lnTo>
                <a:lnTo>
                  <a:pt x="670" y="1250"/>
                </a:lnTo>
                <a:lnTo>
                  <a:pt x="671" y="1247"/>
                </a:lnTo>
                <a:lnTo>
                  <a:pt x="674" y="1247"/>
                </a:lnTo>
                <a:lnTo>
                  <a:pt x="677" y="1246"/>
                </a:lnTo>
                <a:lnTo>
                  <a:pt x="681" y="1245"/>
                </a:lnTo>
                <a:lnTo>
                  <a:pt x="681" y="1241"/>
                </a:lnTo>
                <a:lnTo>
                  <a:pt x="685" y="1241"/>
                </a:lnTo>
                <a:lnTo>
                  <a:pt x="689" y="1240"/>
                </a:lnTo>
                <a:lnTo>
                  <a:pt x="692" y="1239"/>
                </a:lnTo>
                <a:lnTo>
                  <a:pt x="692" y="1236"/>
                </a:lnTo>
                <a:lnTo>
                  <a:pt x="709" y="1236"/>
                </a:lnTo>
                <a:lnTo>
                  <a:pt x="735" y="1235"/>
                </a:lnTo>
                <a:lnTo>
                  <a:pt x="748" y="1235"/>
                </a:lnTo>
                <a:lnTo>
                  <a:pt x="759" y="1233"/>
                </a:lnTo>
                <a:lnTo>
                  <a:pt x="767" y="1232"/>
                </a:lnTo>
                <a:lnTo>
                  <a:pt x="770" y="1230"/>
                </a:lnTo>
                <a:lnTo>
                  <a:pt x="781" y="1230"/>
                </a:lnTo>
                <a:lnTo>
                  <a:pt x="781" y="1226"/>
                </a:lnTo>
                <a:lnTo>
                  <a:pt x="781" y="1220"/>
                </a:lnTo>
                <a:lnTo>
                  <a:pt x="782" y="1218"/>
                </a:lnTo>
                <a:lnTo>
                  <a:pt x="783" y="1216"/>
                </a:lnTo>
                <a:lnTo>
                  <a:pt x="785" y="1214"/>
                </a:lnTo>
                <a:lnTo>
                  <a:pt x="787" y="1213"/>
                </a:lnTo>
                <a:lnTo>
                  <a:pt x="787" y="1202"/>
                </a:lnTo>
                <a:lnTo>
                  <a:pt x="788" y="1200"/>
                </a:lnTo>
                <a:lnTo>
                  <a:pt x="790" y="1194"/>
                </a:lnTo>
                <a:lnTo>
                  <a:pt x="793" y="1191"/>
                </a:lnTo>
                <a:lnTo>
                  <a:pt x="796" y="1189"/>
                </a:lnTo>
                <a:lnTo>
                  <a:pt x="799" y="1187"/>
                </a:lnTo>
                <a:lnTo>
                  <a:pt x="804" y="1185"/>
                </a:lnTo>
                <a:lnTo>
                  <a:pt x="809" y="1174"/>
                </a:lnTo>
                <a:lnTo>
                  <a:pt x="809" y="1163"/>
                </a:lnTo>
                <a:lnTo>
                  <a:pt x="817" y="1164"/>
                </a:lnTo>
                <a:lnTo>
                  <a:pt x="830" y="1164"/>
                </a:lnTo>
                <a:lnTo>
                  <a:pt x="837" y="1165"/>
                </a:lnTo>
                <a:lnTo>
                  <a:pt x="843" y="1166"/>
                </a:lnTo>
                <a:lnTo>
                  <a:pt x="846" y="1168"/>
                </a:lnTo>
                <a:lnTo>
                  <a:pt x="847" y="1169"/>
                </a:lnTo>
                <a:lnTo>
                  <a:pt x="858" y="1169"/>
                </a:lnTo>
                <a:lnTo>
                  <a:pt x="864" y="1174"/>
                </a:lnTo>
                <a:lnTo>
                  <a:pt x="865" y="1180"/>
                </a:lnTo>
                <a:lnTo>
                  <a:pt x="867" y="1185"/>
                </a:lnTo>
                <a:lnTo>
                  <a:pt x="869" y="1188"/>
                </a:lnTo>
                <a:lnTo>
                  <a:pt x="871" y="1190"/>
                </a:lnTo>
                <a:lnTo>
                  <a:pt x="873" y="1191"/>
                </a:lnTo>
                <a:lnTo>
                  <a:pt x="875" y="1191"/>
                </a:lnTo>
                <a:lnTo>
                  <a:pt x="876" y="1222"/>
                </a:lnTo>
                <a:lnTo>
                  <a:pt x="878" y="1255"/>
                </a:lnTo>
                <a:lnTo>
                  <a:pt x="879" y="1286"/>
                </a:lnTo>
                <a:lnTo>
                  <a:pt x="881" y="1313"/>
                </a:lnTo>
                <a:lnTo>
                  <a:pt x="892" y="1324"/>
                </a:lnTo>
                <a:lnTo>
                  <a:pt x="892" y="1335"/>
                </a:lnTo>
                <a:lnTo>
                  <a:pt x="896" y="1338"/>
                </a:lnTo>
                <a:lnTo>
                  <a:pt x="902" y="1344"/>
                </a:lnTo>
                <a:lnTo>
                  <a:pt x="906" y="1349"/>
                </a:lnTo>
                <a:lnTo>
                  <a:pt x="908" y="1352"/>
                </a:lnTo>
                <a:lnTo>
                  <a:pt x="931" y="1352"/>
                </a:lnTo>
                <a:lnTo>
                  <a:pt x="954" y="1351"/>
                </a:lnTo>
                <a:lnTo>
                  <a:pt x="977" y="1351"/>
                </a:lnTo>
                <a:lnTo>
                  <a:pt x="1000" y="1349"/>
                </a:lnTo>
                <a:lnTo>
                  <a:pt x="1022" y="1348"/>
                </a:lnTo>
                <a:lnTo>
                  <a:pt x="1046" y="1347"/>
                </a:lnTo>
                <a:lnTo>
                  <a:pt x="1068" y="1346"/>
                </a:lnTo>
                <a:lnTo>
                  <a:pt x="1092" y="1346"/>
                </a:lnTo>
                <a:lnTo>
                  <a:pt x="1094" y="1352"/>
                </a:lnTo>
                <a:lnTo>
                  <a:pt x="1097" y="1357"/>
                </a:lnTo>
                <a:lnTo>
                  <a:pt x="1103" y="1360"/>
                </a:lnTo>
                <a:lnTo>
                  <a:pt x="1109" y="1364"/>
                </a:lnTo>
                <a:lnTo>
                  <a:pt x="1113" y="1366"/>
                </a:lnTo>
                <a:lnTo>
                  <a:pt x="1116" y="1370"/>
                </a:lnTo>
                <a:lnTo>
                  <a:pt x="1118" y="1372"/>
                </a:lnTo>
                <a:lnTo>
                  <a:pt x="1118" y="1374"/>
                </a:lnTo>
                <a:lnTo>
                  <a:pt x="1127" y="1376"/>
                </a:lnTo>
                <a:lnTo>
                  <a:pt x="1135" y="1380"/>
                </a:lnTo>
                <a:lnTo>
                  <a:pt x="1141" y="1385"/>
                </a:lnTo>
                <a:lnTo>
                  <a:pt x="1146" y="1391"/>
                </a:lnTo>
                <a:lnTo>
                  <a:pt x="1152" y="1396"/>
                </a:lnTo>
                <a:lnTo>
                  <a:pt x="1157" y="1402"/>
                </a:lnTo>
                <a:lnTo>
                  <a:pt x="1157" y="1405"/>
                </a:lnTo>
                <a:lnTo>
                  <a:pt x="1159" y="1410"/>
                </a:lnTo>
                <a:lnTo>
                  <a:pt x="1160" y="1412"/>
                </a:lnTo>
                <a:lnTo>
                  <a:pt x="1163" y="1413"/>
                </a:lnTo>
                <a:lnTo>
                  <a:pt x="1163" y="1424"/>
                </a:lnTo>
                <a:lnTo>
                  <a:pt x="1174" y="1430"/>
                </a:lnTo>
                <a:lnTo>
                  <a:pt x="1174" y="1441"/>
                </a:lnTo>
                <a:lnTo>
                  <a:pt x="1179" y="1444"/>
                </a:lnTo>
                <a:lnTo>
                  <a:pt x="1182" y="1450"/>
                </a:lnTo>
                <a:lnTo>
                  <a:pt x="1184" y="1455"/>
                </a:lnTo>
                <a:lnTo>
                  <a:pt x="1185" y="1462"/>
                </a:lnTo>
                <a:lnTo>
                  <a:pt x="1202" y="1473"/>
                </a:lnTo>
                <a:lnTo>
                  <a:pt x="1219" y="1485"/>
                </a:lnTo>
                <a:lnTo>
                  <a:pt x="1227" y="1491"/>
                </a:lnTo>
                <a:lnTo>
                  <a:pt x="1244" y="1507"/>
                </a:lnTo>
                <a:lnTo>
                  <a:pt x="1263" y="1522"/>
                </a:lnTo>
                <a:lnTo>
                  <a:pt x="1273" y="1529"/>
                </a:lnTo>
                <a:lnTo>
                  <a:pt x="1275" y="1535"/>
                </a:lnTo>
                <a:lnTo>
                  <a:pt x="1278" y="1540"/>
                </a:lnTo>
                <a:lnTo>
                  <a:pt x="1282" y="1546"/>
                </a:lnTo>
                <a:lnTo>
                  <a:pt x="1288" y="1550"/>
                </a:lnTo>
                <a:lnTo>
                  <a:pt x="1292" y="1555"/>
                </a:lnTo>
                <a:lnTo>
                  <a:pt x="1297" y="1559"/>
                </a:lnTo>
                <a:lnTo>
                  <a:pt x="1300" y="1564"/>
                </a:lnTo>
                <a:lnTo>
                  <a:pt x="1301" y="1568"/>
                </a:lnTo>
                <a:lnTo>
                  <a:pt x="1313" y="1574"/>
                </a:lnTo>
                <a:lnTo>
                  <a:pt x="1324" y="1579"/>
                </a:lnTo>
                <a:lnTo>
                  <a:pt x="1325" y="1583"/>
                </a:lnTo>
                <a:lnTo>
                  <a:pt x="1327" y="1587"/>
                </a:lnTo>
                <a:lnTo>
                  <a:pt x="1330" y="1592"/>
                </a:lnTo>
                <a:lnTo>
                  <a:pt x="1335" y="1596"/>
                </a:lnTo>
                <a:lnTo>
                  <a:pt x="1346" y="1596"/>
                </a:lnTo>
                <a:lnTo>
                  <a:pt x="1348" y="1601"/>
                </a:lnTo>
                <a:lnTo>
                  <a:pt x="1352" y="1606"/>
                </a:lnTo>
                <a:lnTo>
                  <a:pt x="1363" y="1612"/>
                </a:lnTo>
                <a:lnTo>
                  <a:pt x="1363" y="1656"/>
                </a:lnTo>
                <a:lnTo>
                  <a:pt x="1361" y="1657"/>
                </a:lnTo>
                <a:lnTo>
                  <a:pt x="1359" y="1660"/>
                </a:lnTo>
                <a:lnTo>
                  <a:pt x="1358" y="1662"/>
                </a:lnTo>
                <a:lnTo>
                  <a:pt x="1357" y="1665"/>
                </a:lnTo>
                <a:lnTo>
                  <a:pt x="1357" y="1673"/>
                </a:lnTo>
                <a:lnTo>
                  <a:pt x="1357" y="1679"/>
                </a:lnTo>
                <a:lnTo>
                  <a:pt x="1352" y="1684"/>
                </a:lnTo>
                <a:lnTo>
                  <a:pt x="1346" y="1690"/>
                </a:lnTo>
                <a:lnTo>
                  <a:pt x="1340" y="1695"/>
                </a:lnTo>
                <a:lnTo>
                  <a:pt x="1335" y="1701"/>
                </a:lnTo>
                <a:lnTo>
                  <a:pt x="1324" y="1701"/>
                </a:lnTo>
                <a:lnTo>
                  <a:pt x="1318" y="1714"/>
                </a:lnTo>
                <a:lnTo>
                  <a:pt x="1313" y="1723"/>
                </a:lnTo>
                <a:lnTo>
                  <a:pt x="1313" y="1772"/>
                </a:lnTo>
                <a:lnTo>
                  <a:pt x="1451" y="1772"/>
                </a:lnTo>
                <a:lnTo>
                  <a:pt x="1460" y="1781"/>
                </a:lnTo>
                <a:lnTo>
                  <a:pt x="1468" y="1789"/>
                </a:lnTo>
                <a:lnTo>
                  <a:pt x="1482" y="1791"/>
                </a:lnTo>
                <a:lnTo>
                  <a:pt x="1502" y="1795"/>
                </a:lnTo>
                <a:lnTo>
                  <a:pt x="1508" y="1795"/>
                </a:lnTo>
                <a:lnTo>
                  <a:pt x="1512" y="1794"/>
                </a:lnTo>
                <a:lnTo>
                  <a:pt x="1517" y="1794"/>
                </a:lnTo>
                <a:lnTo>
                  <a:pt x="1521" y="1791"/>
                </a:lnTo>
                <a:lnTo>
                  <a:pt x="1524" y="1789"/>
                </a:lnTo>
                <a:lnTo>
                  <a:pt x="1527" y="1787"/>
                </a:lnTo>
                <a:lnTo>
                  <a:pt x="1528" y="1784"/>
                </a:lnTo>
                <a:lnTo>
                  <a:pt x="1529" y="1778"/>
                </a:lnTo>
                <a:lnTo>
                  <a:pt x="1546" y="1779"/>
                </a:lnTo>
                <a:lnTo>
                  <a:pt x="1561" y="1781"/>
                </a:lnTo>
                <a:lnTo>
                  <a:pt x="1578" y="1782"/>
                </a:lnTo>
                <a:lnTo>
                  <a:pt x="1595" y="1784"/>
                </a:lnTo>
                <a:lnTo>
                  <a:pt x="1596" y="1786"/>
                </a:lnTo>
                <a:lnTo>
                  <a:pt x="1596" y="1788"/>
                </a:lnTo>
                <a:lnTo>
                  <a:pt x="1598" y="1789"/>
                </a:lnTo>
                <a:lnTo>
                  <a:pt x="1601" y="1790"/>
                </a:lnTo>
                <a:lnTo>
                  <a:pt x="1606" y="1793"/>
                </a:lnTo>
                <a:lnTo>
                  <a:pt x="1615" y="1794"/>
                </a:lnTo>
                <a:lnTo>
                  <a:pt x="1635" y="1796"/>
                </a:lnTo>
                <a:lnTo>
                  <a:pt x="1659" y="1795"/>
                </a:lnTo>
                <a:lnTo>
                  <a:pt x="1706" y="1791"/>
                </a:lnTo>
                <a:lnTo>
                  <a:pt x="1733" y="1789"/>
                </a:lnTo>
                <a:lnTo>
                  <a:pt x="1735" y="1787"/>
                </a:lnTo>
                <a:lnTo>
                  <a:pt x="1738" y="1785"/>
                </a:lnTo>
                <a:lnTo>
                  <a:pt x="1742" y="1781"/>
                </a:lnTo>
                <a:lnTo>
                  <a:pt x="1748" y="1779"/>
                </a:lnTo>
                <a:lnTo>
                  <a:pt x="1759" y="1775"/>
                </a:lnTo>
                <a:lnTo>
                  <a:pt x="1767" y="1772"/>
                </a:lnTo>
                <a:lnTo>
                  <a:pt x="1768" y="1769"/>
                </a:lnTo>
                <a:lnTo>
                  <a:pt x="1770" y="1766"/>
                </a:lnTo>
                <a:lnTo>
                  <a:pt x="1775" y="1762"/>
                </a:lnTo>
                <a:lnTo>
                  <a:pt x="1779" y="1760"/>
                </a:lnTo>
                <a:lnTo>
                  <a:pt x="1788" y="1757"/>
                </a:lnTo>
                <a:lnTo>
                  <a:pt x="1795" y="1756"/>
                </a:lnTo>
                <a:lnTo>
                  <a:pt x="1796" y="1752"/>
                </a:lnTo>
                <a:lnTo>
                  <a:pt x="1798" y="1749"/>
                </a:lnTo>
                <a:lnTo>
                  <a:pt x="1802" y="1746"/>
                </a:lnTo>
                <a:lnTo>
                  <a:pt x="1806" y="1745"/>
                </a:lnTo>
                <a:lnTo>
                  <a:pt x="1806" y="1741"/>
                </a:lnTo>
                <a:lnTo>
                  <a:pt x="1806" y="1738"/>
                </a:lnTo>
                <a:lnTo>
                  <a:pt x="1808" y="1735"/>
                </a:lnTo>
                <a:lnTo>
                  <a:pt x="1812" y="1735"/>
                </a:lnTo>
                <a:lnTo>
                  <a:pt x="1812" y="1723"/>
                </a:lnTo>
                <a:lnTo>
                  <a:pt x="1817" y="1718"/>
                </a:lnTo>
                <a:lnTo>
                  <a:pt x="1823" y="1717"/>
                </a:lnTo>
                <a:lnTo>
                  <a:pt x="1828" y="1716"/>
                </a:lnTo>
                <a:lnTo>
                  <a:pt x="1834" y="1714"/>
                </a:lnTo>
                <a:lnTo>
                  <a:pt x="1839" y="1712"/>
                </a:lnTo>
                <a:lnTo>
                  <a:pt x="1844" y="1710"/>
                </a:lnTo>
                <a:lnTo>
                  <a:pt x="1850" y="1708"/>
                </a:lnTo>
                <a:lnTo>
                  <a:pt x="1855" y="1707"/>
                </a:lnTo>
                <a:lnTo>
                  <a:pt x="1861" y="1707"/>
                </a:lnTo>
                <a:lnTo>
                  <a:pt x="1866" y="1702"/>
                </a:lnTo>
                <a:lnTo>
                  <a:pt x="1872" y="1699"/>
                </a:lnTo>
                <a:lnTo>
                  <a:pt x="1879" y="1697"/>
                </a:lnTo>
                <a:lnTo>
                  <a:pt x="1883" y="1695"/>
                </a:lnTo>
                <a:lnTo>
                  <a:pt x="1890" y="1697"/>
                </a:lnTo>
                <a:lnTo>
                  <a:pt x="1894" y="1697"/>
                </a:lnTo>
                <a:lnTo>
                  <a:pt x="1900" y="1697"/>
                </a:lnTo>
                <a:lnTo>
                  <a:pt x="1903" y="1695"/>
                </a:lnTo>
                <a:lnTo>
                  <a:pt x="1906" y="1695"/>
                </a:lnTo>
                <a:lnTo>
                  <a:pt x="1909" y="1697"/>
                </a:lnTo>
                <a:lnTo>
                  <a:pt x="1911" y="1698"/>
                </a:lnTo>
                <a:lnTo>
                  <a:pt x="1911" y="1701"/>
                </a:lnTo>
                <a:lnTo>
                  <a:pt x="1920" y="1701"/>
                </a:lnTo>
                <a:lnTo>
                  <a:pt x="1935" y="1701"/>
                </a:lnTo>
                <a:lnTo>
                  <a:pt x="1943" y="1702"/>
                </a:lnTo>
                <a:lnTo>
                  <a:pt x="1949" y="1703"/>
                </a:lnTo>
                <a:lnTo>
                  <a:pt x="1953" y="1704"/>
                </a:lnTo>
                <a:lnTo>
                  <a:pt x="1956" y="1707"/>
                </a:lnTo>
                <a:lnTo>
                  <a:pt x="1967" y="1707"/>
                </a:lnTo>
                <a:lnTo>
                  <a:pt x="1972" y="1712"/>
                </a:lnTo>
                <a:lnTo>
                  <a:pt x="1972" y="1723"/>
                </a:lnTo>
                <a:lnTo>
                  <a:pt x="1976" y="1723"/>
                </a:lnTo>
                <a:lnTo>
                  <a:pt x="1979" y="1726"/>
                </a:lnTo>
                <a:lnTo>
                  <a:pt x="1982" y="1729"/>
                </a:lnTo>
                <a:lnTo>
                  <a:pt x="1985" y="1732"/>
                </a:lnTo>
                <a:lnTo>
                  <a:pt x="1988" y="1739"/>
                </a:lnTo>
                <a:lnTo>
                  <a:pt x="1989" y="1745"/>
                </a:lnTo>
                <a:lnTo>
                  <a:pt x="1995" y="1748"/>
                </a:lnTo>
                <a:lnTo>
                  <a:pt x="1999" y="1750"/>
                </a:lnTo>
                <a:lnTo>
                  <a:pt x="2005" y="1756"/>
                </a:lnTo>
                <a:lnTo>
                  <a:pt x="2010" y="1761"/>
                </a:lnTo>
                <a:lnTo>
                  <a:pt x="2010" y="1772"/>
                </a:lnTo>
                <a:lnTo>
                  <a:pt x="2015" y="1776"/>
                </a:lnTo>
                <a:lnTo>
                  <a:pt x="2019" y="1781"/>
                </a:lnTo>
                <a:lnTo>
                  <a:pt x="2023" y="1784"/>
                </a:lnTo>
                <a:lnTo>
                  <a:pt x="2026" y="1787"/>
                </a:lnTo>
                <a:lnTo>
                  <a:pt x="2029" y="1789"/>
                </a:lnTo>
                <a:lnTo>
                  <a:pt x="2033" y="1789"/>
                </a:lnTo>
                <a:lnTo>
                  <a:pt x="2036" y="1795"/>
                </a:lnTo>
                <a:lnTo>
                  <a:pt x="2038" y="1800"/>
                </a:lnTo>
                <a:lnTo>
                  <a:pt x="2043" y="1801"/>
                </a:lnTo>
                <a:lnTo>
                  <a:pt x="2046" y="1804"/>
                </a:lnTo>
                <a:lnTo>
                  <a:pt x="2048" y="1807"/>
                </a:lnTo>
                <a:lnTo>
                  <a:pt x="2049" y="1812"/>
                </a:lnTo>
                <a:lnTo>
                  <a:pt x="2055" y="1812"/>
                </a:lnTo>
                <a:lnTo>
                  <a:pt x="2059" y="1813"/>
                </a:lnTo>
                <a:lnTo>
                  <a:pt x="2063" y="1813"/>
                </a:lnTo>
                <a:lnTo>
                  <a:pt x="2064" y="1814"/>
                </a:lnTo>
                <a:lnTo>
                  <a:pt x="2066" y="1815"/>
                </a:lnTo>
                <a:lnTo>
                  <a:pt x="2066" y="1817"/>
                </a:lnTo>
                <a:lnTo>
                  <a:pt x="2071" y="1817"/>
                </a:lnTo>
                <a:lnTo>
                  <a:pt x="2074" y="1818"/>
                </a:lnTo>
                <a:lnTo>
                  <a:pt x="2076" y="1819"/>
                </a:lnTo>
                <a:lnTo>
                  <a:pt x="2077" y="1823"/>
                </a:lnTo>
                <a:lnTo>
                  <a:pt x="2111" y="1823"/>
                </a:lnTo>
                <a:lnTo>
                  <a:pt x="2163" y="1824"/>
                </a:lnTo>
                <a:lnTo>
                  <a:pt x="2189" y="1824"/>
                </a:lnTo>
                <a:lnTo>
                  <a:pt x="2211" y="1825"/>
                </a:lnTo>
                <a:lnTo>
                  <a:pt x="2227" y="1826"/>
                </a:lnTo>
                <a:lnTo>
                  <a:pt x="2232" y="1828"/>
                </a:lnTo>
                <a:lnTo>
                  <a:pt x="2266" y="1829"/>
                </a:lnTo>
                <a:lnTo>
                  <a:pt x="2300" y="1830"/>
                </a:lnTo>
                <a:lnTo>
                  <a:pt x="2336" y="1834"/>
                </a:lnTo>
                <a:lnTo>
                  <a:pt x="2372" y="1836"/>
                </a:lnTo>
                <a:lnTo>
                  <a:pt x="2409" y="1839"/>
                </a:lnTo>
                <a:lnTo>
                  <a:pt x="2446" y="1842"/>
                </a:lnTo>
                <a:lnTo>
                  <a:pt x="2482" y="1844"/>
                </a:lnTo>
                <a:lnTo>
                  <a:pt x="2520" y="1845"/>
                </a:lnTo>
                <a:lnTo>
                  <a:pt x="2532" y="1851"/>
                </a:lnTo>
                <a:lnTo>
                  <a:pt x="2548" y="1856"/>
                </a:lnTo>
                <a:lnTo>
                  <a:pt x="2559" y="1867"/>
                </a:lnTo>
                <a:lnTo>
                  <a:pt x="2571" y="1878"/>
                </a:lnTo>
                <a:lnTo>
                  <a:pt x="2582" y="1884"/>
                </a:lnTo>
                <a:lnTo>
                  <a:pt x="2597" y="1890"/>
                </a:lnTo>
                <a:lnTo>
                  <a:pt x="2601" y="1894"/>
                </a:lnTo>
                <a:lnTo>
                  <a:pt x="2603" y="1900"/>
                </a:lnTo>
                <a:lnTo>
                  <a:pt x="2620" y="1909"/>
                </a:lnTo>
                <a:lnTo>
                  <a:pt x="2637" y="1916"/>
                </a:lnTo>
                <a:lnTo>
                  <a:pt x="2638" y="1921"/>
                </a:lnTo>
                <a:lnTo>
                  <a:pt x="2639" y="1923"/>
                </a:lnTo>
                <a:lnTo>
                  <a:pt x="2640" y="1925"/>
                </a:lnTo>
                <a:lnTo>
                  <a:pt x="2642" y="1928"/>
                </a:lnTo>
                <a:lnTo>
                  <a:pt x="2647" y="1930"/>
                </a:lnTo>
                <a:lnTo>
                  <a:pt x="2648" y="1933"/>
                </a:lnTo>
                <a:lnTo>
                  <a:pt x="2669" y="1939"/>
                </a:lnTo>
                <a:lnTo>
                  <a:pt x="2715" y="1948"/>
                </a:lnTo>
                <a:lnTo>
                  <a:pt x="2738" y="1951"/>
                </a:lnTo>
                <a:lnTo>
                  <a:pt x="2760" y="1952"/>
                </a:lnTo>
                <a:lnTo>
                  <a:pt x="2768" y="1952"/>
                </a:lnTo>
                <a:lnTo>
                  <a:pt x="2775" y="1950"/>
                </a:lnTo>
                <a:lnTo>
                  <a:pt x="2777" y="1950"/>
                </a:lnTo>
                <a:lnTo>
                  <a:pt x="2779" y="1948"/>
                </a:lnTo>
                <a:lnTo>
                  <a:pt x="2781" y="1947"/>
                </a:lnTo>
                <a:lnTo>
                  <a:pt x="2781" y="1944"/>
                </a:lnTo>
                <a:lnTo>
                  <a:pt x="2789" y="1944"/>
                </a:lnTo>
                <a:lnTo>
                  <a:pt x="2797" y="1944"/>
                </a:lnTo>
                <a:lnTo>
                  <a:pt x="2803" y="1939"/>
                </a:lnTo>
                <a:lnTo>
                  <a:pt x="2803" y="1928"/>
                </a:lnTo>
                <a:lnTo>
                  <a:pt x="2805" y="1928"/>
                </a:lnTo>
                <a:lnTo>
                  <a:pt x="2807" y="1925"/>
                </a:lnTo>
                <a:lnTo>
                  <a:pt x="2811" y="1922"/>
                </a:lnTo>
                <a:lnTo>
                  <a:pt x="2813" y="1919"/>
                </a:lnTo>
                <a:lnTo>
                  <a:pt x="2817" y="1912"/>
                </a:lnTo>
                <a:lnTo>
                  <a:pt x="2820" y="1905"/>
                </a:lnTo>
                <a:lnTo>
                  <a:pt x="2843" y="1905"/>
                </a:lnTo>
                <a:lnTo>
                  <a:pt x="2869" y="1903"/>
                </a:lnTo>
                <a:lnTo>
                  <a:pt x="2893" y="1901"/>
                </a:lnTo>
                <a:lnTo>
                  <a:pt x="2913" y="1900"/>
                </a:lnTo>
                <a:lnTo>
                  <a:pt x="2925" y="1890"/>
                </a:lnTo>
                <a:lnTo>
                  <a:pt x="2936" y="1878"/>
                </a:lnTo>
                <a:lnTo>
                  <a:pt x="2946" y="1878"/>
                </a:lnTo>
                <a:lnTo>
                  <a:pt x="2962" y="1878"/>
                </a:lnTo>
                <a:lnTo>
                  <a:pt x="2971" y="1880"/>
                </a:lnTo>
                <a:lnTo>
                  <a:pt x="2979" y="1881"/>
                </a:lnTo>
                <a:lnTo>
                  <a:pt x="2984" y="1882"/>
                </a:lnTo>
                <a:lnTo>
                  <a:pt x="2986" y="1884"/>
                </a:lnTo>
                <a:lnTo>
                  <a:pt x="2993" y="1884"/>
                </a:lnTo>
                <a:lnTo>
                  <a:pt x="3010" y="18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65" name="Freeform 26">
            <a:extLst>
              <a:ext uri="{FF2B5EF4-FFF2-40B4-BE49-F238E27FC236}">
                <a16:creationId xmlns:a16="http://schemas.microsoft.com/office/drawing/2014/main" id="{A778092B-DD98-441A-BA0E-F05385BAF39A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919913" y="3576638"/>
            <a:ext cx="454025" cy="344794"/>
          </a:xfrm>
          <a:custGeom>
            <a:avLst/>
            <a:gdLst/>
            <a:ahLst/>
            <a:cxnLst>
              <a:cxn ang="0">
                <a:pos x="1313" y="105"/>
              </a:cxn>
              <a:cxn ang="0">
                <a:pos x="1311" y="208"/>
              </a:cxn>
              <a:cxn ang="0">
                <a:pos x="1326" y="300"/>
              </a:cxn>
              <a:cxn ang="0">
                <a:pos x="1294" y="365"/>
              </a:cxn>
              <a:cxn ang="0">
                <a:pos x="1482" y="569"/>
              </a:cxn>
              <a:cxn ang="0">
                <a:pos x="1661" y="702"/>
              </a:cxn>
              <a:cxn ang="0">
                <a:pos x="1744" y="764"/>
              </a:cxn>
              <a:cxn ang="0">
                <a:pos x="1764" y="811"/>
              </a:cxn>
              <a:cxn ang="0">
                <a:pos x="1644" y="863"/>
              </a:cxn>
              <a:cxn ang="0">
                <a:pos x="1616" y="1013"/>
              </a:cxn>
              <a:cxn ang="0">
                <a:pos x="1669" y="1123"/>
              </a:cxn>
              <a:cxn ang="0">
                <a:pos x="1871" y="1201"/>
              </a:cxn>
              <a:cxn ang="0">
                <a:pos x="2039" y="1219"/>
              </a:cxn>
              <a:cxn ang="0">
                <a:pos x="2139" y="1155"/>
              </a:cxn>
              <a:cxn ang="0">
                <a:pos x="2326" y="1134"/>
              </a:cxn>
              <a:cxn ang="0">
                <a:pos x="2476" y="1082"/>
              </a:cxn>
              <a:cxn ang="0">
                <a:pos x="2475" y="1116"/>
              </a:cxn>
              <a:cxn ang="0">
                <a:pos x="2421" y="1162"/>
              </a:cxn>
              <a:cxn ang="0">
                <a:pos x="2387" y="1331"/>
              </a:cxn>
              <a:cxn ang="0">
                <a:pos x="2372" y="1368"/>
              </a:cxn>
              <a:cxn ang="0">
                <a:pos x="2407" y="1556"/>
              </a:cxn>
              <a:cxn ang="0">
                <a:pos x="2430" y="1701"/>
              </a:cxn>
              <a:cxn ang="0">
                <a:pos x="2382" y="1740"/>
              </a:cxn>
              <a:cxn ang="0">
                <a:pos x="2297" y="1782"/>
              </a:cxn>
              <a:cxn ang="0">
                <a:pos x="2253" y="1815"/>
              </a:cxn>
              <a:cxn ang="0">
                <a:pos x="2227" y="1842"/>
              </a:cxn>
              <a:cxn ang="0">
                <a:pos x="2176" y="1910"/>
              </a:cxn>
              <a:cxn ang="0">
                <a:pos x="2173" y="1984"/>
              </a:cxn>
              <a:cxn ang="0">
                <a:pos x="2014" y="2003"/>
              </a:cxn>
              <a:cxn ang="0">
                <a:pos x="1911" y="2091"/>
              </a:cxn>
              <a:cxn ang="0">
                <a:pos x="1759" y="2024"/>
              </a:cxn>
              <a:cxn ang="0">
                <a:pos x="1652" y="2044"/>
              </a:cxn>
              <a:cxn ang="0">
                <a:pos x="1495" y="2118"/>
              </a:cxn>
              <a:cxn ang="0">
                <a:pos x="1374" y="2137"/>
              </a:cxn>
              <a:cxn ang="0">
                <a:pos x="1351" y="1996"/>
              </a:cxn>
              <a:cxn ang="0">
                <a:pos x="1268" y="1971"/>
              </a:cxn>
              <a:cxn ang="0">
                <a:pos x="1200" y="1817"/>
              </a:cxn>
              <a:cxn ang="0">
                <a:pos x="1195" y="1597"/>
              </a:cxn>
              <a:cxn ang="0">
                <a:pos x="1134" y="1616"/>
              </a:cxn>
              <a:cxn ang="0">
                <a:pos x="1057" y="1676"/>
              </a:cxn>
              <a:cxn ang="0">
                <a:pos x="1059" y="1917"/>
              </a:cxn>
              <a:cxn ang="0">
                <a:pos x="955" y="2073"/>
              </a:cxn>
              <a:cxn ang="0">
                <a:pos x="806" y="2146"/>
              </a:cxn>
              <a:cxn ang="0">
                <a:pos x="694" y="1963"/>
              </a:cxn>
              <a:cxn ang="0">
                <a:pos x="646" y="1739"/>
              </a:cxn>
              <a:cxn ang="0">
                <a:pos x="470" y="1348"/>
              </a:cxn>
              <a:cxn ang="0">
                <a:pos x="282" y="1137"/>
              </a:cxn>
              <a:cxn ang="0">
                <a:pos x="59" y="1011"/>
              </a:cxn>
              <a:cxn ang="0">
                <a:pos x="30" y="894"/>
              </a:cxn>
              <a:cxn ang="0">
                <a:pos x="1" y="665"/>
              </a:cxn>
              <a:cxn ang="0">
                <a:pos x="118" y="590"/>
              </a:cxn>
              <a:cxn ang="0">
                <a:pos x="446" y="554"/>
              </a:cxn>
              <a:cxn ang="0">
                <a:pos x="593" y="674"/>
              </a:cxn>
              <a:cxn ang="0">
                <a:pos x="722" y="676"/>
              </a:cxn>
              <a:cxn ang="0">
                <a:pos x="783" y="569"/>
              </a:cxn>
              <a:cxn ang="0">
                <a:pos x="746" y="272"/>
              </a:cxn>
              <a:cxn ang="0">
                <a:pos x="847" y="171"/>
              </a:cxn>
              <a:cxn ang="0">
                <a:pos x="1080" y="174"/>
              </a:cxn>
              <a:cxn ang="0">
                <a:pos x="1189" y="85"/>
              </a:cxn>
            </a:cxnLst>
            <a:rect l="0" t="0" r="r" b="b"/>
            <a:pathLst>
              <a:path w="2491" h="2147">
                <a:moveTo>
                  <a:pt x="1240" y="0"/>
                </a:moveTo>
                <a:lnTo>
                  <a:pt x="1246" y="6"/>
                </a:lnTo>
                <a:lnTo>
                  <a:pt x="1250" y="13"/>
                </a:lnTo>
                <a:lnTo>
                  <a:pt x="1252" y="21"/>
                </a:lnTo>
                <a:lnTo>
                  <a:pt x="1255" y="30"/>
                </a:lnTo>
                <a:lnTo>
                  <a:pt x="1257" y="38"/>
                </a:lnTo>
                <a:lnTo>
                  <a:pt x="1259" y="44"/>
                </a:lnTo>
                <a:lnTo>
                  <a:pt x="1261" y="50"/>
                </a:lnTo>
                <a:lnTo>
                  <a:pt x="1265" y="56"/>
                </a:lnTo>
                <a:lnTo>
                  <a:pt x="1295" y="86"/>
                </a:lnTo>
                <a:lnTo>
                  <a:pt x="1313" y="105"/>
                </a:lnTo>
                <a:lnTo>
                  <a:pt x="1318" y="111"/>
                </a:lnTo>
                <a:lnTo>
                  <a:pt x="1322" y="119"/>
                </a:lnTo>
                <a:lnTo>
                  <a:pt x="1323" y="127"/>
                </a:lnTo>
                <a:lnTo>
                  <a:pt x="1323" y="138"/>
                </a:lnTo>
                <a:lnTo>
                  <a:pt x="1319" y="152"/>
                </a:lnTo>
                <a:lnTo>
                  <a:pt x="1311" y="168"/>
                </a:lnTo>
                <a:lnTo>
                  <a:pt x="1309" y="178"/>
                </a:lnTo>
                <a:lnTo>
                  <a:pt x="1308" y="190"/>
                </a:lnTo>
                <a:lnTo>
                  <a:pt x="1308" y="196"/>
                </a:lnTo>
                <a:lnTo>
                  <a:pt x="1310" y="202"/>
                </a:lnTo>
                <a:lnTo>
                  <a:pt x="1311" y="208"/>
                </a:lnTo>
                <a:lnTo>
                  <a:pt x="1315" y="215"/>
                </a:lnTo>
                <a:lnTo>
                  <a:pt x="1320" y="227"/>
                </a:lnTo>
                <a:lnTo>
                  <a:pt x="1325" y="239"/>
                </a:lnTo>
                <a:lnTo>
                  <a:pt x="1328" y="249"/>
                </a:lnTo>
                <a:lnTo>
                  <a:pt x="1330" y="259"/>
                </a:lnTo>
                <a:lnTo>
                  <a:pt x="1332" y="268"/>
                </a:lnTo>
                <a:lnTo>
                  <a:pt x="1332" y="275"/>
                </a:lnTo>
                <a:lnTo>
                  <a:pt x="1332" y="282"/>
                </a:lnTo>
                <a:lnTo>
                  <a:pt x="1330" y="289"/>
                </a:lnTo>
                <a:lnTo>
                  <a:pt x="1328" y="294"/>
                </a:lnTo>
                <a:lnTo>
                  <a:pt x="1326" y="300"/>
                </a:lnTo>
                <a:lnTo>
                  <a:pt x="1324" y="306"/>
                </a:lnTo>
                <a:lnTo>
                  <a:pt x="1320" y="310"/>
                </a:lnTo>
                <a:lnTo>
                  <a:pt x="1314" y="319"/>
                </a:lnTo>
                <a:lnTo>
                  <a:pt x="1307" y="326"/>
                </a:lnTo>
                <a:lnTo>
                  <a:pt x="1301" y="333"/>
                </a:lnTo>
                <a:lnTo>
                  <a:pt x="1296" y="341"/>
                </a:lnTo>
                <a:lnTo>
                  <a:pt x="1294" y="346"/>
                </a:lnTo>
                <a:lnTo>
                  <a:pt x="1293" y="349"/>
                </a:lnTo>
                <a:lnTo>
                  <a:pt x="1293" y="355"/>
                </a:lnTo>
                <a:lnTo>
                  <a:pt x="1293" y="359"/>
                </a:lnTo>
                <a:lnTo>
                  <a:pt x="1294" y="365"/>
                </a:lnTo>
                <a:lnTo>
                  <a:pt x="1295" y="370"/>
                </a:lnTo>
                <a:lnTo>
                  <a:pt x="1298" y="376"/>
                </a:lnTo>
                <a:lnTo>
                  <a:pt x="1303" y="384"/>
                </a:lnTo>
                <a:lnTo>
                  <a:pt x="1307" y="390"/>
                </a:lnTo>
                <a:lnTo>
                  <a:pt x="1314" y="399"/>
                </a:lnTo>
                <a:lnTo>
                  <a:pt x="1323" y="408"/>
                </a:lnTo>
                <a:lnTo>
                  <a:pt x="1332" y="418"/>
                </a:lnTo>
                <a:lnTo>
                  <a:pt x="1365" y="451"/>
                </a:lnTo>
                <a:lnTo>
                  <a:pt x="1408" y="493"/>
                </a:lnTo>
                <a:lnTo>
                  <a:pt x="1449" y="535"/>
                </a:lnTo>
                <a:lnTo>
                  <a:pt x="1482" y="569"/>
                </a:lnTo>
                <a:lnTo>
                  <a:pt x="1504" y="591"/>
                </a:lnTo>
                <a:lnTo>
                  <a:pt x="1525" y="614"/>
                </a:lnTo>
                <a:lnTo>
                  <a:pt x="1547" y="638"/>
                </a:lnTo>
                <a:lnTo>
                  <a:pt x="1572" y="664"/>
                </a:lnTo>
                <a:lnTo>
                  <a:pt x="1582" y="674"/>
                </a:lnTo>
                <a:lnTo>
                  <a:pt x="1593" y="682"/>
                </a:lnTo>
                <a:lnTo>
                  <a:pt x="1604" y="688"/>
                </a:lnTo>
                <a:lnTo>
                  <a:pt x="1617" y="693"/>
                </a:lnTo>
                <a:lnTo>
                  <a:pt x="1631" y="697"/>
                </a:lnTo>
                <a:lnTo>
                  <a:pt x="1645" y="701"/>
                </a:lnTo>
                <a:lnTo>
                  <a:pt x="1661" y="702"/>
                </a:lnTo>
                <a:lnTo>
                  <a:pt x="1678" y="703"/>
                </a:lnTo>
                <a:lnTo>
                  <a:pt x="1681" y="703"/>
                </a:lnTo>
                <a:lnTo>
                  <a:pt x="1685" y="705"/>
                </a:lnTo>
                <a:lnTo>
                  <a:pt x="1690" y="707"/>
                </a:lnTo>
                <a:lnTo>
                  <a:pt x="1693" y="711"/>
                </a:lnTo>
                <a:lnTo>
                  <a:pt x="1701" y="719"/>
                </a:lnTo>
                <a:lnTo>
                  <a:pt x="1710" y="727"/>
                </a:lnTo>
                <a:lnTo>
                  <a:pt x="1718" y="739"/>
                </a:lnTo>
                <a:lnTo>
                  <a:pt x="1726" y="749"/>
                </a:lnTo>
                <a:lnTo>
                  <a:pt x="1735" y="758"/>
                </a:lnTo>
                <a:lnTo>
                  <a:pt x="1744" y="764"/>
                </a:lnTo>
                <a:lnTo>
                  <a:pt x="1757" y="773"/>
                </a:lnTo>
                <a:lnTo>
                  <a:pt x="1769" y="782"/>
                </a:lnTo>
                <a:lnTo>
                  <a:pt x="1774" y="787"/>
                </a:lnTo>
                <a:lnTo>
                  <a:pt x="1778" y="791"/>
                </a:lnTo>
                <a:lnTo>
                  <a:pt x="1780" y="794"/>
                </a:lnTo>
                <a:lnTo>
                  <a:pt x="1781" y="798"/>
                </a:lnTo>
                <a:lnTo>
                  <a:pt x="1781" y="801"/>
                </a:lnTo>
                <a:lnTo>
                  <a:pt x="1780" y="804"/>
                </a:lnTo>
                <a:lnTo>
                  <a:pt x="1777" y="808"/>
                </a:lnTo>
                <a:lnTo>
                  <a:pt x="1771" y="810"/>
                </a:lnTo>
                <a:lnTo>
                  <a:pt x="1764" y="811"/>
                </a:lnTo>
                <a:lnTo>
                  <a:pt x="1755" y="812"/>
                </a:lnTo>
                <a:lnTo>
                  <a:pt x="1742" y="813"/>
                </a:lnTo>
                <a:lnTo>
                  <a:pt x="1728" y="813"/>
                </a:lnTo>
                <a:lnTo>
                  <a:pt x="1714" y="815"/>
                </a:lnTo>
                <a:lnTo>
                  <a:pt x="1701" y="818"/>
                </a:lnTo>
                <a:lnTo>
                  <a:pt x="1690" y="821"/>
                </a:lnTo>
                <a:lnTo>
                  <a:pt x="1679" y="827"/>
                </a:lnTo>
                <a:lnTo>
                  <a:pt x="1669" y="835"/>
                </a:lnTo>
                <a:lnTo>
                  <a:pt x="1660" y="842"/>
                </a:lnTo>
                <a:lnTo>
                  <a:pt x="1652" y="852"/>
                </a:lnTo>
                <a:lnTo>
                  <a:pt x="1644" y="863"/>
                </a:lnTo>
                <a:lnTo>
                  <a:pt x="1637" y="874"/>
                </a:lnTo>
                <a:lnTo>
                  <a:pt x="1632" y="886"/>
                </a:lnTo>
                <a:lnTo>
                  <a:pt x="1627" y="899"/>
                </a:lnTo>
                <a:lnTo>
                  <a:pt x="1623" y="913"/>
                </a:lnTo>
                <a:lnTo>
                  <a:pt x="1620" y="926"/>
                </a:lnTo>
                <a:lnTo>
                  <a:pt x="1617" y="941"/>
                </a:lnTo>
                <a:lnTo>
                  <a:pt x="1616" y="955"/>
                </a:lnTo>
                <a:lnTo>
                  <a:pt x="1615" y="970"/>
                </a:lnTo>
                <a:lnTo>
                  <a:pt x="1615" y="984"/>
                </a:lnTo>
                <a:lnTo>
                  <a:pt x="1615" y="999"/>
                </a:lnTo>
                <a:lnTo>
                  <a:pt x="1616" y="1013"/>
                </a:lnTo>
                <a:lnTo>
                  <a:pt x="1618" y="1027"/>
                </a:lnTo>
                <a:lnTo>
                  <a:pt x="1621" y="1041"/>
                </a:lnTo>
                <a:lnTo>
                  <a:pt x="1624" y="1053"/>
                </a:lnTo>
                <a:lnTo>
                  <a:pt x="1627" y="1066"/>
                </a:lnTo>
                <a:lnTo>
                  <a:pt x="1632" y="1077"/>
                </a:lnTo>
                <a:lnTo>
                  <a:pt x="1636" y="1088"/>
                </a:lnTo>
                <a:lnTo>
                  <a:pt x="1642" y="1097"/>
                </a:lnTo>
                <a:lnTo>
                  <a:pt x="1648" y="1106"/>
                </a:lnTo>
                <a:lnTo>
                  <a:pt x="1654" y="1112"/>
                </a:lnTo>
                <a:lnTo>
                  <a:pt x="1662" y="1118"/>
                </a:lnTo>
                <a:lnTo>
                  <a:pt x="1669" y="1123"/>
                </a:lnTo>
                <a:lnTo>
                  <a:pt x="1678" y="1125"/>
                </a:lnTo>
                <a:lnTo>
                  <a:pt x="1685" y="1126"/>
                </a:lnTo>
                <a:lnTo>
                  <a:pt x="1696" y="1126"/>
                </a:lnTo>
                <a:lnTo>
                  <a:pt x="1704" y="1127"/>
                </a:lnTo>
                <a:lnTo>
                  <a:pt x="1714" y="1129"/>
                </a:lnTo>
                <a:lnTo>
                  <a:pt x="1723" y="1131"/>
                </a:lnTo>
                <a:lnTo>
                  <a:pt x="1744" y="1138"/>
                </a:lnTo>
                <a:lnTo>
                  <a:pt x="1762" y="1147"/>
                </a:lnTo>
                <a:lnTo>
                  <a:pt x="1804" y="1168"/>
                </a:lnTo>
                <a:lnTo>
                  <a:pt x="1847" y="1190"/>
                </a:lnTo>
                <a:lnTo>
                  <a:pt x="1871" y="1201"/>
                </a:lnTo>
                <a:lnTo>
                  <a:pt x="1895" y="1210"/>
                </a:lnTo>
                <a:lnTo>
                  <a:pt x="1909" y="1213"/>
                </a:lnTo>
                <a:lnTo>
                  <a:pt x="1922" y="1216"/>
                </a:lnTo>
                <a:lnTo>
                  <a:pt x="1936" y="1220"/>
                </a:lnTo>
                <a:lnTo>
                  <a:pt x="1949" y="1222"/>
                </a:lnTo>
                <a:lnTo>
                  <a:pt x="1962" y="1223"/>
                </a:lnTo>
                <a:lnTo>
                  <a:pt x="1977" y="1224"/>
                </a:lnTo>
                <a:lnTo>
                  <a:pt x="1992" y="1224"/>
                </a:lnTo>
                <a:lnTo>
                  <a:pt x="2008" y="1223"/>
                </a:lnTo>
                <a:lnTo>
                  <a:pt x="2024" y="1222"/>
                </a:lnTo>
                <a:lnTo>
                  <a:pt x="2039" y="1219"/>
                </a:lnTo>
                <a:lnTo>
                  <a:pt x="2056" y="1215"/>
                </a:lnTo>
                <a:lnTo>
                  <a:pt x="2073" y="1210"/>
                </a:lnTo>
                <a:lnTo>
                  <a:pt x="2085" y="1206"/>
                </a:lnTo>
                <a:lnTo>
                  <a:pt x="2094" y="1202"/>
                </a:lnTo>
                <a:lnTo>
                  <a:pt x="2101" y="1197"/>
                </a:lnTo>
                <a:lnTo>
                  <a:pt x="2106" y="1193"/>
                </a:lnTo>
                <a:lnTo>
                  <a:pt x="2114" y="1182"/>
                </a:lnTo>
                <a:lnTo>
                  <a:pt x="2122" y="1169"/>
                </a:lnTo>
                <a:lnTo>
                  <a:pt x="2126" y="1165"/>
                </a:lnTo>
                <a:lnTo>
                  <a:pt x="2132" y="1159"/>
                </a:lnTo>
                <a:lnTo>
                  <a:pt x="2139" y="1155"/>
                </a:lnTo>
                <a:lnTo>
                  <a:pt x="2146" y="1150"/>
                </a:lnTo>
                <a:lnTo>
                  <a:pt x="2158" y="1147"/>
                </a:lnTo>
                <a:lnTo>
                  <a:pt x="2171" y="1145"/>
                </a:lnTo>
                <a:lnTo>
                  <a:pt x="2188" y="1143"/>
                </a:lnTo>
                <a:lnTo>
                  <a:pt x="2208" y="1143"/>
                </a:lnTo>
                <a:lnTo>
                  <a:pt x="2234" y="1143"/>
                </a:lnTo>
                <a:lnTo>
                  <a:pt x="2256" y="1142"/>
                </a:lnTo>
                <a:lnTo>
                  <a:pt x="2276" y="1140"/>
                </a:lnTo>
                <a:lnTo>
                  <a:pt x="2294" y="1138"/>
                </a:lnTo>
                <a:lnTo>
                  <a:pt x="2311" y="1136"/>
                </a:lnTo>
                <a:lnTo>
                  <a:pt x="2326" y="1134"/>
                </a:lnTo>
                <a:lnTo>
                  <a:pt x="2340" y="1130"/>
                </a:lnTo>
                <a:lnTo>
                  <a:pt x="2352" y="1127"/>
                </a:lnTo>
                <a:lnTo>
                  <a:pt x="2363" y="1123"/>
                </a:lnTo>
                <a:lnTo>
                  <a:pt x="2373" y="1118"/>
                </a:lnTo>
                <a:lnTo>
                  <a:pt x="2383" y="1114"/>
                </a:lnTo>
                <a:lnTo>
                  <a:pt x="2393" y="1108"/>
                </a:lnTo>
                <a:lnTo>
                  <a:pt x="2411" y="1098"/>
                </a:lnTo>
                <a:lnTo>
                  <a:pt x="2430" y="1086"/>
                </a:lnTo>
                <a:lnTo>
                  <a:pt x="2447" y="1085"/>
                </a:lnTo>
                <a:lnTo>
                  <a:pt x="2462" y="1083"/>
                </a:lnTo>
                <a:lnTo>
                  <a:pt x="2476" y="1082"/>
                </a:lnTo>
                <a:lnTo>
                  <a:pt x="2486" y="1082"/>
                </a:lnTo>
                <a:lnTo>
                  <a:pt x="2488" y="1089"/>
                </a:lnTo>
                <a:lnTo>
                  <a:pt x="2491" y="1097"/>
                </a:lnTo>
                <a:lnTo>
                  <a:pt x="2489" y="1099"/>
                </a:lnTo>
                <a:lnTo>
                  <a:pt x="2488" y="1099"/>
                </a:lnTo>
                <a:lnTo>
                  <a:pt x="2486" y="1100"/>
                </a:lnTo>
                <a:lnTo>
                  <a:pt x="2486" y="1105"/>
                </a:lnTo>
                <a:lnTo>
                  <a:pt x="2481" y="1106"/>
                </a:lnTo>
                <a:lnTo>
                  <a:pt x="2478" y="1108"/>
                </a:lnTo>
                <a:lnTo>
                  <a:pt x="2476" y="1111"/>
                </a:lnTo>
                <a:lnTo>
                  <a:pt x="2475" y="1116"/>
                </a:lnTo>
                <a:lnTo>
                  <a:pt x="2464" y="1121"/>
                </a:lnTo>
                <a:lnTo>
                  <a:pt x="2464" y="1131"/>
                </a:lnTo>
                <a:lnTo>
                  <a:pt x="2458" y="1135"/>
                </a:lnTo>
                <a:lnTo>
                  <a:pt x="2452" y="1137"/>
                </a:lnTo>
                <a:lnTo>
                  <a:pt x="2452" y="1148"/>
                </a:lnTo>
                <a:lnTo>
                  <a:pt x="2447" y="1154"/>
                </a:lnTo>
                <a:lnTo>
                  <a:pt x="2436" y="1154"/>
                </a:lnTo>
                <a:lnTo>
                  <a:pt x="2435" y="1156"/>
                </a:lnTo>
                <a:lnTo>
                  <a:pt x="2431" y="1158"/>
                </a:lnTo>
                <a:lnTo>
                  <a:pt x="2427" y="1160"/>
                </a:lnTo>
                <a:lnTo>
                  <a:pt x="2421" y="1162"/>
                </a:lnTo>
                <a:lnTo>
                  <a:pt x="2410" y="1164"/>
                </a:lnTo>
                <a:lnTo>
                  <a:pt x="2402" y="1165"/>
                </a:lnTo>
                <a:lnTo>
                  <a:pt x="2397" y="1171"/>
                </a:lnTo>
                <a:lnTo>
                  <a:pt x="2397" y="1175"/>
                </a:lnTo>
                <a:lnTo>
                  <a:pt x="2397" y="1178"/>
                </a:lnTo>
                <a:lnTo>
                  <a:pt x="2394" y="1181"/>
                </a:lnTo>
                <a:lnTo>
                  <a:pt x="2391" y="1182"/>
                </a:lnTo>
                <a:lnTo>
                  <a:pt x="2391" y="1217"/>
                </a:lnTo>
                <a:lnTo>
                  <a:pt x="2389" y="1256"/>
                </a:lnTo>
                <a:lnTo>
                  <a:pt x="2387" y="1296"/>
                </a:lnTo>
                <a:lnTo>
                  <a:pt x="2387" y="1331"/>
                </a:lnTo>
                <a:lnTo>
                  <a:pt x="2384" y="1332"/>
                </a:lnTo>
                <a:lnTo>
                  <a:pt x="2383" y="1335"/>
                </a:lnTo>
                <a:lnTo>
                  <a:pt x="2382" y="1337"/>
                </a:lnTo>
                <a:lnTo>
                  <a:pt x="2381" y="1340"/>
                </a:lnTo>
                <a:lnTo>
                  <a:pt x="2381" y="1348"/>
                </a:lnTo>
                <a:lnTo>
                  <a:pt x="2381" y="1354"/>
                </a:lnTo>
                <a:lnTo>
                  <a:pt x="2379" y="1354"/>
                </a:lnTo>
                <a:lnTo>
                  <a:pt x="2376" y="1356"/>
                </a:lnTo>
                <a:lnTo>
                  <a:pt x="2375" y="1358"/>
                </a:lnTo>
                <a:lnTo>
                  <a:pt x="2374" y="1360"/>
                </a:lnTo>
                <a:lnTo>
                  <a:pt x="2372" y="1368"/>
                </a:lnTo>
                <a:lnTo>
                  <a:pt x="2371" y="1379"/>
                </a:lnTo>
                <a:lnTo>
                  <a:pt x="2371" y="1405"/>
                </a:lnTo>
                <a:lnTo>
                  <a:pt x="2372" y="1435"/>
                </a:lnTo>
                <a:lnTo>
                  <a:pt x="2378" y="1492"/>
                </a:lnTo>
                <a:lnTo>
                  <a:pt x="2381" y="1520"/>
                </a:lnTo>
                <a:lnTo>
                  <a:pt x="2387" y="1522"/>
                </a:lnTo>
                <a:lnTo>
                  <a:pt x="2391" y="1525"/>
                </a:lnTo>
                <a:lnTo>
                  <a:pt x="2394" y="1537"/>
                </a:lnTo>
                <a:lnTo>
                  <a:pt x="2397" y="1548"/>
                </a:lnTo>
                <a:lnTo>
                  <a:pt x="2401" y="1550"/>
                </a:lnTo>
                <a:lnTo>
                  <a:pt x="2407" y="1556"/>
                </a:lnTo>
                <a:lnTo>
                  <a:pt x="2409" y="1559"/>
                </a:lnTo>
                <a:lnTo>
                  <a:pt x="2412" y="1561"/>
                </a:lnTo>
                <a:lnTo>
                  <a:pt x="2416" y="1563"/>
                </a:lnTo>
                <a:lnTo>
                  <a:pt x="2419" y="1565"/>
                </a:lnTo>
                <a:lnTo>
                  <a:pt x="2422" y="1590"/>
                </a:lnTo>
                <a:lnTo>
                  <a:pt x="2428" y="1624"/>
                </a:lnTo>
                <a:lnTo>
                  <a:pt x="2430" y="1642"/>
                </a:lnTo>
                <a:lnTo>
                  <a:pt x="2433" y="1659"/>
                </a:lnTo>
                <a:lnTo>
                  <a:pt x="2436" y="1676"/>
                </a:lnTo>
                <a:lnTo>
                  <a:pt x="2436" y="1692"/>
                </a:lnTo>
                <a:lnTo>
                  <a:pt x="2430" y="1701"/>
                </a:lnTo>
                <a:lnTo>
                  <a:pt x="2424" y="1714"/>
                </a:lnTo>
                <a:lnTo>
                  <a:pt x="2421" y="1714"/>
                </a:lnTo>
                <a:lnTo>
                  <a:pt x="2417" y="1717"/>
                </a:lnTo>
                <a:lnTo>
                  <a:pt x="2414" y="1721"/>
                </a:lnTo>
                <a:lnTo>
                  <a:pt x="2413" y="1724"/>
                </a:lnTo>
                <a:lnTo>
                  <a:pt x="2408" y="1730"/>
                </a:lnTo>
                <a:lnTo>
                  <a:pt x="2397" y="1730"/>
                </a:lnTo>
                <a:lnTo>
                  <a:pt x="2395" y="1734"/>
                </a:lnTo>
                <a:lnTo>
                  <a:pt x="2392" y="1736"/>
                </a:lnTo>
                <a:lnTo>
                  <a:pt x="2388" y="1739"/>
                </a:lnTo>
                <a:lnTo>
                  <a:pt x="2382" y="1740"/>
                </a:lnTo>
                <a:lnTo>
                  <a:pt x="2371" y="1741"/>
                </a:lnTo>
                <a:lnTo>
                  <a:pt x="2364" y="1741"/>
                </a:lnTo>
                <a:lnTo>
                  <a:pt x="2356" y="1745"/>
                </a:lnTo>
                <a:lnTo>
                  <a:pt x="2339" y="1755"/>
                </a:lnTo>
                <a:lnTo>
                  <a:pt x="2320" y="1764"/>
                </a:lnTo>
                <a:lnTo>
                  <a:pt x="2308" y="1769"/>
                </a:lnTo>
                <a:lnTo>
                  <a:pt x="2303" y="1774"/>
                </a:lnTo>
                <a:lnTo>
                  <a:pt x="2303" y="1777"/>
                </a:lnTo>
                <a:lnTo>
                  <a:pt x="2301" y="1779"/>
                </a:lnTo>
                <a:lnTo>
                  <a:pt x="2299" y="1781"/>
                </a:lnTo>
                <a:lnTo>
                  <a:pt x="2297" y="1782"/>
                </a:lnTo>
                <a:lnTo>
                  <a:pt x="2292" y="1784"/>
                </a:lnTo>
                <a:lnTo>
                  <a:pt x="2286" y="1785"/>
                </a:lnTo>
                <a:lnTo>
                  <a:pt x="2284" y="1790"/>
                </a:lnTo>
                <a:lnTo>
                  <a:pt x="2280" y="1793"/>
                </a:lnTo>
                <a:lnTo>
                  <a:pt x="2276" y="1798"/>
                </a:lnTo>
                <a:lnTo>
                  <a:pt x="2272" y="1801"/>
                </a:lnTo>
                <a:lnTo>
                  <a:pt x="2267" y="1803"/>
                </a:lnTo>
                <a:lnTo>
                  <a:pt x="2263" y="1806"/>
                </a:lnTo>
                <a:lnTo>
                  <a:pt x="2257" y="1807"/>
                </a:lnTo>
                <a:lnTo>
                  <a:pt x="2253" y="1808"/>
                </a:lnTo>
                <a:lnTo>
                  <a:pt x="2253" y="1815"/>
                </a:lnTo>
                <a:lnTo>
                  <a:pt x="2253" y="1818"/>
                </a:lnTo>
                <a:lnTo>
                  <a:pt x="2251" y="1820"/>
                </a:lnTo>
                <a:lnTo>
                  <a:pt x="2250" y="1820"/>
                </a:lnTo>
                <a:lnTo>
                  <a:pt x="2249" y="1820"/>
                </a:lnTo>
                <a:lnTo>
                  <a:pt x="2248" y="1820"/>
                </a:lnTo>
                <a:lnTo>
                  <a:pt x="2248" y="1821"/>
                </a:lnTo>
                <a:lnTo>
                  <a:pt x="2247" y="1825"/>
                </a:lnTo>
                <a:lnTo>
                  <a:pt x="2239" y="1827"/>
                </a:lnTo>
                <a:lnTo>
                  <a:pt x="2231" y="1830"/>
                </a:lnTo>
                <a:lnTo>
                  <a:pt x="2231" y="1841"/>
                </a:lnTo>
                <a:lnTo>
                  <a:pt x="2227" y="1842"/>
                </a:lnTo>
                <a:lnTo>
                  <a:pt x="2224" y="1845"/>
                </a:lnTo>
                <a:lnTo>
                  <a:pt x="2221" y="1848"/>
                </a:lnTo>
                <a:lnTo>
                  <a:pt x="2220" y="1852"/>
                </a:lnTo>
                <a:lnTo>
                  <a:pt x="2216" y="1852"/>
                </a:lnTo>
                <a:lnTo>
                  <a:pt x="2212" y="1856"/>
                </a:lnTo>
                <a:lnTo>
                  <a:pt x="2210" y="1859"/>
                </a:lnTo>
                <a:lnTo>
                  <a:pt x="2209" y="1864"/>
                </a:lnTo>
                <a:lnTo>
                  <a:pt x="2195" y="1877"/>
                </a:lnTo>
                <a:lnTo>
                  <a:pt x="2181" y="1890"/>
                </a:lnTo>
                <a:lnTo>
                  <a:pt x="2176" y="1896"/>
                </a:lnTo>
                <a:lnTo>
                  <a:pt x="2176" y="1910"/>
                </a:lnTo>
                <a:lnTo>
                  <a:pt x="2176" y="1924"/>
                </a:lnTo>
                <a:lnTo>
                  <a:pt x="2187" y="1929"/>
                </a:lnTo>
                <a:lnTo>
                  <a:pt x="2189" y="1935"/>
                </a:lnTo>
                <a:lnTo>
                  <a:pt x="2192" y="1941"/>
                </a:lnTo>
                <a:lnTo>
                  <a:pt x="2213" y="1941"/>
                </a:lnTo>
                <a:lnTo>
                  <a:pt x="2207" y="1951"/>
                </a:lnTo>
                <a:lnTo>
                  <a:pt x="2201" y="1961"/>
                </a:lnTo>
                <a:lnTo>
                  <a:pt x="2193" y="1970"/>
                </a:lnTo>
                <a:lnTo>
                  <a:pt x="2184" y="1977"/>
                </a:lnTo>
                <a:lnTo>
                  <a:pt x="2179" y="1981"/>
                </a:lnTo>
                <a:lnTo>
                  <a:pt x="2173" y="1984"/>
                </a:lnTo>
                <a:lnTo>
                  <a:pt x="2167" y="1987"/>
                </a:lnTo>
                <a:lnTo>
                  <a:pt x="2160" y="1990"/>
                </a:lnTo>
                <a:lnTo>
                  <a:pt x="2152" y="1991"/>
                </a:lnTo>
                <a:lnTo>
                  <a:pt x="2143" y="1993"/>
                </a:lnTo>
                <a:lnTo>
                  <a:pt x="2134" y="1993"/>
                </a:lnTo>
                <a:lnTo>
                  <a:pt x="2124" y="1994"/>
                </a:lnTo>
                <a:lnTo>
                  <a:pt x="2078" y="1994"/>
                </a:lnTo>
                <a:lnTo>
                  <a:pt x="2045" y="1996"/>
                </a:lnTo>
                <a:lnTo>
                  <a:pt x="2033" y="1998"/>
                </a:lnTo>
                <a:lnTo>
                  <a:pt x="2023" y="2001"/>
                </a:lnTo>
                <a:lnTo>
                  <a:pt x="2014" y="2003"/>
                </a:lnTo>
                <a:lnTo>
                  <a:pt x="2006" y="2008"/>
                </a:lnTo>
                <a:lnTo>
                  <a:pt x="1999" y="2012"/>
                </a:lnTo>
                <a:lnTo>
                  <a:pt x="1992" y="2018"/>
                </a:lnTo>
                <a:lnTo>
                  <a:pt x="1986" y="2024"/>
                </a:lnTo>
                <a:lnTo>
                  <a:pt x="1979" y="2033"/>
                </a:lnTo>
                <a:lnTo>
                  <a:pt x="1962" y="2052"/>
                </a:lnTo>
                <a:lnTo>
                  <a:pt x="1939" y="2078"/>
                </a:lnTo>
                <a:lnTo>
                  <a:pt x="1932" y="2083"/>
                </a:lnTo>
                <a:lnTo>
                  <a:pt x="1925" y="2088"/>
                </a:lnTo>
                <a:lnTo>
                  <a:pt x="1919" y="2090"/>
                </a:lnTo>
                <a:lnTo>
                  <a:pt x="1911" y="2091"/>
                </a:lnTo>
                <a:lnTo>
                  <a:pt x="1903" y="2092"/>
                </a:lnTo>
                <a:lnTo>
                  <a:pt x="1895" y="2091"/>
                </a:lnTo>
                <a:lnTo>
                  <a:pt x="1888" y="2089"/>
                </a:lnTo>
                <a:lnTo>
                  <a:pt x="1880" y="2087"/>
                </a:lnTo>
                <a:lnTo>
                  <a:pt x="1863" y="2080"/>
                </a:lnTo>
                <a:lnTo>
                  <a:pt x="1845" y="2070"/>
                </a:lnTo>
                <a:lnTo>
                  <a:pt x="1826" y="2060"/>
                </a:lnTo>
                <a:lnTo>
                  <a:pt x="1808" y="2049"/>
                </a:lnTo>
                <a:lnTo>
                  <a:pt x="1788" y="2038"/>
                </a:lnTo>
                <a:lnTo>
                  <a:pt x="1769" y="2028"/>
                </a:lnTo>
                <a:lnTo>
                  <a:pt x="1759" y="2024"/>
                </a:lnTo>
                <a:lnTo>
                  <a:pt x="1749" y="2021"/>
                </a:lnTo>
                <a:lnTo>
                  <a:pt x="1740" y="2018"/>
                </a:lnTo>
                <a:lnTo>
                  <a:pt x="1730" y="2017"/>
                </a:lnTo>
                <a:lnTo>
                  <a:pt x="1720" y="2015"/>
                </a:lnTo>
                <a:lnTo>
                  <a:pt x="1710" y="2015"/>
                </a:lnTo>
                <a:lnTo>
                  <a:pt x="1700" y="2017"/>
                </a:lnTo>
                <a:lnTo>
                  <a:pt x="1691" y="2020"/>
                </a:lnTo>
                <a:lnTo>
                  <a:pt x="1681" y="2023"/>
                </a:lnTo>
                <a:lnTo>
                  <a:pt x="1671" y="2029"/>
                </a:lnTo>
                <a:lnTo>
                  <a:pt x="1661" y="2035"/>
                </a:lnTo>
                <a:lnTo>
                  <a:pt x="1652" y="2044"/>
                </a:lnTo>
                <a:lnTo>
                  <a:pt x="1629" y="2070"/>
                </a:lnTo>
                <a:lnTo>
                  <a:pt x="1605" y="2095"/>
                </a:lnTo>
                <a:lnTo>
                  <a:pt x="1600" y="2100"/>
                </a:lnTo>
                <a:lnTo>
                  <a:pt x="1592" y="2105"/>
                </a:lnTo>
                <a:lnTo>
                  <a:pt x="1584" y="2109"/>
                </a:lnTo>
                <a:lnTo>
                  <a:pt x="1576" y="2112"/>
                </a:lnTo>
                <a:lnTo>
                  <a:pt x="1567" y="2116"/>
                </a:lnTo>
                <a:lnTo>
                  <a:pt x="1557" y="2118"/>
                </a:lnTo>
                <a:lnTo>
                  <a:pt x="1546" y="2119"/>
                </a:lnTo>
                <a:lnTo>
                  <a:pt x="1534" y="2120"/>
                </a:lnTo>
                <a:lnTo>
                  <a:pt x="1495" y="2118"/>
                </a:lnTo>
                <a:lnTo>
                  <a:pt x="1441" y="2116"/>
                </a:lnTo>
                <a:lnTo>
                  <a:pt x="1428" y="2116"/>
                </a:lnTo>
                <a:lnTo>
                  <a:pt x="1415" y="2117"/>
                </a:lnTo>
                <a:lnTo>
                  <a:pt x="1404" y="2118"/>
                </a:lnTo>
                <a:lnTo>
                  <a:pt x="1394" y="2120"/>
                </a:lnTo>
                <a:lnTo>
                  <a:pt x="1385" y="2123"/>
                </a:lnTo>
                <a:lnTo>
                  <a:pt x="1380" y="2127"/>
                </a:lnTo>
                <a:lnTo>
                  <a:pt x="1377" y="2129"/>
                </a:lnTo>
                <a:lnTo>
                  <a:pt x="1375" y="2131"/>
                </a:lnTo>
                <a:lnTo>
                  <a:pt x="1374" y="2134"/>
                </a:lnTo>
                <a:lnTo>
                  <a:pt x="1374" y="2137"/>
                </a:lnTo>
                <a:lnTo>
                  <a:pt x="1374" y="2119"/>
                </a:lnTo>
                <a:lnTo>
                  <a:pt x="1374" y="2097"/>
                </a:lnTo>
                <a:lnTo>
                  <a:pt x="1374" y="2073"/>
                </a:lnTo>
                <a:lnTo>
                  <a:pt x="1373" y="2050"/>
                </a:lnTo>
                <a:lnTo>
                  <a:pt x="1372" y="2039"/>
                </a:lnTo>
                <a:lnTo>
                  <a:pt x="1370" y="2028"/>
                </a:lnTo>
                <a:lnTo>
                  <a:pt x="1366" y="2019"/>
                </a:lnTo>
                <a:lnTo>
                  <a:pt x="1363" y="2010"/>
                </a:lnTo>
                <a:lnTo>
                  <a:pt x="1358" y="2003"/>
                </a:lnTo>
                <a:lnTo>
                  <a:pt x="1354" y="1998"/>
                </a:lnTo>
                <a:lnTo>
                  <a:pt x="1351" y="1996"/>
                </a:lnTo>
                <a:lnTo>
                  <a:pt x="1347" y="1995"/>
                </a:lnTo>
                <a:lnTo>
                  <a:pt x="1344" y="1994"/>
                </a:lnTo>
                <a:lnTo>
                  <a:pt x="1341" y="1994"/>
                </a:lnTo>
                <a:lnTo>
                  <a:pt x="1329" y="1993"/>
                </a:lnTo>
                <a:lnTo>
                  <a:pt x="1319" y="1992"/>
                </a:lnTo>
                <a:lnTo>
                  <a:pt x="1309" y="1990"/>
                </a:lnTo>
                <a:lnTo>
                  <a:pt x="1300" y="1987"/>
                </a:lnTo>
                <a:lnTo>
                  <a:pt x="1291" y="1984"/>
                </a:lnTo>
                <a:lnTo>
                  <a:pt x="1282" y="1981"/>
                </a:lnTo>
                <a:lnTo>
                  <a:pt x="1275" y="1976"/>
                </a:lnTo>
                <a:lnTo>
                  <a:pt x="1268" y="1971"/>
                </a:lnTo>
                <a:lnTo>
                  <a:pt x="1261" y="1965"/>
                </a:lnTo>
                <a:lnTo>
                  <a:pt x="1255" y="1960"/>
                </a:lnTo>
                <a:lnTo>
                  <a:pt x="1249" y="1953"/>
                </a:lnTo>
                <a:lnTo>
                  <a:pt x="1243" y="1946"/>
                </a:lnTo>
                <a:lnTo>
                  <a:pt x="1232" y="1931"/>
                </a:lnTo>
                <a:lnTo>
                  <a:pt x="1224" y="1914"/>
                </a:lnTo>
                <a:lnTo>
                  <a:pt x="1217" y="1896"/>
                </a:lnTo>
                <a:lnTo>
                  <a:pt x="1211" y="1877"/>
                </a:lnTo>
                <a:lnTo>
                  <a:pt x="1207" y="1857"/>
                </a:lnTo>
                <a:lnTo>
                  <a:pt x="1202" y="1837"/>
                </a:lnTo>
                <a:lnTo>
                  <a:pt x="1200" y="1817"/>
                </a:lnTo>
                <a:lnTo>
                  <a:pt x="1198" y="1797"/>
                </a:lnTo>
                <a:lnTo>
                  <a:pt x="1198" y="1777"/>
                </a:lnTo>
                <a:lnTo>
                  <a:pt x="1197" y="1758"/>
                </a:lnTo>
                <a:lnTo>
                  <a:pt x="1199" y="1722"/>
                </a:lnTo>
                <a:lnTo>
                  <a:pt x="1202" y="1675"/>
                </a:lnTo>
                <a:lnTo>
                  <a:pt x="1203" y="1652"/>
                </a:lnTo>
                <a:lnTo>
                  <a:pt x="1202" y="1630"/>
                </a:lnTo>
                <a:lnTo>
                  <a:pt x="1201" y="1620"/>
                </a:lnTo>
                <a:lnTo>
                  <a:pt x="1200" y="1611"/>
                </a:lnTo>
                <a:lnTo>
                  <a:pt x="1198" y="1604"/>
                </a:lnTo>
                <a:lnTo>
                  <a:pt x="1195" y="1597"/>
                </a:lnTo>
                <a:lnTo>
                  <a:pt x="1193" y="1594"/>
                </a:lnTo>
                <a:lnTo>
                  <a:pt x="1190" y="1591"/>
                </a:lnTo>
                <a:lnTo>
                  <a:pt x="1188" y="1590"/>
                </a:lnTo>
                <a:lnTo>
                  <a:pt x="1184" y="1589"/>
                </a:lnTo>
                <a:lnTo>
                  <a:pt x="1181" y="1588"/>
                </a:lnTo>
                <a:lnTo>
                  <a:pt x="1178" y="1588"/>
                </a:lnTo>
                <a:lnTo>
                  <a:pt x="1173" y="1589"/>
                </a:lnTo>
                <a:lnTo>
                  <a:pt x="1169" y="1591"/>
                </a:lnTo>
                <a:lnTo>
                  <a:pt x="1159" y="1597"/>
                </a:lnTo>
                <a:lnTo>
                  <a:pt x="1146" y="1605"/>
                </a:lnTo>
                <a:lnTo>
                  <a:pt x="1134" y="1616"/>
                </a:lnTo>
                <a:lnTo>
                  <a:pt x="1119" y="1629"/>
                </a:lnTo>
                <a:lnTo>
                  <a:pt x="1111" y="1637"/>
                </a:lnTo>
                <a:lnTo>
                  <a:pt x="1102" y="1643"/>
                </a:lnTo>
                <a:lnTo>
                  <a:pt x="1092" y="1648"/>
                </a:lnTo>
                <a:lnTo>
                  <a:pt x="1083" y="1653"/>
                </a:lnTo>
                <a:lnTo>
                  <a:pt x="1074" y="1657"/>
                </a:lnTo>
                <a:lnTo>
                  <a:pt x="1067" y="1663"/>
                </a:lnTo>
                <a:lnTo>
                  <a:pt x="1064" y="1666"/>
                </a:lnTo>
                <a:lnTo>
                  <a:pt x="1060" y="1668"/>
                </a:lnTo>
                <a:lnTo>
                  <a:pt x="1058" y="1672"/>
                </a:lnTo>
                <a:lnTo>
                  <a:pt x="1057" y="1676"/>
                </a:lnTo>
                <a:lnTo>
                  <a:pt x="1055" y="1683"/>
                </a:lnTo>
                <a:lnTo>
                  <a:pt x="1053" y="1691"/>
                </a:lnTo>
                <a:lnTo>
                  <a:pt x="1051" y="1698"/>
                </a:lnTo>
                <a:lnTo>
                  <a:pt x="1051" y="1706"/>
                </a:lnTo>
                <a:lnTo>
                  <a:pt x="1053" y="1724"/>
                </a:lnTo>
                <a:lnTo>
                  <a:pt x="1054" y="1742"/>
                </a:lnTo>
                <a:lnTo>
                  <a:pt x="1059" y="1780"/>
                </a:lnTo>
                <a:lnTo>
                  <a:pt x="1061" y="1817"/>
                </a:lnTo>
                <a:lnTo>
                  <a:pt x="1061" y="1865"/>
                </a:lnTo>
                <a:lnTo>
                  <a:pt x="1060" y="1902"/>
                </a:lnTo>
                <a:lnTo>
                  <a:pt x="1059" y="1917"/>
                </a:lnTo>
                <a:lnTo>
                  <a:pt x="1058" y="1932"/>
                </a:lnTo>
                <a:lnTo>
                  <a:pt x="1056" y="1944"/>
                </a:lnTo>
                <a:lnTo>
                  <a:pt x="1053" y="1956"/>
                </a:lnTo>
                <a:lnTo>
                  <a:pt x="1048" y="1966"/>
                </a:lnTo>
                <a:lnTo>
                  <a:pt x="1044" y="1976"/>
                </a:lnTo>
                <a:lnTo>
                  <a:pt x="1037" y="1986"/>
                </a:lnTo>
                <a:lnTo>
                  <a:pt x="1030" y="1996"/>
                </a:lnTo>
                <a:lnTo>
                  <a:pt x="1011" y="2019"/>
                </a:lnTo>
                <a:lnTo>
                  <a:pt x="986" y="2044"/>
                </a:lnTo>
                <a:lnTo>
                  <a:pt x="974" y="2057"/>
                </a:lnTo>
                <a:lnTo>
                  <a:pt x="955" y="2073"/>
                </a:lnTo>
                <a:lnTo>
                  <a:pt x="944" y="2082"/>
                </a:lnTo>
                <a:lnTo>
                  <a:pt x="932" y="2092"/>
                </a:lnTo>
                <a:lnTo>
                  <a:pt x="920" y="2101"/>
                </a:lnTo>
                <a:lnTo>
                  <a:pt x="906" y="2109"/>
                </a:lnTo>
                <a:lnTo>
                  <a:pt x="890" y="2118"/>
                </a:lnTo>
                <a:lnTo>
                  <a:pt x="873" y="2126"/>
                </a:lnTo>
                <a:lnTo>
                  <a:pt x="857" y="2133"/>
                </a:lnTo>
                <a:lnTo>
                  <a:pt x="843" y="2138"/>
                </a:lnTo>
                <a:lnTo>
                  <a:pt x="820" y="2145"/>
                </a:lnTo>
                <a:lnTo>
                  <a:pt x="809" y="2147"/>
                </a:lnTo>
                <a:lnTo>
                  <a:pt x="806" y="2146"/>
                </a:lnTo>
                <a:lnTo>
                  <a:pt x="801" y="2145"/>
                </a:lnTo>
                <a:lnTo>
                  <a:pt x="797" y="2142"/>
                </a:lnTo>
                <a:lnTo>
                  <a:pt x="792" y="2137"/>
                </a:lnTo>
                <a:lnTo>
                  <a:pt x="782" y="2125"/>
                </a:lnTo>
                <a:lnTo>
                  <a:pt x="770" y="2109"/>
                </a:lnTo>
                <a:lnTo>
                  <a:pt x="758" y="2090"/>
                </a:lnTo>
                <a:lnTo>
                  <a:pt x="744" y="2068"/>
                </a:lnTo>
                <a:lnTo>
                  <a:pt x="732" y="2043"/>
                </a:lnTo>
                <a:lnTo>
                  <a:pt x="719" y="2018"/>
                </a:lnTo>
                <a:lnTo>
                  <a:pt x="705" y="1991"/>
                </a:lnTo>
                <a:lnTo>
                  <a:pt x="694" y="1963"/>
                </a:lnTo>
                <a:lnTo>
                  <a:pt x="683" y="1935"/>
                </a:lnTo>
                <a:lnTo>
                  <a:pt x="673" y="1907"/>
                </a:lnTo>
                <a:lnTo>
                  <a:pt x="665" y="1880"/>
                </a:lnTo>
                <a:lnTo>
                  <a:pt x="658" y="1856"/>
                </a:lnTo>
                <a:lnTo>
                  <a:pt x="656" y="1844"/>
                </a:lnTo>
                <a:lnTo>
                  <a:pt x="655" y="1832"/>
                </a:lnTo>
                <a:lnTo>
                  <a:pt x="654" y="1822"/>
                </a:lnTo>
                <a:lnTo>
                  <a:pt x="653" y="1812"/>
                </a:lnTo>
                <a:lnTo>
                  <a:pt x="653" y="1788"/>
                </a:lnTo>
                <a:lnTo>
                  <a:pt x="650" y="1762"/>
                </a:lnTo>
                <a:lnTo>
                  <a:pt x="646" y="1739"/>
                </a:lnTo>
                <a:lnTo>
                  <a:pt x="641" y="1714"/>
                </a:lnTo>
                <a:lnTo>
                  <a:pt x="635" y="1691"/>
                </a:lnTo>
                <a:lnTo>
                  <a:pt x="627" y="1667"/>
                </a:lnTo>
                <a:lnTo>
                  <a:pt x="618" y="1645"/>
                </a:lnTo>
                <a:lnTo>
                  <a:pt x="609" y="1621"/>
                </a:lnTo>
                <a:lnTo>
                  <a:pt x="589" y="1577"/>
                </a:lnTo>
                <a:lnTo>
                  <a:pt x="568" y="1533"/>
                </a:lnTo>
                <a:lnTo>
                  <a:pt x="545" y="1491"/>
                </a:lnTo>
                <a:lnTo>
                  <a:pt x="523" y="1448"/>
                </a:lnTo>
                <a:lnTo>
                  <a:pt x="497" y="1398"/>
                </a:lnTo>
                <a:lnTo>
                  <a:pt x="470" y="1348"/>
                </a:lnTo>
                <a:lnTo>
                  <a:pt x="456" y="1325"/>
                </a:lnTo>
                <a:lnTo>
                  <a:pt x="442" y="1301"/>
                </a:lnTo>
                <a:lnTo>
                  <a:pt x="427" y="1279"/>
                </a:lnTo>
                <a:lnTo>
                  <a:pt x="412" y="1258"/>
                </a:lnTo>
                <a:lnTo>
                  <a:pt x="396" y="1237"/>
                </a:lnTo>
                <a:lnTo>
                  <a:pt x="379" y="1217"/>
                </a:lnTo>
                <a:lnTo>
                  <a:pt x="363" y="1200"/>
                </a:lnTo>
                <a:lnTo>
                  <a:pt x="344" y="1182"/>
                </a:lnTo>
                <a:lnTo>
                  <a:pt x="325" y="1166"/>
                </a:lnTo>
                <a:lnTo>
                  <a:pt x="305" y="1150"/>
                </a:lnTo>
                <a:lnTo>
                  <a:pt x="282" y="1137"/>
                </a:lnTo>
                <a:lnTo>
                  <a:pt x="260" y="1125"/>
                </a:lnTo>
                <a:lnTo>
                  <a:pt x="230" y="1111"/>
                </a:lnTo>
                <a:lnTo>
                  <a:pt x="195" y="1097"/>
                </a:lnTo>
                <a:lnTo>
                  <a:pt x="177" y="1088"/>
                </a:lnTo>
                <a:lnTo>
                  <a:pt x="158" y="1079"/>
                </a:lnTo>
                <a:lnTo>
                  <a:pt x="139" y="1070"/>
                </a:lnTo>
                <a:lnTo>
                  <a:pt x="122" y="1059"/>
                </a:lnTo>
                <a:lnTo>
                  <a:pt x="104" y="1048"/>
                </a:lnTo>
                <a:lnTo>
                  <a:pt x="87" y="1037"/>
                </a:lnTo>
                <a:lnTo>
                  <a:pt x="72" y="1024"/>
                </a:lnTo>
                <a:lnTo>
                  <a:pt x="59" y="1011"/>
                </a:lnTo>
                <a:lnTo>
                  <a:pt x="53" y="1004"/>
                </a:lnTo>
                <a:lnTo>
                  <a:pt x="49" y="996"/>
                </a:lnTo>
                <a:lnTo>
                  <a:pt x="44" y="990"/>
                </a:lnTo>
                <a:lnTo>
                  <a:pt x="41" y="982"/>
                </a:lnTo>
                <a:lnTo>
                  <a:pt x="38" y="974"/>
                </a:lnTo>
                <a:lnTo>
                  <a:pt x="36" y="965"/>
                </a:lnTo>
                <a:lnTo>
                  <a:pt x="34" y="957"/>
                </a:lnTo>
                <a:lnTo>
                  <a:pt x="33" y="948"/>
                </a:lnTo>
                <a:lnTo>
                  <a:pt x="33" y="929"/>
                </a:lnTo>
                <a:lnTo>
                  <a:pt x="32" y="912"/>
                </a:lnTo>
                <a:lnTo>
                  <a:pt x="30" y="894"/>
                </a:lnTo>
                <a:lnTo>
                  <a:pt x="29" y="876"/>
                </a:lnTo>
                <a:lnTo>
                  <a:pt x="23" y="841"/>
                </a:lnTo>
                <a:lnTo>
                  <a:pt x="17" y="808"/>
                </a:lnTo>
                <a:lnTo>
                  <a:pt x="11" y="774"/>
                </a:lnTo>
                <a:lnTo>
                  <a:pt x="5" y="743"/>
                </a:lnTo>
                <a:lnTo>
                  <a:pt x="3" y="726"/>
                </a:lnTo>
                <a:lnTo>
                  <a:pt x="1" y="711"/>
                </a:lnTo>
                <a:lnTo>
                  <a:pt x="0" y="695"/>
                </a:lnTo>
                <a:lnTo>
                  <a:pt x="0" y="679"/>
                </a:lnTo>
                <a:lnTo>
                  <a:pt x="0" y="672"/>
                </a:lnTo>
                <a:lnTo>
                  <a:pt x="1" y="665"/>
                </a:lnTo>
                <a:lnTo>
                  <a:pt x="3" y="658"/>
                </a:lnTo>
                <a:lnTo>
                  <a:pt x="5" y="652"/>
                </a:lnTo>
                <a:lnTo>
                  <a:pt x="8" y="646"/>
                </a:lnTo>
                <a:lnTo>
                  <a:pt x="12" y="640"/>
                </a:lnTo>
                <a:lnTo>
                  <a:pt x="17" y="636"/>
                </a:lnTo>
                <a:lnTo>
                  <a:pt x="21" y="631"/>
                </a:lnTo>
                <a:lnTo>
                  <a:pt x="33" y="623"/>
                </a:lnTo>
                <a:lnTo>
                  <a:pt x="48" y="615"/>
                </a:lnTo>
                <a:lnTo>
                  <a:pt x="67" y="607"/>
                </a:lnTo>
                <a:lnTo>
                  <a:pt x="87" y="599"/>
                </a:lnTo>
                <a:lnTo>
                  <a:pt x="118" y="590"/>
                </a:lnTo>
                <a:lnTo>
                  <a:pt x="153" y="581"/>
                </a:lnTo>
                <a:lnTo>
                  <a:pt x="188" y="572"/>
                </a:lnTo>
                <a:lnTo>
                  <a:pt x="226" y="565"/>
                </a:lnTo>
                <a:lnTo>
                  <a:pt x="264" y="558"/>
                </a:lnTo>
                <a:lnTo>
                  <a:pt x="301" y="553"/>
                </a:lnTo>
                <a:lnTo>
                  <a:pt x="337" y="549"/>
                </a:lnTo>
                <a:lnTo>
                  <a:pt x="369" y="547"/>
                </a:lnTo>
                <a:lnTo>
                  <a:pt x="394" y="547"/>
                </a:lnTo>
                <a:lnTo>
                  <a:pt x="414" y="548"/>
                </a:lnTo>
                <a:lnTo>
                  <a:pt x="432" y="550"/>
                </a:lnTo>
                <a:lnTo>
                  <a:pt x="446" y="554"/>
                </a:lnTo>
                <a:lnTo>
                  <a:pt x="459" y="560"/>
                </a:lnTo>
                <a:lnTo>
                  <a:pt x="469" y="567"/>
                </a:lnTo>
                <a:lnTo>
                  <a:pt x="478" y="573"/>
                </a:lnTo>
                <a:lnTo>
                  <a:pt x="487" y="582"/>
                </a:lnTo>
                <a:lnTo>
                  <a:pt x="502" y="601"/>
                </a:lnTo>
                <a:lnTo>
                  <a:pt x="521" y="624"/>
                </a:lnTo>
                <a:lnTo>
                  <a:pt x="532" y="635"/>
                </a:lnTo>
                <a:lnTo>
                  <a:pt x="547" y="646"/>
                </a:lnTo>
                <a:lnTo>
                  <a:pt x="564" y="658"/>
                </a:lnTo>
                <a:lnTo>
                  <a:pt x="583" y="669"/>
                </a:lnTo>
                <a:lnTo>
                  <a:pt x="593" y="674"/>
                </a:lnTo>
                <a:lnTo>
                  <a:pt x="603" y="678"/>
                </a:lnTo>
                <a:lnTo>
                  <a:pt x="614" y="681"/>
                </a:lnTo>
                <a:lnTo>
                  <a:pt x="626" y="684"/>
                </a:lnTo>
                <a:lnTo>
                  <a:pt x="638" y="685"/>
                </a:lnTo>
                <a:lnTo>
                  <a:pt x="651" y="686"/>
                </a:lnTo>
                <a:lnTo>
                  <a:pt x="663" y="686"/>
                </a:lnTo>
                <a:lnTo>
                  <a:pt x="675" y="686"/>
                </a:lnTo>
                <a:lnTo>
                  <a:pt x="687" y="684"/>
                </a:lnTo>
                <a:lnTo>
                  <a:pt x="700" y="683"/>
                </a:lnTo>
                <a:lnTo>
                  <a:pt x="711" y="679"/>
                </a:lnTo>
                <a:lnTo>
                  <a:pt x="722" y="676"/>
                </a:lnTo>
                <a:lnTo>
                  <a:pt x="732" y="672"/>
                </a:lnTo>
                <a:lnTo>
                  <a:pt x="742" y="666"/>
                </a:lnTo>
                <a:lnTo>
                  <a:pt x="751" y="660"/>
                </a:lnTo>
                <a:lnTo>
                  <a:pt x="759" y="654"/>
                </a:lnTo>
                <a:lnTo>
                  <a:pt x="766" y="645"/>
                </a:lnTo>
                <a:lnTo>
                  <a:pt x="771" y="635"/>
                </a:lnTo>
                <a:lnTo>
                  <a:pt x="776" y="624"/>
                </a:lnTo>
                <a:lnTo>
                  <a:pt x="779" y="611"/>
                </a:lnTo>
                <a:lnTo>
                  <a:pt x="781" y="598"/>
                </a:lnTo>
                <a:lnTo>
                  <a:pt x="782" y="585"/>
                </a:lnTo>
                <a:lnTo>
                  <a:pt x="783" y="569"/>
                </a:lnTo>
                <a:lnTo>
                  <a:pt x="782" y="553"/>
                </a:lnTo>
                <a:lnTo>
                  <a:pt x="780" y="520"/>
                </a:lnTo>
                <a:lnTo>
                  <a:pt x="775" y="484"/>
                </a:lnTo>
                <a:lnTo>
                  <a:pt x="769" y="447"/>
                </a:lnTo>
                <a:lnTo>
                  <a:pt x="762" y="409"/>
                </a:lnTo>
                <a:lnTo>
                  <a:pt x="756" y="373"/>
                </a:lnTo>
                <a:lnTo>
                  <a:pt x="750" y="338"/>
                </a:lnTo>
                <a:lnTo>
                  <a:pt x="748" y="320"/>
                </a:lnTo>
                <a:lnTo>
                  <a:pt x="747" y="303"/>
                </a:lnTo>
                <a:lnTo>
                  <a:pt x="746" y="288"/>
                </a:lnTo>
                <a:lnTo>
                  <a:pt x="746" y="272"/>
                </a:lnTo>
                <a:lnTo>
                  <a:pt x="747" y="259"/>
                </a:lnTo>
                <a:lnTo>
                  <a:pt x="748" y="245"/>
                </a:lnTo>
                <a:lnTo>
                  <a:pt x="751" y="233"/>
                </a:lnTo>
                <a:lnTo>
                  <a:pt x="754" y="222"/>
                </a:lnTo>
                <a:lnTo>
                  <a:pt x="760" y="212"/>
                </a:lnTo>
                <a:lnTo>
                  <a:pt x="767" y="203"/>
                </a:lnTo>
                <a:lnTo>
                  <a:pt x="775" y="196"/>
                </a:lnTo>
                <a:lnTo>
                  <a:pt x="783" y="191"/>
                </a:lnTo>
                <a:lnTo>
                  <a:pt x="805" y="182"/>
                </a:lnTo>
                <a:lnTo>
                  <a:pt x="826" y="175"/>
                </a:lnTo>
                <a:lnTo>
                  <a:pt x="847" y="171"/>
                </a:lnTo>
                <a:lnTo>
                  <a:pt x="867" y="167"/>
                </a:lnTo>
                <a:lnTo>
                  <a:pt x="887" y="166"/>
                </a:lnTo>
                <a:lnTo>
                  <a:pt x="906" y="166"/>
                </a:lnTo>
                <a:lnTo>
                  <a:pt x="925" y="166"/>
                </a:lnTo>
                <a:lnTo>
                  <a:pt x="944" y="168"/>
                </a:lnTo>
                <a:lnTo>
                  <a:pt x="980" y="172"/>
                </a:lnTo>
                <a:lnTo>
                  <a:pt x="1015" y="176"/>
                </a:lnTo>
                <a:lnTo>
                  <a:pt x="1031" y="177"/>
                </a:lnTo>
                <a:lnTo>
                  <a:pt x="1048" y="177"/>
                </a:lnTo>
                <a:lnTo>
                  <a:pt x="1065" y="176"/>
                </a:lnTo>
                <a:lnTo>
                  <a:pt x="1080" y="174"/>
                </a:lnTo>
                <a:lnTo>
                  <a:pt x="1090" y="171"/>
                </a:lnTo>
                <a:lnTo>
                  <a:pt x="1101" y="167"/>
                </a:lnTo>
                <a:lnTo>
                  <a:pt x="1112" y="163"/>
                </a:lnTo>
                <a:lnTo>
                  <a:pt x="1121" y="156"/>
                </a:lnTo>
                <a:lnTo>
                  <a:pt x="1131" y="149"/>
                </a:lnTo>
                <a:lnTo>
                  <a:pt x="1141" y="142"/>
                </a:lnTo>
                <a:lnTo>
                  <a:pt x="1151" y="133"/>
                </a:lnTo>
                <a:lnTo>
                  <a:pt x="1160" y="123"/>
                </a:lnTo>
                <a:lnTo>
                  <a:pt x="1170" y="111"/>
                </a:lnTo>
                <a:lnTo>
                  <a:pt x="1180" y="98"/>
                </a:lnTo>
                <a:lnTo>
                  <a:pt x="1189" y="85"/>
                </a:lnTo>
                <a:lnTo>
                  <a:pt x="1199" y="70"/>
                </a:lnTo>
                <a:lnTo>
                  <a:pt x="1219" y="38"/>
                </a:lnTo>
                <a:lnTo>
                  <a:pt x="124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66" name="Freeform 27">
            <a:extLst>
              <a:ext uri="{FF2B5EF4-FFF2-40B4-BE49-F238E27FC236}">
                <a16:creationId xmlns:a16="http://schemas.microsoft.com/office/drawing/2014/main" id="{F6D5EC85-AB65-4193-9BBC-6CABC14E69C5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726238" y="3857625"/>
            <a:ext cx="200025" cy="172526"/>
          </a:xfrm>
          <a:custGeom>
            <a:avLst/>
            <a:gdLst/>
            <a:ahLst/>
            <a:cxnLst>
              <a:cxn ang="0">
                <a:pos x="489" y="57"/>
              </a:cxn>
              <a:cxn ang="0">
                <a:pos x="461" y="102"/>
              </a:cxn>
              <a:cxn ang="0">
                <a:pos x="451" y="207"/>
              </a:cxn>
              <a:cxn ang="0">
                <a:pos x="411" y="290"/>
              </a:cxn>
              <a:cxn ang="0">
                <a:pos x="289" y="319"/>
              </a:cxn>
              <a:cxn ang="0">
                <a:pos x="246" y="360"/>
              </a:cxn>
              <a:cxn ang="0">
                <a:pos x="238" y="380"/>
              </a:cxn>
              <a:cxn ang="0">
                <a:pos x="198" y="401"/>
              </a:cxn>
              <a:cxn ang="0">
                <a:pos x="179" y="415"/>
              </a:cxn>
              <a:cxn ang="0">
                <a:pos x="156" y="431"/>
              </a:cxn>
              <a:cxn ang="0">
                <a:pos x="129" y="454"/>
              </a:cxn>
              <a:cxn ang="0">
                <a:pos x="104" y="469"/>
              </a:cxn>
              <a:cxn ang="0">
                <a:pos x="83" y="482"/>
              </a:cxn>
              <a:cxn ang="0">
                <a:pos x="31" y="532"/>
              </a:cxn>
              <a:cxn ang="0">
                <a:pos x="17" y="575"/>
              </a:cxn>
              <a:cxn ang="0">
                <a:pos x="41" y="583"/>
              </a:cxn>
              <a:cxn ang="0">
                <a:pos x="65" y="603"/>
              </a:cxn>
              <a:cxn ang="0">
                <a:pos x="94" y="670"/>
              </a:cxn>
              <a:cxn ang="0">
                <a:pos x="105" y="718"/>
              </a:cxn>
              <a:cxn ang="0">
                <a:pos x="128" y="773"/>
              </a:cxn>
              <a:cxn ang="0">
                <a:pos x="162" y="819"/>
              </a:cxn>
              <a:cxn ang="0">
                <a:pos x="203" y="827"/>
              </a:cxn>
              <a:cxn ang="0">
                <a:pos x="322" y="831"/>
              </a:cxn>
              <a:cxn ang="0">
                <a:pos x="339" y="756"/>
              </a:cxn>
              <a:cxn ang="0">
                <a:pos x="382" y="697"/>
              </a:cxn>
              <a:cxn ang="0">
                <a:pos x="398" y="673"/>
              </a:cxn>
              <a:cxn ang="0">
                <a:pos x="413" y="663"/>
              </a:cxn>
              <a:cxn ang="0">
                <a:pos x="450" y="678"/>
              </a:cxn>
              <a:cxn ang="0">
                <a:pos x="466" y="694"/>
              </a:cxn>
              <a:cxn ang="0">
                <a:pos x="484" y="723"/>
              </a:cxn>
              <a:cxn ang="0">
                <a:pos x="511" y="755"/>
              </a:cxn>
              <a:cxn ang="0">
                <a:pos x="527" y="766"/>
              </a:cxn>
              <a:cxn ang="0">
                <a:pos x="555" y="783"/>
              </a:cxn>
              <a:cxn ang="0">
                <a:pos x="655" y="830"/>
              </a:cxn>
              <a:cxn ang="0">
                <a:pos x="732" y="886"/>
              </a:cxn>
              <a:cxn ang="0">
                <a:pos x="781" y="932"/>
              </a:cxn>
              <a:cxn ang="0">
                <a:pos x="835" y="974"/>
              </a:cxn>
              <a:cxn ang="0">
                <a:pos x="883" y="1007"/>
              </a:cxn>
              <a:cxn ang="0">
                <a:pos x="923" y="1034"/>
              </a:cxn>
              <a:cxn ang="0">
                <a:pos x="1000" y="1057"/>
              </a:cxn>
              <a:cxn ang="0">
                <a:pos x="1030" y="1027"/>
              </a:cxn>
              <a:cxn ang="0">
                <a:pos x="1041" y="1008"/>
              </a:cxn>
              <a:cxn ang="0">
                <a:pos x="1075" y="966"/>
              </a:cxn>
              <a:cxn ang="0">
                <a:pos x="1104" y="936"/>
              </a:cxn>
              <a:cxn ang="0">
                <a:pos x="1080" y="889"/>
              </a:cxn>
              <a:cxn ang="0">
                <a:pos x="1039" y="859"/>
              </a:cxn>
              <a:cxn ang="0">
                <a:pos x="1039" y="790"/>
              </a:cxn>
              <a:cxn ang="0">
                <a:pos x="1027" y="719"/>
              </a:cxn>
              <a:cxn ang="0">
                <a:pos x="1000" y="698"/>
              </a:cxn>
              <a:cxn ang="0">
                <a:pos x="940" y="667"/>
              </a:cxn>
              <a:cxn ang="0">
                <a:pos x="894" y="641"/>
              </a:cxn>
              <a:cxn ang="0">
                <a:pos x="883" y="630"/>
              </a:cxn>
              <a:cxn ang="0">
                <a:pos x="863" y="602"/>
              </a:cxn>
              <a:cxn ang="0">
                <a:pos x="834" y="563"/>
              </a:cxn>
              <a:cxn ang="0">
                <a:pos x="827" y="550"/>
              </a:cxn>
              <a:cxn ang="0">
                <a:pos x="790" y="540"/>
              </a:cxn>
              <a:cxn ang="0">
                <a:pos x="702" y="498"/>
              </a:cxn>
              <a:cxn ang="0">
                <a:pos x="664" y="360"/>
              </a:cxn>
              <a:cxn ang="0">
                <a:pos x="645" y="320"/>
              </a:cxn>
              <a:cxn ang="0">
                <a:pos x="634" y="306"/>
              </a:cxn>
              <a:cxn ang="0">
                <a:pos x="594" y="11"/>
              </a:cxn>
            </a:cxnLst>
            <a:rect l="0" t="0" r="r" b="b"/>
            <a:pathLst>
              <a:path w="1105" h="1057">
                <a:moveTo>
                  <a:pt x="536" y="0"/>
                </a:moveTo>
                <a:lnTo>
                  <a:pt x="522" y="13"/>
                </a:lnTo>
                <a:lnTo>
                  <a:pt x="507" y="28"/>
                </a:lnTo>
                <a:lnTo>
                  <a:pt x="500" y="37"/>
                </a:lnTo>
                <a:lnTo>
                  <a:pt x="493" y="45"/>
                </a:lnTo>
                <a:lnTo>
                  <a:pt x="491" y="50"/>
                </a:lnTo>
                <a:lnTo>
                  <a:pt x="490" y="54"/>
                </a:lnTo>
                <a:lnTo>
                  <a:pt x="489" y="57"/>
                </a:lnTo>
                <a:lnTo>
                  <a:pt x="488" y="62"/>
                </a:lnTo>
                <a:lnTo>
                  <a:pt x="482" y="64"/>
                </a:lnTo>
                <a:lnTo>
                  <a:pt x="478" y="66"/>
                </a:lnTo>
                <a:lnTo>
                  <a:pt x="475" y="67"/>
                </a:lnTo>
                <a:lnTo>
                  <a:pt x="474" y="70"/>
                </a:lnTo>
                <a:lnTo>
                  <a:pt x="471" y="74"/>
                </a:lnTo>
                <a:lnTo>
                  <a:pt x="461" y="82"/>
                </a:lnTo>
                <a:lnTo>
                  <a:pt x="461" y="102"/>
                </a:lnTo>
                <a:lnTo>
                  <a:pt x="459" y="105"/>
                </a:lnTo>
                <a:lnTo>
                  <a:pt x="457" y="113"/>
                </a:lnTo>
                <a:lnTo>
                  <a:pt x="455" y="124"/>
                </a:lnTo>
                <a:lnTo>
                  <a:pt x="455" y="138"/>
                </a:lnTo>
                <a:lnTo>
                  <a:pt x="454" y="166"/>
                </a:lnTo>
                <a:lnTo>
                  <a:pt x="454" y="184"/>
                </a:lnTo>
                <a:lnTo>
                  <a:pt x="453" y="195"/>
                </a:lnTo>
                <a:lnTo>
                  <a:pt x="451" y="207"/>
                </a:lnTo>
                <a:lnTo>
                  <a:pt x="447" y="220"/>
                </a:lnTo>
                <a:lnTo>
                  <a:pt x="444" y="233"/>
                </a:lnTo>
                <a:lnTo>
                  <a:pt x="437" y="256"/>
                </a:lnTo>
                <a:lnTo>
                  <a:pt x="434" y="272"/>
                </a:lnTo>
                <a:lnTo>
                  <a:pt x="427" y="278"/>
                </a:lnTo>
                <a:lnTo>
                  <a:pt x="421" y="285"/>
                </a:lnTo>
                <a:lnTo>
                  <a:pt x="415" y="286"/>
                </a:lnTo>
                <a:lnTo>
                  <a:pt x="411" y="290"/>
                </a:lnTo>
                <a:lnTo>
                  <a:pt x="408" y="294"/>
                </a:lnTo>
                <a:lnTo>
                  <a:pt x="407" y="298"/>
                </a:lnTo>
                <a:lnTo>
                  <a:pt x="379" y="301"/>
                </a:lnTo>
                <a:lnTo>
                  <a:pt x="338" y="305"/>
                </a:lnTo>
                <a:lnTo>
                  <a:pt x="318" y="309"/>
                </a:lnTo>
                <a:lnTo>
                  <a:pt x="301" y="313"/>
                </a:lnTo>
                <a:lnTo>
                  <a:pt x="294" y="316"/>
                </a:lnTo>
                <a:lnTo>
                  <a:pt x="289" y="319"/>
                </a:lnTo>
                <a:lnTo>
                  <a:pt x="286" y="322"/>
                </a:lnTo>
                <a:lnTo>
                  <a:pt x="284" y="326"/>
                </a:lnTo>
                <a:lnTo>
                  <a:pt x="271" y="326"/>
                </a:lnTo>
                <a:lnTo>
                  <a:pt x="264" y="333"/>
                </a:lnTo>
                <a:lnTo>
                  <a:pt x="258" y="340"/>
                </a:lnTo>
                <a:lnTo>
                  <a:pt x="258" y="353"/>
                </a:lnTo>
                <a:lnTo>
                  <a:pt x="251" y="360"/>
                </a:lnTo>
                <a:lnTo>
                  <a:pt x="246" y="360"/>
                </a:lnTo>
                <a:lnTo>
                  <a:pt x="245" y="361"/>
                </a:lnTo>
                <a:lnTo>
                  <a:pt x="244" y="362"/>
                </a:lnTo>
                <a:lnTo>
                  <a:pt x="244" y="363"/>
                </a:lnTo>
                <a:lnTo>
                  <a:pt x="244" y="364"/>
                </a:lnTo>
                <a:lnTo>
                  <a:pt x="243" y="365"/>
                </a:lnTo>
                <a:lnTo>
                  <a:pt x="241" y="367"/>
                </a:lnTo>
                <a:lnTo>
                  <a:pt x="238" y="367"/>
                </a:lnTo>
                <a:lnTo>
                  <a:pt x="238" y="380"/>
                </a:lnTo>
                <a:lnTo>
                  <a:pt x="224" y="383"/>
                </a:lnTo>
                <a:lnTo>
                  <a:pt x="210" y="387"/>
                </a:lnTo>
                <a:lnTo>
                  <a:pt x="203" y="393"/>
                </a:lnTo>
                <a:lnTo>
                  <a:pt x="203" y="398"/>
                </a:lnTo>
                <a:lnTo>
                  <a:pt x="202" y="400"/>
                </a:lnTo>
                <a:lnTo>
                  <a:pt x="201" y="400"/>
                </a:lnTo>
                <a:lnTo>
                  <a:pt x="200" y="400"/>
                </a:lnTo>
                <a:lnTo>
                  <a:pt x="198" y="401"/>
                </a:lnTo>
                <a:lnTo>
                  <a:pt x="197" y="401"/>
                </a:lnTo>
                <a:lnTo>
                  <a:pt x="197" y="403"/>
                </a:lnTo>
                <a:lnTo>
                  <a:pt x="196" y="408"/>
                </a:lnTo>
                <a:lnTo>
                  <a:pt x="183" y="408"/>
                </a:lnTo>
                <a:lnTo>
                  <a:pt x="183" y="411"/>
                </a:lnTo>
                <a:lnTo>
                  <a:pt x="182" y="413"/>
                </a:lnTo>
                <a:lnTo>
                  <a:pt x="181" y="413"/>
                </a:lnTo>
                <a:lnTo>
                  <a:pt x="179" y="415"/>
                </a:lnTo>
                <a:lnTo>
                  <a:pt x="178" y="415"/>
                </a:lnTo>
                <a:lnTo>
                  <a:pt x="177" y="415"/>
                </a:lnTo>
                <a:lnTo>
                  <a:pt x="176" y="417"/>
                </a:lnTo>
                <a:lnTo>
                  <a:pt x="176" y="421"/>
                </a:lnTo>
                <a:lnTo>
                  <a:pt x="172" y="421"/>
                </a:lnTo>
                <a:lnTo>
                  <a:pt x="166" y="425"/>
                </a:lnTo>
                <a:lnTo>
                  <a:pt x="161" y="427"/>
                </a:lnTo>
                <a:lnTo>
                  <a:pt x="156" y="431"/>
                </a:lnTo>
                <a:lnTo>
                  <a:pt x="150" y="435"/>
                </a:lnTo>
                <a:lnTo>
                  <a:pt x="146" y="438"/>
                </a:lnTo>
                <a:lnTo>
                  <a:pt x="140" y="440"/>
                </a:lnTo>
                <a:lnTo>
                  <a:pt x="136" y="441"/>
                </a:lnTo>
                <a:lnTo>
                  <a:pt x="135" y="446"/>
                </a:lnTo>
                <a:lnTo>
                  <a:pt x="134" y="449"/>
                </a:lnTo>
                <a:lnTo>
                  <a:pt x="131" y="451"/>
                </a:lnTo>
                <a:lnTo>
                  <a:pt x="129" y="454"/>
                </a:lnTo>
                <a:lnTo>
                  <a:pt x="126" y="456"/>
                </a:lnTo>
                <a:lnTo>
                  <a:pt x="124" y="457"/>
                </a:lnTo>
                <a:lnTo>
                  <a:pt x="123" y="459"/>
                </a:lnTo>
                <a:lnTo>
                  <a:pt x="123" y="461"/>
                </a:lnTo>
                <a:lnTo>
                  <a:pt x="108" y="461"/>
                </a:lnTo>
                <a:lnTo>
                  <a:pt x="108" y="464"/>
                </a:lnTo>
                <a:lnTo>
                  <a:pt x="106" y="467"/>
                </a:lnTo>
                <a:lnTo>
                  <a:pt x="104" y="469"/>
                </a:lnTo>
                <a:lnTo>
                  <a:pt x="101" y="470"/>
                </a:lnTo>
                <a:lnTo>
                  <a:pt x="95" y="474"/>
                </a:lnTo>
                <a:lnTo>
                  <a:pt x="88" y="475"/>
                </a:lnTo>
                <a:lnTo>
                  <a:pt x="88" y="479"/>
                </a:lnTo>
                <a:lnTo>
                  <a:pt x="87" y="482"/>
                </a:lnTo>
                <a:lnTo>
                  <a:pt x="86" y="482"/>
                </a:lnTo>
                <a:lnTo>
                  <a:pt x="85" y="482"/>
                </a:lnTo>
                <a:lnTo>
                  <a:pt x="83" y="482"/>
                </a:lnTo>
                <a:lnTo>
                  <a:pt x="82" y="483"/>
                </a:lnTo>
                <a:lnTo>
                  <a:pt x="81" y="485"/>
                </a:lnTo>
                <a:lnTo>
                  <a:pt x="81" y="488"/>
                </a:lnTo>
                <a:lnTo>
                  <a:pt x="75" y="490"/>
                </a:lnTo>
                <a:lnTo>
                  <a:pt x="67" y="496"/>
                </a:lnTo>
                <a:lnTo>
                  <a:pt x="58" y="504"/>
                </a:lnTo>
                <a:lnTo>
                  <a:pt x="48" y="513"/>
                </a:lnTo>
                <a:lnTo>
                  <a:pt x="31" y="532"/>
                </a:lnTo>
                <a:lnTo>
                  <a:pt x="20" y="543"/>
                </a:lnTo>
                <a:lnTo>
                  <a:pt x="10" y="546"/>
                </a:lnTo>
                <a:lnTo>
                  <a:pt x="0" y="550"/>
                </a:lnTo>
                <a:lnTo>
                  <a:pt x="0" y="570"/>
                </a:lnTo>
                <a:lnTo>
                  <a:pt x="13" y="570"/>
                </a:lnTo>
                <a:lnTo>
                  <a:pt x="14" y="572"/>
                </a:lnTo>
                <a:lnTo>
                  <a:pt x="14" y="574"/>
                </a:lnTo>
                <a:lnTo>
                  <a:pt x="17" y="575"/>
                </a:lnTo>
                <a:lnTo>
                  <a:pt x="18" y="576"/>
                </a:lnTo>
                <a:lnTo>
                  <a:pt x="22" y="576"/>
                </a:lnTo>
                <a:lnTo>
                  <a:pt x="27" y="576"/>
                </a:lnTo>
                <a:lnTo>
                  <a:pt x="28" y="579"/>
                </a:lnTo>
                <a:lnTo>
                  <a:pt x="29" y="581"/>
                </a:lnTo>
                <a:lnTo>
                  <a:pt x="32" y="582"/>
                </a:lnTo>
                <a:lnTo>
                  <a:pt x="34" y="583"/>
                </a:lnTo>
                <a:lnTo>
                  <a:pt x="41" y="583"/>
                </a:lnTo>
                <a:lnTo>
                  <a:pt x="48" y="583"/>
                </a:lnTo>
                <a:lnTo>
                  <a:pt x="48" y="586"/>
                </a:lnTo>
                <a:lnTo>
                  <a:pt x="50" y="590"/>
                </a:lnTo>
                <a:lnTo>
                  <a:pt x="52" y="593"/>
                </a:lnTo>
                <a:lnTo>
                  <a:pt x="56" y="596"/>
                </a:lnTo>
                <a:lnTo>
                  <a:pt x="58" y="599"/>
                </a:lnTo>
                <a:lnTo>
                  <a:pt x="62" y="602"/>
                </a:lnTo>
                <a:lnTo>
                  <a:pt x="65" y="603"/>
                </a:lnTo>
                <a:lnTo>
                  <a:pt x="68" y="604"/>
                </a:lnTo>
                <a:lnTo>
                  <a:pt x="75" y="618"/>
                </a:lnTo>
                <a:lnTo>
                  <a:pt x="75" y="631"/>
                </a:lnTo>
                <a:lnTo>
                  <a:pt x="88" y="644"/>
                </a:lnTo>
                <a:lnTo>
                  <a:pt x="88" y="665"/>
                </a:lnTo>
                <a:lnTo>
                  <a:pt x="90" y="666"/>
                </a:lnTo>
                <a:lnTo>
                  <a:pt x="92" y="667"/>
                </a:lnTo>
                <a:lnTo>
                  <a:pt x="94" y="670"/>
                </a:lnTo>
                <a:lnTo>
                  <a:pt x="95" y="673"/>
                </a:lnTo>
                <a:lnTo>
                  <a:pt x="95" y="682"/>
                </a:lnTo>
                <a:lnTo>
                  <a:pt x="96" y="692"/>
                </a:lnTo>
                <a:lnTo>
                  <a:pt x="97" y="701"/>
                </a:lnTo>
                <a:lnTo>
                  <a:pt x="99" y="710"/>
                </a:lnTo>
                <a:lnTo>
                  <a:pt x="100" y="714"/>
                </a:lnTo>
                <a:lnTo>
                  <a:pt x="102" y="717"/>
                </a:lnTo>
                <a:lnTo>
                  <a:pt x="105" y="718"/>
                </a:lnTo>
                <a:lnTo>
                  <a:pt x="108" y="719"/>
                </a:lnTo>
                <a:lnTo>
                  <a:pt x="109" y="727"/>
                </a:lnTo>
                <a:lnTo>
                  <a:pt x="111" y="734"/>
                </a:lnTo>
                <a:lnTo>
                  <a:pt x="115" y="742"/>
                </a:lnTo>
                <a:lnTo>
                  <a:pt x="118" y="749"/>
                </a:lnTo>
                <a:lnTo>
                  <a:pt x="123" y="757"/>
                </a:lnTo>
                <a:lnTo>
                  <a:pt x="126" y="765"/>
                </a:lnTo>
                <a:lnTo>
                  <a:pt x="128" y="773"/>
                </a:lnTo>
                <a:lnTo>
                  <a:pt x="129" y="779"/>
                </a:lnTo>
                <a:lnTo>
                  <a:pt x="143" y="794"/>
                </a:lnTo>
                <a:lnTo>
                  <a:pt x="143" y="807"/>
                </a:lnTo>
                <a:lnTo>
                  <a:pt x="148" y="809"/>
                </a:lnTo>
                <a:lnTo>
                  <a:pt x="155" y="812"/>
                </a:lnTo>
                <a:lnTo>
                  <a:pt x="158" y="813"/>
                </a:lnTo>
                <a:lnTo>
                  <a:pt x="161" y="815"/>
                </a:lnTo>
                <a:lnTo>
                  <a:pt x="162" y="819"/>
                </a:lnTo>
                <a:lnTo>
                  <a:pt x="163" y="821"/>
                </a:lnTo>
                <a:lnTo>
                  <a:pt x="183" y="821"/>
                </a:lnTo>
                <a:lnTo>
                  <a:pt x="184" y="823"/>
                </a:lnTo>
                <a:lnTo>
                  <a:pt x="185" y="824"/>
                </a:lnTo>
                <a:lnTo>
                  <a:pt x="187" y="825"/>
                </a:lnTo>
                <a:lnTo>
                  <a:pt x="191" y="826"/>
                </a:lnTo>
                <a:lnTo>
                  <a:pt x="197" y="827"/>
                </a:lnTo>
                <a:lnTo>
                  <a:pt x="203" y="827"/>
                </a:lnTo>
                <a:lnTo>
                  <a:pt x="217" y="841"/>
                </a:lnTo>
                <a:lnTo>
                  <a:pt x="242" y="842"/>
                </a:lnTo>
                <a:lnTo>
                  <a:pt x="268" y="844"/>
                </a:lnTo>
                <a:lnTo>
                  <a:pt x="293" y="846"/>
                </a:lnTo>
                <a:lnTo>
                  <a:pt x="319" y="848"/>
                </a:lnTo>
                <a:lnTo>
                  <a:pt x="319" y="834"/>
                </a:lnTo>
                <a:lnTo>
                  <a:pt x="321" y="833"/>
                </a:lnTo>
                <a:lnTo>
                  <a:pt x="322" y="831"/>
                </a:lnTo>
                <a:lnTo>
                  <a:pt x="325" y="826"/>
                </a:lnTo>
                <a:lnTo>
                  <a:pt x="326" y="822"/>
                </a:lnTo>
                <a:lnTo>
                  <a:pt x="328" y="809"/>
                </a:lnTo>
                <a:lnTo>
                  <a:pt x="329" y="794"/>
                </a:lnTo>
                <a:lnTo>
                  <a:pt x="331" y="778"/>
                </a:lnTo>
                <a:lnTo>
                  <a:pt x="335" y="766"/>
                </a:lnTo>
                <a:lnTo>
                  <a:pt x="337" y="761"/>
                </a:lnTo>
                <a:lnTo>
                  <a:pt x="339" y="756"/>
                </a:lnTo>
                <a:lnTo>
                  <a:pt x="342" y="754"/>
                </a:lnTo>
                <a:lnTo>
                  <a:pt x="346" y="753"/>
                </a:lnTo>
                <a:lnTo>
                  <a:pt x="346" y="739"/>
                </a:lnTo>
                <a:lnTo>
                  <a:pt x="353" y="726"/>
                </a:lnTo>
                <a:lnTo>
                  <a:pt x="358" y="721"/>
                </a:lnTo>
                <a:lnTo>
                  <a:pt x="369" y="710"/>
                </a:lnTo>
                <a:lnTo>
                  <a:pt x="376" y="704"/>
                </a:lnTo>
                <a:lnTo>
                  <a:pt x="382" y="697"/>
                </a:lnTo>
                <a:lnTo>
                  <a:pt x="385" y="691"/>
                </a:lnTo>
                <a:lnTo>
                  <a:pt x="386" y="685"/>
                </a:lnTo>
                <a:lnTo>
                  <a:pt x="388" y="685"/>
                </a:lnTo>
                <a:lnTo>
                  <a:pt x="390" y="684"/>
                </a:lnTo>
                <a:lnTo>
                  <a:pt x="393" y="681"/>
                </a:lnTo>
                <a:lnTo>
                  <a:pt x="394" y="678"/>
                </a:lnTo>
                <a:lnTo>
                  <a:pt x="396" y="676"/>
                </a:lnTo>
                <a:lnTo>
                  <a:pt x="398" y="673"/>
                </a:lnTo>
                <a:lnTo>
                  <a:pt x="402" y="672"/>
                </a:lnTo>
                <a:lnTo>
                  <a:pt x="407" y="671"/>
                </a:lnTo>
                <a:lnTo>
                  <a:pt x="407" y="668"/>
                </a:lnTo>
                <a:lnTo>
                  <a:pt x="407" y="666"/>
                </a:lnTo>
                <a:lnTo>
                  <a:pt x="408" y="665"/>
                </a:lnTo>
                <a:lnTo>
                  <a:pt x="411" y="665"/>
                </a:lnTo>
                <a:lnTo>
                  <a:pt x="412" y="665"/>
                </a:lnTo>
                <a:lnTo>
                  <a:pt x="413" y="663"/>
                </a:lnTo>
                <a:lnTo>
                  <a:pt x="413" y="662"/>
                </a:lnTo>
                <a:lnTo>
                  <a:pt x="414" y="658"/>
                </a:lnTo>
                <a:lnTo>
                  <a:pt x="427" y="661"/>
                </a:lnTo>
                <a:lnTo>
                  <a:pt x="441" y="665"/>
                </a:lnTo>
                <a:lnTo>
                  <a:pt x="447" y="671"/>
                </a:lnTo>
                <a:lnTo>
                  <a:pt x="447" y="676"/>
                </a:lnTo>
                <a:lnTo>
                  <a:pt x="449" y="678"/>
                </a:lnTo>
                <a:lnTo>
                  <a:pt x="450" y="678"/>
                </a:lnTo>
                <a:lnTo>
                  <a:pt x="451" y="678"/>
                </a:lnTo>
                <a:lnTo>
                  <a:pt x="452" y="678"/>
                </a:lnTo>
                <a:lnTo>
                  <a:pt x="453" y="679"/>
                </a:lnTo>
                <a:lnTo>
                  <a:pt x="454" y="681"/>
                </a:lnTo>
                <a:lnTo>
                  <a:pt x="454" y="685"/>
                </a:lnTo>
                <a:lnTo>
                  <a:pt x="459" y="686"/>
                </a:lnTo>
                <a:lnTo>
                  <a:pt x="463" y="689"/>
                </a:lnTo>
                <a:lnTo>
                  <a:pt x="466" y="694"/>
                </a:lnTo>
                <a:lnTo>
                  <a:pt x="467" y="699"/>
                </a:lnTo>
                <a:lnTo>
                  <a:pt x="470" y="699"/>
                </a:lnTo>
                <a:lnTo>
                  <a:pt x="473" y="701"/>
                </a:lnTo>
                <a:lnTo>
                  <a:pt x="475" y="704"/>
                </a:lnTo>
                <a:lnTo>
                  <a:pt x="476" y="706"/>
                </a:lnTo>
                <a:lnTo>
                  <a:pt x="480" y="713"/>
                </a:lnTo>
                <a:lnTo>
                  <a:pt x="481" y="719"/>
                </a:lnTo>
                <a:lnTo>
                  <a:pt x="484" y="723"/>
                </a:lnTo>
                <a:lnTo>
                  <a:pt x="491" y="730"/>
                </a:lnTo>
                <a:lnTo>
                  <a:pt x="499" y="739"/>
                </a:lnTo>
                <a:lnTo>
                  <a:pt x="502" y="746"/>
                </a:lnTo>
                <a:lnTo>
                  <a:pt x="504" y="747"/>
                </a:lnTo>
                <a:lnTo>
                  <a:pt x="505" y="748"/>
                </a:lnTo>
                <a:lnTo>
                  <a:pt x="508" y="750"/>
                </a:lnTo>
                <a:lnTo>
                  <a:pt x="509" y="753"/>
                </a:lnTo>
                <a:lnTo>
                  <a:pt x="511" y="755"/>
                </a:lnTo>
                <a:lnTo>
                  <a:pt x="514" y="757"/>
                </a:lnTo>
                <a:lnTo>
                  <a:pt x="518" y="759"/>
                </a:lnTo>
                <a:lnTo>
                  <a:pt x="522" y="759"/>
                </a:lnTo>
                <a:lnTo>
                  <a:pt x="522" y="764"/>
                </a:lnTo>
                <a:lnTo>
                  <a:pt x="523" y="766"/>
                </a:lnTo>
                <a:lnTo>
                  <a:pt x="524" y="766"/>
                </a:lnTo>
                <a:lnTo>
                  <a:pt x="526" y="766"/>
                </a:lnTo>
                <a:lnTo>
                  <a:pt x="527" y="766"/>
                </a:lnTo>
                <a:lnTo>
                  <a:pt x="528" y="767"/>
                </a:lnTo>
                <a:lnTo>
                  <a:pt x="529" y="769"/>
                </a:lnTo>
                <a:lnTo>
                  <a:pt x="529" y="773"/>
                </a:lnTo>
                <a:lnTo>
                  <a:pt x="533" y="774"/>
                </a:lnTo>
                <a:lnTo>
                  <a:pt x="539" y="775"/>
                </a:lnTo>
                <a:lnTo>
                  <a:pt x="543" y="777"/>
                </a:lnTo>
                <a:lnTo>
                  <a:pt x="549" y="779"/>
                </a:lnTo>
                <a:lnTo>
                  <a:pt x="555" y="783"/>
                </a:lnTo>
                <a:lnTo>
                  <a:pt x="559" y="785"/>
                </a:lnTo>
                <a:lnTo>
                  <a:pt x="565" y="786"/>
                </a:lnTo>
                <a:lnTo>
                  <a:pt x="569" y="787"/>
                </a:lnTo>
                <a:lnTo>
                  <a:pt x="576" y="792"/>
                </a:lnTo>
                <a:lnTo>
                  <a:pt x="590" y="800"/>
                </a:lnTo>
                <a:lnTo>
                  <a:pt x="609" y="809"/>
                </a:lnTo>
                <a:lnTo>
                  <a:pt x="632" y="820"/>
                </a:lnTo>
                <a:lnTo>
                  <a:pt x="655" y="830"/>
                </a:lnTo>
                <a:lnTo>
                  <a:pt x="676" y="839"/>
                </a:lnTo>
                <a:lnTo>
                  <a:pt x="693" y="845"/>
                </a:lnTo>
                <a:lnTo>
                  <a:pt x="705" y="848"/>
                </a:lnTo>
                <a:lnTo>
                  <a:pt x="712" y="854"/>
                </a:lnTo>
                <a:lnTo>
                  <a:pt x="713" y="861"/>
                </a:lnTo>
                <a:lnTo>
                  <a:pt x="718" y="868"/>
                </a:lnTo>
                <a:lnTo>
                  <a:pt x="724" y="877"/>
                </a:lnTo>
                <a:lnTo>
                  <a:pt x="732" y="886"/>
                </a:lnTo>
                <a:lnTo>
                  <a:pt x="740" y="893"/>
                </a:lnTo>
                <a:lnTo>
                  <a:pt x="745" y="902"/>
                </a:lnTo>
                <a:lnTo>
                  <a:pt x="751" y="910"/>
                </a:lnTo>
                <a:lnTo>
                  <a:pt x="752" y="916"/>
                </a:lnTo>
                <a:lnTo>
                  <a:pt x="759" y="922"/>
                </a:lnTo>
                <a:lnTo>
                  <a:pt x="769" y="926"/>
                </a:lnTo>
                <a:lnTo>
                  <a:pt x="779" y="929"/>
                </a:lnTo>
                <a:lnTo>
                  <a:pt x="781" y="932"/>
                </a:lnTo>
                <a:lnTo>
                  <a:pt x="787" y="938"/>
                </a:lnTo>
                <a:lnTo>
                  <a:pt x="795" y="945"/>
                </a:lnTo>
                <a:lnTo>
                  <a:pt x="804" y="952"/>
                </a:lnTo>
                <a:lnTo>
                  <a:pt x="814" y="959"/>
                </a:lnTo>
                <a:lnTo>
                  <a:pt x="822" y="965"/>
                </a:lnTo>
                <a:lnTo>
                  <a:pt x="829" y="968"/>
                </a:lnTo>
                <a:lnTo>
                  <a:pt x="834" y="969"/>
                </a:lnTo>
                <a:lnTo>
                  <a:pt x="835" y="974"/>
                </a:lnTo>
                <a:lnTo>
                  <a:pt x="839" y="978"/>
                </a:lnTo>
                <a:lnTo>
                  <a:pt x="845" y="984"/>
                </a:lnTo>
                <a:lnTo>
                  <a:pt x="853" y="989"/>
                </a:lnTo>
                <a:lnTo>
                  <a:pt x="860" y="995"/>
                </a:lnTo>
                <a:lnTo>
                  <a:pt x="868" y="999"/>
                </a:lnTo>
                <a:lnTo>
                  <a:pt x="875" y="1003"/>
                </a:lnTo>
                <a:lnTo>
                  <a:pt x="882" y="1004"/>
                </a:lnTo>
                <a:lnTo>
                  <a:pt x="883" y="1007"/>
                </a:lnTo>
                <a:lnTo>
                  <a:pt x="885" y="1011"/>
                </a:lnTo>
                <a:lnTo>
                  <a:pt x="891" y="1015"/>
                </a:lnTo>
                <a:lnTo>
                  <a:pt x="896" y="1019"/>
                </a:lnTo>
                <a:lnTo>
                  <a:pt x="903" y="1024"/>
                </a:lnTo>
                <a:lnTo>
                  <a:pt x="910" y="1027"/>
                </a:lnTo>
                <a:lnTo>
                  <a:pt x="916" y="1029"/>
                </a:lnTo>
                <a:lnTo>
                  <a:pt x="922" y="1031"/>
                </a:lnTo>
                <a:lnTo>
                  <a:pt x="923" y="1034"/>
                </a:lnTo>
                <a:lnTo>
                  <a:pt x="925" y="1037"/>
                </a:lnTo>
                <a:lnTo>
                  <a:pt x="929" y="1041"/>
                </a:lnTo>
                <a:lnTo>
                  <a:pt x="933" y="1044"/>
                </a:lnTo>
                <a:lnTo>
                  <a:pt x="944" y="1048"/>
                </a:lnTo>
                <a:lnTo>
                  <a:pt x="959" y="1052"/>
                </a:lnTo>
                <a:lnTo>
                  <a:pt x="973" y="1055"/>
                </a:lnTo>
                <a:lnTo>
                  <a:pt x="988" y="1056"/>
                </a:lnTo>
                <a:lnTo>
                  <a:pt x="1000" y="1057"/>
                </a:lnTo>
                <a:lnTo>
                  <a:pt x="1010" y="1057"/>
                </a:lnTo>
                <a:lnTo>
                  <a:pt x="1017" y="1051"/>
                </a:lnTo>
                <a:lnTo>
                  <a:pt x="1020" y="1041"/>
                </a:lnTo>
                <a:lnTo>
                  <a:pt x="1023" y="1031"/>
                </a:lnTo>
                <a:lnTo>
                  <a:pt x="1028" y="1031"/>
                </a:lnTo>
                <a:lnTo>
                  <a:pt x="1029" y="1029"/>
                </a:lnTo>
                <a:lnTo>
                  <a:pt x="1030" y="1028"/>
                </a:lnTo>
                <a:lnTo>
                  <a:pt x="1030" y="1027"/>
                </a:lnTo>
                <a:lnTo>
                  <a:pt x="1030" y="1026"/>
                </a:lnTo>
                <a:lnTo>
                  <a:pt x="1031" y="1025"/>
                </a:lnTo>
                <a:lnTo>
                  <a:pt x="1033" y="1024"/>
                </a:lnTo>
                <a:lnTo>
                  <a:pt x="1037" y="1024"/>
                </a:lnTo>
                <a:lnTo>
                  <a:pt x="1037" y="1019"/>
                </a:lnTo>
                <a:lnTo>
                  <a:pt x="1038" y="1015"/>
                </a:lnTo>
                <a:lnTo>
                  <a:pt x="1039" y="1012"/>
                </a:lnTo>
                <a:lnTo>
                  <a:pt x="1041" y="1008"/>
                </a:lnTo>
                <a:lnTo>
                  <a:pt x="1046" y="1002"/>
                </a:lnTo>
                <a:lnTo>
                  <a:pt x="1050" y="997"/>
                </a:lnTo>
                <a:lnTo>
                  <a:pt x="1050" y="984"/>
                </a:lnTo>
                <a:lnTo>
                  <a:pt x="1057" y="977"/>
                </a:lnTo>
                <a:lnTo>
                  <a:pt x="1071" y="977"/>
                </a:lnTo>
                <a:lnTo>
                  <a:pt x="1071" y="973"/>
                </a:lnTo>
                <a:lnTo>
                  <a:pt x="1073" y="968"/>
                </a:lnTo>
                <a:lnTo>
                  <a:pt x="1075" y="966"/>
                </a:lnTo>
                <a:lnTo>
                  <a:pt x="1078" y="964"/>
                </a:lnTo>
                <a:lnTo>
                  <a:pt x="1080" y="963"/>
                </a:lnTo>
                <a:lnTo>
                  <a:pt x="1083" y="960"/>
                </a:lnTo>
                <a:lnTo>
                  <a:pt x="1084" y="958"/>
                </a:lnTo>
                <a:lnTo>
                  <a:pt x="1085" y="956"/>
                </a:lnTo>
                <a:lnTo>
                  <a:pt x="1098" y="956"/>
                </a:lnTo>
                <a:lnTo>
                  <a:pt x="1105" y="949"/>
                </a:lnTo>
                <a:lnTo>
                  <a:pt x="1104" y="936"/>
                </a:lnTo>
                <a:lnTo>
                  <a:pt x="1102" y="920"/>
                </a:lnTo>
                <a:lnTo>
                  <a:pt x="1099" y="904"/>
                </a:lnTo>
                <a:lnTo>
                  <a:pt x="1098" y="896"/>
                </a:lnTo>
                <a:lnTo>
                  <a:pt x="1085" y="896"/>
                </a:lnTo>
                <a:lnTo>
                  <a:pt x="1084" y="893"/>
                </a:lnTo>
                <a:lnTo>
                  <a:pt x="1084" y="891"/>
                </a:lnTo>
                <a:lnTo>
                  <a:pt x="1081" y="890"/>
                </a:lnTo>
                <a:lnTo>
                  <a:pt x="1080" y="889"/>
                </a:lnTo>
                <a:lnTo>
                  <a:pt x="1076" y="889"/>
                </a:lnTo>
                <a:lnTo>
                  <a:pt x="1071" y="889"/>
                </a:lnTo>
                <a:lnTo>
                  <a:pt x="1069" y="886"/>
                </a:lnTo>
                <a:lnTo>
                  <a:pt x="1066" y="880"/>
                </a:lnTo>
                <a:lnTo>
                  <a:pt x="1060" y="874"/>
                </a:lnTo>
                <a:lnTo>
                  <a:pt x="1054" y="869"/>
                </a:lnTo>
                <a:lnTo>
                  <a:pt x="1046" y="863"/>
                </a:lnTo>
                <a:lnTo>
                  <a:pt x="1039" y="859"/>
                </a:lnTo>
                <a:lnTo>
                  <a:pt x="1033" y="855"/>
                </a:lnTo>
                <a:lnTo>
                  <a:pt x="1030" y="854"/>
                </a:lnTo>
                <a:lnTo>
                  <a:pt x="1030" y="839"/>
                </a:lnTo>
                <a:lnTo>
                  <a:pt x="1032" y="815"/>
                </a:lnTo>
                <a:lnTo>
                  <a:pt x="1033" y="805"/>
                </a:lnTo>
                <a:lnTo>
                  <a:pt x="1036" y="795"/>
                </a:lnTo>
                <a:lnTo>
                  <a:pt x="1038" y="792"/>
                </a:lnTo>
                <a:lnTo>
                  <a:pt x="1039" y="790"/>
                </a:lnTo>
                <a:lnTo>
                  <a:pt x="1041" y="787"/>
                </a:lnTo>
                <a:lnTo>
                  <a:pt x="1044" y="787"/>
                </a:lnTo>
                <a:lnTo>
                  <a:pt x="1044" y="733"/>
                </a:lnTo>
                <a:lnTo>
                  <a:pt x="1030" y="726"/>
                </a:lnTo>
                <a:lnTo>
                  <a:pt x="1030" y="721"/>
                </a:lnTo>
                <a:lnTo>
                  <a:pt x="1029" y="720"/>
                </a:lnTo>
                <a:lnTo>
                  <a:pt x="1028" y="719"/>
                </a:lnTo>
                <a:lnTo>
                  <a:pt x="1027" y="719"/>
                </a:lnTo>
                <a:lnTo>
                  <a:pt x="1026" y="719"/>
                </a:lnTo>
                <a:lnTo>
                  <a:pt x="1025" y="718"/>
                </a:lnTo>
                <a:lnTo>
                  <a:pt x="1023" y="716"/>
                </a:lnTo>
                <a:lnTo>
                  <a:pt x="1023" y="713"/>
                </a:lnTo>
                <a:lnTo>
                  <a:pt x="1017" y="710"/>
                </a:lnTo>
                <a:lnTo>
                  <a:pt x="1008" y="705"/>
                </a:lnTo>
                <a:lnTo>
                  <a:pt x="1003" y="701"/>
                </a:lnTo>
                <a:lnTo>
                  <a:pt x="1000" y="698"/>
                </a:lnTo>
                <a:lnTo>
                  <a:pt x="997" y="695"/>
                </a:lnTo>
                <a:lnTo>
                  <a:pt x="997" y="692"/>
                </a:lnTo>
                <a:lnTo>
                  <a:pt x="983" y="685"/>
                </a:lnTo>
                <a:lnTo>
                  <a:pt x="974" y="684"/>
                </a:lnTo>
                <a:lnTo>
                  <a:pt x="966" y="681"/>
                </a:lnTo>
                <a:lnTo>
                  <a:pt x="958" y="677"/>
                </a:lnTo>
                <a:lnTo>
                  <a:pt x="949" y="671"/>
                </a:lnTo>
                <a:lnTo>
                  <a:pt x="940" y="667"/>
                </a:lnTo>
                <a:lnTo>
                  <a:pt x="931" y="662"/>
                </a:lnTo>
                <a:lnTo>
                  <a:pt x="923" y="659"/>
                </a:lnTo>
                <a:lnTo>
                  <a:pt x="915" y="658"/>
                </a:lnTo>
                <a:lnTo>
                  <a:pt x="910" y="653"/>
                </a:lnTo>
                <a:lnTo>
                  <a:pt x="905" y="649"/>
                </a:lnTo>
                <a:lnTo>
                  <a:pt x="900" y="646"/>
                </a:lnTo>
                <a:lnTo>
                  <a:pt x="895" y="644"/>
                </a:lnTo>
                <a:lnTo>
                  <a:pt x="894" y="641"/>
                </a:lnTo>
                <a:lnTo>
                  <a:pt x="894" y="639"/>
                </a:lnTo>
                <a:lnTo>
                  <a:pt x="893" y="638"/>
                </a:lnTo>
                <a:lnTo>
                  <a:pt x="892" y="638"/>
                </a:lnTo>
                <a:lnTo>
                  <a:pt x="889" y="638"/>
                </a:lnTo>
                <a:lnTo>
                  <a:pt x="889" y="637"/>
                </a:lnTo>
                <a:lnTo>
                  <a:pt x="888" y="634"/>
                </a:lnTo>
                <a:lnTo>
                  <a:pt x="888" y="631"/>
                </a:lnTo>
                <a:lnTo>
                  <a:pt x="883" y="630"/>
                </a:lnTo>
                <a:lnTo>
                  <a:pt x="878" y="627"/>
                </a:lnTo>
                <a:lnTo>
                  <a:pt x="875" y="622"/>
                </a:lnTo>
                <a:lnTo>
                  <a:pt x="874" y="618"/>
                </a:lnTo>
                <a:lnTo>
                  <a:pt x="872" y="617"/>
                </a:lnTo>
                <a:lnTo>
                  <a:pt x="869" y="615"/>
                </a:lnTo>
                <a:lnTo>
                  <a:pt x="868" y="613"/>
                </a:lnTo>
                <a:lnTo>
                  <a:pt x="866" y="610"/>
                </a:lnTo>
                <a:lnTo>
                  <a:pt x="863" y="602"/>
                </a:lnTo>
                <a:lnTo>
                  <a:pt x="860" y="593"/>
                </a:lnTo>
                <a:lnTo>
                  <a:pt x="856" y="585"/>
                </a:lnTo>
                <a:lnTo>
                  <a:pt x="853" y="577"/>
                </a:lnTo>
                <a:lnTo>
                  <a:pt x="850" y="574"/>
                </a:lnTo>
                <a:lnTo>
                  <a:pt x="847" y="572"/>
                </a:lnTo>
                <a:lnTo>
                  <a:pt x="844" y="571"/>
                </a:lnTo>
                <a:lnTo>
                  <a:pt x="840" y="570"/>
                </a:lnTo>
                <a:lnTo>
                  <a:pt x="834" y="563"/>
                </a:lnTo>
                <a:lnTo>
                  <a:pt x="834" y="560"/>
                </a:lnTo>
                <a:lnTo>
                  <a:pt x="833" y="557"/>
                </a:lnTo>
                <a:lnTo>
                  <a:pt x="831" y="556"/>
                </a:lnTo>
                <a:lnTo>
                  <a:pt x="830" y="556"/>
                </a:lnTo>
                <a:lnTo>
                  <a:pt x="829" y="556"/>
                </a:lnTo>
                <a:lnTo>
                  <a:pt x="828" y="555"/>
                </a:lnTo>
                <a:lnTo>
                  <a:pt x="827" y="554"/>
                </a:lnTo>
                <a:lnTo>
                  <a:pt x="827" y="550"/>
                </a:lnTo>
                <a:lnTo>
                  <a:pt x="814" y="550"/>
                </a:lnTo>
                <a:lnTo>
                  <a:pt x="812" y="547"/>
                </a:lnTo>
                <a:lnTo>
                  <a:pt x="811" y="546"/>
                </a:lnTo>
                <a:lnTo>
                  <a:pt x="809" y="544"/>
                </a:lnTo>
                <a:lnTo>
                  <a:pt x="806" y="544"/>
                </a:lnTo>
                <a:lnTo>
                  <a:pt x="799" y="543"/>
                </a:lnTo>
                <a:lnTo>
                  <a:pt x="793" y="543"/>
                </a:lnTo>
                <a:lnTo>
                  <a:pt x="790" y="540"/>
                </a:lnTo>
                <a:lnTo>
                  <a:pt x="782" y="536"/>
                </a:lnTo>
                <a:lnTo>
                  <a:pt x="771" y="532"/>
                </a:lnTo>
                <a:lnTo>
                  <a:pt x="758" y="527"/>
                </a:lnTo>
                <a:lnTo>
                  <a:pt x="730" y="519"/>
                </a:lnTo>
                <a:lnTo>
                  <a:pt x="712" y="516"/>
                </a:lnTo>
                <a:lnTo>
                  <a:pt x="712" y="503"/>
                </a:lnTo>
                <a:lnTo>
                  <a:pt x="706" y="500"/>
                </a:lnTo>
                <a:lnTo>
                  <a:pt x="702" y="498"/>
                </a:lnTo>
                <a:lnTo>
                  <a:pt x="700" y="494"/>
                </a:lnTo>
                <a:lnTo>
                  <a:pt x="699" y="488"/>
                </a:lnTo>
                <a:lnTo>
                  <a:pt x="684" y="475"/>
                </a:lnTo>
                <a:lnTo>
                  <a:pt x="671" y="461"/>
                </a:lnTo>
                <a:lnTo>
                  <a:pt x="671" y="367"/>
                </a:lnTo>
                <a:lnTo>
                  <a:pt x="668" y="365"/>
                </a:lnTo>
                <a:lnTo>
                  <a:pt x="666" y="363"/>
                </a:lnTo>
                <a:lnTo>
                  <a:pt x="664" y="360"/>
                </a:lnTo>
                <a:lnTo>
                  <a:pt x="662" y="355"/>
                </a:lnTo>
                <a:lnTo>
                  <a:pt x="658" y="346"/>
                </a:lnTo>
                <a:lnTo>
                  <a:pt x="657" y="340"/>
                </a:lnTo>
                <a:lnTo>
                  <a:pt x="655" y="339"/>
                </a:lnTo>
                <a:lnTo>
                  <a:pt x="653" y="336"/>
                </a:lnTo>
                <a:lnTo>
                  <a:pt x="651" y="333"/>
                </a:lnTo>
                <a:lnTo>
                  <a:pt x="648" y="329"/>
                </a:lnTo>
                <a:lnTo>
                  <a:pt x="645" y="320"/>
                </a:lnTo>
                <a:lnTo>
                  <a:pt x="644" y="313"/>
                </a:lnTo>
                <a:lnTo>
                  <a:pt x="639" y="312"/>
                </a:lnTo>
                <a:lnTo>
                  <a:pt x="638" y="312"/>
                </a:lnTo>
                <a:lnTo>
                  <a:pt x="637" y="311"/>
                </a:lnTo>
                <a:lnTo>
                  <a:pt x="637" y="309"/>
                </a:lnTo>
                <a:lnTo>
                  <a:pt x="637" y="307"/>
                </a:lnTo>
                <a:lnTo>
                  <a:pt x="636" y="306"/>
                </a:lnTo>
                <a:lnTo>
                  <a:pt x="634" y="306"/>
                </a:lnTo>
                <a:lnTo>
                  <a:pt x="630" y="305"/>
                </a:lnTo>
                <a:lnTo>
                  <a:pt x="630" y="28"/>
                </a:lnTo>
                <a:lnTo>
                  <a:pt x="617" y="28"/>
                </a:lnTo>
                <a:lnTo>
                  <a:pt x="617" y="14"/>
                </a:lnTo>
                <a:lnTo>
                  <a:pt x="607" y="14"/>
                </a:lnTo>
                <a:lnTo>
                  <a:pt x="597" y="14"/>
                </a:lnTo>
                <a:lnTo>
                  <a:pt x="596" y="12"/>
                </a:lnTo>
                <a:lnTo>
                  <a:pt x="594" y="11"/>
                </a:lnTo>
                <a:lnTo>
                  <a:pt x="589" y="9"/>
                </a:lnTo>
                <a:lnTo>
                  <a:pt x="586" y="8"/>
                </a:lnTo>
                <a:lnTo>
                  <a:pt x="577" y="7"/>
                </a:lnTo>
                <a:lnTo>
                  <a:pt x="569" y="7"/>
                </a:lnTo>
                <a:lnTo>
                  <a:pt x="53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67" name="Freeform 28">
            <a:extLst>
              <a:ext uri="{FF2B5EF4-FFF2-40B4-BE49-F238E27FC236}">
                <a16:creationId xmlns:a16="http://schemas.microsoft.com/office/drawing/2014/main" id="{BEB2C58E-22F4-4578-95F4-B93EDF0045A7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859588" y="3873500"/>
            <a:ext cx="47625" cy="74547"/>
          </a:xfrm>
          <a:custGeom>
            <a:avLst/>
            <a:gdLst/>
            <a:ahLst/>
            <a:cxnLst>
              <a:cxn ang="0">
                <a:pos x="12" y="42"/>
              </a:cxn>
              <a:cxn ang="0">
                <a:pos x="0" y="65"/>
              </a:cxn>
              <a:cxn ang="0">
                <a:pos x="0" y="93"/>
              </a:cxn>
              <a:cxn ang="0">
                <a:pos x="13" y="122"/>
              </a:cxn>
              <a:cxn ang="0">
                <a:pos x="20" y="133"/>
              </a:cxn>
              <a:cxn ang="0">
                <a:pos x="27" y="166"/>
              </a:cxn>
              <a:cxn ang="0">
                <a:pos x="27" y="211"/>
              </a:cxn>
              <a:cxn ang="0">
                <a:pos x="44" y="254"/>
              </a:cxn>
              <a:cxn ang="0">
                <a:pos x="54" y="276"/>
              </a:cxn>
              <a:cxn ang="0">
                <a:pos x="75" y="309"/>
              </a:cxn>
              <a:cxn ang="0">
                <a:pos x="81" y="313"/>
              </a:cxn>
              <a:cxn ang="0">
                <a:pos x="88" y="316"/>
              </a:cxn>
              <a:cxn ang="0">
                <a:pos x="122" y="356"/>
              </a:cxn>
              <a:cxn ang="0">
                <a:pos x="137" y="383"/>
              </a:cxn>
              <a:cxn ang="0">
                <a:pos x="148" y="397"/>
              </a:cxn>
              <a:cxn ang="0">
                <a:pos x="173" y="420"/>
              </a:cxn>
              <a:cxn ang="0">
                <a:pos x="185" y="429"/>
              </a:cxn>
              <a:cxn ang="0">
                <a:pos x="194" y="436"/>
              </a:cxn>
              <a:cxn ang="0">
                <a:pos x="213" y="448"/>
              </a:cxn>
              <a:cxn ang="0">
                <a:pos x="230" y="459"/>
              </a:cxn>
              <a:cxn ang="0">
                <a:pos x="278" y="444"/>
              </a:cxn>
              <a:cxn ang="0">
                <a:pos x="278" y="421"/>
              </a:cxn>
              <a:cxn ang="0">
                <a:pos x="278" y="404"/>
              </a:cxn>
              <a:cxn ang="0">
                <a:pos x="278" y="384"/>
              </a:cxn>
              <a:cxn ang="0">
                <a:pos x="278" y="367"/>
              </a:cxn>
              <a:cxn ang="0">
                <a:pos x="278" y="349"/>
              </a:cxn>
              <a:cxn ang="0">
                <a:pos x="278" y="302"/>
              </a:cxn>
              <a:cxn ang="0">
                <a:pos x="278" y="261"/>
              </a:cxn>
              <a:cxn ang="0">
                <a:pos x="278" y="234"/>
              </a:cxn>
              <a:cxn ang="0">
                <a:pos x="269" y="206"/>
              </a:cxn>
              <a:cxn ang="0">
                <a:pos x="265" y="193"/>
              </a:cxn>
              <a:cxn ang="0">
                <a:pos x="258" y="185"/>
              </a:cxn>
              <a:cxn ang="0">
                <a:pos x="254" y="181"/>
              </a:cxn>
              <a:cxn ang="0">
                <a:pos x="241" y="156"/>
              </a:cxn>
              <a:cxn ang="0">
                <a:pos x="228" y="142"/>
              </a:cxn>
              <a:cxn ang="0">
                <a:pos x="218" y="132"/>
              </a:cxn>
              <a:cxn ang="0">
                <a:pos x="215" y="127"/>
              </a:cxn>
              <a:cxn ang="0">
                <a:pos x="205" y="113"/>
              </a:cxn>
              <a:cxn ang="0">
                <a:pos x="203" y="108"/>
              </a:cxn>
              <a:cxn ang="0">
                <a:pos x="196" y="96"/>
              </a:cxn>
              <a:cxn ang="0">
                <a:pos x="175" y="77"/>
              </a:cxn>
              <a:cxn ang="0">
                <a:pos x="166" y="69"/>
              </a:cxn>
              <a:cxn ang="0">
                <a:pos x="155" y="51"/>
              </a:cxn>
              <a:cxn ang="0">
                <a:pos x="122" y="45"/>
              </a:cxn>
              <a:cxn ang="0">
                <a:pos x="118" y="38"/>
              </a:cxn>
              <a:cxn ang="0">
                <a:pos x="115" y="31"/>
              </a:cxn>
              <a:cxn ang="0">
                <a:pos x="99" y="25"/>
              </a:cxn>
              <a:cxn ang="0">
                <a:pos x="95" y="21"/>
              </a:cxn>
              <a:cxn ang="0">
                <a:pos x="78" y="10"/>
              </a:cxn>
              <a:cxn ang="0">
                <a:pos x="40" y="0"/>
              </a:cxn>
            </a:cxnLst>
            <a:rect l="0" t="0" r="r" b="b"/>
            <a:pathLst>
              <a:path w="278" h="459">
                <a:moveTo>
                  <a:pt x="40" y="0"/>
                </a:moveTo>
                <a:lnTo>
                  <a:pt x="30" y="13"/>
                </a:lnTo>
                <a:lnTo>
                  <a:pt x="21" y="29"/>
                </a:lnTo>
                <a:lnTo>
                  <a:pt x="12" y="42"/>
                </a:lnTo>
                <a:lnTo>
                  <a:pt x="7" y="51"/>
                </a:lnTo>
                <a:lnTo>
                  <a:pt x="7" y="65"/>
                </a:lnTo>
                <a:lnTo>
                  <a:pt x="3" y="65"/>
                </a:lnTo>
                <a:lnTo>
                  <a:pt x="0" y="65"/>
                </a:lnTo>
                <a:lnTo>
                  <a:pt x="0" y="71"/>
                </a:lnTo>
                <a:lnTo>
                  <a:pt x="0" y="75"/>
                </a:lnTo>
                <a:lnTo>
                  <a:pt x="0" y="79"/>
                </a:lnTo>
                <a:lnTo>
                  <a:pt x="0" y="93"/>
                </a:lnTo>
                <a:lnTo>
                  <a:pt x="0" y="106"/>
                </a:lnTo>
                <a:lnTo>
                  <a:pt x="7" y="106"/>
                </a:lnTo>
                <a:lnTo>
                  <a:pt x="10" y="113"/>
                </a:lnTo>
                <a:lnTo>
                  <a:pt x="13" y="122"/>
                </a:lnTo>
                <a:lnTo>
                  <a:pt x="14" y="126"/>
                </a:lnTo>
                <a:lnTo>
                  <a:pt x="16" y="129"/>
                </a:lnTo>
                <a:lnTo>
                  <a:pt x="18" y="132"/>
                </a:lnTo>
                <a:lnTo>
                  <a:pt x="20" y="133"/>
                </a:lnTo>
                <a:lnTo>
                  <a:pt x="20" y="146"/>
                </a:lnTo>
                <a:lnTo>
                  <a:pt x="20" y="160"/>
                </a:lnTo>
                <a:lnTo>
                  <a:pt x="27" y="160"/>
                </a:lnTo>
                <a:lnTo>
                  <a:pt x="27" y="166"/>
                </a:lnTo>
                <a:lnTo>
                  <a:pt x="27" y="174"/>
                </a:lnTo>
                <a:lnTo>
                  <a:pt x="27" y="188"/>
                </a:lnTo>
                <a:lnTo>
                  <a:pt x="27" y="201"/>
                </a:lnTo>
                <a:lnTo>
                  <a:pt x="27" y="211"/>
                </a:lnTo>
                <a:lnTo>
                  <a:pt x="27" y="221"/>
                </a:lnTo>
                <a:lnTo>
                  <a:pt x="33" y="234"/>
                </a:lnTo>
                <a:lnTo>
                  <a:pt x="40" y="248"/>
                </a:lnTo>
                <a:lnTo>
                  <a:pt x="44" y="254"/>
                </a:lnTo>
                <a:lnTo>
                  <a:pt x="47" y="261"/>
                </a:lnTo>
                <a:lnTo>
                  <a:pt x="47" y="269"/>
                </a:lnTo>
                <a:lnTo>
                  <a:pt x="50" y="272"/>
                </a:lnTo>
                <a:lnTo>
                  <a:pt x="54" y="276"/>
                </a:lnTo>
                <a:lnTo>
                  <a:pt x="60" y="282"/>
                </a:lnTo>
                <a:lnTo>
                  <a:pt x="67" y="289"/>
                </a:lnTo>
                <a:lnTo>
                  <a:pt x="70" y="299"/>
                </a:lnTo>
                <a:lnTo>
                  <a:pt x="75" y="309"/>
                </a:lnTo>
                <a:lnTo>
                  <a:pt x="78" y="309"/>
                </a:lnTo>
                <a:lnTo>
                  <a:pt x="80" y="310"/>
                </a:lnTo>
                <a:lnTo>
                  <a:pt x="80" y="311"/>
                </a:lnTo>
                <a:lnTo>
                  <a:pt x="81" y="313"/>
                </a:lnTo>
                <a:lnTo>
                  <a:pt x="81" y="314"/>
                </a:lnTo>
                <a:lnTo>
                  <a:pt x="81" y="315"/>
                </a:lnTo>
                <a:lnTo>
                  <a:pt x="84" y="316"/>
                </a:lnTo>
                <a:lnTo>
                  <a:pt x="88" y="316"/>
                </a:lnTo>
                <a:lnTo>
                  <a:pt x="95" y="329"/>
                </a:lnTo>
                <a:lnTo>
                  <a:pt x="102" y="343"/>
                </a:lnTo>
                <a:lnTo>
                  <a:pt x="115" y="349"/>
                </a:lnTo>
                <a:lnTo>
                  <a:pt x="122" y="356"/>
                </a:lnTo>
                <a:lnTo>
                  <a:pt x="122" y="371"/>
                </a:lnTo>
                <a:lnTo>
                  <a:pt x="127" y="375"/>
                </a:lnTo>
                <a:lnTo>
                  <a:pt x="132" y="379"/>
                </a:lnTo>
                <a:lnTo>
                  <a:pt x="137" y="383"/>
                </a:lnTo>
                <a:lnTo>
                  <a:pt x="142" y="384"/>
                </a:lnTo>
                <a:lnTo>
                  <a:pt x="142" y="391"/>
                </a:lnTo>
                <a:lnTo>
                  <a:pt x="145" y="394"/>
                </a:lnTo>
                <a:lnTo>
                  <a:pt x="148" y="397"/>
                </a:lnTo>
                <a:lnTo>
                  <a:pt x="155" y="404"/>
                </a:lnTo>
                <a:lnTo>
                  <a:pt x="162" y="411"/>
                </a:lnTo>
                <a:lnTo>
                  <a:pt x="167" y="415"/>
                </a:lnTo>
                <a:lnTo>
                  <a:pt x="173" y="420"/>
                </a:lnTo>
                <a:lnTo>
                  <a:pt x="177" y="423"/>
                </a:lnTo>
                <a:lnTo>
                  <a:pt x="183" y="424"/>
                </a:lnTo>
                <a:lnTo>
                  <a:pt x="183" y="426"/>
                </a:lnTo>
                <a:lnTo>
                  <a:pt x="185" y="429"/>
                </a:lnTo>
                <a:lnTo>
                  <a:pt x="186" y="430"/>
                </a:lnTo>
                <a:lnTo>
                  <a:pt x="190" y="432"/>
                </a:lnTo>
                <a:lnTo>
                  <a:pt x="192" y="434"/>
                </a:lnTo>
                <a:lnTo>
                  <a:pt x="194" y="436"/>
                </a:lnTo>
                <a:lnTo>
                  <a:pt x="195" y="440"/>
                </a:lnTo>
                <a:lnTo>
                  <a:pt x="196" y="444"/>
                </a:lnTo>
                <a:lnTo>
                  <a:pt x="210" y="444"/>
                </a:lnTo>
                <a:lnTo>
                  <a:pt x="213" y="448"/>
                </a:lnTo>
                <a:lnTo>
                  <a:pt x="217" y="451"/>
                </a:lnTo>
                <a:lnTo>
                  <a:pt x="223" y="459"/>
                </a:lnTo>
                <a:lnTo>
                  <a:pt x="227" y="459"/>
                </a:lnTo>
                <a:lnTo>
                  <a:pt x="230" y="459"/>
                </a:lnTo>
                <a:lnTo>
                  <a:pt x="237" y="459"/>
                </a:lnTo>
                <a:lnTo>
                  <a:pt x="250" y="459"/>
                </a:lnTo>
                <a:lnTo>
                  <a:pt x="265" y="459"/>
                </a:lnTo>
                <a:lnTo>
                  <a:pt x="278" y="444"/>
                </a:lnTo>
                <a:lnTo>
                  <a:pt x="278" y="438"/>
                </a:lnTo>
                <a:lnTo>
                  <a:pt x="278" y="431"/>
                </a:lnTo>
                <a:lnTo>
                  <a:pt x="278" y="424"/>
                </a:lnTo>
                <a:lnTo>
                  <a:pt x="278" y="421"/>
                </a:lnTo>
                <a:lnTo>
                  <a:pt x="278" y="417"/>
                </a:lnTo>
                <a:lnTo>
                  <a:pt x="278" y="411"/>
                </a:lnTo>
                <a:lnTo>
                  <a:pt x="278" y="407"/>
                </a:lnTo>
                <a:lnTo>
                  <a:pt x="278" y="404"/>
                </a:lnTo>
                <a:lnTo>
                  <a:pt x="278" y="397"/>
                </a:lnTo>
                <a:lnTo>
                  <a:pt x="278" y="394"/>
                </a:lnTo>
                <a:lnTo>
                  <a:pt x="278" y="391"/>
                </a:lnTo>
                <a:lnTo>
                  <a:pt x="278" y="384"/>
                </a:lnTo>
                <a:lnTo>
                  <a:pt x="278" y="381"/>
                </a:lnTo>
                <a:lnTo>
                  <a:pt x="278" y="377"/>
                </a:lnTo>
                <a:lnTo>
                  <a:pt x="278" y="371"/>
                </a:lnTo>
                <a:lnTo>
                  <a:pt x="278" y="367"/>
                </a:lnTo>
                <a:lnTo>
                  <a:pt x="278" y="364"/>
                </a:lnTo>
                <a:lnTo>
                  <a:pt x="278" y="356"/>
                </a:lnTo>
                <a:lnTo>
                  <a:pt x="278" y="353"/>
                </a:lnTo>
                <a:lnTo>
                  <a:pt x="278" y="349"/>
                </a:lnTo>
                <a:lnTo>
                  <a:pt x="278" y="336"/>
                </a:lnTo>
                <a:lnTo>
                  <a:pt x="278" y="323"/>
                </a:lnTo>
                <a:lnTo>
                  <a:pt x="278" y="313"/>
                </a:lnTo>
                <a:lnTo>
                  <a:pt x="278" y="302"/>
                </a:lnTo>
                <a:lnTo>
                  <a:pt x="278" y="289"/>
                </a:lnTo>
                <a:lnTo>
                  <a:pt x="278" y="276"/>
                </a:lnTo>
                <a:lnTo>
                  <a:pt x="278" y="269"/>
                </a:lnTo>
                <a:lnTo>
                  <a:pt x="278" y="261"/>
                </a:lnTo>
                <a:lnTo>
                  <a:pt x="278" y="248"/>
                </a:lnTo>
                <a:lnTo>
                  <a:pt x="278" y="244"/>
                </a:lnTo>
                <a:lnTo>
                  <a:pt x="278" y="241"/>
                </a:lnTo>
                <a:lnTo>
                  <a:pt x="278" y="234"/>
                </a:lnTo>
                <a:lnTo>
                  <a:pt x="278" y="228"/>
                </a:lnTo>
                <a:lnTo>
                  <a:pt x="275" y="218"/>
                </a:lnTo>
                <a:lnTo>
                  <a:pt x="271" y="208"/>
                </a:lnTo>
                <a:lnTo>
                  <a:pt x="269" y="206"/>
                </a:lnTo>
                <a:lnTo>
                  <a:pt x="267" y="205"/>
                </a:lnTo>
                <a:lnTo>
                  <a:pt x="266" y="203"/>
                </a:lnTo>
                <a:lnTo>
                  <a:pt x="265" y="200"/>
                </a:lnTo>
                <a:lnTo>
                  <a:pt x="265" y="193"/>
                </a:lnTo>
                <a:lnTo>
                  <a:pt x="265" y="188"/>
                </a:lnTo>
                <a:lnTo>
                  <a:pt x="260" y="186"/>
                </a:lnTo>
                <a:lnTo>
                  <a:pt x="258" y="186"/>
                </a:lnTo>
                <a:lnTo>
                  <a:pt x="258" y="185"/>
                </a:lnTo>
                <a:lnTo>
                  <a:pt x="257" y="184"/>
                </a:lnTo>
                <a:lnTo>
                  <a:pt x="257" y="183"/>
                </a:lnTo>
                <a:lnTo>
                  <a:pt x="257" y="182"/>
                </a:lnTo>
                <a:lnTo>
                  <a:pt x="254" y="181"/>
                </a:lnTo>
                <a:lnTo>
                  <a:pt x="250" y="181"/>
                </a:lnTo>
                <a:lnTo>
                  <a:pt x="250" y="160"/>
                </a:lnTo>
                <a:lnTo>
                  <a:pt x="246" y="158"/>
                </a:lnTo>
                <a:lnTo>
                  <a:pt x="241" y="156"/>
                </a:lnTo>
                <a:lnTo>
                  <a:pt x="238" y="152"/>
                </a:lnTo>
                <a:lnTo>
                  <a:pt x="237" y="146"/>
                </a:lnTo>
                <a:lnTo>
                  <a:pt x="232" y="145"/>
                </a:lnTo>
                <a:lnTo>
                  <a:pt x="228" y="142"/>
                </a:lnTo>
                <a:lnTo>
                  <a:pt x="224" y="138"/>
                </a:lnTo>
                <a:lnTo>
                  <a:pt x="223" y="133"/>
                </a:lnTo>
                <a:lnTo>
                  <a:pt x="220" y="133"/>
                </a:lnTo>
                <a:lnTo>
                  <a:pt x="218" y="132"/>
                </a:lnTo>
                <a:lnTo>
                  <a:pt x="217" y="131"/>
                </a:lnTo>
                <a:lnTo>
                  <a:pt x="217" y="129"/>
                </a:lnTo>
                <a:lnTo>
                  <a:pt x="217" y="128"/>
                </a:lnTo>
                <a:lnTo>
                  <a:pt x="215" y="127"/>
                </a:lnTo>
                <a:lnTo>
                  <a:pt x="213" y="126"/>
                </a:lnTo>
                <a:lnTo>
                  <a:pt x="210" y="126"/>
                </a:lnTo>
                <a:lnTo>
                  <a:pt x="210" y="113"/>
                </a:lnTo>
                <a:lnTo>
                  <a:pt x="205" y="113"/>
                </a:lnTo>
                <a:lnTo>
                  <a:pt x="204" y="112"/>
                </a:lnTo>
                <a:lnTo>
                  <a:pt x="203" y="111"/>
                </a:lnTo>
                <a:lnTo>
                  <a:pt x="203" y="109"/>
                </a:lnTo>
                <a:lnTo>
                  <a:pt x="203" y="108"/>
                </a:lnTo>
                <a:lnTo>
                  <a:pt x="202" y="107"/>
                </a:lnTo>
                <a:lnTo>
                  <a:pt x="200" y="106"/>
                </a:lnTo>
                <a:lnTo>
                  <a:pt x="196" y="106"/>
                </a:lnTo>
                <a:lnTo>
                  <a:pt x="196" y="96"/>
                </a:lnTo>
                <a:lnTo>
                  <a:pt x="196" y="86"/>
                </a:lnTo>
                <a:lnTo>
                  <a:pt x="186" y="83"/>
                </a:lnTo>
                <a:lnTo>
                  <a:pt x="176" y="79"/>
                </a:lnTo>
                <a:lnTo>
                  <a:pt x="175" y="77"/>
                </a:lnTo>
                <a:lnTo>
                  <a:pt x="174" y="75"/>
                </a:lnTo>
                <a:lnTo>
                  <a:pt x="172" y="73"/>
                </a:lnTo>
                <a:lnTo>
                  <a:pt x="169" y="71"/>
                </a:lnTo>
                <a:lnTo>
                  <a:pt x="166" y="69"/>
                </a:lnTo>
                <a:lnTo>
                  <a:pt x="164" y="66"/>
                </a:lnTo>
                <a:lnTo>
                  <a:pt x="163" y="63"/>
                </a:lnTo>
                <a:lnTo>
                  <a:pt x="162" y="58"/>
                </a:lnTo>
                <a:lnTo>
                  <a:pt x="155" y="51"/>
                </a:lnTo>
                <a:lnTo>
                  <a:pt x="148" y="51"/>
                </a:lnTo>
                <a:lnTo>
                  <a:pt x="142" y="51"/>
                </a:lnTo>
                <a:lnTo>
                  <a:pt x="132" y="48"/>
                </a:lnTo>
                <a:lnTo>
                  <a:pt x="122" y="45"/>
                </a:lnTo>
                <a:lnTo>
                  <a:pt x="122" y="41"/>
                </a:lnTo>
                <a:lnTo>
                  <a:pt x="121" y="39"/>
                </a:lnTo>
                <a:lnTo>
                  <a:pt x="119" y="38"/>
                </a:lnTo>
                <a:lnTo>
                  <a:pt x="118" y="38"/>
                </a:lnTo>
                <a:lnTo>
                  <a:pt x="117" y="38"/>
                </a:lnTo>
                <a:lnTo>
                  <a:pt x="116" y="37"/>
                </a:lnTo>
                <a:lnTo>
                  <a:pt x="115" y="36"/>
                </a:lnTo>
                <a:lnTo>
                  <a:pt x="115" y="31"/>
                </a:lnTo>
                <a:lnTo>
                  <a:pt x="102" y="31"/>
                </a:lnTo>
                <a:lnTo>
                  <a:pt x="102" y="28"/>
                </a:lnTo>
                <a:lnTo>
                  <a:pt x="100" y="26"/>
                </a:lnTo>
                <a:lnTo>
                  <a:pt x="99" y="25"/>
                </a:lnTo>
                <a:lnTo>
                  <a:pt x="98" y="25"/>
                </a:lnTo>
                <a:lnTo>
                  <a:pt x="97" y="25"/>
                </a:lnTo>
                <a:lnTo>
                  <a:pt x="96" y="23"/>
                </a:lnTo>
                <a:lnTo>
                  <a:pt x="95" y="21"/>
                </a:lnTo>
                <a:lnTo>
                  <a:pt x="95" y="18"/>
                </a:lnTo>
                <a:lnTo>
                  <a:pt x="81" y="18"/>
                </a:lnTo>
                <a:lnTo>
                  <a:pt x="80" y="13"/>
                </a:lnTo>
                <a:lnTo>
                  <a:pt x="78" y="10"/>
                </a:lnTo>
                <a:lnTo>
                  <a:pt x="75" y="8"/>
                </a:lnTo>
                <a:lnTo>
                  <a:pt x="70" y="7"/>
                </a:lnTo>
                <a:lnTo>
                  <a:pt x="58" y="4"/>
                </a:lnTo>
                <a:lnTo>
                  <a:pt x="4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68" name="Freeform 29">
            <a:extLst>
              <a:ext uri="{FF2B5EF4-FFF2-40B4-BE49-F238E27FC236}">
                <a16:creationId xmlns:a16="http://schemas.microsoft.com/office/drawing/2014/main" id="{7E9EA563-7BC1-4877-B043-F773A08F6358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827838" y="4087813"/>
            <a:ext cx="117794" cy="107950"/>
          </a:xfrm>
          <a:custGeom>
            <a:avLst/>
            <a:gdLst/>
            <a:ahLst/>
            <a:cxnLst>
              <a:cxn ang="0">
                <a:pos x="129" y="13"/>
              </a:cxn>
              <a:cxn ang="0">
                <a:pos x="105" y="51"/>
              </a:cxn>
              <a:cxn ang="0">
                <a:pos x="83" y="67"/>
              </a:cxn>
              <a:cxn ang="0">
                <a:pos x="54" y="87"/>
              </a:cxn>
              <a:cxn ang="0">
                <a:pos x="20" y="108"/>
              </a:cxn>
              <a:cxn ang="0">
                <a:pos x="0" y="155"/>
              </a:cxn>
              <a:cxn ang="0">
                <a:pos x="9" y="183"/>
              </a:cxn>
              <a:cxn ang="0">
                <a:pos x="29" y="201"/>
              </a:cxn>
              <a:cxn ang="0">
                <a:pos x="58" y="210"/>
              </a:cxn>
              <a:cxn ang="0">
                <a:pos x="83" y="256"/>
              </a:cxn>
              <a:cxn ang="0">
                <a:pos x="118" y="388"/>
              </a:cxn>
              <a:cxn ang="0">
                <a:pos x="128" y="415"/>
              </a:cxn>
              <a:cxn ang="0">
                <a:pos x="135" y="428"/>
              </a:cxn>
              <a:cxn ang="0">
                <a:pos x="149" y="444"/>
              </a:cxn>
              <a:cxn ang="0">
                <a:pos x="161" y="456"/>
              </a:cxn>
              <a:cxn ang="0">
                <a:pos x="196" y="487"/>
              </a:cxn>
              <a:cxn ang="0">
                <a:pos x="203" y="505"/>
              </a:cxn>
              <a:cxn ang="0">
                <a:pos x="213" y="523"/>
              </a:cxn>
              <a:cxn ang="0">
                <a:pos x="234" y="549"/>
              </a:cxn>
              <a:cxn ang="0">
                <a:pos x="250" y="571"/>
              </a:cxn>
              <a:cxn ang="0">
                <a:pos x="257" y="582"/>
              </a:cxn>
              <a:cxn ang="0">
                <a:pos x="269" y="619"/>
              </a:cxn>
              <a:cxn ang="0">
                <a:pos x="301" y="654"/>
              </a:cxn>
              <a:cxn ang="0">
                <a:pos x="321" y="676"/>
              </a:cxn>
              <a:cxn ang="0">
                <a:pos x="347" y="683"/>
              </a:cxn>
              <a:cxn ang="0">
                <a:pos x="409" y="654"/>
              </a:cxn>
              <a:cxn ang="0">
                <a:pos x="434" y="628"/>
              </a:cxn>
              <a:cxn ang="0">
                <a:pos x="443" y="608"/>
              </a:cxn>
              <a:cxn ang="0">
                <a:pos x="461" y="549"/>
              </a:cxn>
              <a:cxn ang="0">
                <a:pos x="496" y="518"/>
              </a:cxn>
              <a:cxn ang="0">
                <a:pos x="522" y="474"/>
              </a:cxn>
              <a:cxn ang="0">
                <a:pos x="529" y="452"/>
              </a:cxn>
              <a:cxn ang="0">
                <a:pos x="551" y="435"/>
              </a:cxn>
              <a:cxn ang="0">
                <a:pos x="570" y="420"/>
              </a:cxn>
              <a:cxn ang="0">
                <a:pos x="576" y="413"/>
              </a:cxn>
              <a:cxn ang="0">
                <a:pos x="606" y="393"/>
              </a:cxn>
              <a:cxn ang="0">
                <a:pos x="630" y="379"/>
              </a:cxn>
              <a:cxn ang="0">
                <a:pos x="627" y="324"/>
              </a:cxn>
              <a:cxn ang="0">
                <a:pos x="600" y="308"/>
              </a:cxn>
              <a:cxn ang="0">
                <a:pos x="549" y="284"/>
              </a:cxn>
              <a:cxn ang="0">
                <a:pos x="511" y="265"/>
              </a:cxn>
              <a:cxn ang="0">
                <a:pos x="487" y="196"/>
              </a:cxn>
              <a:cxn ang="0">
                <a:pos x="472" y="144"/>
              </a:cxn>
              <a:cxn ang="0">
                <a:pos x="441" y="121"/>
              </a:cxn>
              <a:cxn ang="0">
                <a:pos x="413" y="115"/>
              </a:cxn>
              <a:cxn ang="0">
                <a:pos x="372" y="74"/>
              </a:cxn>
              <a:cxn ang="0">
                <a:pos x="360" y="59"/>
              </a:cxn>
              <a:cxn ang="0">
                <a:pos x="352" y="30"/>
              </a:cxn>
              <a:cxn ang="0">
                <a:pos x="334" y="13"/>
              </a:cxn>
              <a:cxn ang="0">
                <a:pos x="295" y="20"/>
              </a:cxn>
              <a:cxn ang="0">
                <a:pos x="279" y="26"/>
              </a:cxn>
              <a:cxn ang="0">
                <a:pos x="235" y="20"/>
              </a:cxn>
              <a:cxn ang="0">
                <a:pos x="224" y="12"/>
              </a:cxn>
              <a:cxn ang="0">
                <a:pos x="203" y="0"/>
              </a:cxn>
            </a:cxnLst>
            <a:rect l="0" t="0" r="r" b="b"/>
            <a:pathLst>
              <a:path w="644" h="684">
                <a:moveTo>
                  <a:pt x="163" y="0"/>
                </a:moveTo>
                <a:lnTo>
                  <a:pt x="151" y="0"/>
                </a:lnTo>
                <a:lnTo>
                  <a:pt x="140" y="2"/>
                </a:lnTo>
                <a:lnTo>
                  <a:pt x="136" y="4"/>
                </a:lnTo>
                <a:lnTo>
                  <a:pt x="131" y="9"/>
                </a:lnTo>
                <a:lnTo>
                  <a:pt x="129" y="13"/>
                </a:lnTo>
                <a:lnTo>
                  <a:pt x="128" y="20"/>
                </a:lnTo>
                <a:lnTo>
                  <a:pt x="126" y="22"/>
                </a:lnTo>
                <a:lnTo>
                  <a:pt x="121" y="25"/>
                </a:lnTo>
                <a:lnTo>
                  <a:pt x="117" y="31"/>
                </a:lnTo>
                <a:lnTo>
                  <a:pt x="112" y="38"/>
                </a:lnTo>
                <a:lnTo>
                  <a:pt x="105" y="51"/>
                </a:lnTo>
                <a:lnTo>
                  <a:pt x="101" y="61"/>
                </a:lnTo>
                <a:lnTo>
                  <a:pt x="88" y="61"/>
                </a:lnTo>
                <a:lnTo>
                  <a:pt x="88" y="63"/>
                </a:lnTo>
                <a:lnTo>
                  <a:pt x="87" y="64"/>
                </a:lnTo>
                <a:lnTo>
                  <a:pt x="86" y="66"/>
                </a:lnTo>
                <a:lnTo>
                  <a:pt x="83" y="67"/>
                </a:lnTo>
                <a:lnTo>
                  <a:pt x="79" y="68"/>
                </a:lnTo>
                <a:lnTo>
                  <a:pt x="74" y="68"/>
                </a:lnTo>
                <a:lnTo>
                  <a:pt x="74" y="81"/>
                </a:lnTo>
                <a:lnTo>
                  <a:pt x="67" y="82"/>
                </a:lnTo>
                <a:lnTo>
                  <a:pt x="58" y="86"/>
                </a:lnTo>
                <a:lnTo>
                  <a:pt x="54" y="87"/>
                </a:lnTo>
                <a:lnTo>
                  <a:pt x="51" y="90"/>
                </a:lnTo>
                <a:lnTo>
                  <a:pt x="48" y="92"/>
                </a:lnTo>
                <a:lnTo>
                  <a:pt x="48" y="95"/>
                </a:lnTo>
                <a:lnTo>
                  <a:pt x="33" y="95"/>
                </a:lnTo>
                <a:lnTo>
                  <a:pt x="26" y="101"/>
                </a:lnTo>
                <a:lnTo>
                  <a:pt x="20" y="108"/>
                </a:lnTo>
                <a:lnTo>
                  <a:pt x="13" y="115"/>
                </a:lnTo>
                <a:lnTo>
                  <a:pt x="6" y="121"/>
                </a:lnTo>
                <a:lnTo>
                  <a:pt x="0" y="128"/>
                </a:lnTo>
                <a:lnTo>
                  <a:pt x="0" y="136"/>
                </a:lnTo>
                <a:lnTo>
                  <a:pt x="0" y="146"/>
                </a:lnTo>
                <a:lnTo>
                  <a:pt x="0" y="155"/>
                </a:lnTo>
                <a:lnTo>
                  <a:pt x="0" y="163"/>
                </a:lnTo>
                <a:lnTo>
                  <a:pt x="1" y="167"/>
                </a:lnTo>
                <a:lnTo>
                  <a:pt x="2" y="172"/>
                </a:lnTo>
                <a:lnTo>
                  <a:pt x="4" y="175"/>
                </a:lnTo>
                <a:lnTo>
                  <a:pt x="6" y="179"/>
                </a:lnTo>
                <a:lnTo>
                  <a:pt x="9" y="183"/>
                </a:lnTo>
                <a:lnTo>
                  <a:pt x="11" y="187"/>
                </a:lnTo>
                <a:lnTo>
                  <a:pt x="13" y="192"/>
                </a:lnTo>
                <a:lnTo>
                  <a:pt x="13" y="196"/>
                </a:lnTo>
                <a:lnTo>
                  <a:pt x="26" y="196"/>
                </a:lnTo>
                <a:lnTo>
                  <a:pt x="27" y="198"/>
                </a:lnTo>
                <a:lnTo>
                  <a:pt x="29" y="201"/>
                </a:lnTo>
                <a:lnTo>
                  <a:pt x="31" y="202"/>
                </a:lnTo>
                <a:lnTo>
                  <a:pt x="34" y="202"/>
                </a:lnTo>
                <a:lnTo>
                  <a:pt x="41" y="203"/>
                </a:lnTo>
                <a:lnTo>
                  <a:pt x="48" y="203"/>
                </a:lnTo>
                <a:lnTo>
                  <a:pt x="51" y="205"/>
                </a:lnTo>
                <a:lnTo>
                  <a:pt x="58" y="210"/>
                </a:lnTo>
                <a:lnTo>
                  <a:pt x="67" y="214"/>
                </a:lnTo>
                <a:lnTo>
                  <a:pt x="74" y="216"/>
                </a:lnTo>
                <a:lnTo>
                  <a:pt x="74" y="230"/>
                </a:lnTo>
                <a:lnTo>
                  <a:pt x="77" y="234"/>
                </a:lnTo>
                <a:lnTo>
                  <a:pt x="80" y="243"/>
                </a:lnTo>
                <a:lnTo>
                  <a:pt x="83" y="256"/>
                </a:lnTo>
                <a:lnTo>
                  <a:pt x="87" y="272"/>
                </a:lnTo>
                <a:lnTo>
                  <a:pt x="92" y="301"/>
                </a:lnTo>
                <a:lnTo>
                  <a:pt x="94" y="318"/>
                </a:lnTo>
                <a:lnTo>
                  <a:pt x="99" y="333"/>
                </a:lnTo>
                <a:lnTo>
                  <a:pt x="108" y="360"/>
                </a:lnTo>
                <a:lnTo>
                  <a:pt x="118" y="388"/>
                </a:lnTo>
                <a:lnTo>
                  <a:pt x="121" y="406"/>
                </a:lnTo>
                <a:lnTo>
                  <a:pt x="123" y="407"/>
                </a:lnTo>
                <a:lnTo>
                  <a:pt x="126" y="407"/>
                </a:lnTo>
                <a:lnTo>
                  <a:pt x="127" y="409"/>
                </a:lnTo>
                <a:lnTo>
                  <a:pt x="128" y="410"/>
                </a:lnTo>
                <a:lnTo>
                  <a:pt x="128" y="415"/>
                </a:lnTo>
                <a:lnTo>
                  <a:pt x="128" y="419"/>
                </a:lnTo>
                <a:lnTo>
                  <a:pt x="130" y="420"/>
                </a:lnTo>
                <a:lnTo>
                  <a:pt x="132" y="420"/>
                </a:lnTo>
                <a:lnTo>
                  <a:pt x="134" y="423"/>
                </a:lnTo>
                <a:lnTo>
                  <a:pt x="135" y="424"/>
                </a:lnTo>
                <a:lnTo>
                  <a:pt x="135" y="428"/>
                </a:lnTo>
                <a:lnTo>
                  <a:pt x="136" y="434"/>
                </a:lnTo>
                <a:lnTo>
                  <a:pt x="142" y="441"/>
                </a:lnTo>
                <a:lnTo>
                  <a:pt x="146" y="441"/>
                </a:lnTo>
                <a:lnTo>
                  <a:pt x="148" y="442"/>
                </a:lnTo>
                <a:lnTo>
                  <a:pt x="149" y="443"/>
                </a:lnTo>
                <a:lnTo>
                  <a:pt x="149" y="444"/>
                </a:lnTo>
                <a:lnTo>
                  <a:pt x="149" y="445"/>
                </a:lnTo>
                <a:lnTo>
                  <a:pt x="149" y="446"/>
                </a:lnTo>
                <a:lnTo>
                  <a:pt x="151" y="446"/>
                </a:lnTo>
                <a:lnTo>
                  <a:pt x="156" y="447"/>
                </a:lnTo>
                <a:lnTo>
                  <a:pt x="157" y="451"/>
                </a:lnTo>
                <a:lnTo>
                  <a:pt x="161" y="456"/>
                </a:lnTo>
                <a:lnTo>
                  <a:pt x="167" y="463"/>
                </a:lnTo>
                <a:lnTo>
                  <a:pt x="174" y="470"/>
                </a:lnTo>
                <a:lnTo>
                  <a:pt x="180" y="476"/>
                </a:lnTo>
                <a:lnTo>
                  <a:pt x="187" y="482"/>
                </a:lnTo>
                <a:lnTo>
                  <a:pt x="193" y="486"/>
                </a:lnTo>
                <a:lnTo>
                  <a:pt x="196" y="487"/>
                </a:lnTo>
                <a:lnTo>
                  <a:pt x="196" y="501"/>
                </a:lnTo>
                <a:lnTo>
                  <a:pt x="201" y="502"/>
                </a:lnTo>
                <a:lnTo>
                  <a:pt x="202" y="502"/>
                </a:lnTo>
                <a:lnTo>
                  <a:pt x="203" y="503"/>
                </a:lnTo>
                <a:lnTo>
                  <a:pt x="203" y="504"/>
                </a:lnTo>
                <a:lnTo>
                  <a:pt x="203" y="505"/>
                </a:lnTo>
                <a:lnTo>
                  <a:pt x="204" y="506"/>
                </a:lnTo>
                <a:lnTo>
                  <a:pt x="206" y="507"/>
                </a:lnTo>
                <a:lnTo>
                  <a:pt x="209" y="507"/>
                </a:lnTo>
                <a:lnTo>
                  <a:pt x="209" y="514"/>
                </a:lnTo>
                <a:lnTo>
                  <a:pt x="212" y="521"/>
                </a:lnTo>
                <a:lnTo>
                  <a:pt x="213" y="523"/>
                </a:lnTo>
                <a:lnTo>
                  <a:pt x="215" y="526"/>
                </a:lnTo>
                <a:lnTo>
                  <a:pt x="218" y="528"/>
                </a:lnTo>
                <a:lnTo>
                  <a:pt x="223" y="529"/>
                </a:lnTo>
                <a:lnTo>
                  <a:pt x="225" y="535"/>
                </a:lnTo>
                <a:lnTo>
                  <a:pt x="231" y="544"/>
                </a:lnTo>
                <a:lnTo>
                  <a:pt x="234" y="549"/>
                </a:lnTo>
                <a:lnTo>
                  <a:pt x="237" y="552"/>
                </a:lnTo>
                <a:lnTo>
                  <a:pt x="241" y="554"/>
                </a:lnTo>
                <a:lnTo>
                  <a:pt x="244" y="555"/>
                </a:lnTo>
                <a:lnTo>
                  <a:pt x="244" y="569"/>
                </a:lnTo>
                <a:lnTo>
                  <a:pt x="247" y="570"/>
                </a:lnTo>
                <a:lnTo>
                  <a:pt x="250" y="571"/>
                </a:lnTo>
                <a:lnTo>
                  <a:pt x="251" y="573"/>
                </a:lnTo>
                <a:lnTo>
                  <a:pt x="251" y="576"/>
                </a:lnTo>
                <a:lnTo>
                  <a:pt x="251" y="578"/>
                </a:lnTo>
                <a:lnTo>
                  <a:pt x="251" y="580"/>
                </a:lnTo>
                <a:lnTo>
                  <a:pt x="253" y="582"/>
                </a:lnTo>
                <a:lnTo>
                  <a:pt x="257" y="582"/>
                </a:lnTo>
                <a:lnTo>
                  <a:pt x="257" y="588"/>
                </a:lnTo>
                <a:lnTo>
                  <a:pt x="259" y="595"/>
                </a:lnTo>
                <a:lnTo>
                  <a:pt x="260" y="601"/>
                </a:lnTo>
                <a:lnTo>
                  <a:pt x="262" y="608"/>
                </a:lnTo>
                <a:lnTo>
                  <a:pt x="265" y="614"/>
                </a:lnTo>
                <a:lnTo>
                  <a:pt x="269" y="619"/>
                </a:lnTo>
                <a:lnTo>
                  <a:pt x="273" y="621"/>
                </a:lnTo>
                <a:lnTo>
                  <a:pt x="278" y="624"/>
                </a:lnTo>
                <a:lnTo>
                  <a:pt x="284" y="630"/>
                </a:lnTo>
                <a:lnTo>
                  <a:pt x="288" y="637"/>
                </a:lnTo>
                <a:lnTo>
                  <a:pt x="294" y="646"/>
                </a:lnTo>
                <a:lnTo>
                  <a:pt x="301" y="654"/>
                </a:lnTo>
                <a:lnTo>
                  <a:pt x="304" y="657"/>
                </a:lnTo>
                <a:lnTo>
                  <a:pt x="304" y="670"/>
                </a:lnTo>
                <a:lnTo>
                  <a:pt x="318" y="670"/>
                </a:lnTo>
                <a:lnTo>
                  <a:pt x="319" y="673"/>
                </a:lnTo>
                <a:lnTo>
                  <a:pt x="319" y="675"/>
                </a:lnTo>
                <a:lnTo>
                  <a:pt x="321" y="676"/>
                </a:lnTo>
                <a:lnTo>
                  <a:pt x="322" y="676"/>
                </a:lnTo>
                <a:lnTo>
                  <a:pt x="327" y="677"/>
                </a:lnTo>
                <a:lnTo>
                  <a:pt x="332" y="677"/>
                </a:lnTo>
                <a:lnTo>
                  <a:pt x="333" y="679"/>
                </a:lnTo>
                <a:lnTo>
                  <a:pt x="339" y="682"/>
                </a:lnTo>
                <a:lnTo>
                  <a:pt x="347" y="683"/>
                </a:lnTo>
                <a:lnTo>
                  <a:pt x="357" y="683"/>
                </a:lnTo>
                <a:lnTo>
                  <a:pt x="375" y="684"/>
                </a:lnTo>
                <a:lnTo>
                  <a:pt x="386" y="684"/>
                </a:lnTo>
                <a:lnTo>
                  <a:pt x="396" y="670"/>
                </a:lnTo>
                <a:lnTo>
                  <a:pt x="406" y="657"/>
                </a:lnTo>
                <a:lnTo>
                  <a:pt x="409" y="654"/>
                </a:lnTo>
                <a:lnTo>
                  <a:pt x="416" y="646"/>
                </a:lnTo>
                <a:lnTo>
                  <a:pt x="424" y="637"/>
                </a:lnTo>
                <a:lnTo>
                  <a:pt x="427" y="630"/>
                </a:lnTo>
                <a:lnTo>
                  <a:pt x="430" y="629"/>
                </a:lnTo>
                <a:lnTo>
                  <a:pt x="433" y="629"/>
                </a:lnTo>
                <a:lnTo>
                  <a:pt x="434" y="628"/>
                </a:lnTo>
                <a:lnTo>
                  <a:pt x="434" y="627"/>
                </a:lnTo>
                <a:lnTo>
                  <a:pt x="434" y="625"/>
                </a:lnTo>
                <a:lnTo>
                  <a:pt x="434" y="625"/>
                </a:lnTo>
                <a:lnTo>
                  <a:pt x="436" y="624"/>
                </a:lnTo>
                <a:lnTo>
                  <a:pt x="441" y="624"/>
                </a:lnTo>
                <a:lnTo>
                  <a:pt x="443" y="608"/>
                </a:lnTo>
                <a:lnTo>
                  <a:pt x="448" y="588"/>
                </a:lnTo>
                <a:lnTo>
                  <a:pt x="451" y="578"/>
                </a:lnTo>
                <a:lnTo>
                  <a:pt x="455" y="570"/>
                </a:lnTo>
                <a:lnTo>
                  <a:pt x="457" y="564"/>
                </a:lnTo>
                <a:lnTo>
                  <a:pt x="461" y="562"/>
                </a:lnTo>
                <a:lnTo>
                  <a:pt x="461" y="549"/>
                </a:lnTo>
                <a:lnTo>
                  <a:pt x="467" y="542"/>
                </a:lnTo>
                <a:lnTo>
                  <a:pt x="474" y="535"/>
                </a:lnTo>
                <a:lnTo>
                  <a:pt x="487" y="535"/>
                </a:lnTo>
                <a:lnTo>
                  <a:pt x="489" y="531"/>
                </a:lnTo>
                <a:lnTo>
                  <a:pt x="492" y="524"/>
                </a:lnTo>
                <a:lnTo>
                  <a:pt x="496" y="518"/>
                </a:lnTo>
                <a:lnTo>
                  <a:pt x="502" y="509"/>
                </a:lnTo>
                <a:lnTo>
                  <a:pt x="507" y="501"/>
                </a:lnTo>
                <a:lnTo>
                  <a:pt x="513" y="494"/>
                </a:lnTo>
                <a:lnTo>
                  <a:pt x="519" y="490"/>
                </a:lnTo>
                <a:lnTo>
                  <a:pt x="522" y="487"/>
                </a:lnTo>
                <a:lnTo>
                  <a:pt x="522" y="474"/>
                </a:lnTo>
                <a:lnTo>
                  <a:pt x="522" y="461"/>
                </a:lnTo>
                <a:lnTo>
                  <a:pt x="524" y="461"/>
                </a:lnTo>
                <a:lnTo>
                  <a:pt x="525" y="459"/>
                </a:lnTo>
                <a:lnTo>
                  <a:pt x="526" y="458"/>
                </a:lnTo>
                <a:lnTo>
                  <a:pt x="528" y="456"/>
                </a:lnTo>
                <a:lnTo>
                  <a:pt x="529" y="452"/>
                </a:lnTo>
                <a:lnTo>
                  <a:pt x="529" y="447"/>
                </a:lnTo>
                <a:lnTo>
                  <a:pt x="535" y="441"/>
                </a:lnTo>
                <a:lnTo>
                  <a:pt x="549" y="441"/>
                </a:lnTo>
                <a:lnTo>
                  <a:pt x="549" y="438"/>
                </a:lnTo>
                <a:lnTo>
                  <a:pt x="550" y="436"/>
                </a:lnTo>
                <a:lnTo>
                  <a:pt x="551" y="435"/>
                </a:lnTo>
                <a:lnTo>
                  <a:pt x="553" y="434"/>
                </a:lnTo>
                <a:lnTo>
                  <a:pt x="558" y="434"/>
                </a:lnTo>
                <a:lnTo>
                  <a:pt x="562" y="434"/>
                </a:lnTo>
                <a:lnTo>
                  <a:pt x="569" y="426"/>
                </a:lnTo>
                <a:lnTo>
                  <a:pt x="569" y="423"/>
                </a:lnTo>
                <a:lnTo>
                  <a:pt x="570" y="420"/>
                </a:lnTo>
                <a:lnTo>
                  <a:pt x="571" y="419"/>
                </a:lnTo>
                <a:lnTo>
                  <a:pt x="572" y="419"/>
                </a:lnTo>
                <a:lnTo>
                  <a:pt x="573" y="419"/>
                </a:lnTo>
                <a:lnTo>
                  <a:pt x="574" y="419"/>
                </a:lnTo>
                <a:lnTo>
                  <a:pt x="576" y="417"/>
                </a:lnTo>
                <a:lnTo>
                  <a:pt x="576" y="413"/>
                </a:lnTo>
                <a:lnTo>
                  <a:pt x="589" y="406"/>
                </a:lnTo>
                <a:lnTo>
                  <a:pt x="602" y="399"/>
                </a:lnTo>
                <a:lnTo>
                  <a:pt x="603" y="396"/>
                </a:lnTo>
                <a:lnTo>
                  <a:pt x="603" y="394"/>
                </a:lnTo>
                <a:lnTo>
                  <a:pt x="605" y="393"/>
                </a:lnTo>
                <a:lnTo>
                  <a:pt x="606" y="393"/>
                </a:lnTo>
                <a:lnTo>
                  <a:pt x="608" y="393"/>
                </a:lnTo>
                <a:lnTo>
                  <a:pt x="609" y="391"/>
                </a:lnTo>
                <a:lnTo>
                  <a:pt x="609" y="390"/>
                </a:lnTo>
                <a:lnTo>
                  <a:pt x="610" y="386"/>
                </a:lnTo>
                <a:lnTo>
                  <a:pt x="620" y="382"/>
                </a:lnTo>
                <a:lnTo>
                  <a:pt x="630" y="379"/>
                </a:lnTo>
                <a:lnTo>
                  <a:pt x="633" y="368"/>
                </a:lnTo>
                <a:lnTo>
                  <a:pt x="637" y="356"/>
                </a:lnTo>
                <a:lnTo>
                  <a:pt x="641" y="343"/>
                </a:lnTo>
                <a:lnTo>
                  <a:pt x="644" y="331"/>
                </a:lnTo>
                <a:lnTo>
                  <a:pt x="636" y="329"/>
                </a:lnTo>
                <a:lnTo>
                  <a:pt x="627" y="324"/>
                </a:lnTo>
                <a:lnTo>
                  <a:pt x="624" y="321"/>
                </a:lnTo>
                <a:lnTo>
                  <a:pt x="620" y="318"/>
                </a:lnTo>
                <a:lnTo>
                  <a:pt x="617" y="314"/>
                </a:lnTo>
                <a:lnTo>
                  <a:pt x="617" y="311"/>
                </a:lnTo>
                <a:lnTo>
                  <a:pt x="609" y="310"/>
                </a:lnTo>
                <a:lnTo>
                  <a:pt x="600" y="308"/>
                </a:lnTo>
                <a:lnTo>
                  <a:pt x="589" y="304"/>
                </a:lnTo>
                <a:lnTo>
                  <a:pt x="578" y="300"/>
                </a:lnTo>
                <a:lnTo>
                  <a:pt x="567" y="295"/>
                </a:lnTo>
                <a:lnTo>
                  <a:pt x="558" y="291"/>
                </a:lnTo>
                <a:lnTo>
                  <a:pt x="551" y="288"/>
                </a:lnTo>
                <a:lnTo>
                  <a:pt x="549" y="284"/>
                </a:lnTo>
                <a:lnTo>
                  <a:pt x="535" y="284"/>
                </a:lnTo>
                <a:lnTo>
                  <a:pt x="522" y="278"/>
                </a:lnTo>
                <a:lnTo>
                  <a:pt x="521" y="274"/>
                </a:lnTo>
                <a:lnTo>
                  <a:pt x="519" y="272"/>
                </a:lnTo>
                <a:lnTo>
                  <a:pt x="514" y="268"/>
                </a:lnTo>
                <a:lnTo>
                  <a:pt x="511" y="265"/>
                </a:lnTo>
                <a:lnTo>
                  <a:pt x="502" y="260"/>
                </a:lnTo>
                <a:lnTo>
                  <a:pt x="494" y="257"/>
                </a:lnTo>
                <a:lnTo>
                  <a:pt x="493" y="245"/>
                </a:lnTo>
                <a:lnTo>
                  <a:pt x="491" y="230"/>
                </a:lnTo>
                <a:lnTo>
                  <a:pt x="489" y="213"/>
                </a:lnTo>
                <a:lnTo>
                  <a:pt x="487" y="196"/>
                </a:lnTo>
                <a:lnTo>
                  <a:pt x="486" y="182"/>
                </a:lnTo>
                <a:lnTo>
                  <a:pt x="483" y="164"/>
                </a:lnTo>
                <a:lnTo>
                  <a:pt x="480" y="156"/>
                </a:lnTo>
                <a:lnTo>
                  <a:pt x="476" y="148"/>
                </a:lnTo>
                <a:lnTo>
                  <a:pt x="474" y="146"/>
                </a:lnTo>
                <a:lnTo>
                  <a:pt x="472" y="144"/>
                </a:lnTo>
                <a:lnTo>
                  <a:pt x="470" y="143"/>
                </a:lnTo>
                <a:lnTo>
                  <a:pt x="467" y="141"/>
                </a:lnTo>
                <a:lnTo>
                  <a:pt x="467" y="128"/>
                </a:lnTo>
                <a:lnTo>
                  <a:pt x="461" y="121"/>
                </a:lnTo>
                <a:lnTo>
                  <a:pt x="451" y="121"/>
                </a:lnTo>
                <a:lnTo>
                  <a:pt x="441" y="121"/>
                </a:lnTo>
                <a:lnTo>
                  <a:pt x="439" y="119"/>
                </a:lnTo>
                <a:lnTo>
                  <a:pt x="437" y="118"/>
                </a:lnTo>
                <a:lnTo>
                  <a:pt x="434" y="117"/>
                </a:lnTo>
                <a:lnTo>
                  <a:pt x="429" y="116"/>
                </a:lnTo>
                <a:lnTo>
                  <a:pt x="420" y="115"/>
                </a:lnTo>
                <a:lnTo>
                  <a:pt x="413" y="115"/>
                </a:lnTo>
                <a:lnTo>
                  <a:pt x="409" y="111"/>
                </a:lnTo>
                <a:lnTo>
                  <a:pt x="399" y="105"/>
                </a:lnTo>
                <a:lnTo>
                  <a:pt x="387" y="98"/>
                </a:lnTo>
                <a:lnTo>
                  <a:pt x="379" y="95"/>
                </a:lnTo>
                <a:lnTo>
                  <a:pt x="372" y="88"/>
                </a:lnTo>
                <a:lnTo>
                  <a:pt x="372" y="74"/>
                </a:lnTo>
                <a:lnTo>
                  <a:pt x="370" y="73"/>
                </a:lnTo>
                <a:lnTo>
                  <a:pt x="368" y="73"/>
                </a:lnTo>
                <a:lnTo>
                  <a:pt x="366" y="71"/>
                </a:lnTo>
                <a:lnTo>
                  <a:pt x="365" y="70"/>
                </a:lnTo>
                <a:lnTo>
                  <a:pt x="362" y="64"/>
                </a:lnTo>
                <a:lnTo>
                  <a:pt x="360" y="59"/>
                </a:lnTo>
                <a:lnTo>
                  <a:pt x="359" y="45"/>
                </a:lnTo>
                <a:lnTo>
                  <a:pt x="359" y="33"/>
                </a:lnTo>
                <a:lnTo>
                  <a:pt x="355" y="33"/>
                </a:lnTo>
                <a:lnTo>
                  <a:pt x="353" y="32"/>
                </a:lnTo>
                <a:lnTo>
                  <a:pt x="352" y="31"/>
                </a:lnTo>
                <a:lnTo>
                  <a:pt x="352" y="30"/>
                </a:lnTo>
                <a:lnTo>
                  <a:pt x="352" y="29"/>
                </a:lnTo>
                <a:lnTo>
                  <a:pt x="351" y="28"/>
                </a:lnTo>
                <a:lnTo>
                  <a:pt x="349" y="28"/>
                </a:lnTo>
                <a:lnTo>
                  <a:pt x="346" y="26"/>
                </a:lnTo>
                <a:lnTo>
                  <a:pt x="346" y="13"/>
                </a:lnTo>
                <a:lnTo>
                  <a:pt x="334" y="13"/>
                </a:lnTo>
                <a:lnTo>
                  <a:pt x="321" y="13"/>
                </a:lnTo>
                <a:lnTo>
                  <a:pt x="309" y="13"/>
                </a:lnTo>
                <a:lnTo>
                  <a:pt x="298" y="13"/>
                </a:lnTo>
                <a:lnTo>
                  <a:pt x="298" y="18"/>
                </a:lnTo>
                <a:lnTo>
                  <a:pt x="297" y="19"/>
                </a:lnTo>
                <a:lnTo>
                  <a:pt x="295" y="20"/>
                </a:lnTo>
                <a:lnTo>
                  <a:pt x="294" y="20"/>
                </a:lnTo>
                <a:lnTo>
                  <a:pt x="293" y="20"/>
                </a:lnTo>
                <a:lnTo>
                  <a:pt x="292" y="21"/>
                </a:lnTo>
                <a:lnTo>
                  <a:pt x="291" y="23"/>
                </a:lnTo>
                <a:lnTo>
                  <a:pt x="291" y="26"/>
                </a:lnTo>
                <a:lnTo>
                  <a:pt x="279" y="26"/>
                </a:lnTo>
                <a:lnTo>
                  <a:pt x="264" y="26"/>
                </a:lnTo>
                <a:lnTo>
                  <a:pt x="250" y="26"/>
                </a:lnTo>
                <a:lnTo>
                  <a:pt x="237" y="26"/>
                </a:lnTo>
                <a:lnTo>
                  <a:pt x="236" y="23"/>
                </a:lnTo>
                <a:lnTo>
                  <a:pt x="236" y="21"/>
                </a:lnTo>
                <a:lnTo>
                  <a:pt x="235" y="20"/>
                </a:lnTo>
                <a:lnTo>
                  <a:pt x="234" y="20"/>
                </a:lnTo>
                <a:lnTo>
                  <a:pt x="232" y="20"/>
                </a:lnTo>
                <a:lnTo>
                  <a:pt x="231" y="19"/>
                </a:lnTo>
                <a:lnTo>
                  <a:pt x="231" y="18"/>
                </a:lnTo>
                <a:lnTo>
                  <a:pt x="231" y="13"/>
                </a:lnTo>
                <a:lnTo>
                  <a:pt x="224" y="12"/>
                </a:lnTo>
                <a:lnTo>
                  <a:pt x="217" y="9"/>
                </a:lnTo>
                <a:lnTo>
                  <a:pt x="214" y="7"/>
                </a:lnTo>
                <a:lnTo>
                  <a:pt x="212" y="4"/>
                </a:lnTo>
                <a:lnTo>
                  <a:pt x="211" y="2"/>
                </a:lnTo>
                <a:lnTo>
                  <a:pt x="209" y="0"/>
                </a:lnTo>
                <a:lnTo>
                  <a:pt x="203" y="0"/>
                </a:lnTo>
                <a:lnTo>
                  <a:pt x="192" y="0"/>
                </a:lnTo>
                <a:lnTo>
                  <a:pt x="177" y="0"/>
                </a:lnTo>
                <a:lnTo>
                  <a:pt x="16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69" name="Freeform 30">
            <a:extLst>
              <a:ext uri="{FF2B5EF4-FFF2-40B4-BE49-F238E27FC236}">
                <a16:creationId xmlns:a16="http://schemas.microsoft.com/office/drawing/2014/main" id="{2AB06143-BE01-4161-AEC4-A3CA1FBE328A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835775" y="3627438"/>
            <a:ext cx="68364" cy="107950"/>
          </a:xfrm>
          <a:custGeom>
            <a:avLst/>
            <a:gdLst/>
            <a:ahLst/>
            <a:cxnLst>
              <a:cxn ang="0">
                <a:pos x="173" y="9"/>
              </a:cxn>
              <a:cxn ang="0">
                <a:pos x="162" y="36"/>
              </a:cxn>
              <a:cxn ang="0">
                <a:pos x="160" y="45"/>
              </a:cxn>
              <a:cxn ang="0">
                <a:pos x="157" y="51"/>
              </a:cxn>
              <a:cxn ang="0">
                <a:pos x="148" y="73"/>
              </a:cxn>
              <a:cxn ang="0">
                <a:pos x="128" y="107"/>
              </a:cxn>
              <a:cxn ang="0">
                <a:pos x="119" y="114"/>
              </a:cxn>
              <a:cxn ang="0">
                <a:pos x="95" y="134"/>
              </a:cxn>
              <a:cxn ang="0">
                <a:pos x="80" y="145"/>
              </a:cxn>
              <a:cxn ang="0">
                <a:pos x="62" y="161"/>
              </a:cxn>
              <a:cxn ang="0">
                <a:pos x="54" y="177"/>
              </a:cxn>
              <a:cxn ang="0">
                <a:pos x="48" y="208"/>
              </a:cxn>
              <a:cxn ang="0">
                <a:pos x="45" y="215"/>
              </a:cxn>
              <a:cxn ang="0">
                <a:pos x="43" y="244"/>
              </a:cxn>
              <a:cxn ang="0">
                <a:pos x="35" y="261"/>
              </a:cxn>
              <a:cxn ang="0">
                <a:pos x="28" y="291"/>
              </a:cxn>
              <a:cxn ang="0">
                <a:pos x="23" y="320"/>
              </a:cxn>
              <a:cxn ang="0">
                <a:pos x="14" y="345"/>
              </a:cxn>
              <a:cxn ang="0">
                <a:pos x="5" y="373"/>
              </a:cxn>
              <a:cxn ang="0">
                <a:pos x="1" y="403"/>
              </a:cxn>
              <a:cxn ang="0">
                <a:pos x="0" y="471"/>
              </a:cxn>
              <a:cxn ang="0">
                <a:pos x="6" y="515"/>
              </a:cxn>
              <a:cxn ang="0">
                <a:pos x="16" y="545"/>
              </a:cxn>
              <a:cxn ang="0">
                <a:pos x="23" y="563"/>
              </a:cxn>
              <a:cxn ang="0">
                <a:pos x="36" y="578"/>
              </a:cxn>
              <a:cxn ang="0">
                <a:pos x="46" y="590"/>
              </a:cxn>
              <a:cxn ang="0">
                <a:pos x="62" y="603"/>
              </a:cxn>
              <a:cxn ang="0">
                <a:pos x="88" y="606"/>
              </a:cxn>
              <a:cxn ang="0">
                <a:pos x="145" y="637"/>
              </a:cxn>
              <a:cxn ang="0">
                <a:pos x="155" y="651"/>
              </a:cxn>
              <a:cxn ang="0">
                <a:pos x="188" y="665"/>
              </a:cxn>
              <a:cxn ang="0">
                <a:pos x="219" y="666"/>
              </a:cxn>
              <a:cxn ang="0">
                <a:pos x="253" y="657"/>
              </a:cxn>
              <a:cxn ang="0">
                <a:pos x="276" y="631"/>
              </a:cxn>
              <a:cxn ang="0">
                <a:pos x="284" y="587"/>
              </a:cxn>
              <a:cxn ang="0">
                <a:pos x="288" y="557"/>
              </a:cxn>
              <a:cxn ang="0">
                <a:pos x="293" y="540"/>
              </a:cxn>
              <a:cxn ang="0">
                <a:pos x="327" y="494"/>
              </a:cxn>
              <a:cxn ang="0">
                <a:pos x="349" y="453"/>
              </a:cxn>
              <a:cxn ang="0">
                <a:pos x="360" y="431"/>
              </a:cxn>
              <a:cxn ang="0">
                <a:pos x="370" y="394"/>
              </a:cxn>
              <a:cxn ang="0">
                <a:pos x="368" y="356"/>
              </a:cxn>
              <a:cxn ang="0">
                <a:pos x="351" y="328"/>
              </a:cxn>
              <a:cxn ang="0">
                <a:pos x="342" y="311"/>
              </a:cxn>
              <a:cxn ang="0">
                <a:pos x="335" y="285"/>
              </a:cxn>
              <a:cxn ang="0">
                <a:pos x="330" y="167"/>
              </a:cxn>
              <a:cxn ang="0">
                <a:pos x="323" y="154"/>
              </a:cxn>
              <a:cxn ang="0">
                <a:pos x="305" y="135"/>
              </a:cxn>
              <a:cxn ang="0">
                <a:pos x="284" y="115"/>
              </a:cxn>
              <a:cxn ang="0">
                <a:pos x="268" y="98"/>
              </a:cxn>
              <a:cxn ang="0">
                <a:pos x="253" y="88"/>
              </a:cxn>
              <a:cxn ang="0">
                <a:pos x="244" y="79"/>
              </a:cxn>
              <a:cxn ang="0">
                <a:pos x="236" y="58"/>
              </a:cxn>
              <a:cxn ang="0">
                <a:pos x="230" y="31"/>
              </a:cxn>
              <a:cxn ang="0">
                <a:pos x="227" y="26"/>
              </a:cxn>
              <a:cxn ang="0">
                <a:pos x="217" y="9"/>
              </a:cxn>
              <a:cxn ang="0">
                <a:pos x="190" y="0"/>
              </a:cxn>
            </a:cxnLst>
            <a:rect l="0" t="0" r="r" b="b"/>
            <a:pathLst>
              <a:path w="372" h="669">
                <a:moveTo>
                  <a:pt x="190" y="0"/>
                </a:moveTo>
                <a:lnTo>
                  <a:pt x="186" y="1"/>
                </a:lnTo>
                <a:lnTo>
                  <a:pt x="179" y="4"/>
                </a:lnTo>
                <a:lnTo>
                  <a:pt x="173" y="9"/>
                </a:lnTo>
                <a:lnTo>
                  <a:pt x="169" y="13"/>
                </a:lnTo>
                <a:lnTo>
                  <a:pt x="167" y="22"/>
                </a:lnTo>
                <a:lnTo>
                  <a:pt x="164" y="36"/>
                </a:lnTo>
                <a:lnTo>
                  <a:pt x="162" y="36"/>
                </a:lnTo>
                <a:lnTo>
                  <a:pt x="161" y="37"/>
                </a:lnTo>
                <a:lnTo>
                  <a:pt x="161" y="38"/>
                </a:lnTo>
                <a:lnTo>
                  <a:pt x="160" y="40"/>
                </a:lnTo>
                <a:lnTo>
                  <a:pt x="160" y="45"/>
                </a:lnTo>
                <a:lnTo>
                  <a:pt x="160" y="48"/>
                </a:lnTo>
                <a:lnTo>
                  <a:pt x="158" y="49"/>
                </a:lnTo>
                <a:lnTo>
                  <a:pt x="157" y="50"/>
                </a:lnTo>
                <a:lnTo>
                  <a:pt x="157" y="51"/>
                </a:lnTo>
                <a:lnTo>
                  <a:pt x="155" y="54"/>
                </a:lnTo>
                <a:lnTo>
                  <a:pt x="155" y="58"/>
                </a:lnTo>
                <a:lnTo>
                  <a:pt x="155" y="61"/>
                </a:lnTo>
                <a:lnTo>
                  <a:pt x="148" y="73"/>
                </a:lnTo>
                <a:lnTo>
                  <a:pt x="139" y="89"/>
                </a:lnTo>
                <a:lnTo>
                  <a:pt x="134" y="97"/>
                </a:lnTo>
                <a:lnTo>
                  <a:pt x="130" y="104"/>
                </a:lnTo>
                <a:lnTo>
                  <a:pt x="128" y="107"/>
                </a:lnTo>
                <a:lnTo>
                  <a:pt x="124" y="108"/>
                </a:lnTo>
                <a:lnTo>
                  <a:pt x="122" y="111"/>
                </a:lnTo>
                <a:lnTo>
                  <a:pt x="120" y="111"/>
                </a:lnTo>
                <a:lnTo>
                  <a:pt x="119" y="114"/>
                </a:lnTo>
                <a:lnTo>
                  <a:pt x="115" y="118"/>
                </a:lnTo>
                <a:lnTo>
                  <a:pt x="111" y="123"/>
                </a:lnTo>
                <a:lnTo>
                  <a:pt x="105" y="127"/>
                </a:lnTo>
                <a:lnTo>
                  <a:pt x="95" y="134"/>
                </a:lnTo>
                <a:lnTo>
                  <a:pt x="88" y="137"/>
                </a:lnTo>
                <a:lnTo>
                  <a:pt x="87" y="141"/>
                </a:lnTo>
                <a:lnTo>
                  <a:pt x="84" y="143"/>
                </a:lnTo>
                <a:lnTo>
                  <a:pt x="80" y="145"/>
                </a:lnTo>
                <a:lnTo>
                  <a:pt x="75" y="146"/>
                </a:lnTo>
                <a:lnTo>
                  <a:pt x="72" y="152"/>
                </a:lnTo>
                <a:lnTo>
                  <a:pt x="66" y="156"/>
                </a:lnTo>
                <a:lnTo>
                  <a:pt x="62" y="161"/>
                </a:lnTo>
                <a:lnTo>
                  <a:pt x="57" y="164"/>
                </a:lnTo>
                <a:lnTo>
                  <a:pt x="57" y="172"/>
                </a:lnTo>
                <a:lnTo>
                  <a:pt x="56" y="174"/>
                </a:lnTo>
                <a:lnTo>
                  <a:pt x="54" y="177"/>
                </a:lnTo>
                <a:lnTo>
                  <a:pt x="53" y="183"/>
                </a:lnTo>
                <a:lnTo>
                  <a:pt x="52" y="189"/>
                </a:lnTo>
                <a:lnTo>
                  <a:pt x="49" y="201"/>
                </a:lnTo>
                <a:lnTo>
                  <a:pt x="48" y="208"/>
                </a:lnTo>
                <a:lnTo>
                  <a:pt x="47" y="209"/>
                </a:lnTo>
                <a:lnTo>
                  <a:pt x="46" y="210"/>
                </a:lnTo>
                <a:lnTo>
                  <a:pt x="45" y="212"/>
                </a:lnTo>
                <a:lnTo>
                  <a:pt x="45" y="215"/>
                </a:lnTo>
                <a:lnTo>
                  <a:pt x="44" y="221"/>
                </a:lnTo>
                <a:lnTo>
                  <a:pt x="44" y="225"/>
                </a:lnTo>
                <a:lnTo>
                  <a:pt x="44" y="236"/>
                </a:lnTo>
                <a:lnTo>
                  <a:pt x="43" y="244"/>
                </a:lnTo>
                <a:lnTo>
                  <a:pt x="42" y="249"/>
                </a:lnTo>
                <a:lnTo>
                  <a:pt x="40" y="253"/>
                </a:lnTo>
                <a:lnTo>
                  <a:pt x="38" y="258"/>
                </a:lnTo>
                <a:lnTo>
                  <a:pt x="35" y="261"/>
                </a:lnTo>
                <a:lnTo>
                  <a:pt x="35" y="279"/>
                </a:lnTo>
                <a:lnTo>
                  <a:pt x="33" y="282"/>
                </a:lnTo>
                <a:lnTo>
                  <a:pt x="30" y="287"/>
                </a:lnTo>
                <a:lnTo>
                  <a:pt x="28" y="291"/>
                </a:lnTo>
                <a:lnTo>
                  <a:pt x="28" y="297"/>
                </a:lnTo>
                <a:lnTo>
                  <a:pt x="27" y="308"/>
                </a:lnTo>
                <a:lnTo>
                  <a:pt x="27" y="318"/>
                </a:lnTo>
                <a:lnTo>
                  <a:pt x="23" y="320"/>
                </a:lnTo>
                <a:lnTo>
                  <a:pt x="18" y="323"/>
                </a:lnTo>
                <a:lnTo>
                  <a:pt x="17" y="330"/>
                </a:lnTo>
                <a:lnTo>
                  <a:pt x="16" y="338"/>
                </a:lnTo>
                <a:lnTo>
                  <a:pt x="14" y="345"/>
                </a:lnTo>
                <a:lnTo>
                  <a:pt x="11" y="352"/>
                </a:lnTo>
                <a:lnTo>
                  <a:pt x="8" y="358"/>
                </a:lnTo>
                <a:lnTo>
                  <a:pt x="7" y="365"/>
                </a:lnTo>
                <a:lnTo>
                  <a:pt x="5" y="373"/>
                </a:lnTo>
                <a:lnTo>
                  <a:pt x="5" y="381"/>
                </a:lnTo>
                <a:lnTo>
                  <a:pt x="2" y="384"/>
                </a:lnTo>
                <a:lnTo>
                  <a:pt x="1" y="392"/>
                </a:lnTo>
                <a:lnTo>
                  <a:pt x="1" y="403"/>
                </a:lnTo>
                <a:lnTo>
                  <a:pt x="0" y="417"/>
                </a:lnTo>
                <a:lnTo>
                  <a:pt x="0" y="444"/>
                </a:lnTo>
                <a:lnTo>
                  <a:pt x="0" y="460"/>
                </a:lnTo>
                <a:lnTo>
                  <a:pt x="0" y="471"/>
                </a:lnTo>
                <a:lnTo>
                  <a:pt x="2" y="482"/>
                </a:lnTo>
                <a:lnTo>
                  <a:pt x="4" y="493"/>
                </a:lnTo>
                <a:lnTo>
                  <a:pt x="5" y="504"/>
                </a:lnTo>
                <a:lnTo>
                  <a:pt x="6" y="515"/>
                </a:lnTo>
                <a:lnTo>
                  <a:pt x="9" y="525"/>
                </a:lnTo>
                <a:lnTo>
                  <a:pt x="11" y="535"/>
                </a:lnTo>
                <a:lnTo>
                  <a:pt x="14" y="545"/>
                </a:lnTo>
                <a:lnTo>
                  <a:pt x="16" y="545"/>
                </a:lnTo>
                <a:lnTo>
                  <a:pt x="17" y="547"/>
                </a:lnTo>
                <a:lnTo>
                  <a:pt x="18" y="550"/>
                </a:lnTo>
                <a:lnTo>
                  <a:pt x="18" y="554"/>
                </a:lnTo>
                <a:lnTo>
                  <a:pt x="23" y="563"/>
                </a:lnTo>
                <a:lnTo>
                  <a:pt x="27" y="565"/>
                </a:lnTo>
                <a:lnTo>
                  <a:pt x="31" y="567"/>
                </a:lnTo>
                <a:lnTo>
                  <a:pt x="35" y="575"/>
                </a:lnTo>
                <a:lnTo>
                  <a:pt x="36" y="578"/>
                </a:lnTo>
                <a:lnTo>
                  <a:pt x="38" y="581"/>
                </a:lnTo>
                <a:lnTo>
                  <a:pt x="40" y="584"/>
                </a:lnTo>
                <a:lnTo>
                  <a:pt x="44" y="584"/>
                </a:lnTo>
                <a:lnTo>
                  <a:pt x="46" y="590"/>
                </a:lnTo>
                <a:lnTo>
                  <a:pt x="48" y="597"/>
                </a:lnTo>
                <a:lnTo>
                  <a:pt x="57" y="597"/>
                </a:lnTo>
                <a:lnTo>
                  <a:pt x="58" y="600"/>
                </a:lnTo>
                <a:lnTo>
                  <a:pt x="62" y="603"/>
                </a:lnTo>
                <a:lnTo>
                  <a:pt x="65" y="604"/>
                </a:lnTo>
                <a:lnTo>
                  <a:pt x="69" y="605"/>
                </a:lnTo>
                <a:lnTo>
                  <a:pt x="80" y="606"/>
                </a:lnTo>
                <a:lnTo>
                  <a:pt x="88" y="606"/>
                </a:lnTo>
                <a:lnTo>
                  <a:pt x="103" y="615"/>
                </a:lnTo>
                <a:lnTo>
                  <a:pt x="125" y="625"/>
                </a:lnTo>
                <a:lnTo>
                  <a:pt x="136" y="632"/>
                </a:lnTo>
                <a:lnTo>
                  <a:pt x="145" y="637"/>
                </a:lnTo>
                <a:lnTo>
                  <a:pt x="150" y="641"/>
                </a:lnTo>
                <a:lnTo>
                  <a:pt x="152" y="644"/>
                </a:lnTo>
                <a:lnTo>
                  <a:pt x="154" y="647"/>
                </a:lnTo>
                <a:lnTo>
                  <a:pt x="155" y="651"/>
                </a:lnTo>
                <a:lnTo>
                  <a:pt x="163" y="653"/>
                </a:lnTo>
                <a:lnTo>
                  <a:pt x="176" y="660"/>
                </a:lnTo>
                <a:lnTo>
                  <a:pt x="182" y="663"/>
                </a:lnTo>
                <a:lnTo>
                  <a:pt x="188" y="665"/>
                </a:lnTo>
                <a:lnTo>
                  <a:pt x="193" y="667"/>
                </a:lnTo>
                <a:lnTo>
                  <a:pt x="199" y="669"/>
                </a:lnTo>
                <a:lnTo>
                  <a:pt x="209" y="667"/>
                </a:lnTo>
                <a:lnTo>
                  <a:pt x="219" y="666"/>
                </a:lnTo>
                <a:lnTo>
                  <a:pt x="227" y="664"/>
                </a:lnTo>
                <a:lnTo>
                  <a:pt x="235" y="664"/>
                </a:lnTo>
                <a:lnTo>
                  <a:pt x="242" y="662"/>
                </a:lnTo>
                <a:lnTo>
                  <a:pt x="253" y="657"/>
                </a:lnTo>
                <a:lnTo>
                  <a:pt x="263" y="653"/>
                </a:lnTo>
                <a:lnTo>
                  <a:pt x="270" y="651"/>
                </a:lnTo>
                <a:lnTo>
                  <a:pt x="275" y="642"/>
                </a:lnTo>
                <a:lnTo>
                  <a:pt x="276" y="631"/>
                </a:lnTo>
                <a:lnTo>
                  <a:pt x="279" y="619"/>
                </a:lnTo>
                <a:lnTo>
                  <a:pt x="282" y="608"/>
                </a:lnTo>
                <a:lnTo>
                  <a:pt x="284" y="597"/>
                </a:lnTo>
                <a:lnTo>
                  <a:pt x="284" y="587"/>
                </a:lnTo>
                <a:lnTo>
                  <a:pt x="285" y="573"/>
                </a:lnTo>
                <a:lnTo>
                  <a:pt x="286" y="565"/>
                </a:lnTo>
                <a:lnTo>
                  <a:pt x="287" y="559"/>
                </a:lnTo>
                <a:lnTo>
                  <a:pt x="288" y="557"/>
                </a:lnTo>
                <a:lnTo>
                  <a:pt x="289" y="555"/>
                </a:lnTo>
                <a:lnTo>
                  <a:pt x="290" y="554"/>
                </a:lnTo>
                <a:lnTo>
                  <a:pt x="293" y="554"/>
                </a:lnTo>
                <a:lnTo>
                  <a:pt x="293" y="540"/>
                </a:lnTo>
                <a:lnTo>
                  <a:pt x="299" y="531"/>
                </a:lnTo>
                <a:lnTo>
                  <a:pt x="308" y="521"/>
                </a:lnTo>
                <a:lnTo>
                  <a:pt x="318" y="508"/>
                </a:lnTo>
                <a:lnTo>
                  <a:pt x="327" y="494"/>
                </a:lnTo>
                <a:lnTo>
                  <a:pt x="336" y="480"/>
                </a:lnTo>
                <a:lnTo>
                  <a:pt x="343" y="467"/>
                </a:lnTo>
                <a:lnTo>
                  <a:pt x="346" y="460"/>
                </a:lnTo>
                <a:lnTo>
                  <a:pt x="349" y="453"/>
                </a:lnTo>
                <a:lnTo>
                  <a:pt x="350" y="448"/>
                </a:lnTo>
                <a:lnTo>
                  <a:pt x="350" y="442"/>
                </a:lnTo>
                <a:lnTo>
                  <a:pt x="359" y="439"/>
                </a:lnTo>
                <a:lnTo>
                  <a:pt x="360" y="431"/>
                </a:lnTo>
                <a:lnTo>
                  <a:pt x="361" y="424"/>
                </a:lnTo>
                <a:lnTo>
                  <a:pt x="363" y="416"/>
                </a:lnTo>
                <a:lnTo>
                  <a:pt x="365" y="410"/>
                </a:lnTo>
                <a:lnTo>
                  <a:pt x="370" y="394"/>
                </a:lnTo>
                <a:lnTo>
                  <a:pt x="372" y="381"/>
                </a:lnTo>
                <a:lnTo>
                  <a:pt x="371" y="373"/>
                </a:lnTo>
                <a:lnTo>
                  <a:pt x="370" y="364"/>
                </a:lnTo>
                <a:lnTo>
                  <a:pt x="368" y="356"/>
                </a:lnTo>
                <a:lnTo>
                  <a:pt x="364" y="348"/>
                </a:lnTo>
                <a:lnTo>
                  <a:pt x="360" y="342"/>
                </a:lnTo>
                <a:lnTo>
                  <a:pt x="355" y="335"/>
                </a:lnTo>
                <a:lnTo>
                  <a:pt x="351" y="328"/>
                </a:lnTo>
                <a:lnTo>
                  <a:pt x="345" y="323"/>
                </a:lnTo>
                <a:lnTo>
                  <a:pt x="345" y="314"/>
                </a:lnTo>
                <a:lnTo>
                  <a:pt x="344" y="314"/>
                </a:lnTo>
                <a:lnTo>
                  <a:pt x="342" y="311"/>
                </a:lnTo>
                <a:lnTo>
                  <a:pt x="341" y="309"/>
                </a:lnTo>
                <a:lnTo>
                  <a:pt x="340" y="305"/>
                </a:lnTo>
                <a:lnTo>
                  <a:pt x="337" y="296"/>
                </a:lnTo>
                <a:lnTo>
                  <a:pt x="335" y="285"/>
                </a:lnTo>
                <a:lnTo>
                  <a:pt x="333" y="262"/>
                </a:lnTo>
                <a:lnTo>
                  <a:pt x="332" y="248"/>
                </a:lnTo>
                <a:lnTo>
                  <a:pt x="332" y="169"/>
                </a:lnTo>
                <a:lnTo>
                  <a:pt x="330" y="167"/>
                </a:lnTo>
                <a:lnTo>
                  <a:pt x="328" y="165"/>
                </a:lnTo>
                <a:lnTo>
                  <a:pt x="327" y="163"/>
                </a:lnTo>
                <a:lnTo>
                  <a:pt x="327" y="160"/>
                </a:lnTo>
                <a:lnTo>
                  <a:pt x="323" y="154"/>
                </a:lnTo>
                <a:lnTo>
                  <a:pt x="317" y="148"/>
                </a:lnTo>
                <a:lnTo>
                  <a:pt x="312" y="142"/>
                </a:lnTo>
                <a:lnTo>
                  <a:pt x="309" y="137"/>
                </a:lnTo>
                <a:lnTo>
                  <a:pt x="305" y="135"/>
                </a:lnTo>
                <a:lnTo>
                  <a:pt x="299" y="129"/>
                </a:lnTo>
                <a:lnTo>
                  <a:pt x="294" y="124"/>
                </a:lnTo>
                <a:lnTo>
                  <a:pt x="293" y="119"/>
                </a:lnTo>
                <a:lnTo>
                  <a:pt x="284" y="115"/>
                </a:lnTo>
                <a:lnTo>
                  <a:pt x="279" y="111"/>
                </a:lnTo>
                <a:lnTo>
                  <a:pt x="279" y="102"/>
                </a:lnTo>
                <a:lnTo>
                  <a:pt x="270" y="102"/>
                </a:lnTo>
                <a:lnTo>
                  <a:pt x="268" y="98"/>
                </a:lnTo>
                <a:lnTo>
                  <a:pt x="265" y="96"/>
                </a:lnTo>
                <a:lnTo>
                  <a:pt x="260" y="94"/>
                </a:lnTo>
                <a:lnTo>
                  <a:pt x="257" y="93"/>
                </a:lnTo>
                <a:lnTo>
                  <a:pt x="253" y="88"/>
                </a:lnTo>
                <a:lnTo>
                  <a:pt x="251" y="85"/>
                </a:lnTo>
                <a:lnTo>
                  <a:pt x="249" y="83"/>
                </a:lnTo>
                <a:lnTo>
                  <a:pt x="247" y="80"/>
                </a:lnTo>
                <a:lnTo>
                  <a:pt x="244" y="79"/>
                </a:lnTo>
                <a:lnTo>
                  <a:pt x="241" y="70"/>
                </a:lnTo>
                <a:lnTo>
                  <a:pt x="239" y="61"/>
                </a:lnTo>
                <a:lnTo>
                  <a:pt x="237" y="60"/>
                </a:lnTo>
                <a:lnTo>
                  <a:pt x="236" y="58"/>
                </a:lnTo>
                <a:lnTo>
                  <a:pt x="235" y="55"/>
                </a:lnTo>
                <a:lnTo>
                  <a:pt x="234" y="49"/>
                </a:lnTo>
                <a:lnTo>
                  <a:pt x="231" y="39"/>
                </a:lnTo>
                <a:lnTo>
                  <a:pt x="230" y="31"/>
                </a:lnTo>
                <a:lnTo>
                  <a:pt x="229" y="30"/>
                </a:lnTo>
                <a:lnTo>
                  <a:pt x="228" y="29"/>
                </a:lnTo>
                <a:lnTo>
                  <a:pt x="227" y="28"/>
                </a:lnTo>
                <a:lnTo>
                  <a:pt x="227" y="26"/>
                </a:lnTo>
                <a:lnTo>
                  <a:pt x="226" y="21"/>
                </a:lnTo>
                <a:lnTo>
                  <a:pt x="226" y="18"/>
                </a:lnTo>
                <a:lnTo>
                  <a:pt x="221" y="13"/>
                </a:lnTo>
                <a:lnTo>
                  <a:pt x="217" y="9"/>
                </a:lnTo>
                <a:lnTo>
                  <a:pt x="213" y="9"/>
                </a:lnTo>
                <a:lnTo>
                  <a:pt x="209" y="8"/>
                </a:lnTo>
                <a:lnTo>
                  <a:pt x="201" y="4"/>
                </a:lnTo>
                <a:lnTo>
                  <a:pt x="19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70" name="Freeform 31">
            <a:extLst>
              <a:ext uri="{FF2B5EF4-FFF2-40B4-BE49-F238E27FC236}">
                <a16:creationId xmlns:a16="http://schemas.microsoft.com/office/drawing/2014/main" id="{C697986E-2DFB-40DA-904C-3A9177085A54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572250" y="3217863"/>
            <a:ext cx="200827" cy="212725"/>
          </a:xfrm>
          <a:custGeom>
            <a:avLst/>
            <a:gdLst/>
            <a:ahLst/>
            <a:cxnLst>
              <a:cxn ang="0">
                <a:pos x="412" y="24"/>
              </a:cxn>
              <a:cxn ang="0">
                <a:pos x="356" y="85"/>
              </a:cxn>
              <a:cxn ang="0">
                <a:pos x="295" y="114"/>
              </a:cxn>
              <a:cxn ang="0">
                <a:pos x="195" y="100"/>
              </a:cxn>
              <a:cxn ang="0">
                <a:pos x="116" y="92"/>
              </a:cxn>
              <a:cxn ang="0">
                <a:pos x="84" y="115"/>
              </a:cxn>
              <a:cxn ang="0">
                <a:pos x="56" y="149"/>
              </a:cxn>
              <a:cxn ang="0">
                <a:pos x="55" y="216"/>
              </a:cxn>
              <a:cxn ang="0">
                <a:pos x="0" y="386"/>
              </a:cxn>
              <a:cxn ang="0">
                <a:pos x="38" y="414"/>
              </a:cxn>
              <a:cxn ang="0">
                <a:pos x="93" y="479"/>
              </a:cxn>
              <a:cxn ang="0">
                <a:pos x="24" y="540"/>
              </a:cxn>
              <a:cxn ang="0">
                <a:pos x="39" y="579"/>
              </a:cxn>
              <a:cxn ang="0">
                <a:pos x="70" y="560"/>
              </a:cxn>
              <a:cxn ang="0">
                <a:pos x="124" y="538"/>
              </a:cxn>
              <a:cxn ang="0">
                <a:pos x="193" y="537"/>
              </a:cxn>
              <a:cxn ang="0">
                <a:pos x="303" y="606"/>
              </a:cxn>
              <a:cxn ang="0">
                <a:pos x="342" y="638"/>
              </a:cxn>
              <a:cxn ang="0">
                <a:pos x="366" y="648"/>
              </a:cxn>
              <a:cxn ang="0">
                <a:pos x="399" y="678"/>
              </a:cxn>
              <a:cxn ang="0">
                <a:pos x="413" y="735"/>
              </a:cxn>
              <a:cxn ang="0">
                <a:pos x="437" y="963"/>
              </a:cxn>
              <a:cxn ang="0">
                <a:pos x="437" y="1028"/>
              </a:cxn>
              <a:cxn ang="0">
                <a:pos x="390" y="1088"/>
              </a:cxn>
              <a:cxn ang="0">
                <a:pos x="372" y="1100"/>
              </a:cxn>
              <a:cxn ang="0">
                <a:pos x="349" y="1136"/>
              </a:cxn>
              <a:cxn ang="0">
                <a:pos x="382" y="1178"/>
              </a:cxn>
              <a:cxn ang="0">
                <a:pos x="419" y="1189"/>
              </a:cxn>
              <a:cxn ang="0">
                <a:pos x="449" y="1136"/>
              </a:cxn>
              <a:cxn ang="0">
                <a:pos x="470" y="1124"/>
              </a:cxn>
              <a:cxn ang="0">
                <a:pos x="565" y="1158"/>
              </a:cxn>
              <a:cxn ang="0">
                <a:pos x="581" y="1189"/>
              </a:cxn>
              <a:cxn ang="0">
                <a:pos x="606" y="1229"/>
              </a:cxn>
              <a:cxn ang="0">
                <a:pos x="642" y="1274"/>
              </a:cxn>
              <a:cxn ang="0">
                <a:pos x="714" y="1290"/>
              </a:cxn>
              <a:cxn ang="0">
                <a:pos x="835" y="1288"/>
              </a:cxn>
              <a:cxn ang="0">
                <a:pos x="1091" y="1313"/>
              </a:cxn>
              <a:cxn ang="0">
                <a:pos x="1013" y="1244"/>
              </a:cxn>
              <a:cxn ang="0">
                <a:pos x="983" y="1229"/>
              </a:cxn>
              <a:cxn ang="0">
                <a:pos x="951" y="1150"/>
              </a:cxn>
              <a:cxn ang="0">
                <a:pos x="934" y="1095"/>
              </a:cxn>
              <a:cxn ang="0">
                <a:pos x="916" y="1033"/>
              </a:cxn>
              <a:cxn ang="0">
                <a:pos x="906" y="1003"/>
              </a:cxn>
              <a:cxn ang="0">
                <a:pos x="867" y="927"/>
              </a:cxn>
              <a:cxn ang="0">
                <a:pos x="793" y="894"/>
              </a:cxn>
              <a:cxn ang="0">
                <a:pos x="758" y="873"/>
              </a:cxn>
              <a:cxn ang="0">
                <a:pos x="721" y="802"/>
              </a:cxn>
              <a:cxn ang="0">
                <a:pos x="739" y="721"/>
              </a:cxn>
              <a:cxn ang="0">
                <a:pos x="748" y="647"/>
              </a:cxn>
              <a:cxn ang="0">
                <a:pos x="736" y="539"/>
              </a:cxn>
              <a:cxn ang="0">
                <a:pos x="673" y="525"/>
              </a:cxn>
              <a:cxn ang="0">
                <a:pos x="619" y="502"/>
              </a:cxn>
              <a:cxn ang="0">
                <a:pos x="593" y="489"/>
              </a:cxn>
              <a:cxn ang="0">
                <a:pos x="574" y="477"/>
              </a:cxn>
              <a:cxn ang="0">
                <a:pos x="522" y="408"/>
              </a:cxn>
              <a:cxn ang="0">
                <a:pos x="550" y="376"/>
              </a:cxn>
              <a:cxn ang="0">
                <a:pos x="563" y="352"/>
              </a:cxn>
              <a:cxn ang="0">
                <a:pos x="574" y="333"/>
              </a:cxn>
              <a:cxn ang="0">
                <a:pos x="587" y="258"/>
              </a:cxn>
              <a:cxn ang="0">
                <a:pos x="577" y="192"/>
              </a:cxn>
              <a:cxn ang="0">
                <a:pos x="560" y="175"/>
              </a:cxn>
              <a:cxn ang="0">
                <a:pos x="534" y="134"/>
              </a:cxn>
              <a:cxn ang="0">
                <a:pos x="548" y="41"/>
              </a:cxn>
            </a:cxnLst>
            <a:rect l="0" t="0" r="r" b="b"/>
            <a:pathLst>
              <a:path w="1091" h="1313">
                <a:moveTo>
                  <a:pt x="457" y="0"/>
                </a:moveTo>
                <a:lnTo>
                  <a:pt x="452" y="0"/>
                </a:lnTo>
                <a:lnTo>
                  <a:pt x="446" y="2"/>
                </a:lnTo>
                <a:lnTo>
                  <a:pt x="439" y="5"/>
                </a:lnTo>
                <a:lnTo>
                  <a:pt x="430" y="9"/>
                </a:lnTo>
                <a:lnTo>
                  <a:pt x="423" y="14"/>
                </a:lnTo>
                <a:lnTo>
                  <a:pt x="417" y="19"/>
                </a:lnTo>
                <a:lnTo>
                  <a:pt x="413" y="22"/>
                </a:lnTo>
                <a:lnTo>
                  <a:pt x="412" y="24"/>
                </a:lnTo>
                <a:lnTo>
                  <a:pt x="411" y="28"/>
                </a:lnTo>
                <a:lnTo>
                  <a:pt x="410" y="30"/>
                </a:lnTo>
                <a:lnTo>
                  <a:pt x="399" y="34"/>
                </a:lnTo>
                <a:lnTo>
                  <a:pt x="387" y="38"/>
                </a:lnTo>
                <a:lnTo>
                  <a:pt x="380" y="46"/>
                </a:lnTo>
                <a:lnTo>
                  <a:pt x="372" y="53"/>
                </a:lnTo>
                <a:lnTo>
                  <a:pt x="372" y="69"/>
                </a:lnTo>
                <a:lnTo>
                  <a:pt x="356" y="69"/>
                </a:lnTo>
                <a:lnTo>
                  <a:pt x="356" y="85"/>
                </a:lnTo>
                <a:lnTo>
                  <a:pt x="349" y="92"/>
                </a:lnTo>
                <a:lnTo>
                  <a:pt x="341" y="100"/>
                </a:lnTo>
                <a:lnTo>
                  <a:pt x="333" y="108"/>
                </a:lnTo>
                <a:lnTo>
                  <a:pt x="322" y="108"/>
                </a:lnTo>
                <a:lnTo>
                  <a:pt x="310" y="108"/>
                </a:lnTo>
                <a:lnTo>
                  <a:pt x="308" y="110"/>
                </a:lnTo>
                <a:lnTo>
                  <a:pt x="306" y="112"/>
                </a:lnTo>
                <a:lnTo>
                  <a:pt x="302" y="114"/>
                </a:lnTo>
                <a:lnTo>
                  <a:pt x="295" y="114"/>
                </a:lnTo>
                <a:lnTo>
                  <a:pt x="281" y="115"/>
                </a:lnTo>
                <a:lnTo>
                  <a:pt x="264" y="114"/>
                </a:lnTo>
                <a:lnTo>
                  <a:pt x="231" y="110"/>
                </a:lnTo>
                <a:lnTo>
                  <a:pt x="217" y="108"/>
                </a:lnTo>
                <a:lnTo>
                  <a:pt x="216" y="105"/>
                </a:lnTo>
                <a:lnTo>
                  <a:pt x="214" y="104"/>
                </a:lnTo>
                <a:lnTo>
                  <a:pt x="209" y="101"/>
                </a:lnTo>
                <a:lnTo>
                  <a:pt x="205" y="101"/>
                </a:lnTo>
                <a:lnTo>
                  <a:pt x="195" y="100"/>
                </a:lnTo>
                <a:lnTo>
                  <a:pt x="186" y="100"/>
                </a:lnTo>
                <a:lnTo>
                  <a:pt x="186" y="98"/>
                </a:lnTo>
                <a:lnTo>
                  <a:pt x="183" y="97"/>
                </a:lnTo>
                <a:lnTo>
                  <a:pt x="180" y="96"/>
                </a:lnTo>
                <a:lnTo>
                  <a:pt x="177" y="96"/>
                </a:lnTo>
                <a:lnTo>
                  <a:pt x="167" y="94"/>
                </a:lnTo>
                <a:lnTo>
                  <a:pt x="154" y="94"/>
                </a:lnTo>
                <a:lnTo>
                  <a:pt x="131" y="92"/>
                </a:lnTo>
                <a:lnTo>
                  <a:pt x="116" y="92"/>
                </a:lnTo>
                <a:lnTo>
                  <a:pt x="115" y="95"/>
                </a:lnTo>
                <a:lnTo>
                  <a:pt x="114" y="97"/>
                </a:lnTo>
                <a:lnTo>
                  <a:pt x="111" y="98"/>
                </a:lnTo>
                <a:lnTo>
                  <a:pt x="107" y="99"/>
                </a:lnTo>
                <a:lnTo>
                  <a:pt x="100" y="100"/>
                </a:lnTo>
                <a:lnTo>
                  <a:pt x="93" y="100"/>
                </a:lnTo>
                <a:lnTo>
                  <a:pt x="85" y="108"/>
                </a:lnTo>
                <a:lnTo>
                  <a:pt x="85" y="112"/>
                </a:lnTo>
                <a:lnTo>
                  <a:pt x="84" y="115"/>
                </a:lnTo>
                <a:lnTo>
                  <a:pt x="83" y="115"/>
                </a:lnTo>
                <a:lnTo>
                  <a:pt x="82" y="116"/>
                </a:lnTo>
                <a:lnTo>
                  <a:pt x="81" y="116"/>
                </a:lnTo>
                <a:lnTo>
                  <a:pt x="80" y="116"/>
                </a:lnTo>
                <a:lnTo>
                  <a:pt x="78" y="118"/>
                </a:lnTo>
                <a:lnTo>
                  <a:pt x="78" y="123"/>
                </a:lnTo>
                <a:lnTo>
                  <a:pt x="63" y="123"/>
                </a:lnTo>
                <a:lnTo>
                  <a:pt x="55" y="130"/>
                </a:lnTo>
                <a:lnTo>
                  <a:pt x="56" y="149"/>
                </a:lnTo>
                <a:lnTo>
                  <a:pt x="58" y="168"/>
                </a:lnTo>
                <a:lnTo>
                  <a:pt x="62" y="186"/>
                </a:lnTo>
                <a:lnTo>
                  <a:pt x="63" y="201"/>
                </a:lnTo>
                <a:lnTo>
                  <a:pt x="59" y="201"/>
                </a:lnTo>
                <a:lnTo>
                  <a:pt x="58" y="202"/>
                </a:lnTo>
                <a:lnTo>
                  <a:pt x="56" y="203"/>
                </a:lnTo>
                <a:lnTo>
                  <a:pt x="56" y="205"/>
                </a:lnTo>
                <a:lnTo>
                  <a:pt x="55" y="210"/>
                </a:lnTo>
                <a:lnTo>
                  <a:pt x="55" y="216"/>
                </a:lnTo>
                <a:lnTo>
                  <a:pt x="32" y="216"/>
                </a:lnTo>
                <a:lnTo>
                  <a:pt x="24" y="223"/>
                </a:lnTo>
                <a:lnTo>
                  <a:pt x="16" y="231"/>
                </a:lnTo>
                <a:lnTo>
                  <a:pt x="8" y="239"/>
                </a:lnTo>
                <a:lnTo>
                  <a:pt x="0" y="246"/>
                </a:lnTo>
                <a:lnTo>
                  <a:pt x="0" y="279"/>
                </a:lnTo>
                <a:lnTo>
                  <a:pt x="0" y="317"/>
                </a:lnTo>
                <a:lnTo>
                  <a:pt x="0" y="354"/>
                </a:lnTo>
                <a:lnTo>
                  <a:pt x="0" y="386"/>
                </a:lnTo>
                <a:lnTo>
                  <a:pt x="8" y="394"/>
                </a:lnTo>
                <a:lnTo>
                  <a:pt x="24" y="394"/>
                </a:lnTo>
                <a:lnTo>
                  <a:pt x="25" y="398"/>
                </a:lnTo>
                <a:lnTo>
                  <a:pt x="26" y="403"/>
                </a:lnTo>
                <a:lnTo>
                  <a:pt x="28" y="406"/>
                </a:lnTo>
                <a:lnTo>
                  <a:pt x="32" y="408"/>
                </a:lnTo>
                <a:lnTo>
                  <a:pt x="34" y="410"/>
                </a:lnTo>
                <a:lnTo>
                  <a:pt x="37" y="412"/>
                </a:lnTo>
                <a:lnTo>
                  <a:pt x="38" y="414"/>
                </a:lnTo>
                <a:lnTo>
                  <a:pt x="39" y="417"/>
                </a:lnTo>
                <a:lnTo>
                  <a:pt x="55" y="421"/>
                </a:lnTo>
                <a:lnTo>
                  <a:pt x="71" y="425"/>
                </a:lnTo>
                <a:lnTo>
                  <a:pt x="71" y="440"/>
                </a:lnTo>
                <a:lnTo>
                  <a:pt x="85" y="440"/>
                </a:lnTo>
                <a:lnTo>
                  <a:pt x="93" y="447"/>
                </a:lnTo>
                <a:lnTo>
                  <a:pt x="93" y="456"/>
                </a:lnTo>
                <a:lnTo>
                  <a:pt x="93" y="467"/>
                </a:lnTo>
                <a:lnTo>
                  <a:pt x="93" y="479"/>
                </a:lnTo>
                <a:lnTo>
                  <a:pt x="93" y="486"/>
                </a:lnTo>
                <a:lnTo>
                  <a:pt x="85" y="494"/>
                </a:lnTo>
                <a:lnTo>
                  <a:pt x="78" y="502"/>
                </a:lnTo>
                <a:lnTo>
                  <a:pt x="71" y="510"/>
                </a:lnTo>
                <a:lnTo>
                  <a:pt x="63" y="518"/>
                </a:lnTo>
                <a:lnTo>
                  <a:pt x="55" y="525"/>
                </a:lnTo>
                <a:lnTo>
                  <a:pt x="39" y="525"/>
                </a:lnTo>
                <a:lnTo>
                  <a:pt x="32" y="532"/>
                </a:lnTo>
                <a:lnTo>
                  <a:pt x="24" y="540"/>
                </a:lnTo>
                <a:lnTo>
                  <a:pt x="24" y="556"/>
                </a:lnTo>
                <a:lnTo>
                  <a:pt x="22" y="557"/>
                </a:lnTo>
                <a:lnTo>
                  <a:pt x="19" y="557"/>
                </a:lnTo>
                <a:lnTo>
                  <a:pt x="18" y="559"/>
                </a:lnTo>
                <a:lnTo>
                  <a:pt x="17" y="561"/>
                </a:lnTo>
                <a:lnTo>
                  <a:pt x="16" y="566"/>
                </a:lnTo>
                <a:lnTo>
                  <a:pt x="16" y="571"/>
                </a:lnTo>
                <a:lnTo>
                  <a:pt x="24" y="579"/>
                </a:lnTo>
                <a:lnTo>
                  <a:pt x="39" y="579"/>
                </a:lnTo>
                <a:lnTo>
                  <a:pt x="55" y="579"/>
                </a:lnTo>
                <a:lnTo>
                  <a:pt x="63" y="571"/>
                </a:lnTo>
                <a:lnTo>
                  <a:pt x="63" y="567"/>
                </a:lnTo>
                <a:lnTo>
                  <a:pt x="64" y="565"/>
                </a:lnTo>
                <a:lnTo>
                  <a:pt x="65" y="563"/>
                </a:lnTo>
                <a:lnTo>
                  <a:pt x="66" y="563"/>
                </a:lnTo>
                <a:lnTo>
                  <a:pt x="67" y="563"/>
                </a:lnTo>
                <a:lnTo>
                  <a:pt x="68" y="562"/>
                </a:lnTo>
                <a:lnTo>
                  <a:pt x="70" y="560"/>
                </a:lnTo>
                <a:lnTo>
                  <a:pt x="71" y="556"/>
                </a:lnTo>
                <a:lnTo>
                  <a:pt x="85" y="556"/>
                </a:lnTo>
                <a:lnTo>
                  <a:pt x="87" y="553"/>
                </a:lnTo>
                <a:lnTo>
                  <a:pt x="91" y="550"/>
                </a:lnTo>
                <a:lnTo>
                  <a:pt x="96" y="548"/>
                </a:lnTo>
                <a:lnTo>
                  <a:pt x="102" y="546"/>
                </a:lnTo>
                <a:lnTo>
                  <a:pt x="115" y="542"/>
                </a:lnTo>
                <a:lnTo>
                  <a:pt x="124" y="540"/>
                </a:lnTo>
                <a:lnTo>
                  <a:pt x="124" y="538"/>
                </a:lnTo>
                <a:lnTo>
                  <a:pt x="125" y="535"/>
                </a:lnTo>
                <a:lnTo>
                  <a:pt x="128" y="533"/>
                </a:lnTo>
                <a:lnTo>
                  <a:pt x="130" y="532"/>
                </a:lnTo>
                <a:lnTo>
                  <a:pt x="138" y="530"/>
                </a:lnTo>
                <a:lnTo>
                  <a:pt x="147" y="530"/>
                </a:lnTo>
                <a:lnTo>
                  <a:pt x="157" y="530"/>
                </a:lnTo>
                <a:lnTo>
                  <a:pt x="168" y="532"/>
                </a:lnTo>
                <a:lnTo>
                  <a:pt x="181" y="534"/>
                </a:lnTo>
                <a:lnTo>
                  <a:pt x="193" y="537"/>
                </a:lnTo>
                <a:lnTo>
                  <a:pt x="241" y="549"/>
                </a:lnTo>
                <a:lnTo>
                  <a:pt x="264" y="556"/>
                </a:lnTo>
                <a:lnTo>
                  <a:pt x="264" y="571"/>
                </a:lnTo>
                <a:lnTo>
                  <a:pt x="279" y="571"/>
                </a:lnTo>
                <a:lnTo>
                  <a:pt x="286" y="579"/>
                </a:lnTo>
                <a:lnTo>
                  <a:pt x="294" y="587"/>
                </a:lnTo>
                <a:lnTo>
                  <a:pt x="294" y="602"/>
                </a:lnTo>
                <a:lnTo>
                  <a:pt x="298" y="604"/>
                </a:lnTo>
                <a:lnTo>
                  <a:pt x="303" y="606"/>
                </a:lnTo>
                <a:lnTo>
                  <a:pt x="307" y="610"/>
                </a:lnTo>
                <a:lnTo>
                  <a:pt x="313" y="615"/>
                </a:lnTo>
                <a:lnTo>
                  <a:pt x="317" y="620"/>
                </a:lnTo>
                <a:lnTo>
                  <a:pt x="322" y="625"/>
                </a:lnTo>
                <a:lnTo>
                  <a:pt x="324" y="629"/>
                </a:lnTo>
                <a:lnTo>
                  <a:pt x="325" y="633"/>
                </a:lnTo>
                <a:lnTo>
                  <a:pt x="341" y="633"/>
                </a:lnTo>
                <a:lnTo>
                  <a:pt x="341" y="636"/>
                </a:lnTo>
                <a:lnTo>
                  <a:pt x="342" y="638"/>
                </a:lnTo>
                <a:lnTo>
                  <a:pt x="343" y="639"/>
                </a:lnTo>
                <a:lnTo>
                  <a:pt x="345" y="640"/>
                </a:lnTo>
                <a:lnTo>
                  <a:pt x="351" y="640"/>
                </a:lnTo>
                <a:lnTo>
                  <a:pt x="356" y="640"/>
                </a:lnTo>
                <a:lnTo>
                  <a:pt x="356" y="644"/>
                </a:lnTo>
                <a:lnTo>
                  <a:pt x="358" y="645"/>
                </a:lnTo>
                <a:lnTo>
                  <a:pt x="359" y="647"/>
                </a:lnTo>
                <a:lnTo>
                  <a:pt x="361" y="647"/>
                </a:lnTo>
                <a:lnTo>
                  <a:pt x="366" y="648"/>
                </a:lnTo>
                <a:lnTo>
                  <a:pt x="372" y="648"/>
                </a:lnTo>
                <a:lnTo>
                  <a:pt x="380" y="656"/>
                </a:lnTo>
                <a:lnTo>
                  <a:pt x="380" y="659"/>
                </a:lnTo>
                <a:lnTo>
                  <a:pt x="382" y="663"/>
                </a:lnTo>
                <a:lnTo>
                  <a:pt x="384" y="667"/>
                </a:lnTo>
                <a:lnTo>
                  <a:pt x="388" y="671"/>
                </a:lnTo>
                <a:lnTo>
                  <a:pt x="392" y="674"/>
                </a:lnTo>
                <a:lnTo>
                  <a:pt x="395" y="677"/>
                </a:lnTo>
                <a:lnTo>
                  <a:pt x="399" y="678"/>
                </a:lnTo>
                <a:lnTo>
                  <a:pt x="402" y="679"/>
                </a:lnTo>
                <a:lnTo>
                  <a:pt x="402" y="695"/>
                </a:lnTo>
                <a:lnTo>
                  <a:pt x="406" y="696"/>
                </a:lnTo>
                <a:lnTo>
                  <a:pt x="407" y="700"/>
                </a:lnTo>
                <a:lnTo>
                  <a:pt x="409" y="705"/>
                </a:lnTo>
                <a:lnTo>
                  <a:pt x="409" y="712"/>
                </a:lnTo>
                <a:lnTo>
                  <a:pt x="410" y="724"/>
                </a:lnTo>
                <a:lnTo>
                  <a:pt x="410" y="734"/>
                </a:lnTo>
                <a:lnTo>
                  <a:pt x="413" y="735"/>
                </a:lnTo>
                <a:lnTo>
                  <a:pt x="414" y="740"/>
                </a:lnTo>
                <a:lnTo>
                  <a:pt x="416" y="746"/>
                </a:lnTo>
                <a:lnTo>
                  <a:pt x="417" y="754"/>
                </a:lnTo>
                <a:lnTo>
                  <a:pt x="418" y="770"/>
                </a:lnTo>
                <a:lnTo>
                  <a:pt x="418" y="780"/>
                </a:lnTo>
                <a:lnTo>
                  <a:pt x="433" y="957"/>
                </a:lnTo>
                <a:lnTo>
                  <a:pt x="435" y="958"/>
                </a:lnTo>
                <a:lnTo>
                  <a:pt x="436" y="960"/>
                </a:lnTo>
                <a:lnTo>
                  <a:pt x="437" y="963"/>
                </a:lnTo>
                <a:lnTo>
                  <a:pt x="438" y="966"/>
                </a:lnTo>
                <a:lnTo>
                  <a:pt x="439" y="975"/>
                </a:lnTo>
                <a:lnTo>
                  <a:pt x="440" y="985"/>
                </a:lnTo>
                <a:lnTo>
                  <a:pt x="441" y="1006"/>
                </a:lnTo>
                <a:lnTo>
                  <a:pt x="441" y="1020"/>
                </a:lnTo>
                <a:lnTo>
                  <a:pt x="440" y="1020"/>
                </a:lnTo>
                <a:lnTo>
                  <a:pt x="439" y="1022"/>
                </a:lnTo>
                <a:lnTo>
                  <a:pt x="438" y="1024"/>
                </a:lnTo>
                <a:lnTo>
                  <a:pt x="437" y="1028"/>
                </a:lnTo>
                <a:lnTo>
                  <a:pt x="436" y="1037"/>
                </a:lnTo>
                <a:lnTo>
                  <a:pt x="435" y="1048"/>
                </a:lnTo>
                <a:lnTo>
                  <a:pt x="433" y="1069"/>
                </a:lnTo>
                <a:lnTo>
                  <a:pt x="433" y="1081"/>
                </a:lnTo>
                <a:lnTo>
                  <a:pt x="394" y="1081"/>
                </a:lnTo>
                <a:lnTo>
                  <a:pt x="394" y="1083"/>
                </a:lnTo>
                <a:lnTo>
                  <a:pt x="393" y="1086"/>
                </a:lnTo>
                <a:lnTo>
                  <a:pt x="392" y="1087"/>
                </a:lnTo>
                <a:lnTo>
                  <a:pt x="390" y="1088"/>
                </a:lnTo>
                <a:lnTo>
                  <a:pt x="385" y="1089"/>
                </a:lnTo>
                <a:lnTo>
                  <a:pt x="380" y="1089"/>
                </a:lnTo>
                <a:lnTo>
                  <a:pt x="379" y="1094"/>
                </a:lnTo>
                <a:lnTo>
                  <a:pt x="378" y="1096"/>
                </a:lnTo>
                <a:lnTo>
                  <a:pt x="377" y="1097"/>
                </a:lnTo>
                <a:lnTo>
                  <a:pt x="375" y="1097"/>
                </a:lnTo>
                <a:lnTo>
                  <a:pt x="374" y="1097"/>
                </a:lnTo>
                <a:lnTo>
                  <a:pt x="373" y="1098"/>
                </a:lnTo>
                <a:lnTo>
                  <a:pt x="372" y="1100"/>
                </a:lnTo>
                <a:lnTo>
                  <a:pt x="372" y="1105"/>
                </a:lnTo>
                <a:lnTo>
                  <a:pt x="356" y="1105"/>
                </a:lnTo>
                <a:lnTo>
                  <a:pt x="356" y="1120"/>
                </a:lnTo>
                <a:lnTo>
                  <a:pt x="353" y="1120"/>
                </a:lnTo>
                <a:lnTo>
                  <a:pt x="352" y="1121"/>
                </a:lnTo>
                <a:lnTo>
                  <a:pt x="351" y="1123"/>
                </a:lnTo>
                <a:lnTo>
                  <a:pt x="350" y="1125"/>
                </a:lnTo>
                <a:lnTo>
                  <a:pt x="349" y="1130"/>
                </a:lnTo>
                <a:lnTo>
                  <a:pt x="349" y="1136"/>
                </a:lnTo>
                <a:lnTo>
                  <a:pt x="346" y="1137"/>
                </a:lnTo>
                <a:lnTo>
                  <a:pt x="344" y="1140"/>
                </a:lnTo>
                <a:lnTo>
                  <a:pt x="343" y="1146"/>
                </a:lnTo>
                <a:lnTo>
                  <a:pt x="342" y="1152"/>
                </a:lnTo>
                <a:lnTo>
                  <a:pt x="341" y="1165"/>
                </a:lnTo>
                <a:lnTo>
                  <a:pt x="341" y="1174"/>
                </a:lnTo>
                <a:lnTo>
                  <a:pt x="380" y="1174"/>
                </a:lnTo>
                <a:lnTo>
                  <a:pt x="380" y="1177"/>
                </a:lnTo>
                <a:lnTo>
                  <a:pt x="382" y="1178"/>
                </a:lnTo>
                <a:lnTo>
                  <a:pt x="384" y="1179"/>
                </a:lnTo>
                <a:lnTo>
                  <a:pt x="388" y="1181"/>
                </a:lnTo>
                <a:lnTo>
                  <a:pt x="395" y="1182"/>
                </a:lnTo>
                <a:lnTo>
                  <a:pt x="402" y="1182"/>
                </a:lnTo>
                <a:lnTo>
                  <a:pt x="403" y="1184"/>
                </a:lnTo>
                <a:lnTo>
                  <a:pt x="406" y="1186"/>
                </a:lnTo>
                <a:lnTo>
                  <a:pt x="408" y="1187"/>
                </a:lnTo>
                <a:lnTo>
                  <a:pt x="411" y="1188"/>
                </a:lnTo>
                <a:lnTo>
                  <a:pt x="419" y="1189"/>
                </a:lnTo>
                <a:lnTo>
                  <a:pt x="426" y="1189"/>
                </a:lnTo>
                <a:lnTo>
                  <a:pt x="426" y="1166"/>
                </a:lnTo>
                <a:lnTo>
                  <a:pt x="428" y="1165"/>
                </a:lnTo>
                <a:lnTo>
                  <a:pt x="430" y="1163"/>
                </a:lnTo>
                <a:lnTo>
                  <a:pt x="431" y="1158"/>
                </a:lnTo>
                <a:lnTo>
                  <a:pt x="432" y="1154"/>
                </a:lnTo>
                <a:lnTo>
                  <a:pt x="433" y="1144"/>
                </a:lnTo>
                <a:lnTo>
                  <a:pt x="433" y="1136"/>
                </a:lnTo>
                <a:lnTo>
                  <a:pt x="449" y="1136"/>
                </a:lnTo>
                <a:lnTo>
                  <a:pt x="449" y="1133"/>
                </a:lnTo>
                <a:lnTo>
                  <a:pt x="450" y="1131"/>
                </a:lnTo>
                <a:lnTo>
                  <a:pt x="451" y="1129"/>
                </a:lnTo>
                <a:lnTo>
                  <a:pt x="454" y="1129"/>
                </a:lnTo>
                <a:lnTo>
                  <a:pt x="459" y="1128"/>
                </a:lnTo>
                <a:lnTo>
                  <a:pt x="465" y="1128"/>
                </a:lnTo>
                <a:lnTo>
                  <a:pt x="465" y="1126"/>
                </a:lnTo>
                <a:lnTo>
                  <a:pt x="467" y="1125"/>
                </a:lnTo>
                <a:lnTo>
                  <a:pt x="470" y="1124"/>
                </a:lnTo>
                <a:lnTo>
                  <a:pt x="476" y="1124"/>
                </a:lnTo>
                <a:lnTo>
                  <a:pt x="487" y="1121"/>
                </a:lnTo>
                <a:lnTo>
                  <a:pt x="500" y="1121"/>
                </a:lnTo>
                <a:lnTo>
                  <a:pt x="526" y="1120"/>
                </a:lnTo>
                <a:lnTo>
                  <a:pt x="542" y="1120"/>
                </a:lnTo>
                <a:lnTo>
                  <a:pt x="550" y="1128"/>
                </a:lnTo>
                <a:lnTo>
                  <a:pt x="557" y="1136"/>
                </a:lnTo>
                <a:lnTo>
                  <a:pt x="565" y="1144"/>
                </a:lnTo>
                <a:lnTo>
                  <a:pt x="565" y="1158"/>
                </a:lnTo>
                <a:lnTo>
                  <a:pt x="570" y="1159"/>
                </a:lnTo>
                <a:lnTo>
                  <a:pt x="572" y="1159"/>
                </a:lnTo>
                <a:lnTo>
                  <a:pt x="573" y="1162"/>
                </a:lnTo>
                <a:lnTo>
                  <a:pt x="573" y="1163"/>
                </a:lnTo>
                <a:lnTo>
                  <a:pt x="573" y="1164"/>
                </a:lnTo>
                <a:lnTo>
                  <a:pt x="574" y="1165"/>
                </a:lnTo>
                <a:lnTo>
                  <a:pt x="576" y="1166"/>
                </a:lnTo>
                <a:lnTo>
                  <a:pt x="581" y="1166"/>
                </a:lnTo>
                <a:lnTo>
                  <a:pt x="581" y="1189"/>
                </a:lnTo>
                <a:lnTo>
                  <a:pt x="595" y="1197"/>
                </a:lnTo>
                <a:lnTo>
                  <a:pt x="595" y="1213"/>
                </a:lnTo>
                <a:lnTo>
                  <a:pt x="599" y="1213"/>
                </a:lnTo>
                <a:lnTo>
                  <a:pt x="600" y="1214"/>
                </a:lnTo>
                <a:lnTo>
                  <a:pt x="602" y="1215"/>
                </a:lnTo>
                <a:lnTo>
                  <a:pt x="603" y="1217"/>
                </a:lnTo>
                <a:lnTo>
                  <a:pt x="603" y="1223"/>
                </a:lnTo>
                <a:lnTo>
                  <a:pt x="603" y="1229"/>
                </a:lnTo>
                <a:lnTo>
                  <a:pt x="606" y="1229"/>
                </a:lnTo>
                <a:lnTo>
                  <a:pt x="608" y="1230"/>
                </a:lnTo>
                <a:lnTo>
                  <a:pt x="610" y="1231"/>
                </a:lnTo>
                <a:lnTo>
                  <a:pt x="610" y="1233"/>
                </a:lnTo>
                <a:lnTo>
                  <a:pt x="611" y="1237"/>
                </a:lnTo>
                <a:lnTo>
                  <a:pt x="611" y="1244"/>
                </a:lnTo>
                <a:lnTo>
                  <a:pt x="627" y="1244"/>
                </a:lnTo>
                <a:lnTo>
                  <a:pt x="631" y="1255"/>
                </a:lnTo>
                <a:lnTo>
                  <a:pt x="634" y="1267"/>
                </a:lnTo>
                <a:lnTo>
                  <a:pt x="642" y="1274"/>
                </a:lnTo>
                <a:lnTo>
                  <a:pt x="658" y="1274"/>
                </a:lnTo>
                <a:lnTo>
                  <a:pt x="658" y="1278"/>
                </a:lnTo>
                <a:lnTo>
                  <a:pt x="660" y="1281"/>
                </a:lnTo>
                <a:lnTo>
                  <a:pt x="662" y="1283"/>
                </a:lnTo>
                <a:lnTo>
                  <a:pt x="666" y="1285"/>
                </a:lnTo>
                <a:lnTo>
                  <a:pt x="675" y="1289"/>
                </a:lnTo>
                <a:lnTo>
                  <a:pt x="686" y="1290"/>
                </a:lnTo>
                <a:lnTo>
                  <a:pt x="699" y="1291"/>
                </a:lnTo>
                <a:lnTo>
                  <a:pt x="714" y="1290"/>
                </a:lnTo>
                <a:lnTo>
                  <a:pt x="730" y="1290"/>
                </a:lnTo>
                <a:lnTo>
                  <a:pt x="746" y="1288"/>
                </a:lnTo>
                <a:lnTo>
                  <a:pt x="779" y="1285"/>
                </a:lnTo>
                <a:lnTo>
                  <a:pt x="807" y="1283"/>
                </a:lnTo>
                <a:lnTo>
                  <a:pt x="819" y="1283"/>
                </a:lnTo>
                <a:lnTo>
                  <a:pt x="827" y="1284"/>
                </a:lnTo>
                <a:lnTo>
                  <a:pt x="831" y="1285"/>
                </a:lnTo>
                <a:lnTo>
                  <a:pt x="833" y="1287"/>
                </a:lnTo>
                <a:lnTo>
                  <a:pt x="835" y="1288"/>
                </a:lnTo>
                <a:lnTo>
                  <a:pt x="835" y="1290"/>
                </a:lnTo>
                <a:lnTo>
                  <a:pt x="865" y="1291"/>
                </a:lnTo>
                <a:lnTo>
                  <a:pt x="896" y="1293"/>
                </a:lnTo>
                <a:lnTo>
                  <a:pt x="928" y="1298"/>
                </a:lnTo>
                <a:lnTo>
                  <a:pt x="960" y="1301"/>
                </a:lnTo>
                <a:lnTo>
                  <a:pt x="993" y="1306"/>
                </a:lnTo>
                <a:lnTo>
                  <a:pt x="1026" y="1310"/>
                </a:lnTo>
                <a:lnTo>
                  <a:pt x="1059" y="1312"/>
                </a:lnTo>
                <a:lnTo>
                  <a:pt x="1091" y="1313"/>
                </a:lnTo>
                <a:lnTo>
                  <a:pt x="1091" y="1298"/>
                </a:lnTo>
                <a:lnTo>
                  <a:pt x="1084" y="1293"/>
                </a:lnTo>
                <a:lnTo>
                  <a:pt x="1070" y="1282"/>
                </a:lnTo>
                <a:lnTo>
                  <a:pt x="1061" y="1277"/>
                </a:lnTo>
                <a:lnTo>
                  <a:pt x="1052" y="1272"/>
                </a:lnTo>
                <a:lnTo>
                  <a:pt x="1043" y="1269"/>
                </a:lnTo>
                <a:lnTo>
                  <a:pt x="1036" y="1267"/>
                </a:lnTo>
                <a:lnTo>
                  <a:pt x="1025" y="1255"/>
                </a:lnTo>
                <a:lnTo>
                  <a:pt x="1013" y="1244"/>
                </a:lnTo>
                <a:lnTo>
                  <a:pt x="998" y="1244"/>
                </a:lnTo>
                <a:lnTo>
                  <a:pt x="997" y="1241"/>
                </a:lnTo>
                <a:lnTo>
                  <a:pt x="996" y="1237"/>
                </a:lnTo>
                <a:lnTo>
                  <a:pt x="995" y="1235"/>
                </a:lnTo>
                <a:lnTo>
                  <a:pt x="993" y="1233"/>
                </a:lnTo>
                <a:lnTo>
                  <a:pt x="990" y="1231"/>
                </a:lnTo>
                <a:lnTo>
                  <a:pt x="988" y="1230"/>
                </a:lnTo>
                <a:lnTo>
                  <a:pt x="985" y="1229"/>
                </a:lnTo>
                <a:lnTo>
                  <a:pt x="983" y="1229"/>
                </a:lnTo>
                <a:lnTo>
                  <a:pt x="975" y="1221"/>
                </a:lnTo>
                <a:lnTo>
                  <a:pt x="974" y="1212"/>
                </a:lnTo>
                <a:lnTo>
                  <a:pt x="970" y="1203"/>
                </a:lnTo>
                <a:lnTo>
                  <a:pt x="967" y="1194"/>
                </a:lnTo>
                <a:lnTo>
                  <a:pt x="963" y="1186"/>
                </a:lnTo>
                <a:lnTo>
                  <a:pt x="959" y="1177"/>
                </a:lnTo>
                <a:lnTo>
                  <a:pt x="955" y="1168"/>
                </a:lnTo>
                <a:lnTo>
                  <a:pt x="953" y="1159"/>
                </a:lnTo>
                <a:lnTo>
                  <a:pt x="951" y="1150"/>
                </a:lnTo>
                <a:lnTo>
                  <a:pt x="947" y="1150"/>
                </a:lnTo>
                <a:lnTo>
                  <a:pt x="945" y="1148"/>
                </a:lnTo>
                <a:lnTo>
                  <a:pt x="942" y="1145"/>
                </a:lnTo>
                <a:lnTo>
                  <a:pt x="940" y="1142"/>
                </a:lnTo>
                <a:lnTo>
                  <a:pt x="938" y="1131"/>
                </a:lnTo>
                <a:lnTo>
                  <a:pt x="937" y="1120"/>
                </a:lnTo>
                <a:lnTo>
                  <a:pt x="936" y="1109"/>
                </a:lnTo>
                <a:lnTo>
                  <a:pt x="935" y="1099"/>
                </a:lnTo>
                <a:lnTo>
                  <a:pt x="934" y="1095"/>
                </a:lnTo>
                <a:lnTo>
                  <a:pt x="932" y="1091"/>
                </a:lnTo>
                <a:lnTo>
                  <a:pt x="930" y="1090"/>
                </a:lnTo>
                <a:lnTo>
                  <a:pt x="928" y="1089"/>
                </a:lnTo>
                <a:lnTo>
                  <a:pt x="927" y="1077"/>
                </a:lnTo>
                <a:lnTo>
                  <a:pt x="925" y="1062"/>
                </a:lnTo>
                <a:lnTo>
                  <a:pt x="921" y="1048"/>
                </a:lnTo>
                <a:lnTo>
                  <a:pt x="920" y="1035"/>
                </a:lnTo>
                <a:lnTo>
                  <a:pt x="918" y="1034"/>
                </a:lnTo>
                <a:lnTo>
                  <a:pt x="916" y="1033"/>
                </a:lnTo>
                <a:lnTo>
                  <a:pt x="915" y="1032"/>
                </a:lnTo>
                <a:lnTo>
                  <a:pt x="913" y="1030"/>
                </a:lnTo>
                <a:lnTo>
                  <a:pt x="912" y="1025"/>
                </a:lnTo>
                <a:lnTo>
                  <a:pt x="912" y="1020"/>
                </a:lnTo>
                <a:lnTo>
                  <a:pt x="910" y="1019"/>
                </a:lnTo>
                <a:lnTo>
                  <a:pt x="908" y="1017"/>
                </a:lnTo>
                <a:lnTo>
                  <a:pt x="907" y="1014"/>
                </a:lnTo>
                <a:lnTo>
                  <a:pt x="906" y="1011"/>
                </a:lnTo>
                <a:lnTo>
                  <a:pt x="906" y="1003"/>
                </a:lnTo>
                <a:lnTo>
                  <a:pt x="905" y="996"/>
                </a:lnTo>
                <a:lnTo>
                  <a:pt x="902" y="994"/>
                </a:lnTo>
                <a:lnTo>
                  <a:pt x="898" y="989"/>
                </a:lnTo>
                <a:lnTo>
                  <a:pt x="894" y="981"/>
                </a:lnTo>
                <a:lnTo>
                  <a:pt x="890" y="972"/>
                </a:lnTo>
                <a:lnTo>
                  <a:pt x="884" y="954"/>
                </a:lnTo>
                <a:lnTo>
                  <a:pt x="882" y="942"/>
                </a:lnTo>
                <a:lnTo>
                  <a:pt x="874" y="935"/>
                </a:lnTo>
                <a:lnTo>
                  <a:pt x="867" y="927"/>
                </a:lnTo>
                <a:lnTo>
                  <a:pt x="859" y="919"/>
                </a:lnTo>
                <a:lnTo>
                  <a:pt x="850" y="917"/>
                </a:lnTo>
                <a:lnTo>
                  <a:pt x="836" y="912"/>
                </a:lnTo>
                <a:lnTo>
                  <a:pt x="825" y="906"/>
                </a:lnTo>
                <a:lnTo>
                  <a:pt x="820" y="904"/>
                </a:lnTo>
                <a:lnTo>
                  <a:pt x="796" y="904"/>
                </a:lnTo>
                <a:lnTo>
                  <a:pt x="796" y="899"/>
                </a:lnTo>
                <a:lnTo>
                  <a:pt x="795" y="896"/>
                </a:lnTo>
                <a:lnTo>
                  <a:pt x="793" y="894"/>
                </a:lnTo>
                <a:lnTo>
                  <a:pt x="791" y="892"/>
                </a:lnTo>
                <a:lnTo>
                  <a:pt x="785" y="888"/>
                </a:lnTo>
                <a:lnTo>
                  <a:pt x="777" y="885"/>
                </a:lnTo>
                <a:lnTo>
                  <a:pt x="771" y="884"/>
                </a:lnTo>
                <a:lnTo>
                  <a:pt x="764" y="880"/>
                </a:lnTo>
                <a:lnTo>
                  <a:pt x="762" y="879"/>
                </a:lnTo>
                <a:lnTo>
                  <a:pt x="759" y="877"/>
                </a:lnTo>
                <a:lnTo>
                  <a:pt x="758" y="876"/>
                </a:lnTo>
                <a:lnTo>
                  <a:pt x="758" y="873"/>
                </a:lnTo>
                <a:lnTo>
                  <a:pt x="743" y="873"/>
                </a:lnTo>
                <a:lnTo>
                  <a:pt x="735" y="865"/>
                </a:lnTo>
                <a:lnTo>
                  <a:pt x="735" y="849"/>
                </a:lnTo>
                <a:lnTo>
                  <a:pt x="719" y="841"/>
                </a:lnTo>
                <a:lnTo>
                  <a:pt x="719" y="833"/>
                </a:lnTo>
                <a:lnTo>
                  <a:pt x="719" y="822"/>
                </a:lnTo>
                <a:lnTo>
                  <a:pt x="719" y="811"/>
                </a:lnTo>
                <a:lnTo>
                  <a:pt x="719" y="803"/>
                </a:lnTo>
                <a:lnTo>
                  <a:pt x="721" y="802"/>
                </a:lnTo>
                <a:lnTo>
                  <a:pt x="723" y="800"/>
                </a:lnTo>
                <a:lnTo>
                  <a:pt x="724" y="797"/>
                </a:lnTo>
                <a:lnTo>
                  <a:pt x="725" y="792"/>
                </a:lnTo>
                <a:lnTo>
                  <a:pt x="728" y="781"/>
                </a:lnTo>
                <a:lnTo>
                  <a:pt x="730" y="768"/>
                </a:lnTo>
                <a:lnTo>
                  <a:pt x="734" y="741"/>
                </a:lnTo>
                <a:lnTo>
                  <a:pt x="735" y="726"/>
                </a:lnTo>
                <a:lnTo>
                  <a:pt x="737" y="724"/>
                </a:lnTo>
                <a:lnTo>
                  <a:pt x="739" y="721"/>
                </a:lnTo>
                <a:lnTo>
                  <a:pt x="740" y="715"/>
                </a:lnTo>
                <a:lnTo>
                  <a:pt x="742" y="710"/>
                </a:lnTo>
                <a:lnTo>
                  <a:pt x="743" y="696"/>
                </a:lnTo>
                <a:lnTo>
                  <a:pt x="743" y="687"/>
                </a:lnTo>
                <a:lnTo>
                  <a:pt x="744" y="686"/>
                </a:lnTo>
                <a:lnTo>
                  <a:pt x="745" y="682"/>
                </a:lnTo>
                <a:lnTo>
                  <a:pt x="746" y="676"/>
                </a:lnTo>
                <a:lnTo>
                  <a:pt x="747" y="667"/>
                </a:lnTo>
                <a:lnTo>
                  <a:pt x="748" y="647"/>
                </a:lnTo>
                <a:lnTo>
                  <a:pt x="749" y="624"/>
                </a:lnTo>
                <a:lnTo>
                  <a:pt x="750" y="577"/>
                </a:lnTo>
                <a:lnTo>
                  <a:pt x="750" y="548"/>
                </a:lnTo>
                <a:lnTo>
                  <a:pt x="747" y="548"/>
                </a:lnTo>
                <a:lnTo>
                  <a:pt x="745" y="547"/>
                </a:lnTo>
                <a:lnTo>
                  <a:pt x="742" y="546"/>
                </a:lnTo>
                <a:lnTo>
                  <a:pt x="739" y="543"/>
                </a:lnTo>
                <a:lnTo>
                  <a:pt x="738" y="541"/>
                </a:lnTo>
                <a:lnTo>
                  <a:pt x="736" y="539"/>
                </a:lnTo>
                <a:lnTo>
                  <a:pt x="735" y="535"/>
                </a:lnTo>
                <a:lnTo>
                  <a:pt x="735" y="532"/>
                </a:lnTo>
                <a:lnTo>
                  <a:pt x="711" y="532"/>
                </a:lnTo>
                <a:lnTo>
                  <a:pt x="710" y="530"/>
                </a:lnTo>
                <a:lnTo>
                  <a:pt x="707" y="528"/>
                </a:lnTo>
                <a:lnTo>
                  <a:pt x="701" y="527"/>
                </a:lnTo>
                <a:lnTo>
                  <a:pt x="696" y="525"/>
                </a:lnTo>
                <a:lnTo>
                  <a:pt x="682" y="525"/>
                </a:lnTo>
                <a:lnTo>
                  <a:pt x="673" y="525"/>
                </a:lnTo>
                <a:lnTo>
                  <a:pt x="672" y="522"/>
                </a:lnTo>
                <a:lnTo>
                  <a:pt x="670" y="521"/>
                </a:lnTo>
                <a:lnTo>
                  <a:pt x="668" y="519"/>
                </a:lnTo>
                <a:lnTo>
                  <a:pt x="665" y="518"/>
                </a:lnTo>
                <a:lnTo>
                  <a:pt x="657" y="518"/>
                </a:lnTo>
                <a:lnTo>
                  <a:pt x="650" y="518"/>
                </a:lnTo>
                <a:lnTo>
                  <a:pt x="642" y="502"/>
                </a:lnTo>
                <a:lnTo>
                  <a:pt x="631" y="502"/>
                </a:lnTo>
                <a:lnTo>
                  <a:pt x="619" y="502"/>
                </a:lnTo>
                <a:lnTo>
                  <a:pt x="619" y="500"/>
                </a:lnTo>
                <a:lnTo>
                  <a:pt x="617" y="498"/>
                </a:lnTo>
                <a:lnTo>
                  <a:pt x="613" y="496"/>
                </a:lnTo>
                <a:lnTo>
                  <a:pt x="610" y="495"/>
                </a:lnTo>
                <a:lnTo>
                  <a:pt x="603" y="494"/>
                </a:lnTo>
                <a:lnTo>
                  <a:pt x="595" y="494"/>
                </a:lnTo>
                <a:lnTo>
                  <a:pt x="595" y="492"/>
                </a:lnTo>
                <a:lnTo>
                  <a:pt x="594" y="490"/>
                </a:lnTo>
                <a:lnTo>
                  <a:pt x="593" y="489"/>
                </a:lnTo>
                <a:lnTo>
                  <a:pt x="591" y="487"/>
                </a:lnTo>
                <a:lnTo>
                  <a:pt x="586" y="486"/>
                </a:lnTo>
                <a:lnTo>
                  <a:pt x="581" y="486"/>
                </a:lnTo>
                <a:lnTo>
                  <a:pt x="580" y="482"/>
                </a:lnTo>
                <a:lnTo>
                  <a:pt x="580" y="480"/>
                </a:lnTo>
                <a:lnTo>
                  <a:pt x="577" y="479"/>
                </a:lnTo>
                <a:lnTo>
                  <a:pt x="576" y="479"/>
                </a:lnTo>
                <a:lnTo>
                  <a:pt x="575" y="479"/>
                </a:lnTo>
                <a:lnTo>
                  <a:pt x="574" y="477"/>
                </a:lnTo>
                <a:lnTo>
                  <a:pt x="573" y="475"/>
                </a:lnTo>
                <a:lnTo>
                  <a:pt x="573" y="471"/>
                </a:lnTo>
                <a:lnTo>
                  <a:pt x="550" y="471"/>
                </a:lnTo>
                <a:lnTo>
                  <a:pt x="546" y="469"/>
                </a:lnTo>
                <a:lnTo>
                  <a:pt x="537" y="463"/>
                </a:lnTo>
                <a:lnTo>
                  <a:pt x="526" y="457"/>
                </a:lnTo>
                <a:lnTo>
                  <a:pt x="518" y="455"/>
                </a:lnTo>
                <a:lnTo>
                  <a:pt x="518" y="409"/>
                </a:lnTo>
                <a:lnTo>
                  <a:pt x="522" y="408"/>
                </a:lnTo>
                <a:lnTo>
                  <a:pt x="524" y="406"/>
                </a:lnTo>
                <a:lnTo>
                  <a:pt x="527" y="404"/>
                </a:lnTo>
                <a:lnTo>
                  <a:pt x="529" y="400"/>
                </a:lnTo>
                <a:lnTo>
                  <a:pt x="533" y="393"/>
                </a:lnTo>
                <a:lnTo>
                  <a:pt x="534" y="386"/>
                </a:lnTo>
                <a:lnTo>
                  <a:pt x="542" y="378"/>
                </a:lnTo>
                <a:lnTo>
                  <a:pt x="546" y="378"/>
                </a:lnTo>
                <a:lnTo>
                  <a:pt x="548" y="377"/>
                </a:lnTo>
                <a:lnTo>
                  <a:pt x="550" y="376"/>
                </a:lnTo>
                <a:lnTo>
                  <a:pt x="550" y="375"/>
                </a:lnTo>
                <a:lnTo>
                  <a:pt x="550" y="373"/>
                </a:lnTo>
                <a:lnTo>
                  <a:pt x="551" y="371"/>
                </a:lnTo>
                <a:lnTo>
                  <a:pt x="553" y="370"/>
                </a:lnTo>
                <a:lnTo>
                  <a:pt x="557" y="370"/>
                </a:lnTo>
                <a:lnTo>
                  <a:pt x="557" y="355"/>
                </a:lnTo>
                <a:lnTo>
                  <a:pt x="560" y="355"/>
                </a:lnTo>
                <a:lnTo>
                  <a:pt x="562" y="354"/>
                </a:lnTo>
                <a:lnTo>
                  <a:pt x="563" y="352"/>
                </a:lnTo>
                <a:lnTo>
                  <a:pt x="564" y="350"/>
                </a:lnTo>
                <a:lnTo>
                  <a:pt x="565" y="345"/>
                </a:lnTo>
                <a:lnTo>
                  <a:pt x="565" y="339"/>
                </a:lnTo>
                <a:lnTo>
                  <a:pt x="570" y="339"/>
                </a:lnTo>
                <a:lnTo>
                  <a:pt x="572" y="338"/>
                </a:lnTo>
                <a:lnTo>
                  <a:pt x="573" y="337"/>
                </a:lnTo>
                <a:lnTo>
                  <a:pt x="573" y="336"/>
                </a:lnTo>
                <a:lnTo>
                  <a:pt x="573" y="335"/>
                </a:lnTo>
                <a:lnTo>
                  <a:pt x="574" y="333"/>
                </a:lnTo>
                <a:lnTo>
                  <a:pt x="576" y="332"/>
                </a:lnTo>
                <a:lnTo>
                  <a:pt x="581" y="331"/>
                </a:lnTo>
                <a:lnTo>
                  <a:pt x="581" y="285"/>
                </a:lnTo>
                <a:lnTo>
                  <a:pt x="582" y="284"/>
                </a:lnTo>
                <a:lnTo>
                  <a:pt x="583" y="283"/>
                </a:lnTo>
                <a:lnTo>
                  <a:pt x="584" y="280"/>
                </a:lnTo>
                <a:lnTo>
                  <a:pt x="585" y="277"/>
                </a:lnTo>
                <a:lnTo>
                  <a:pt x="586" y="268"/>
                </a:lnTo>
                <a:lnTo>
                  <a:pt x="587" y="258"/>
                </a:lnTo>
                <a:lnTo>
                  <a:pt x="587" y="236"/>
                </a:lnTo>
                <a:lnTo>
                  <a:pt x="589" y="223"/>
                </a:lnTo>
                <a:lnTo>
                  <a:pt x="585" y="223"/>
                </a:lnTo>
                <a:lnTo>
                  <a:pt x="584" y="220"/>
                </a:lnTo>
                <a:lnTo>
                  <a:pt x="582" y="216"/>
                </a:lnTo>
                <a:lnTo>
                  <a:pt x="581" y="211"/>
                </a:lnTo>
                <a:lnTo>
                  <a:pt x="581" y="201"/>
                </a:lnTo>
                <a:lnTo>
                  <a:pt x="581" y="193"/>
                </a:lnTo>
                <a:lnTo>
                  <a:pt x="577" y="192"/>
                </a:lnTo>
                <a:lnTo>
                  <a:pt x="574" y="192"/>
                </a:lnTo>
                <a:lnTo>
                  <a:pt x="572" y="190"/>
                </a:lnTo>
                <a:lnTo>
                  <a:pt x="570" y="187"/>
                </a:lnTo>
                <a:lnTo>
                  <a:pt x="567" y="185"/>
                </a:lnTo>
                <a:lnTo>
                  <a:pt x="566" y="183"/>
                </a:lnTo>
                <a:lnTo>
                  <a:pt x="565" y="181"/>
                </a:lnTo>
                <a:lnTo>
                  <a:pt x="565" y="177"/>
                </a:lnTo>
                <a:lnTo>
                  <a:pt x="562" y="176"/>
                </a:lnTo>
                <a:lnTo>
                  <a:pt x="560" y="175"/>
                </a:lnTo>
                <a:lnTo>
                  <a:pt x="556" y="172"/>
                </a:lnTo>
                <a:lnTo>
                  <a:pt x="554" y="168"/>
                </a:lnTo>
                <a:lnTo>
                  <a:pt x="551" y="160"/>
                </a:lnTo>
                <a:lnTo>
                  <a:pt x="550" y="154"/>
                </a:lnTo>
                <a:lnTo>
                  <a:pt x="544" y="153"/>
                </a:lnTo>
                <a:lnTo>
                  <a:pt x="541" y="150"/>
                </a:lnTo>
                <a:lnTo>
                  <a:pt x="537" y="146"/>
                </a:lnTo>
                <a:lnTo>
                  <a:pt x="535" y="140"/>
                </a:lnTo>
                <a:lnTo>
                  <a:pt x="534" y="134"/>
                </a:lnTo>
                <a:lnTo>
                  <a:pt x="534" y="127"/>
                </a:lnTo>
                <a:lnTo>
                  <a:pt x="534" y="119"/>
                </a:lnTo>
                <a:lnTo>
                  <a:pt x="534" y="110"/>
                </a:lnTo>
                <a:lnTo>
                  <a:pt x="538" y="79"/>
                </a:lnTo>
                <a:lnTo>
                  <a:pt x="542" y="61"/>
                </a:lnTo>
                <a:lnTo>
                  <a:pt x="544" y="60"/>
                </a:lnTo>
                <a:lnTo>
                  <a:pt x="546" y="56"/>
                </a:lnTo>
                <a:lnTo>
                  <a:pt x="547" y="49"/>
                </a:lnTo>
                <a:lnTo>
                  <a:pt x="548" y="41"/>
                </a:lnTo>
                <a:lnTo>
                  <a:pt x="550" y="25"/>
                </a:lnTo>
                <a:lnTo>
                  <a:pt x="550" y="15"/>
                </a:lnTo>
                <a:lnTo>
                  <a:pt x="537" y="12"/>
                </a:lnTo>
                <a:lnTo>
                  <a:pt x="515" y="8"/>
                </a:lnTo>
                <a:lnTo>
                  <a:pt x="500" y="4"/>
                </a:lnTo>
                <a:lnTo>
                  <a:pt x="486" y="2"/>
                </a:lnTo>
                <a:lnTo>
                  <a:pt x="471" y="0"/>
                </a:lnTo>
                <a:lnTo>
                  <a:pt x="457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71" name="Freeform 32">
            <a:extLst>
              <a:ext uri="{FF2B5EF4-FFF2-40B4-BE49-F238E27FC236}">
                <a16:creationId xmlns:a16="http://schemas.microsoft.com/office/drawing/2014/main" id="{C1D521CE-7F8F-4CDB-B6F4-8C16F22CE9D5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946900" y="3417888"/>
            <a:ext cx="238125" cy="210995"/>
          </a:xfrm>
          <a:custGeom>
            <a:avLst/>
            <a:gdLst/>
            <a:ahLst/>
            <a:cxnLst>
              <a:cxn ang="0">
                <a:pos x="796" y="29"/>
              </a:cxn>
              <a:cxn ang="0">
                <a:pos x="746" y="104"/>
              </a:cxn>
              <a:cxn ang="0">
                <a:pos x="629" y="114"/>
              </a:cxn>
              <a:cxn ang="0">
                <a:pos x="611" y="125"/>
              </a:cxn>
              <a:cxn ang="0">
                <a:pos x="585" y="139"/>
              </a:cxn>
              <a:cxn ang="0">
                <a:pos x="560" y="169"/>
              </a:cxn>
              <a:cxn ang="0">
                <a:pos x="529" y="279"/>
              </a:cxn>
              <a:cxn ang="0">
                <a:pos x="515" y="291"/>
              </a:cxn>
              <a:cxn ang="0">
                <a:pos x="487" y="340"/>
              </a:cxn>
              <a:cxn ang="0">
                <a:pos x="509" y="356"/>
              </a:cxn>
              <a:cxn ang="0">
                <a:pos x="516" y="407"/>
              </a:cxn>
              <a:cxn ang="0">
                <a:pos x="476" y="541"/>
              </a:cxn>
              <a:cxn ang="0">
                <a:pos x="464" y="559"/>
              </a:cxn>
              <a:cxn ang="0">
                <a:pos x="425" y="610"/>
              </a:cxn>
              <a:cxn ang="0">
                <a:pos x="410" y="704"/>
              </a:cxn>
              <a:cxn ang="0">
                <a:pos x="387" y="742"/>
              </a:cxn>
              <a:cxn ang="0">
                <a:pos x="345" y="765"/>
              </a:cxn>
              <a:cxn ang="0">
                <a:pos x="327" y="780"/>
              </a:cxn>
              <a:cxn ang="0">
                <a:pos x="316" y="792"/>
              </a:cxn>
              <a:cxn ang="0">
                <a:pos x="294" y="804"/>
              </a:cxn>
              <a:cxn ang="0">
                <a:pos x="257" y="834"/>
              </a:cxn>
              <a:cxn ang="0">
                <a:pos x="224" y="935"/>
              </a:cxn>
              <a:cxn ang="0">
                <a:pos x="208" y="943"/>
              </a:cxn>
              <a:cxn ang="0">
                <a:pos x="84" y="1019"/>
              </a:cxn>
              <a:cxn ang="0">
                <a:pos x="30" y="1082"/>
              </a:cxn>
              <a:cxn ang="0">
                <a:pos x="0" y="1195"/>
              </a:cxn>
              <a:cxn ang="0">
                <a:pos x="137" y="1209"/>
              </a:cxn>
              <a:cxn ang="0">
                <a:pos x="289" y="1185"/>
              </a:cxn>
              <a:cxn ang="0">
                <a:pos x="404" y="1207"/>
              </a:cxn>
              <a:cxn ang="0">
                <a:pos x="580" y="1225"/>
              </a:cxn>
              <a:cxn ang="0">
                <a:pos x="647" y="1237"/>
              </a:cxn>
              <a:cxn ang="0">
                <a:pos x="680" y="1291"/>
              </a:cxn>
              <a:cxn ang="0">
                <a:pos x="717" y="1242"/>
              </a:cxn>
              <a:cxn ang="0">
                <a:pos x="721" y="1127"/>
              </a:cxn>
              <a:cxn ang="0">
                <a:pos x="834" y="1073"/>
              </a:cxn>
              <a:cxn ang="0">
                <a:pos x="1015" y="1083"/>
              </a:cxn>
              <a:cxn ang="0">
                <a:pos x="1108" y="1048"/>
              </a:cxn>
              <a:cxn ang="0">
                <a:pos x="1207" y="906"/>
              </a:cxn>
              <a:cxn ang="0">
                <a:pos x="1249" y="802"/>
              </a:cxn>
              <a:cxn ang="0">
                <a:pos x="1303" y="702"/>
              </a:cxn>
              <a:cxn ang="0">
                <a:pos x="1311" y="678"/>
              </a:cxn>
              <a:cxn ang="0">
                <a:pos x="1286" y="596"/>
              </a:cxn>
              <a:cxn ang="0">
                <a:pos x="1257" y="574"/>
              </a:cxn>
              <a:cxn ang="0">
                <a:pos x="1226" y="543"/>
              </a:cxn>
              <a:cxn ang="0">
                <a:pos x="1213" y="513"/>
              </a:cxn>
              <a:cxn ang="0">
                <a:pos x="1198" y="467"/>
              </a:cxn>
              <a:cxn ang="0">
                <a:pos x="1157" y="443"/>
              </a:cxn>
              <a:cxn ang="0">
                <a:pos x="1137" y="431"/>
              </a:cxn>
              <a:cxn ang="0">
                <a:pos x="1086" y="386"/>
              </a:cxn>
              <a:cxn ang="0">
                <a:pos x="1059" y="356"/>
              </a:cxn>
              <a:cxn ang="0">
                <a:pos x="1028" y="321"/>
              </a:cxn>
              <a:cxn ang="0">
                <a:pos x="1005" y="290"/>
              </a:cxn>
              <a:cxn ang="0">
                <a:pos x="949" y="262"/>
              </a:cxn>
              <a:cxn ang="0">
                <a:pos x="915" y="232"/>
              </a:cxn>
              <a:cxn ang="0">
                <a:pos x="889" y="199"/>
              </a:cxn>
              <a:cxn ang="0">
                <a:pos x="879" y="169"/>
              </a:cxn>
              <a:cxn ang="0">
                <a:pos x="874" y="84"/>
              </a:cxn>
              <a:cxn ang="0">
                <a:pos x="873" y="0"/>
              </a:cxn>
            </a:cxnLst>
            <a:rect l="0" t="0" r="r" b="b"/>
            <a:pathLst>
              <a:path w="1313" h="1314">
                <a:moveTo>
                  <a:pt x="858" y="15"/>
                </a:moveTo>
                <a:lnTo>
                  <a:pt x="851" y="14"/>
                </a:lnTo>
                <a:lnTo>
                  <a:pt x="842" y="11"/>
                </a:lnTo>
                <a:lnTo>
                  <a:pt x="833" y="6"/>
                </a:lnTo>
                <a:lnTo>
                  <a:pt x="826" y="0"/>
                </a:lnTo>
                <a:lnTo>
                  <a:pt x="803" y="0"/>
                </a:lnTo>
                <a:lnTo>
                  <a:pt x="796" y="7"/>
                </a:lnTo>
                <a:lnTo>
                  <a:pt x="796" y="29"/>
                </a:lnTo>
                <a:lnTo>
                  <a:pt x="796" y="54"/>
                </a:lnTo>
                <a:lnTo>
                  <a:pt x="796" y="80"/>
                </a:lnTo>
                <a:lnTo>
                  <a:pt x="796" y="100"/>
                </a:lnTo>
                <a:lnTo>
                  <a:pt x="765" y="100"/>
                </a:lnTo>
                <a:lnTo>
                  <a:pt x="764" y="102"/>
                </a:lnTo>
                <a:lnTo>
                  <a:pt x="759" y="103"/>
                </a:lnTo>
                <a:lnTo>
                  <a:pt x="754" y="104"/>
                </a:lnTo>
                <a:lnTo>
                  <a:pt x="746" y="104"/>
                </a:lnTo>
                <a:lnTo>
                  <a:pt x="727" y="107"/>
                </a:lnTo>
                <a:lnTo>
                  <a:pt x="705" y="107"/>
                </a:lnTo>
                <a:lnTo>
                  <a:pt x="660" y="108"/>
                </a:lnTo>
                <a:lnTo>
                  <a:pt x="633" y="108"/>
                </a:lnTo>
                <a:lnTo>
                  <a:pt x="633" y="111"/>
                </a:lnTo>
                <a:lnTo>
                  <a:pt x="632" y="112"/>
                </a:lnTo>
                <a:lnTo>
                  <a:pt x="631" y="114"/>
                </a:lnTo>
                <a:lnTo>
                  <a:pt x="629" y="114"/>
                </a:lnTo>
                <a:lnTo>
                  <a:pt x="623" y="116"/>
                </a:lnTo>
                <a:lnTo>
                  <a:pt x="618" y="116"/>
                </a:lnTo>
                <a:lnTo>
                  <a:pt x="618" y="120"/>
                </a:lnTo>
                <a:lnTo>
                  <a:pt x="617" y="122"/>
                </a:lnTo>
                <a:lnTo>
                  <a:pt x="615" y="123"/>
                </a:lnTo>
                <a:lnTo>
                  <a:pt x="614" y="123"/>
                </a:lnTo>
                <a:lnTo>
                  <a:pt x="612" y="123"/>
                </a:lnTo>
                <a:lnTo>
                  <a:pt x="611" y="125"/>
                </a:lnTo>
                <a:lnTo>
                  <a:pt x="611" y="127"/>
                </a:lnTo>
                <a:lnTo>
                  <a:pt x="610" y="131"/>
                </a:lnTo>
                <a:lnTo>
                  <a:pt x="594" y="131"/>
                </a:lnTo>
                <a:lnTo>
                  <a:pt x="594" y="133"/>
                </a:lnTo>
                <a:lnTo>
                  <a:pt x="593" y="136"/>
                </a:lnTo>
                <a:lnTo>
                  <a:pt x="592" y="137"/>
                </a:lnTo>
                <a:lnTo>
                  <a:pt x="590" y="138"/>
                </a:lnTo>
                <a:lnTo>
                  <a:pt x="585" y="139"/>
                </a:lnTo>
                <a:lnTo>
                  <a:pt x="580" y="139"/>
                </a:lnTo>
                <a:lnTo>
                  <a:pt x="579" y="142"/>
                </a:lnTo>
                <a:lnTo>
                  <a:pt x="576" y="147"/>
                </a:lnTo>
                <a:lnTo>
                  <a:pt x="574" y="152"/>
                </a:lnTo>
                <a:lnTo>
                  <a:pt x="571" y="157"/>
                </a:lnTo>
                <a:lnTo>
                  <a:pt x="566" y="162"/>
                </a:lnTo>
                <a:lnTo>
                  <a:pt x="563" y="166"/>
                </a:lnTo>
                <a:lnTo>
                  <a:pt x="560" y="169"/>
                </a:lnTo>
                <a:lnTo>
                  <a:pt x="556" y="170"/>
                </a:lnTo>
                <a:lnTo>
                  <a:pt x="556" y="263"/>
                </a:lnTo>
                <a:lnTo>
                  <a:pt x="548" y="271"/>
                </a:lnTo>
                <a:lnTo>
                  <a:pt x="533" y="271"/>
                </a:lnTo>
                <a:lnTo>
                  <a:pt x="533" y="275"/>
                </a:lnTo>
                <a:lnTo>
                  <a:pt x="532" y="277"/>
                </a:lnTo>
                <a:lnTo>
                  <a:pt x="531" y="279"/>
                </a:lnTo>
                <a:lnTo>
                  <a:pt x="529" y="279"/>
                </a:lnTo>
                <a:lnTo>
                  <a:pt x="527" y="279"/>
                </a:lnTo>
                <a:lnTo>
                  <a:pt x="526" y="280"/>
                </a:lnTo>
                <a:lnTo>
                  <a:pt x="525" y="282"/>
                </a:lnTo>
                <a:lnTo>
                  <a:pt x="525" y="286"/>
                </a:lnTo>
                <a:lnTo>
                  <a:pt x="523" y="286"/>
                </a:lnTo>
                <a:lnTo>
                  <a:pt x="519" y="287"/>
                </a:lnTo>
                <a:lnTo>
                  <a:pt x="517" y="289"/>
                </a:lnTo>
                <a:lnTo>
                  <a:pt x="515" y="291"/>
                </a:lnTo>
                <a:lnTo>
                  <a:pt x="513" y="293"/>
                </a:lnTo>
                <a:lnTo>
                  <a:pt x="510" y="295"/>
                </a:lnTo>
                <a:lnTo>
                  <a:pt x="510" y="299"/>
                </a:lnTo>
                <a:lnTo>
                  <a:pt x="509" y="301"/>
                </a:lnTo>
                <a:lnTo>
                  <a:pt x="502" y="309"/>
                </a:lnTo>
                <a:lnTo>
                  <a:pt x="487" y="317"/>
                </a:lnTo>
                <a:lnTo>
                  <a:pt x="487" y="329"/>
                </a:lnTo>
                <a:lnTo>
                  <a:pt x="487" y="340"/>
                </a:lnTo>
                <a:lnTo>
                  <a:pt x="492" y="341"/>
                </a:lnTo>
                <a:lnTo>
                  <a:pt x="496" y="342"/>
                </a:lnTo>
                <a:lnTo>
                  <a:pt x="498" y="344"/>
                </a:lnTo>
                <a:lnTo>
                  <a:pt x="502" y="348"/>
                </a:lnTo>
                <a:lnTo>
                  <a:pt x="503" y="351"/>
                </a:lnTo>
                <a:lnTo>
                  <a:pt x="505" y="353"/>
                </a:lnTo>
                <a:lnTo>
                  <a:pt x="507" y="354"/>
                </a:lnTo>
                <a:lnTo>
                  <a:pt x="509" y="356"/>
                </a:lnTo>
                <a:lnTo>
                  <a:pt x="509" y="371"/>
                </a:lnTo>
                <a:lnTo>
                  <a:pt x="513" y="371"/>
                </a:lnTo>
                <a:lnTo>
                  <a:pt x="515" y="372"/>
                </a:lnTo>
                <a:lnTo>
                  <a:pt x="516" y="375"/>
                </a:lnTo>
                <a:lnTo>
                  <a:pt x="517" y="378"/>
                </a:lnTo>
                <a:lnTo>
                  <a:pt x="518" y="386"/>
                </a:lnTo>
                <a:lnTo>
                  <a:pt x="518" y="396"/>
                </a:lnTo>
                <a:lnTo>
                  <a:pt x="516" y="407"/>
                </a:lnTo>
                <a:lnTo>
                  <a:pt x="514" y="420"/>
                </a:lnTo>
                <a:lnTo>
                  <a:pt x="510" y="435"/>
                </a:lnTo>
                <a:lnTo>
                  <a:pt x="506" y="450"/>
                </a:lnTo>
                <a:lnTo>
                  <a:pt x="497" y="481"/>
                </a:lnTo>
                <a:lnTo>
                  <a:pt x="488" y="507"/>
                </a:lnTo>
                <a:lnTo>
                  <a:pt x="481" y="530"/>
                </a:lnTo>
                <a:lnTo>
                  <a:pt x="479" y="541"/>
                </a:lnTo>
                <a:lnTo>
                  <a:pt x="476" y="541"/>
                </a:lnTo>
                <a:lnTo>
                  <a:pt x="475" y="542"/>
                </a:lnTo>
                <a:lnTo>
                  <a:pt x="473" y="544"/>
                </a:lnTo>
                <a:lnTo>
                  <a:pt x="473" y="545"/>
                </a:lnTo>
                <a:lnTo>
                  <a:pt x="471" y="551"/>
                </a:lnTo>
                <a:lnTo>
                  <a:pt x="471" y="556"/>
                </a:lnTo>
                <a:lnTo>
                  <a:pt x="467" y="556"/>
                </a:lnTo>
                <a:lnTo>
                  <a:pt x="465" y="558"/>
                </a:lnTo>
                <a:lnTo>
                  <a:pt x="464" y="559"/>
                </a:lnTo>
                <a:lnTo>
                  <a:pt x="464" y="560"/>
                </a:lnTo>
                <a:lnTo>
                  <a:pt x="464" y="562"/>
                </a:lnTo>
                <a:lnTo>
                  <a:pt x="462" y="563"/>
                </a:lnTo>
                <a:lnTo>
                  <a:pt x="460" y="564"/>
                </a:lnTo>
                <a:lnTo>
                  <a:pt x="456" y="564"/>
                </a:lnTo>
                <a:lnTo>
                  <a:pt x="456" y="580"/>
                </a:lnTo>
                <a:lnTo>
                  <a:pt x="440" y="596"/>
                </a:lnTo>
                <a:lnTo>
                  <a:pt x="425" y="610"/>
                </a:lnTo>
                <a:lnTo>
                  <a:pt x="423" y="627"/>
                </a:lnTo>
                <a:lnTo>
                  <a:pt x="421" y="650"/>
                </a:lnTo>
                <a:lnTo>
                  <a:pt x="418" y="675"/>
                </a:lnTo>
                <a:lnTo>
                  <a:pt x="417" y="696"/>
                </a:lnTo>
                <a:lnTo>
                  <a:pt x="414" y="696"/>
                </a:lnTo>
                <a:lnTo>
                  <a:pt x="412" y="698"/>
                </a:lnTo>
                <a:lnTo>
                  <a:pt x="411" y="700"/>
                </a:lnTo>
                <a:lnTo>
                  <a:pt x="410" y="704"/>
                </a:lnTo>
                <a:lnTo>
                  <a:pt x="409" y="712"/>
                </a:lnTo>
                <a:lnTo>
                  <a:pt x="409" y="718"/>
                </a:lnTo>
                <a:lnTo>
                  <a:pt x="402" y="725"/>
                </a:lnTo>
                <a:lnTo>
                  <a:pt x="394" y="731"/>
                </a:lnTo>
                <a:lnTo>
                  <a:pt x="391" y="733"/>
                </a:lnTo>
                <a:lnTo>
                  <a:pt x="389" y="736"/>
                </a:lnTo>
                <a:lnTo>
                  <a:pt x="387" y="739"/>
                </a:lnTo>
                <a:lnTo>
                  <a:pt x="387" y="742"/>
                </a:lnTo>
                <a:lnTo>
                  <a:pt x="371" y="742"/>
                </a:lnTo>
                <a:lnTo>
                  <a:pt x="371" y="757"/>
                </a:lnTo>
                <a:lnTo>
                  <a:pt x="355" y="757"/>
                </a:lnTo>
                <a:lnTo>
                  <a:pt x="354" y="760"/>
                </a:lnTo>
                <a:lnTo>
                  <a:pt x="354" y="762"/>
                </a:lnTo>
                <a:lnTo>
                  <a:pt x="352" y="763"/>
                </a:lnTo>
                <a:lnTo>
                  <a:pt x="350" y="764"/>
                </a:lnTo>
                <a:lnTo>
                  <a:pt x="345" y="765"/>
                </a:lnTo>
                <a:lnTo>
                  <a:pt x="340" y="765"/>
                </a:lnTo>
                <a:lnTo>
                  <a:pt x="340" y="769"/>
                </a:lnTo>
                <a:lnTo>
                  <a:pt x="339" y="771"/>
                </a:lnTo>
                <a:lnTo>
                  <a:pt x="336" y="773"/>
                </a:lnTo>
                <a:lnTo>
                  <a:pt x="335" y="775"/>
                </a:lnTo>
                <a:lnTo>
                  <a:pt x="333" y="777"/>
                </a:lnTo>
                <a:lnTo>
                  <a:pt x="330" y="780"/>
                </a:lnTo>
                <a:lnTo>
                  <a:pt x="327" y="780"/>
                </a:lnTo>
                <a:lnTo>
                  <a:pt x="324" y="781"/>
                </a:lnTo>
                <a:lnTo>
                  <a:pt x="324" y="785"/>
                </a:lnTo>
                <a:lnTo>
                  <a:pt x="323" y="787"/>
                </a:lnTo>
                <a:lnTo>
                  <a:pt x="322" y="789"/>
                </a:lnTo>
                <a:lnTo>
                  <a:pt x="321" y="789"/>
                </a:lnTo>
                <a:lnTo>
                  <a:pt x="318" y="789"/>
                </a:lnTo>
                <a:lnTo>
                  <a:pt x="317" y="790"/>
                </a:lnTo>
                <a:lnTo>
                  <a:pt x="316" y="792"/>
                </a:lnTo>
                <a:lnTo>
                  <a:pt x="316" y="796"/>
                </a:lnTo>
                <a:lnTo>
                  <a:pt x="301" y="796"/>
                </a:lnTo>
                <a:lnTo>
                  <a:pt x="301" y="801"/>
                </a:lnTo>
                <a:lnTo>
                  <a:pt x="299" y="803"/>
                </a:lnTo>
                <a:lnTo>
                  <a:pt x="298" y="803"/>
                </a:lnTo>
                <a:lnTo>
                  <a:pt x="297" y="804"/>
                </a:lnTo>
                <a:lnTo>
                  <a:pt x="296" y="804"/>
                </a:lnTo>
                <a:lnTo>
                  <a:pt x="294" y="804"/>
                </a:lnTo>
                <a:lnTo>
                  <a:pt x="294" y="808"/>
                </a:lnTo>
                <a:lnTo>
                  <a:pt x="293" y="811"/>
                </a:lnTo>
                <a:lnTo>
                  <a:pt x="278" y="811"/>
                </a:lnTo>
                <a:lnTo>
                  <a:pt x="272" y="819"/>
                </a:lnTo>
                <a:lnTo>
                  <a:pt x="266" y="825"/>
                </a:lnTo>
                <a:lnTo>
                  <a:pt x="264" y="830"/>
                </a:lnTo>
                <a:lnTo>
                  <a:pt x="260" y="832"/>
                </a:lnTo>
                <a:lnTo>
                  <a:pt x="257" y="834"/>
                </a:lnTo>
                <a:lnTo>
                  <a:pt x="255" y="834"/>
                </a:lnTo>
                <a:lnTo>
                  <a:pt x="255" y="858"/>
                </a:lnTo>
                <a:lnTo>
                  <a:pt x="239" y="866"/>
                </a:lnTo>
                <a:lnTo>
                  <a:pt x="238" y="882"/>
                </a:lnTo>
                <a:lnTo>
                  <a:pt x="235" y="899"/>
                </a:lnTo>
                <a:lnTo>
                  <a:pt x="233" y="915"/>
                </a:lnTo>
                <a:lnTo>
                  <a:pt x="231" y="927"/>
                </a:lnTo>
                <a:lnTo>
                  <a:pt x="224" y="935"/>
                </a:lnTo>
                <a:lnTo>
                  <a:pt x="219" y="936"/>
                </a:lnTo>
                <a:lnTo>
                  <a:pt x="217" y="936"/>
                </a:lnTo>
                <a:lnTo>
                  <a:pt x="216" y="938"/>
                </a:lnTo>
                <a:lnTo>
                  <a:pt x="216" y="939"/>
                </a:lnTo>
                <a:lnTo>
                  <a:pt x="216" y="940"/>
                </a:lnTo>
                <a:lnTo>
                  <a:pt x="215" y="941"/>
                </a:lnTo>
                <a:lnTo>
                  <a:pt x="212" y="943"/>
                </a:lnTo>
                <a:lnTo>
                  <a:pt x="208" y="943"/>
                </a:lnTo>
                <a:lnTo>
                  <a:pt x="208" y="958"/>
                </a:lnTo>
                <a:lnTo>
                  <a:pt x="199" y="967"/>
                </a:lnTo>
                <a:lnTo>
                  <a:pt x="178" y="985"/>
                </a:lnTo>
                <a:lnTo>
                  <a:pt x="157" y="1004"/>
                </a:lnTo>
                <a:lnTo>
                  <a:pt x="147" y="1013"/>
                </a:lnTo>
                <a:lnTo>
                  <a:pt x="128" y="1014"/>
                </a:lnTo>
                <a:lnTo>
                  <a:pt x="106" y="1016"/>
                </a:lnTo>
                <a:lnTo>
                  <a:pt x="84" y="1019"/>
                </a:lnTo>
                <a:lnTo>
                  <a:pt x="62" y="1020"/>
                </a:lnTo>
                <a:lnTo>
                  <a:pt x="54" y="1027"/>
                </a:lnTo>
                <a:lnTo>
                  <a:pt x="51" y="1040"/>
                </a:lnTo>
                <a:lnTo>
                  <a:pt x="45" y="1058"/>
                </a:lnTo>
                <a:lnTo>
                  <a:pt x="42" y="1066"/>
                </a:lnTo>
                <a:lnTo>
                  <a:pt x="37" y="1074"/>
                </a:lnTo>
                <a:lnTo>
                  <a:pt x="34" y="1080"/>
                </a:lnTo>
                <a:lnTo>
                  <a:pt x="30" y="1082"/>
                </a:lnTo>
                <a:lnTo>
                  <a:pt x="29" y="1091"/>
                </a:lnTo>
                <a:lnTo>
                  <a:pt x="26" y="1104"/>
                </a:lnTo>
                <a:lnTo>
                  <a:pt x="24" y="1110"/>
                </a:lnTo>
                <a:lnTo>
                  <a:pt x="20" y="1116"/>
                </a:lnTo>
                <a:lnTo>
                  <a:pt x="18" y="1119"/>
                </a:lnTo>
                <a:lnTo>
                  <a:pt x="15" y="1120"/>
                </a:lnTo>
                <a:lnTo>
                  <a:pt x="4" y="1195"/>
                </a:lnTo>
                <a:lnTo>
                  <a:pt x="0" y="1195"/>
                </a:lnTo>
                <a:lnTo>
                  <a:pt x="13" y="1194"/>
                </a:lnTo>
                <a:lnTo>
                  <a:pt x="37" y="1194"/>
                </a:lnTo>
                <a:lnTo>
                  <a:pt x="71" y="1196"/>
                </a:lnTo>
                <a:lnTo>
                  <a:pt x="89" y="1198"/>
                </a:lnTo>
                <a:lnTo>
                  <a:pt x="107" y="1204"/>
                </a:lnTo>
                <a:lnTo>
                  <a:pt x="118" y="1206"/>
                </a:lnTo>
                <a:lnTo>
                  <a:pt x="126" y="1208"/>
                </a:lnTo>
                <a:lnTo>
                  <a:pt x="137" y="1209"/>
                </a:lnTo>
                <a:lnTo>
                  <a:pt x="145" y="1210"/>
                </a:lnTo>
                <a:lnTo>
                  <a:pt x="173" y="1208"/>
                </a:lnTo>
                <a:lnTo>
                  <a:pt x="201" y="1205"/>
                </a:lnTo>
                <a:lnTo>
                  <a:pt x="227" y="1199"/>
                </a:lnTo>
                <a:lnTo>
                  <a:pt x="249" y="1195"/>
                </a:lnTo>
                <a:lnTo>
                  <a:pt x="269" y="1189"/>
                </a:lnTo>
                <a:lnTo>
                  <a:pt x="284" y="1186"/>
                </a:lnTo>
                <a:lnTo>
                  <a:pt x="289" y="1185"/>
                </a:lnTo>
                <a:lnTo>
                  <a:pt x="294" y="1184"/>
                </a:lnTo>
                <a:lnTo>
                  <a:pt x="296" y="1185"/>
                </a:lnTo>
                <a:lnTo>
                  <a:pt x="297" y="1185"/>
                </a:lnTo>
                <a:lnTo>
                  <a:pt x="307" y="1186"/>
                </a:lnTo>
                <a:lnTo>
                  <a:pt x="321" y="1188"/>
                </a:lnTo>
                <a:lnTo>
                  <a:pt x="337" y="1191"/>
                </a:lnTo>
                <a:lnTo>
                  <a:pt x="358" y="1196"/>
                </a:lnTo>
                <a:lnTo>
                  <a:pt x="404" y="1207"/>
                </a:lnTo>
                <a:lnTo>
                  <a:pt x="457" y="1221"/>
                </a:lnTo>
                <a:lnTo>
                  <a:pt x="468" y="1223"/>
                </a:lnTo>
                <a:lnTo>
                  <a:pt x="479" y="1224"/>
                </a:lnTo>
                <a:lnTo>
                  <a:pt x="492" y="1226"/>
                </a:lnTo>
                <a:lnTo>
                  <a:pt x="504" y="1226"/>
                </a:lnTo>
                <a:lnTo>
                  <a:pt x="529" y="1226"/>
                </a:lnTo>
                <a:lnTo>
                  <a:pt x="555" y="1226"/>
                </a:lnTo>
                <a:lnTo>
                  <a:pt x="580" y="1225"/>
                </a:lnTo>
                <a:lnTo>
                  <a:pt x="602" y="1225"/>
                </a:lnTo>
                <a:lnTo>
                  <a:pt x="612" y="1226"/>
                </a:lnTo>
                <a:lnTo>
                  <a:pt x="622" y="1226"/>
                </a:lnTo>
                <a:lnTo>
                  <a:pt x="631" y="1228"/>
                </a:lnTo>
                <a:lnTo>
                  <a:pt x="638" y="1231"/>
                </a:lnTo>
                <a:lnTo>
                  <a:pt x="642" y="1232"/>
                </a:lnTo>
                <a:lnTo>
                  <a:pt x="644" y="1234"/>
                </a:lnTo>
                <a:lnTo>
                  <a:pt x="647" y="1237"/>
                </a:lnTo>
                <a:lnTo>
                  <a:pt x="649" y="1241"/>
                </a:lnTo>
                <a:lnTo>
                  <a:pt x="651" y="1250"/>
                </a:lnTo>
                <a:lnTo>
                  <a:pt x="651" y="1258"/>
                </a:lnTo>
                <a:lnTo>
                  <a:pt x="650" y="1274"/>
                </a:lnTo>
                <a:lnTo>
                  <a:pt x="649" y="1283"/>
                </a:lnTo>
                <a:lnTo>
                  <a:pt x="657" y="1284"/>
                </a:lnTo>
                <a:lnTo>
                  <a:pt x="668" y="1286"/>
                </a:lnTo>
                <a:lnTo>
                  <a:pt x="680" y="1291"/>
                </a:lnTo>
                <a:lnTo>
                  <a:pt x="694" y="1295"/>
                </a:lnTo>
                <a:lnTo>
                  <a:pt x="706" y="1301"/>
                </a:lnTo>
                <a:lnTo>
                  <a:pt x="716" y="1305"/>
                </a:lnTo>
                <a:lnTo>
                  <a:pt x="724" y="1310"/>
                </a:lnTo>
                <a:lnTo>
                  <a:pt x="726" y="1314"/>
                </a:lnTo>
                <a:lnTo>
                  <a:pt x="728" y="1314"/>
                </a:lnTo>
                <a:lnTo>
                  <a:pt x="723" y="1277"/>
                </a:lnTo>
                <a:lnTo>
                  <a:pt x="717" y="1242"/>
                </a:lnTo>
                <a:lnTo>
                  <a:pt x="715" y="1225"/>
                </a:lnTo>
                <a:lnTo>
                  <a:pt x="714" y="1208"/>
                </a:lnTo>
                <a:lnTo>
                  <a:pt x="713" y="1193"/>
                </a:lnTo>
                <a:lnTo>
                  <a:pt x="713" y="1178"/>
                </a:lnTo>
                <a:lnTo>
                  <a:pt x="714" y="1164"/>
                </a:lnTo>
                <a:lnTo>
                  <a:pt x="715" y="1150"/>
                </a:lnTo>
                <a:lnTo>
                  <a:pt x="718" y="1138"/>
                </a:lnTo>
                <a:lnTo>
                  <a:pt x="721" y="1127"/>
                </a:lnTo>
                <a:lnTo>
                  <a:pt x="727" y="1118"/>
                </a:lnTo>
                <a:lnTo>
                  <a:pt x="734" y="1109"/>
                </a:lnTo>
                <a:lnTo>
                  <a:pt x="742" y="1102"/>
                </a:lnTo>
                <a:lnTo>
                  <a:pt x="750" y="1097"/>
                </a:lnTo>
                <a:lnTo>
                  <a:pt x="772" y="1088"/>
                </a:lnTo>
                <a:lnTo>
                  <a:pt x="793" y="1081"/>
                </a:lnTo>
                <a:lnTo>
                  <a:pt x="814" y="1077"/>
                </a:lnTo>
                <a:lnTo>
                  <a:pt x="834" y="1073"/>
                </a:lnTo>
                <a:lnTo>
                  <a:pt x="854" y="1072"/>
                </a:lnTo>
                <a:lnTo>
                  <a:pt x="873" y="1072"/>
                </a:lnTo>
                <a:lnTo>
                  <a:pt x="892" y="1072"/>
                </a:lnTo>
                <a:lnTo>
                  <a:pt x="911" y="1074"/>
                </a:lnTo>
                <a:lnTo>
                  <a:pt x="947" y="1078"/>
                </a:lnTo>
                <a:lnTo>
                  <a:pt x="982" y="1082"/>
                </a:lnTo>
                <a:lnTo>
                  <a:pt x="998" y="1083"/>
                </a:lnTo>
                <a:lnTo>
                  <a:pt x="1015" y="1083"/>
                </a:lnTo>
                <a:lnTo>
                  <a:pt x="1032" y="1082"/>
                </a:lnTo>
                <a:lnTo>
                  <a:pt x="1047" y="1080"/>
                </a:lnTo>
                <a:lnTo>
                  <a:pt x="1057" y="1077"/>
                </a:lnTo>
                <a:lnTo>
                  <a:pt x="1068" y="1073"/>
                </a:lnTo>
                <a:lnTo>
                  <a:pt x="1079" y="1069"/>
                </a:lnTo>
                <a:lnTo>
                  <a:pt x="1088" y="1062"/>
                </a:lnTo>
                <a:lnTo>
                  <a:pt x="1098" y="1055"/>
                </a:lnTo>
                <a:lnTo>
                  <a:pt x="1108" y="1048"/>
                </a:lnTo>
                <a:lnTo>
                  <a:pt x="1118" y="1039"/>
                </a:lnTo>
                <a:lnTo>
                  <a:pt x="1127" y="1029"/>
                </a:lnTo>
                <a:lnTo>
                  <a:pt x="1137" y="1017"/>
                </a:lnTo>
                <a:lnTo>
                  <a:pt x="1147" y="1004"/>
                </a:lnTo>
                <a:lnTo>
                  <a:pt x="1156" y="991"/>
                </a:lnTo>
                <a:lnTo>
                  <a:pt x="1166" y="976"/>
                </a:lnTo>
                <a:lnTo>
                  <a:pt x="1186" y="944"/>
                </a:lnTo>
                <a:lnTo>
                  <a:pt x="1207" y="906"/>
                </a:lnTo>
                <a:lnTo>
                  <a:pt x="1208" y="907"/>
                </a:lnTo>
                <a:lnTo>
                  <a:pt x="1212" y="906"/>
                </a:lnTo>
                <a:lnTo>
                  <a:pt x="1214" y="902"/>
                </a:lnTo>
                <a:lnTo>
                  <a:pt x="1216" y="898"/>
                </a:lnTo>
                <a:lnTo>
                  <a:pt x="1222" y="885"/>
                </a:lnTo>
                <a:lnTo>
                  <a:pt x="1227" y="868"/>
                </a:lnTo>
                <a:lnTo>
                  <a:pt x="1238" y="831"/>
                </a:lnTo>
                <a:lnTo>
                  <a:pt x="1249" y="802"/>
                </a:lnTo>
                <a:lnTo>
                  <a:pt x="1268" y="769"/>
                </a:lnTo>
                <a:lnTo>
                  <a:pt x="1284" y="742"/>
                </a:lnTo>
                <a:lnTo>
                  <a:pt x="1290" y="732"/>
                </a:lnTo>
                <a:lnTo>
                  <a:pt x="1294" y="722"/>
                </a:lnTo>
                <a:lnTo>
                  <a:pt x="1297" y="713"/>
                </a:lnTo>
                <a:lnTo>
                  <a:pt x="1299" y="704"/>
                </a:lnTo>
                <a:lnTo>
                  <a:pt x="1301" y="703"/>
                </a:lnTo>
                <a:lnTo>
                  <a:pt x="1303" y="702"/>
                </a:lnTo>
                <a:lnTo>
                  <a:pt x="1304" y="700"/>
                </a:lnTo>
                <a:lnTo>
                  <a:pt x="1305" y="698"/>
                </a:lnTo>
                <a:lnTo>
                  <a:pt x="1305" y="694"/>
                </a:lnTo>
                <a:lnTo>
                  <a:pt x="1306" y="688"/>
                </a:lnTo>
                <a:lnTo>
                  <a:pt x="1308" y="687"/>
                </a:lnTo>
                <a:lnTo>
                  <a:pt x="1309" y="685"/>
                </a:lnTo>
                <a:lnTo>
                  <a:pt x="1310" y="683"/>
                </a:lnTo>
                <a:lnTo>
                  <a:pt x="1311" y="678"/>
                </a:lnTo>
                <a:lnTo>
                  <a:pt x="1312" y="668"/>
                </a:lnTo>
                <a:lnTo>
                  <a:pt x="1313" y="656"/>
                </a:lnTo>
                <a:lnTo>
                  <a:pt x="1313" y="632"/>
                </a:lnTo>
                <a:lnTo>
                  <a:pt x="1313" y="618"/>
                </a:lnTo>
                <a:lnTo>
                  <a:pt x="1299" y="610"/>
                </a:lnTo>
                <a:lnTo>
                  <a:pt x="1291" y="603"/>
                </a:lnTo>
                <a:lnTo>
                  <a:pt x="1290" y="600"/>
                </a:lnTo>
                <a:lnTo>
                  <a:pt x="1286" y="596"/>
                </a:lnTo>
                <a:lnTo>
                  <a:pt x="1283" y="592"/>
                </a:lnTo>
                <a:lnTo>
                  <a:pt x="1277" y="589"/>
                </a:lnTo>
                <a:lnTo>
                  <a:pt x="1273" y="585"/>
                </a:lnTo>
                <a:lnTo>
                  <a:pt x="1267" y="582"/>
                </a:lnTo>
                <a:lnTo>
                  <a:pt x="1263" y="580"/>
                </a:lnTo>
                <a:lnTo>
                  <a:pt x="1260" y="580"/>
                </a:lnTo>
                <a:lnTo>
                  <a:pt x="1258" y="577"/>
                </a:lnTo>
                <a:lnTo>
                  <a:pt x="1257" y="574"/>
                </a:lnTo>
                <a:lnTo>
                  <a:pt x="1254" y="571"/>
                </a:lnTo>
                <a:lnTo>
                  <a:pt x="1251" y="569"/>
                </a:lnTo>
                <a:lnTo>
                  <a:pt x="1243" y="565"/>
                </a:lnTo>
                <a:lnTo>
                  <a:pt x="1236" y="564"/>
                </a:lnTo>
                <a:lnTo>
                  <a:pt x="1235" y="558"/>
                </a:lnTo>
                <a:lnTo>
                  <a:pt x="1232" y="550"/>
                </a:lnTo>
                <a:lnTo>
                  <a:pt x="1229" y="546"/>
                </a:lnTo>
                <a:lnTo>
                  <a:pt x="1226" y="543"/>
                </a:lnTo>
                <a:lnTo>
                  <a:pt x="1224" y="542"/>
                </a:lnTo>
                <a:lnTo>
                  <a:pt x="1220" y="541"/>
                </a:lnTo>
                <a:lnTo>
                  <a:pt x="1220" y="517"/>
                </a:lnTo>
                <a:lnTo>
                  <a:pt x="1216" y="517"/>
                </a:lnTo>
                <a:lnTo>
                  <a:pt x="1214" y="516"/>
                </a:lnTo>
                <a:lnTo>
                  <a:pt x="1214" y="515"/>
                </a:lnTo>
                <a:lnTo>
                  <a:pt x="1213" y="514"/>
                </a:lnTo>
                <a:lnTo>
                  <a:pt x="1213" y="513"/>
                </a:lnTo>
                <a:lnTo>
                  <a:pt x="1213" y="512"/>
                </a:lnTo>
                <a:lnTo>
                  <a:pt x="1210" y="511"/>
                </a:lnTo>
                <a:lnTo>
                  <a:pt x="1206" y="510"/>
                </a:lnTo>
                <a:lnTo>
                  <a:pt x="1206" y="472"/>
                </a:lnTo>
                <a:lnTo>
                  <a:pt x="1203" y="472"/>
                </a:lnTo>
                <a:lnTo>
                  <a:pt x="1201" y="471"/>
                </a:lnTo>
                <a:lnTo>
                  <a:pt x="1199" y="468"/>
                </a:lnTo>
                <a:lnTo>
                  <a:pt x="1198" y="467"/>
                </a:lnTo>
                <a:lnTo>
                  <a:pt x="1198" y="462"/>
                </a:lnTo>
                <a:lnTo>
                  <a:pt x="1198" y="456"/>
                </a:lnTo>
                <a:lnTo>
                  <a:pt x="1191" y="455"/>
                </a:lnTo>
                <a:lnTo>
                  <a:pt x="1185" y="454"/>
                </a:lnTo>
                <a:lnTo>
                  <a:pt x="1178" y="452"/>
                </a:lnTo>
                <a:lnTo>
                  <a:pt x="1170" y="448"/>
                </a:lnTo>
                <a:lnTo>
                  <a:pt x="1164" y="446"/>
                </a:lnTo>
                <a:lnTo>
                  <a:pt x="1157" y="443"/>
                </a:lnTo>
                <a:lnTo>
                  <a:pt x="1150" y="442"/>
                </a:lnTo>
                <a:lnTo>
                  <a:pt x="1143" y="440"/>
                </a:lnTo>
                <a:lnTo>
                  <a:pt x="1143" y="436"/>
                </a:lnTo>
                <a:lnTo>
                  <a:pt x="1142" y="434"/>
                </a:lnTo>
                <a:lnTo>
                  <a:pt x="1141" y="433"/>
                </a:lnTo>
                <a:lnTo>
                  <a:pt x="1140" y="433"/>
                </a:lnTo>
                <a:lnTo>
                  <a:pt x="1138" y="433"/>
                </a:lnTo>
                <a:lnTo>
                  <a:pt x="1137" y="431"/>
                </a:lnTo>
                <a:lnTo>
                  <a:pt x="1136" y="429"/>
                </a:lnTo>
                <a:lnTo>
                  <a:pt x="1136" y="425"/>
                </a:lnTo>
                <a:lnTo>
                  <a:pt x="1120" y="421"/>
                </a:lnTo>
                <a:lnTo>
                  <a:pt x="1105" y="417"/>
                </a:lnTo>
                <a:lnTo>
                  <a:pt x="1098" y="409"/>
                </a:lnTo>
                <a:lnTo>
                  <a:pt x="1098" y="395"/>
                </a:lnTo>
                <a:lnTo>
                  <a:pt x="1090" y="387"/>
                </a:lnTo>
                <a:lnTo>
                  <a:pt x="1086" y="386"/>
                </a:lnTo>
                <a:lnTo>
                  <a:pt x="1082" y="383"/>
                </a:lnTo>
                <a:lnTo>
                  <a:pt x="1079" y="381"/>
                </a:lnTo>
                <a:lnTo>
                  <a:pt x="1075" y="378"/>
                </a:lnTo>
                <a:lnTo>
                  <a:pt x="1072" y="375"/>
                </a:lnTo>
                <a:lnTo>
                  <a:pt x="1069" y="370"/>
                </a:lnTo>
                <a:lnTo>
                  <a:pt x="1066" y="367"/>
                </a:lnTo>
                <a:lnTo>
                  <a:pt x="1066" y="363"/>
                </a:lnTo>
                <a:lnTo>
                  <a:pt x="1059" y="356"/>
                </a:lnTo>
                <a:lnTo>
                  <a:pt x="1051" y="348"/>
                </a:lnTo>
                <a:lnTo>
                  <a:pt x="1047" y="347"/>
                </a:lnTo>
                <a:lnTo>
                  <a:pt x="1044" y="344"/>
                </a:lnTo>
                <a:lnTo>
                  <a:pt x="1040" y="340"/>
                </a:lnTo>
                <a:lnTo>
                  <a:pt x="1036" y="335"/>
                </a:lnTo>
                <a:lnTo>
                  <a:pt x="1033" y="330"/>
                </a:lnTo>
                <a:lnTo>
                  <a:pt x="1031" y="325"/>
                </a:lnTo>
                <a:lnTo>
                  <a:pt x="1028" y="321"/>
                </a:lnTo>
                <a:lnTo>
                  <a:pt x="1027" y="317"/>
                </a:lnTo>
                <a:lnTo>
                  <a:pt x="1024" y="315"/>
                </a:lnTo>
                <a:lnTo>
                  <a:pt x="1021" y="313"/>
                </a:lnTo>
                <a:lnTo>
                  <a:pt x="1017" y="309"/>
                </a:lnTo>
                <a:lnTo>
                  <a:pt x="1013" y="304"/>
                </a:lnTo>
                <a:lnTo>
                  <a:pt x="1009" y="299"/>
                </a:lnTo>
                <a:lnTo>
                  <a:pt x="1007" y="294"/>
                </a:lnTo>
                <a:lnTo>
                  <a:pt x="1005" y="290"/>
                </a:lnTo>
                <a:lnTo>
                  <a:pt x="1004" y="286"/>
                </a:lnTo>
                <a:lnTo>
                  <a:pt x="997" y="279"/>
                </a:lnTo>
                <a:lnTo>
                  <a:pt x="982" y="279"/>
                </a:lnTo>
                <a:lnTo>
                  <a:pt x="979" y="275"/>
                </a:lnTo>
                <a:lnTo>
                  <a:pt x="974" y="272"/>
                </a:lnTo>
                <a:lnTo>
                  <a:pt x="967" y="270"/>
                </a:lnTo>
                <a:lnTo>
                  <a:pt x="958" y="265"/>
                </a:lnTo>
                <a:lnTo>
                  <a:pt x="949" y="262"/>
                </a:lnTo>
                <a:lnTo>
                  <a:pt x="942" y="257"/>
                </a:lnTo>
                <a:lnTo>
                  <a:pt x="939" y="255"/>
                </a:lnTo>
                <a:lnTo>
                  <a:pt x="937" y="253"/>
                </a:lnTo>
                <a:lnTo>
                  <a:pt x="936" y="251"/>
                </a:lnTo>
                <a:lnTo>
                  <a:pt x="935" y="247"/>
                </a:lnTo>
                <a:lnTo>
                  <a:pt x="919" y="247"/>
                </a:lnTo>
                <a:lnTo>
                  <a:pt x="919" y="232"/>
                </a:lnTo>
                <a:lnTo>
                  <a:pt x="915" y="232"/>
                </a:lnTo>
                <a:lnTo>
                  <a:pt x="910" y="229"/>
                </a:lnTo>
                <a:lnTo>
                  <a:pt x="908" y="226"/>
                </a:lnTo>
                <a:lnTo>
                  <a:pt x="906" y="223"/>
                </a:lnTo>
                <a:lnTo>
                  <a:pt x="905" y="216"/>
                </a:lnTo>
                <a:lnTo>
                  <a:pt x="903" y="208"/>
                </a:lnTo>
                <a:lnTo>
                  <a:pt x="897" y="200"/>
                </a:lnTo>
                <a:lnTo>
                  <a:pt x="892" y="200"/>
                </a:lnTo>
                <a:lnTo>
                  <a:pt x="889" y="199"/>
                </a:lnTo>
                <a:lnTo>
                  <a:pt x="889" y="198"/>
                </a:lnTo>
                <a:lnTo>
                  <a:pt x="889" y="197"/>
                </a:lnTo>
                <a:lnTo>
                  <a:pt x="889" y="196"/>
                </a:lnTo>
                <a:lnTo>
                  <a:pt x="888" y="195"/>
                </a:lnTo>
                <a:lnTo>
                  <a:pt x="886" y="194"/>
                </a:lnTo>
                <a:lnTo>
                  <a:pt x="881" y="194"/>
                </a:lnTo>
                <a:lnTo>
                  <a:pt x="881" y="170"/>
                </a:lnTo>
                <a:lnTo>
                  <a:pt x="879" y="169"/>
                </a:lnTo>
                <a:lnTo>
                  <a:pt x="878" y="167"/>
                </a:lnTo>
                <a:lnTo>
                  <a:pt x="877" y="164"/>
                </a:lnTo>
                <a:lnTo>
                  <a:pt x="877" y="159"/>
                </a:lnTo>
                <a:lnTo>
                  <a:pt x="874" y="147"/>
                </a:lnTo>
                <a:lnTo>
                  <a:pt x="874" y="133"/>
                </a:lnTo>
                <a:lnTo>
                  <a:pt x="873" y="104"/>
                </a:lnTo>
                <a:lnTo>
                  <a:pt x="873" y="85"/>
                </a:lnTo>
                <a:lnTo>
                  <a:pt x="874" y="84"/>
                </a:lnTo>
                <a:lnTo>
                  <a:pt x="876" y="82"/>
                </a:lnTo>
                <a:lnTo>
                  <a:pt x="877" y="79"/>
                </a:lnTo>
                <a:lnTo>
                  <a:pt x="878" y="74"/>
                </a:lnTo>
                <a:lnTo>
                  <a:pt x="879" y="63"/>
                </a:lnTo>
                <a:lnTo>
                  <a:pt x="880" y="50"/>
                </a:lnTo>
                <a:lnTo>
                  <a:pt x="881" y="23"/>
                </a:lnTo>
                <a:lnTo>
                  <a:pt x="881" y="7"/>
                </a:lnTo>
                <a:lnTo>
                  <a:pt x="873" y="0"/>
                </a:lnTo>
                <a:lnTo>
                  <a:pt x="858" y="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72" name="Freeform 33">
            <a:extLst>
              <a:ext uri="{FF2B5EF4-FFF2-40B4-BE49-F238E27FC236}">
                <a16:creationId xmlns:a16="http://schemas.microsoft.com/office/drawing/2014/main" id="{647BA346-2934-4E97-B00F-B27E36CDF1C2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150100" y="3567113"/>
            <a:ext cx="268833" cy="220663"/>
          </a:xfrm>
          <a:custGeom>
            <a:avLst/>
            <a:gdLst/>
            <a:ahLst/>
            <a:cxnLst>
              <a:cxn ang="0">
                <a:pos x="103" y="132"/>
              </a:cxn>
              <a:cxn ang="0">
                <a:pos x="167" y="93"/>
              </a:cxn>
              <a:cxn ang="0">
                <a:pos x="205" y="80"/>
              </a:cxn>
              <a:cxn ang="0">
                <a:pos x="405" y="74"/>
              </a:cxn>
              <a:cxn ang="0">
                <a:pos x="454" y="51"/>
              </a:cxn>
              <a:cxn ang="0">
                <a:pos x="504" y="30"/>
              </a:cxn>
              <a:cxn ang="0">
                <a:pos x="582" y="28"/>
              </a:cxn>
              <a:cxn ang="0">
                <a:pos x="617" y="37"/>
              </a:cxn>
              <a:cxn ang="0">
                <a:pos x="676" y="25"/>
              </a:cxn>
              <a:cxn ang="0">
                <a:pos x="688" y="13"/>
              </a:cxn>
              <a:cxn ang="0">
                <a:pos x="774" y="32"/>
              </a:cxn>
              <a:cxn ang="0">
                <a:pos x="790" y="54"/>
              </a:cxn>
              <a:cxn ang="0">
                <a:pos x="826" y="85"/>
              </a:cxn>
              <a:cxn ang="0">
                <a:pos x="883" y="101"/>
              </a:cxn>
              <a:cxn ang="0">
                <a:pos x="915" y="114"/>
              </a:cxn>
              <a:cxn ang="0">
                <a:pos x="962" y="144"/>
              </a:cxn>
              <a:cxn ang="0">
                <a:pos x="1071" y="177"/>
              </a:cxn>
              <a:cxn ang="0">
                <a:pos x="1104" y="211"/>
              </a:cxn>
              <a:cxn ang="0">
                <a:pos x="1129" y="244"/>
              </a:cxn>
              <a:cxn ang="0">
                <a:pos x="1157" y="276"/>
              </a:cxn>
              <a:cxn ang="0">
                <a:pos x="1211" y="331"/>
              </a:cxn>
              <a:cxn ang="0">
                <a:pos x="1287" y="383"/>
              </a:cxn>
              <a:cxn ang="0">
                <a:pos x="1339" y="417"/>
              </a:cxn>
              <a:cxn ang="0">
                <a:pos x="1363" y="431"/>
              </a:cxn>
              <a:cxn ang="0">
                <a:pos x="1424" y="479"/>
              </a:cxn>
              <a:cxn ang="0">
                <a:pos x="1378" y="513"/>
              </a:cxn>
              <a:cxn ang="0">
                <a:pos x="1347" y="528"/>
              </a:cxn>
              <a:cxn ang="0">
                <a:pos x="1315" y="538"/>
              </a:cxn>
              <a:cxn ang="0">
                <a:pos x="1110" y="561"/>
              </a:cxn>
              <a:cxn ang="0">
                <a:pos x="947" y="583"/>
              </a:cxn>
              <a:cxn ang="0">
                <a:pos x="922" y="722"/>
              </a:cxn>
              <a:cxn ang="0">
                <a:pos x="935" y="760"/>
              </a:cxn>
              <a:cxn ang="0">
                <a:pos x="952" y="844"/>
              </a:cxn>
              <a:cxn ang="0">
                <a:pos x="1020" y="882"/>
              </a:cxn>
              <a:cxn ang="0">
                <a:pos x="1057" y="987"/>
              </a:cxn>
              <a:cxn ang="0">
                <a:pos x="1095" y="1094"/>
              </a:cxn>
              <a:cxn ang="0">
                <a:pos x="1117" y="1132"/>
              </a:cxn>
              <a:cxn ang="0">
                <a:pos x="1137" y="1168"/>
              </a:cxn>
              <a:cxn ang="0">
                <a:pos x="1148" y="1257"/>
              </a:cxn>
              <a:cxn ang="0">
                <a:pos x="1031" y="1289"/>
              </a:cxn>
              <a:cxn ang="0">
                <a:pos x="887" y="1308"/>
              </a:cxn>
              <a:cxn ang="0">
                <a:pos x="811" y="1364"/>
              </a:cxn>
              <a:cxn ang="0">
                <a:pos x="677" y="1365"/>
              </a:cxn>
              <a:cxn ang="0">
                <a:pos x="469" y="1278"/>
              </a:cxn>
              <a:cxn ang="0">
                <a:pos x="397" y="1246"/>
              </a:cxn>
              <a:cxn ang="0">
                <a:pos x="370" y="1133"/>
              </a:cxn>
              <a:cxn ang="0">
                <a:pos x="399" y="1012"/>
              </a:cxn>
              <a:cxn ang="0">
                <a:pos x="497" y="962"/>
              </a:cxn>
              <a:cxn ang="0">
                <a:pos x="533" y="940"/>
              </a:cxn>
              <a:cxn ang="0">
                <a:pos x="456" y="868"/>
              </a:cxn>
              <a:cxn ang="0">
                <a:pos x="372" y="842"/>
              </a:cxn>
              <a:cxn ang="0">
                <a:pos x="204" y="684"/>
              </a:cxn>
              <a:cxn ang="0">
                <a:pos x="50" y="519"/>
              </a:cxn>
              <a:cxn ang="0">
                <a:pos x="69" y="468"/>
              </a:cxn>
              <a:cxn ang="0">
                <a:pos x="85" y="408"/>
              </a:cxn>
              <a:cxn ang="0">
                <a:pos x="64" y="327"/>
              </a:cxn>
              <a:cxn ang="0">
                <a:pos x="20" y="205"/>
              </a:cxn>
            </a:cxnLst>
            <a:rect l="0" t="0" r="r" b="b"/>
            <a:pathLst>
              <a:path w="1464" h="1373">
                <a:moveTo>
                  <a:pt x="0" y="154"/>
                </a:moveTo>
                <a:lnTo>
                  <a:pt x="1" y="147"/>
                </a:lnTo>
                <a:lnTo>
                  <a:pt x="1" y="140"/>
                </a:lnTo>
                <a:lnTo>
                  <a:pt x="94" y="140"/>
                </a:lnTo>
                <a:lnTo>
                  <a:pt x="94" y="137"/>
                </a:lnTo>
                <a:lnTo>
                  <a:pt x="96" y="135"/>
                </a:lnTo>
                <a:lnTo>
                  <a:pt x="97" y="133"/>
                </a:lnTo>
                <a:lnTo>
                  <a:pt x="99" y="133"/>
                </a:lnTo>
                <a:lnTo>
                  <a:pt x="103" y="132"/>
                </a:lnTo>
                <a:lnTo>
                  <a:pt x="109" y="132"/>
                </a:lnTo>
                <a:lnTo>
                  <a:pt x="121" y="120"/>
                </a:lnTo>
                <a:lnTo>
                  <a:pt x="132" y="109"/>
                </a:lnTo>
                <a:lnTo>
                  <a:pt x="148" y="105"/>
                </a:lnTo>
                <a:lnTo>
                  <a:pt x="164" y="101"/>
                </a:lnTo>
                <a:lnTo>
                  <a:pt x="164" y="96"/>
                </a:lnTo>
                <a:lnTo>
                  <a:pt x="165" y="94"/>
                </a:lnTo>
                <a:lnTo>
                  <a:pt x="166" y="93"/>
                </a:lnTo>
                <a:lnTo>
                  <a:pt x="167" y="93"/>
                </a:lnTo>
                <a:lnTo>
                  <a:pt x="169" y="93"/>
                </a:lnTo>
                <a:lnTo>
                  <a:pt x="170" y="92"/>
                </a:lnTo>
                <a:lnTo>
                  <a:pt x="170" y="90"/>
                </a:lnTo>
                <a:lnTo>
                  <a:pt x="171" y="85"/>
                </a:lnTo>
                <a:lnTo>
                  <a:pt x="195" y="85"/>
                </a:lnTo>
                <a:lnTo>
                  <a:pt x="195" y="83"/>
                </a:lnTo>
                <a:lnTo>
                  <a:pt x="197" y="82"/>
                </a:lnTo>
                <a:lnTo>
                  <a:pt x="200" y="81"/>
                </a:lnTo>
                <a:lnTo>
                  <a:pt x="205" y="80"/>
                </a:lnTo>
                <a:lnTo>
                  <a:pt x="216" y="78"/>
                </a:lnTo>
                <a:lnTo>
                  <a:pt x="232" y="77"/>
                </a:lnTo>
                <a:lnTo>
                  <a:pt x="270" y="77"/>
                </a:lnTo>
                <a:lnTo>
                  <a:pt x="314" y="78"/>
                </a:lnTo>
                <a:lnTo>
                  <a:pt x="337" y="78"/>
                </a:lnTo>
                <a:lnTo>
                  <a:pt x="358" y="78"/>
                </a:lnTo>
                <a:lnTo>
                  <a:pt x="378" y="77"/>
                </a:lnTo>
                <a:lnTo>
                  <a:pt x="397" y="75"/>
                </a:lnTo>
                <a:lnTo>
                  <a:pt x="405" y="74"/>
                </a:lnTo>
                <a:lnTo>
                  <a:pt x="411" y="73"/>
                </a:lnTo>
                <a:lnTo>
                  <a:pt x="418" y="71"/>
                </a:lnTo>
                <a:lnTo>
                  <a:pt x="424" y="68"/>
                </a:lnTo>
                <a:lnTo>
                  <a:pt x="428" y="65"/>
                </a:lnTo>
                <a:lnTo>
                  <a:pt x="432" y="62"/>
                </a:lnTo>
                <a:lnTo>
                  <a:pt x="434" y="58"/>
                </a:lnTo>
                <a:lnTo>
                  <a:pt x="434" y="54"/>
                </a:lnTo>
                <a:lnTo>
                  <a:pt x="445" y="53"/>
                </a:lnTo>
                <a:lnTo>
                  <a:pt x="454" y="51"/>
                </a:lnTo>
                <a:lnTo>
                  <a:pt x="463" y="48"/>
                </a:lnTo>
                <a:lnTo>
                  <a:pt x="473" y="47"/>
                </a:lnTo>
                <a:lnTo>
                  <a:pt x="474" y="44"/>
                </a:lnTo>
                <a:lnTo>
                  <a:pt x="476" y="42"/>
                </a:lnTo>
                <a:lnTo>
                  <a:pt x="481" y="38"/>
                </a:lnTo>
                <a:lnTo>
                  <a:pt x="485" y="36"/>
                </a:lnTo>
                <a:lnTo>
                  <a:pt x="495" y="33"/>
                </a:lnTo>
                <a:lnTo>
                  <a:pt x="504" y="32"/>
                </a:lnTo>
                <a:lnTo>
                  <a:pt x="504" y="30"/>
                </a:lnTo>
                <a:lnTo>
                  <a:pt x="506" y="28"/>
                </a:lnTo>
                <a:lnTo>
                  <a:pt x="510" y="28"/>
                </a:lnTo>
                <a:lnTo>
                  <a:pt x="514" y="27"/>
                </a:lnTo>
                <a:lnTo>
                  <a:pt x="526" y="26"/>
                </a:lnTo>
                <a:lnTo>
                  <a:pt x="540" y="25"/>
                </a:lnTo>
                <a:lnTo>
                  <a:pt x="565" y="24"/>
                </a:lnTo>
                <a:lnTo>
                  <a:pt x="581" y="24"/>
                </a:lnTo>
                <a:lnTo>
                  <a:pt x="581" y="26"/>
                </a:lnTo>
                <a:lnTo>
                  <a:pt x="582" y="28"/>
                </a:lnTo>
                <a:lnTo>
                  <a:pt x="583" y="29"/>
                </a:lnTo>
                <a:lnTo>
                  <a:pt x="586" y="30"/>
                </a:lnTo>
                <a:lnTo>
                  <a:pt x="591" y="32"/>
                </a:lnTo>
                <a:lnTo>
                  <a:pt x="597" y="32"/>
                </a:lnTo>
                <a:lnTo>
                  <a:pt x="597" y="33"/>
                </a:lnTo>
                <a:lnTo>
                  <a:pt x="599" y="34"/>
                </a:lnTo>
                <a:lnTo>
                  <a:pt x="602" y="35"/>
                </a:lnTo>
                <a:lnTo>
                  <a:pt x="606" y="36"/>
                </a:lnTo>
                <a:lnTo>
                  <a:pt x="617" y="37"/>
                </a:lnTo>
                <a:lnTo>
                  <a:pt x="628" y="38"/>
                </a:lnTo>
                <a:lnTo>
                  <a:pt x="651" y="39"/>
                </a:lnTo>
                <a:lnTo>
                  <a:pt x="666" y="39"/>
                </a:lnTo>
                <a:lnTo>
                  <a:pt x="666" y="36"/>
                </a:lnTo>
                <a:lnTo>
                  <a:pt x="667" y="34"/>
                </a:lnTo>
                <a:lnTo>
                  <a:pt x="668" y="30"/>
                </a:lnTo>
                <a:lnTo>
                  <a:pt x="670" y="28"/>
                </a:lnTo>
                <a:lnTo>
                  <a:pt x="673" y="26"/>
                </a:lnTo>
                <a:lnTo>
                  <a:pt x="676" y="25"/>
                </a:lnTo>
                <a:lnTo>
                  <a:pt x="678" y="24"/>
                </a:lnTo>
                <a:lnTo>
                  <a:pt x="682" y="24"/>
                </a:lnTo>
                <a:lnTo>
                  <a:pt x="682" y="19"/>
                </a:lnTo>
                <a:lnTo>
                  <a:pt x="683" y="17"/>
                </a:lnTo>
                <a:lnTo>
                  <a:pt x="684" y="16"/>
                </a:lnTo>
                <a:lnTo>
                  <a:pt x="685" y="16"/>
                </a:lnTo>
                <a:lnTo>
                  <a:pt x="687" y="16"/>
                </a:lnTo>
                <a:lnTo>
                  <a:pt x="688" y="15"/>
                </a:lnTo>
                <a:lnTo>
                  <a:pt x="688" y="13"/>
                </a:lnTo>
                <a:lnTo>
                  <a:pt x="689" y="8"/>
                </a:lnTo>
                <a:lnTo>
                  <a:pt x="698" y="7"/>
                </a:lnTo>
                <a:lnTo>
                  <a:pt x="713" y="4"/>
                </a:lnTo>
                <a:lnTo>
                  <a:pt x="730" y="1"/>
                </a:lnTo>
                <a:lnTo>
                  <a:pt x="743" y="0"/>
                </a:lnTo>
                <a:lnTo>
                  <a:pt x="751" y="8"/>
                </a:lnTo>
                <a:lnTo>
                  <a:pt x="759" y="16"/>
                </a:lnTo>
                <a:lnTo>
                  <a:pt x="766" y="24"/>
                </a:lnTo>
                <a:lnTo>
                  <a:pt x="774" y="32"/>
                </a:lnTo>
                <a:lnTo>
                  <a:pt x="774" y="47"/>
                </a:lnTo>
                <a:lnTo>
                  <a:pt x="779" y="47"/>
                </a:lnTo>
                <a:lnTo>
                  <a:pt x="781" y="48"/>
                </a:lnTo>
                <a:lnTo>
                  <a:pt x="782" y="49"/>
                </a:lnTo>
                <a:lnTo>
                  <a:pt x="782" y="51"/>
                </a:lnTo>
                <a:lnTo>
                  <a:pt x="782" y="52"/>
                </a:lnTo>
                <a:lnTo>
                  <a:pt x="783" y="53"/>
                </a:lnTo>
                <a:lnTo>
                  <a:pt x="785" y="54"/>
                </a:lnTo>
                <a:lnTo>
                  <a:pt x="790" y="54"/>
                </a:lnTo>
                <a:lnTo>
                  <a:pt x="790" y="70"/>
                </a:lnTo>
                <a:lnTo>
                  <a:pt x="801" y="70"/>
                </a:lnTo>
                <a:lnTo>
                  <a:pt x="813" y="70"/>
                </a:lnTo>
                <a:lnTo>
                  <a:pt x="820" y="77"/>
                </a:lnTo>
                <a:lnTo>
                  <a:pt x="821" y="82"/>
                </a:lnTo>
                <a:lnTo>
                  <a:pt x="822" y="84"/>
                </a:lnTo>
                <a:lnTo>
                  <a:pt x="823" y="85"/>
                </a:lnTo>
                <a:lnTo>
                  <a:pt x="824" y="85"/>
                </a:lnTo>
                <a:lnTo>
                  <a:pt x="826" y="85"/>
                </a:lnTo>
                <a:lnTo>
                  <a:pt x="827" y="86"/>
                </a:lnTo>
                <a:lnTo>
                  <a:pt x="828" y="89"/>
                </a:lnTo>
                <a:lnTo>
                  <a:pt x="828" y="93"/>
                </a:lnTo>
                <a:lnTo>
                  <a:pt x="859" y="93"/>
                </a:lnTo>
                <a:lnTo>
                  <a:pt x="860" y="95"/>
                </a:lnTo>
                <a:lnTo>
                  <a:pt x="862" y="97"/>
                </a:lnTo>
                <a:lnTo>
                  <a:pt x="867" y="99"/>
                </a:lnTo>
                <a:lnTo>
                  <a:pt x="871" y="100"/>
                </a:lnTo>
                <a:lnTo>
                  <a:pt x="883" y="101"/>
                </a:lnTo>
                <a:lnTo>
                  <a:pt x="890" y="101"/>
                </a:lnTo>
                <a:lnTo>
                  <a:pt x="890" y="103"/>
                </a:lnTo>
                <a:lnTo>
                  <a:pt x="893" y="105"/>
                </a:lnTo>
                <a:lnTo>
                  <a:pt x="895" y="106"/>
                </a:lnTo>
                <a:lnTo>
                  <a:pt x="899" y="107"/>
                </a:lnTo>
                <a:lnTo>
                  <a:pt x="906" y="109"/>
                </a:lnTo>
                <a:lnTo>
                  <a:pt x="914" y="109"/>
                </a:lnTo>
                <a:lnTo>
                  <a:pt x="914" y="112"/>
                </a:lnTo>
                <a:lnTo>
                  <a:pt x="915" y="114"/>
                </a:lnTo>
                <a:lnTo>
                  <a:pt x="916" y="116"/>
                </a:lnTo>
                <a:lnTo>
                  <a:pt x="918" y="120"/>
                </a:lnTo>
                <a:lnTo>
                  <a:pt x="920" y="121"/>
                </a:lnTo>
                <a:lnTo>
                  <a:pt x="923" y="123"/>
                </a:lnTo>
                <a:lnTo>
                  <a:pt x="926" y="124"/>
                </a:lnTo>
                <a:lnTo>
                  <a:pt x="928" y="124"/>
                </a:lnTo>
                <a:lnTo>
                  <a:pt x="936" y="140"/>
                </a:lnTo>
                <a:lnTo>
                  <a:pt x="947" y="141"/>
                </a:lnTo>
                <a:lnTo>
                  <a:pt x="962" y="144"/>
                </a:lnTo>
                <a:lnTo>
                  <a:pt x="979" y="149"/>
                </a:lnTo>
                <a:lnTo>
                  <a:pt x="996" y="155"/>
                </a:lnTo>
                <a:lnTo>
                  <a:pt x="1015" y="161"/>
                </a:lnTo>
                <a:lnTo>
                  <a:pt x="1034" y="166"/>
                </a:lnTo>
                <a:lnTo>
                  <a:pt x="1052" y="169"/>
                </a:lnTo>
                <a:lnTo>
                  <a:pt x="1068" y="170"/>
                </a:lnTo>
                <a:lnTo>
                  <a:pt x="1068" y="173"/>
                </a:lnTo>
                <a:lnTo>
                  <a:pt x="1069" y="174"/>
                </a:lnTo>
                <a:lnTo>
                  <a:pt x="1071" y="177"/>
                </a:lnTo>
                <a:lnTo>
                  <a:pt x="1072" y="177"/>
                </a:lnTo>
                <a:lnTo>
                  <a:pt x="1078" y="178"/>
                </a:lnTo>
                <a:lnTo>
                  <a:pt x="1083" y="178"/>
                </a:lnTo>
                <a:lnTo>
                  <a:pt x="1091" y="186"/>
                </a:lnTo>
                <a:lnTo>
                  <a:pt x="1091" y="191"/>
                </a:lnTo>
                <a:lnTo>
                  <a:pt x="1094" y="197"/>
                </a:lnTo>
                <a:lnTo>
                  <a:pt x="1097" y="202"/>
                </a:lnTo>
                <a:lnTo>
                  <a:pt x="1100" y="207"/>
                </a:lnTo>
                <a:lnTo>
                  <a:pt x="1104" y="211"/>
                </a:lnTo>
                <a:lnTo>
                  <a:pt x="1107" y="215"/>
                </a:lnTo>
                <a:lnTo>
                  <a:pt x="1111" y="216"/>
                </a:lnTo>
                <a:lnTo>
                  <a:pt x="1115" y="217"/>
                </a:lnTo>
                <a:lnTo>
                  <a:pt x="1115" y="232"/>
                </a:lnTo>
                <a:lnTo>
                  <a:pt x="1123" y="240"/>
                </a:lnTo>
                <a:lnTo>
                  <a:pt x="1126" y="240"/>
                </a:lnTo>
                <a:lnTo>
                  <a:pt x="1129" y="241"/>
                </a:lnTo>
                <a:lnTo>
                  <a:pt x="1129" y="243"/>
                </a:lnTo>
                <a:lnTo>
                  <a:pt x="1129" y="244"/>
                </a:lnTo>
                <a:lnTo>
                  <a:pt x="1130" y="245"/>
                </a:lnTo>
                <a:lnTo>
                  <a:pt x="1130" y="247"/>
                </a:lnTo>
                <a:lnTo>
                  <a:pt x="1133" y="247"/>
                </a:lnTo>
                <a:lnTo>
                  <a:pt x="1137" y="248"/>
                </a:lnTo>
                <a:lnTo>
                  <a:pt x="1138" y="253"/>
                </a:lnTo>
                <a:lnTo>
                  <a:pt x="1140" y="257"/>
                </a:lnTo>
                <a:lnTo>
                  <a:pt x="1143" y="262"/>
                </a:lnTo>
                <a:lnTo>
                  <a:pt x="1147" y="266"/>
                </a:lnTo>
                <a:lnTo>
                  <a:pt x="1157" y="276"/>
                </a:lnTo>
                <a:lnTo>
                  <a:pt x="1168" y="286"/>
                </a:lnTo>
                <a:lnTo>
                  <a:pt x="1179" y="296"/>
                </a:lnTo>
                <a:lnTo>
                  <a:pt x="1190" y="306"/>
                </a:lnTo>
                <a:lnTo>
                  <a:pt x="1194" y="312"/>
                </a:lnTo>
                <a:lnTo>
                  <a:pt x="1196" y="316"/>
                </a:lnTo>
                <a:lnTo>
                  <a:pt x="1198" y="321"/>
                </a:lnTo>
                <a:lnTo>
                  <a:pt x="1200" y="325"/>
                </a:lnTo>
                <a:lnTo>
                  <a:pt x="1204" y="326"/>
                </a:lnTo>
                <a:lnTo>
                  <a:pt x="1211" y="331"/>
                </a:lnTo>
                <a:lnTo>
                  <a:pt x="1220" y="337"/>
                </a:lnTo>
                <a:lnTo>
                  <a:pt x="1230" y="344"/>
                </a:lnTo>
                <a:lnTo>
                  <a:pt x="1240" y="352"/>
                </a:lnTo>
                <a:lnTo>
                  <a:pt x="1250" y="357"/>
                </a:lnTo>
                <a:lnTo>
                  <a:pt x="1256" y="362"/>
                </a:lnTo>
                <a:lnTo>
                  <a:pt x="1261" y="363"/>
                </a:lnTo>
                <a:lnTo>
                  <a:pt x="1269" y="379"/>
                </a:lnTo>
                <a:lnTo>
                  <a:pt x="1278" y="380"/>
                </a:lnTo>
                <a:lnTo>
                  <a:pt x="1287" y="383"/>
                </a:lnTo>
                <a:lnTo>
                  <a:pt x="1294" y="387"/>
                </a:lnTo>
                <a:lnTo>
                  <a:pt x="1302" y="391"/>
                </a:lnTo>
                <a:lnTo>
                  <a:pt x="1310" y="395"/>
                </a:lnTo>
                <a:lnTo>
                  <a:pt x="1318" y="399"/>
                </a:lnTo>
                <a:lnTo>
                  <a:pt x="1325" y="401"/>
                </a:lnTo>
                <a:lnTo>
                  <a:pt x="1330" y="402"/>
                </a:lnTo>
                <a:lnTo>
                  <a:pt x="1338" y="410"/>
                </a:lnTo>
                <a:lnTo>
                  <a:pt x="1339" y="414"/>
                </a:lnTo>
                <a:lnTo>
                  <a:pt x="1339" y="417"/>
                </a:lnTo>
                <a:lnTo>
                  <a:pt x="1341" y="418"/>
                </a:lnTo>
                <a:lnTo>
                  <a:pt x="1342" y="418"/>
                </a:lnTo>
                <a:lnTo>
                  <a:pt x="1344" y="418"/>
                </a:lnTo>
                <a:lnTo>
                  <a:pt x="1345" y="419"/>
                </a:lnTo>
                <a:lnTo>
                  <a:pt x="1346" y="421"/>
                </a:lnTo>
                <a:lnTo>
                  <a:pt x="1346" y="426"/>
                </a:lnTo>
                <a:lnTo>
                  <a:pt x="1361" y="426"/>
                </a:lnTo>
                <a:lnTo>
                  <a:pt x="1361" y="428"/>
                </a:lnTo>
                <a:lnTo>
                  <a:pt x="1363" y="431"/>
                </a:lnTo>
                <a:lnTo>
                  <a:pt x="1365" y="433"/>
                </a:lnTo>
                <a:lnTo>
                  <a:pt x="1366" y="436"/>
                </a:lnTo>
                <a:lnTo>
                  <a:pt x="1369" y="438"/>
                </a:lnTo>
                <a:lnTo>
                  <a:pt x="1371" y="440"/>
                </a:lnTo>
                <a:lnTo>
                  <a:pt x="1374" y="440"/>
                </a:lnTo>
                <a:lnTo>
                  <a:pt x="1377" y="441"/>
                </a:lnTo>
                <a:lnTo>
                  <a:pt x="1393" y="457"/>
                </a:lnTo>
                <a:lnTo>
                  <a:pt x="1408" y="471"/>
                </a:lnTo>
                <a:lnTo>
                  <a:pt x="1424" y="479"/>
                </a:lnTo>
                <a:lnTo>
                  <a:pt x="1438" y="487"/>
                </a:lnTo>
                <a:lnTo>
                  <a:pt x="1454" y="495"/>
                </a:lnTo>
                <a:lnTo>
                  <a:pt x="1459" y="501"/>
                </a:lnTo>
                <a:lnTo>
                  <a:pt x="1464" y="508"/>
                </a:lnTo>
                <a:lnTo>
                  <a:pt x="1442" y="509"/>
                </a:lnTo>
                <a:lnTo>
                  <a:pt x="1421" y="510"/>
                </a:lnTo>
                <a:lnTo>
                  <a:pt x="1399" y="512"/>
                </a:lnTo>
                <a:lnTo>
                  <a:pt x="1379" y="512"/>
                </a:lnTo>
                <a:lnTo>
                  <a:pt x="1378" y="513"/>
                </a:lnTo>
                <a:lnTo>
                  <a:pt x="1377" y="515"/>
                </a:lnTo>
                <a:lnTo>
                  <a:pt x="1376" y="515"/>
                </a:lnTo>
                <a:lnTo>
                  <a:pt x="1373" y="516"/>
                </a:lnTo>
                <a:lnTo>
                  <a:pt x="1367" y="517"/>
                </a:lnTo>
                <a:lnTo>
                  <a:pt x="1363" y="517"/>
                </a:lnTo>
                <a:lnTo>
                  <a:pt x="1360" y="523"/>
                </a:lnTo>
                <a:lnTo>
                  <a:pt x="1357" y="528"/>
                </a:lnTo>
                <a:lnTo>
                  <a:pt x="1352" y="528"/>
                </a:lnTo>
                <a:lnTo>
                  <a:pt x="1347" y="528"/>
                </a:lnTo>
                <a:lnTo>
                  <a:pt x="1345" y="529"/>
                </a:lnTo>
                <a:lnTo>
                  <a:pt x="1342" y="530"/>
                </a:lnTo>
                <a:lnTo>
                  <a:pt x="1341" y="532"/>
                </a:lnTo>
                <a:lnTo>
                  <a:pt x="1340" y="534"/>
                </a:lnTo>
                <a:lnTo>
                  <a:pt x="1323" y="534"/>
                </a:lnTo>
                <a:lnTo>
                  <a:pt x="1323" y="535"/>
                </a:lnTo>
                <a:lnTo>
                  <a:pt x="1321" y="536"/>
                </a:lnTo>
                <a:lnTo>
                  <a:pt x="1318" y="537"/>
                </a:lnTo>
                <a:lnTo>
                  <a:pt x="1315" y="538"/>
                </a:lnTo>
                <a:lnTo>
                  <a:pt x="1308" y="538"/>
                </a:lnTo>
                <a:lnTo>
                  <a:pt x="1301" y="539"/>
                </a:lnTo>
                <a:lnTo>
                  <a:pt x="1293" y="542"/>
                </a:lnTo>
                <a:lnTo>
                  <a:pt x="1272" y="545"/>
                </a:lnTo>
                <a:lnTo>
                  <a:pt x="1241" y="548"/>
                </a:lnTo>
                <a:lnTo>
                  <a:pt x="1205" y="552"/>
                </a:lnTo>
                <a:lnTo>
                  <a:pt x="1168" y="555"/>
                </a:lnTo>
                <a:lnTo>
                  <a:pt x="1136" y="558"/>
                </a:lnTo>
                <a:lnTo>
                  <a:pt x="1110" y="561"/>
                </a:lnTo>
                <a:lnTo>
                  <a:pt x="1097" y="561"/>
                </a:lnTo>
                <a:lnTo>
                  <a:pt x="1091" y="563"/>
                </a:lnTo>
                <a:lnTo>
                  <a:pt x="1077" y="565"/>
                </a:lnTo>
                <a:lnTo>
                  <a:pt x="1057" y="567"/>
                </a:lnTo>
                <a:lnTo>
                  <a:pt x="1033" y="568"/>
                </a:lnTo>
                <a:lnTo>
                  <a:pt x="984" y="571"/>
                </a:lnTo>
                <a:lnTo>
                  <a:pt x="953" y="572"/>
                </a:lnTo>
                <a:lnTo>
                  <a:pt x="950" y="577"/>
                </a:lnTo>
                <a:lnTo>
                  <a:pt x="947" y="583"/>
                </a:lnTo>
                <a:lnTo>
                  <a:pt x="936" y="583"/>
                </a:lnTo>
                <a:lnTo>
                  <a:pt x="934" y="587"/>
                </a:lnTo>
                <a:lnTo>
                  <a:pt x="927" y="597"/>
                </a:lnTo>
                <a:lnTo>
                  <a:pt x="924" y="602"/>
                </a:lnTo>
                <a:lnTo>
                  <a:pt x="919" y="606"/>
                </a:lnTo>
                <a:lnTo>
                  <a:pt x="916" y="610"/>
                </a:lnTo>
                <a:lnTo>
                  <a:pt x="914" y="611"/>
                </a:lnTo>
                <a:lnTo>
                  <a:pt x="919" y="721"/>
                </a:lnTo>
                <a:lnTo>
                  <a:pt x="922" y="722"/>
                </a:lnTo>
                <a:lnTo>
                  <a:pt x="923" y="725"/>
                </a:lnTo>
                <a:lnTo>
                  <a:pt x="924" y="729"/>
                </a:lnTo>
                <a:lnTo>
                  <a:pt x="924" y="734"/>
                </a:lnTo>
                <a:lnTo>
                  <a:pt x="925" y="743"/>
                </a:lnTo>
                <a:lnTo>
                  <a:pt x="925" y="749"/>
                </a:lnTo>
                <a:lnTo>
                  <a:pt x="928" y="750"/>
                </a:lnTo>
                <a:lnTo>
                  <a:pt x="931" y="753"/>
                </a:lnTo>
                <a:lnTo>
                  <a:pt x="933" y="756"/>
                </a:lnTo>
                <a:lnTo>
                  <a:pt x="935" y="760"/>
                </a:lnTo>
                <a:lnTo>
                  <a:pt x="937" y="772"/>
                </a:lnTo>
                <a:lnTo>
                  <a:pt x="939" y="785"/>
                </a:lnTo>
                <a:lnTo>
                  <a:pt x="942" y="813"/>
                </a:lnTo>
                <a:lnTo>
                  <a:pt x="942" y="833"/>
                </a:lnTo>
                <a:lnTo>
                  <a:pt x="944" y="833"/>
                </a:lnTo>
                <a:lnTo>
                  <a:pt x="946" y="834"/>
                </a:lnTo>
                <a:lnTo>
                  <a:pt x="947" y="836"/>
                </a:lnTo>
                <a:lnTo>
                  <a:pt x="950" y="839"/>
                </a:lnTo>
                <a:lnTo>
                  <a:pt x="952" y="844"/>
                </a:lnTo>
                <a:lnTo>
                  <a:pt x="953" y="849"/>
                </a:lnTo>
                <a:lnTo>
                  <a:pt x="967" y="852"/>
                </a:lnTo>
                <a:lnTo>
                  <a:pt x="986" y="854"/>
                </a:lnTo>
                <a:lnTo>
                  <a:pt x="998" y="860"/>
                </a:lnTo>
                <a:lnTo>
                  <a:pt x="1013" y="865"/>
                </a:lnTo>
                <a:lnTo>
                  <a:pt x="1013" y="876"/>
                </a:lnTo>
                <a:lnTo>
                  <a:pt x="1015" y="878"/>
                </a:lnTo>
                <a:lnTo>
                  <a:pt x="1018" y="880"/>
                </a:lnTo>
                <a:lnTo>
                  <a:pt x="1020" y="882"/>
                </a:lnTo>
                <a:lnTo>
                  <a:pt x="1021" y="885"/>
                </a:lnTo>
                <a:lnTo>
                  <a:pt x="1023" y="893"/>
                </a:lnTo>
                <a:lnTo>
                  <a:pt x="1024" y="899"/>
                </a:lnTo>
                <a:lnTo>
                  <a:pt x="1035" y="904"/>
                </a:lnTo>
                <a:lnTo>
                  <a:pt x="1035" y="916"/>
                </a:lnTo>
                <a:lnTo>
                  <a:pt x="1039" y="922"/>
                </a:lnTo>
                <a:lnTo>
                  <a:pt x="1044" y="938"/>
                </a:lnTo>
                <a:lnTo>
                  <a:pt x="1050" y="961"/>
                </a:lnTo>
                <a:lnTo>
                  <a:pt x="1057" y="987"/>
                </a:lnTo>
                <a:lnTo>
                  <a:pt x="1069" y="1037"/>
                </a:lnTo>
                <a:lnTo>
                  <a:pt x="1075" y="1059"/>
                </a:lnTo>
                <a:lnTo>
                  <a:pt x="1077" y="1062"/>
                </a:lnTo>
                <a:lnTo>
                  <a:pt x="1081" y="1067"/>
                </a:lnTo>
                <a:lnTo>
                  <a:pt x="1086" y="1074"/>
                </a:lnTo>
                <a:lnTo>
                  <a:pt x="1091" y="1076"/>
                </a:lnTo>
                <a:lnTo>
                  <a:pt x="1091" y="1093"/>
                </a:lnTo>
                <a:lnTo>
                  <a:pt x="1092" y="1093"/>
                </a:lnTo>
                <a:lnTo>
                  <a:pt x="1095" y="1094"/>
                </a:lnTo>
                <a:lnTo>
                  <a:pt x="1096" y="1096"/>
                </a:lnTo>
                <a:lnTo>
                  <a:pt x="1096" y="1099"/>
                </a:lnTo>
                <a:lnTo>
                  <a:pt x="1097" y="1104"/>
                </a:lnTo>
                <a:lnTo>
                  <a:pt x="1097" y="1110"/>
                </a:lnTo>
                <a:lnTo>
                  <a:pt x="1102" y="1115"/>
                </a:lnTo>
                <a:lnTo>
                  <a:pt x="1108" y="1118"/>
                </a:lnTo>
                <a:lnTo>
                  <a:pt x="1114" y="1121"/>
                </a:lnTo>
                <a:lnTo>
                  <a:pt x="1114" y="1132"/>
                </a:lnTo>
                <a:lnTo>
                  <a:pt x="1117" y="1132"/>
                </a:lnTo>
                <a:lnTo>
                  <a:pt x="1120" y="1135"/>
                </a:lnTo>
                <a:lnTo>
                  <a:pt x="1124" y="1139"/>
                </a:lnTo>
                <a:lnTo>
                  <a:pt x="1126" y="1143"/>
                </a:lnTo>
                <a:lnTo>
                  <a:pt x="1129" y="1152"/>
                </a:lnTo>
                <a:lnTo>
                  <a:pt x="1130" y="1159"/>
                </a:lnTo>
                <a:lnTo>
                  <a:pt x="1131" y="1160"/>
                </a:lnTo>
                <a:lnTo>
                  <a:pt x="1134" y="1161"/>
                </a:lnTo>
                <a:lnTo>
                  <a:pt x="1136" y="1164"/>
                </a:lnTo>
                <a:lnTo>
                  <a:pt x="1137" y="1168"/>
                </a:lnTo>
                <a:lnTo>
                  <a:pt x="1140" y="1177"/>
                </a:lnTo>
                <a:lnTo>
                  <a:pt x="1143" y="1188"/>
                </a:lnTo>
                <a:lnTo>
                  <a:pt x="1148" y="1208"/>
                </a:lnTo>
                <a:lnTo>
                  <a:pt x="1152" y="1220"/>
                </a:lnTo>
                <a:lnTo>
                  <a:pt x="1152" y="1237"/>
                </a:lnTo>
                <a:lnTo>
                  <a:pt x="1164" y="1236"/>
                </a:lnTo>
                <a:lnTo>
                  <a:pt x="1185" y="1235"/>
                </a:lnTo>
                <a:lnTo>
                  <a:pt x="1166" y="1247"/>
                </a:lnTo>
                <a:lnTo>
                  <a:pt x="1148" y="1257"/>
                </a:lnTo>
                <a:lnTo>
                  <a:pt x="1138" y="1263"/>
                </a:lnTo>
                <a:lnTo>
                  <a:pt x="1128" y="1267"/>
                </a:lnTo>
                <a:lnTo>
                  <a:pt x="1118" y="1272"/>
                </a:lnTo>
                <a:lnTo>
                  <a:pt x="1107" y="1276"/>
                </a:lnTo>
                <a:lnTo>
                  <a:pt x="1095" y="1279"/>
                </a:lnTo>
                <a:lnTo>
                  <a:pt x="1081" y="1283"/>
                </a:lnTo>
                <a:lnTo>
                  <a:pt x="1066" y="1285"/>
                </a:lnTo>
                <a:lnTo>
                  <a:pt x="1049" y="1287"/>
                </a:lnTo>
                <a:lnTo>
                  <a:pt x="1031" y="1289"/>
                </a:lnTo>
                <a:lnTo>
                  <a:pt x="1011" y="1291"/>
                </a:lnTo>
                <a:lnTo>
                  <a:pt x="989" y="1292"/>
                </a:lnTo>
                <a:lnTo>
                  <a:pt x="963" y="1292"/>
                </a:lnTo>
                <a:lnTo>
                  <a:pt x="943" y="1292"/>
                </a:lnTo>
                <a:lnTo>
                  <a:pt x="926" y="1294"/>
                </a:lnTo>
                <a:lnTo>
                  <a:pt x="913" y="1296"/>
                </a:lnTo>
                <a:lnTo>
                  <a:pt x="901" y="1299"/>
                </a:lnTo>
                <a:lnTo>
                  <a:pt x="894" y="1304"/>
                </a:lnTo>
                <a:lnTo>
                  <a:pt x="887" y="1308"/>
                </a:lnTo>
                <a:lnTo>
                  <a:pt x="881" y="1314"/>
                </a:lnTo>
                <a:lnTo>
                  <a:pt x="877" y="1318"/>
                </a:lnTo>
                <a:lnTo>
                  <a:pt x="869" y="1331"/>
                </a:lnTo>
                <a:lnTo>
                  <a:pt x="861" y="1342"/>
                </a:lnTo>
                <a:lnTo>
                  <a:pt x="856" y="1346"/>
                </a:lnTo>
                <a:lnTo>
                  <a:pt x="849" y="1351"/>
                </a:lnTo>
                <a:lnTo>
                  <a:pt x="840" y="1355"/>
                </a:lnTo>
                <a:lnTo>
                  <a:pt x="828" y="1359"/>
                </a:lnTo>
                <a:lnTo>
                  <a:pt x="811" y="1364"/>
                </a:lnTo>
                <a:lnTo>
                  <a:pt x="794" y="1368"/>
                </a:lnTo>
                <a:lnTo>
                  <a:pt x="779" y="1371"/>
                </a:lnTo>
                <a:lnTo>
                  <a:pt x="763" y="1372"/>
                </a:lnTo>
                <a:lnTo>
                  <a:pt x="747" y="1373"/>
                </a:lnTo>
                <a:lnTo>
                  <a:pt x="732" y="1373"/>
                </a:lnTo>
                <a:lnTo>
                  <a:pt x="717" y="1372"/>
                </a:lnTo>
                <a:lnTo>
                  <a:pt x="704" y="1371"/>
                </a:lnTo>
                <a:lnTo>
                  <a:pt x="691" y="1369"/>
                </a:lnTo>
                <a:lnTo>
                  <a:pt x="677" y="1365"/>
                </a:lnTo>
                <a:lnTo>
                  <a:pt x="664" y="1362"/>
                </a:lnTo>
                <a:lnTo>
                  <a:pt x="650" y="1359"/>
                </a:lnTo>
                <a:lnTo>
                  <a:pt x="626" y="1350"/>
                </a:lnTo>
                <a:lnTo>
                  <a:pt x="602" y="1339"/>
                </a:lnTo>
                <a:lnTo>
                  <a:pt x="559" y="1317"/>
                </a:lnTo>
                <a:lnTo>
                  <a:pt x="517" y="1296"/>
                </a:lnTo>
                <a:lnTo>
                  <a:pt x="499" y="1287"/>
                </a:lnTo>
                <a:lnTo>
                  <a:pt x="478" y="1280"/>
                </a:lnTo>
                <a:lnTo>
                  <a:pt x="469" y="1278"/>
                </a:lnTo>
                <a:lnTo>
                  <a:pt x="459" y="1276"/>
                </a:lnTo>
                <a:lnTo>
                  <a:pt x="451" y="1275"/>
                </a:lnTo>
                <a:lnTo>
                  <a:pt x="440" y="1275"/>
                </a:lnTo>
                <a:lnTo>
                  <a:pt x="433" y="1274"/>
                </a:lnTo>
                <a:lnTo>
                  <a:pt x="424" y="1272"/>
                </a:lnTo>
                <a:lnTo>
                  <a:pt x="417" y="1267"/>
                </a:lnTo>
                <a:lnTo>
                  <a:pt x="409" y="1261"/>
                </a:lnTo>
                <a:lnTo>
                  <a:pt x="403" y="1255"/>
                </a:lnTo>
                <a:lnTo>
                  <a:pt x="397" y="1246"/>
                </a:lnTo>
                <a:lnTo>
                  <a:pt x="391" y="1237"/>
                </a:lnTo>
                <a:lnTo>
                  <a:pt x="387" y="1226"/>
                </a:lnTo>
                <a:lnTo>
                  <a:pt x="382" y="1215"/>
                </a:lnTo>
                <a:lnTo>
                  <a:pt x="379" y="1202"/>
                </a:lnTo>
                <a:lnTo>
                  <a:pt x="376" y="1190"/>
                </a:lnTo>
                <a:lnTo>
                  <a:pt x="373" y="1176"/>
                </a:lnTo>
                <a:lnTo>
                  <a:pt x="371" y="1162"/>
                </a:lnTo>
                <a:lnTo>
                  <a:pt x="370" y="1148"/>
                </a:lnTo>
                <a:lnTo>
                  <a:pt x="370" y="1133"/>
                </a:lnTo>
                <a:lnTo>
                  <a:pt x="370" y="1119"/>
                </a:lnTo>
                <a:lnTo>
                  <a:pt x="371" y="1104"/>
                </a:lnTo>
                <a:lnTo>
                  <a:pt x="372" y="1090"/>
                </a:lnTo>
                <a:lnTo>
                  <a:pt x="375" y="1075"/>
                </a:lnTo>
                <a:lnTo>
                  <a:pt x="378" y="1062"/>
                </a:lnTo>
                <a:lnTo>
                  <a:pt x="382" y="1048"/>
                </a:lnTo>
                <a:lnTo>
                  <a:pt x="387" y="1035"/>
                </a:lnTo>
                <a:lnTo>
                  <a:pt x="392" y="1023"/>
                </a:lnTo>
                <a:lnTo>
                  <a:pt x="399" y="1012"/>
                </a:lnTo>
                <a:lnTo>
                  <a:pt x="407" y="1001"/>
                </a:lnTo>
                <a:lnTo>
                  <a:pt x="415" y="991"/>
                </a:lnTo>
                <a:lnTo>
                  <a:pt x="424" y="984"/>
                </a:lnTo>
                <a:lnTo>
                  <a:pt x="434" y="976"/>
                </a:lnTo>
                <a:lnTo>
                  <a:pt x="445" y="970"/>
                </a:lnTo>
                <a:lnTo>
                  <a:pt x="456" y="967"/>
                </a:lnTo>
                <a:lnTo>
                  <a:pt x="469" y="964"/>
                </a:lnTo>
                <a:lnTo>
                  <a:pt x="483" y="962"/>
                </a:lnTo>
                <a:lnTo>
                  <a:pt x="497" y="962"/>
                </a:lnTo>
                <a:lnTo>
                  <a:pt x="510" y="961"/>
                </a:lnTo>
                <a:lnTo>
                  <a:pt x="519" y="960"/>
                </a:lnTo>
                <a:lnTo>
                  <a:pt x="526" y="959"/>
                </a:lnTo>
                <a:lnTo>
                  <a:pt x="532" y="957"/>
                </a:lnTo>
                <a:lnTo>
                  <a:pt x="535" y="953"/>
                </a:lnTo>
                <a:lnTo>
                  <a:pt x="536" y="950"/>
                </a:lnTo>
                <a:lnTo>
                  <a:pt x="536" y="947"/>
                </a:lnTo>
                <a:lnTo>
                  <a:pt x="535" y="943"/>
                </a:lnTo>
                <a:lnTo>
                  <a:pt x="533" y="940"/>
                </a:lnTo>
                <a:lnTo>
                  <a:pt x="529" y="936"/>
                </a:lnTo>
                <a:lnTo>
                  <a:pt x="524" y="931"/>
                </a:lnTo>
                <a:lnTo>
                  <a:pt x="512" y="922"/>
                </a:lnTo>
                <a:lnTo>
                  <a:pt x="499" y="913"/>
                </a:lnTo>
                <a:lnTo>
                  <a:pt x="490" y="907"/>
                </a:lnTo>
                <a:lnTo>
                  <a:pt x="481" y="898"/>
                </a:lnTo>
                <a:lnTo>
                  <a:pt x="473" y="888"/>
                </a:lnTo>
                <a:lnTo>
                  <a:pt x="465" y="876"/>
                </a:lnTo>
                <a:lnTo>
                  <a:pt x="456" y="868"/>
                </a:lnTo>
                <a:lnTo>
                  <a:pt x="448" y="860"/>
                </a:lnTo>
                <a:lnTo>
                  <a:pt x="445" y="856"/>
                </a:lnTo>
                <a:lnTo>
                  <a:pt x="440" y="854"/>
                </a:lnTo>
                <a:lnTo>
                  <a:pt x="436" y="852"/>
                </a:lnTo>
                <a:lnTo>
                  <a:pt x="433" y="852"/>
                </a:lnTo>
                <a:lnTo>
                  <a:pt x="416" y="851"/>
                </a:lnTo>
                <a:lnTo>
                  <a:pt x="400" y="850"/>
                </a:lnTo>
                <a:lnTo>
                  <a:pt x="386" y="846"/>
                </a:lnTo>
                <a:lnTo>
                  <a:pt x="372" y="842"/>
                </a:lnTo>
                <a:lnTo>
                  <a:pt x="359" y="837"/>
                </a:lnTo>
                <a:lnTo>
                  <a:pt x="348" y="831"/>
                </a:lnTo>
                <a:lnTo>
                  <a:pt x="337" y="823"/>
                </a:lnTo>
                <a:lnTo>
                  <a:pt x="327" y="813"/>
                </a:lnTo>
                <a:lnTo>
                  <a:pt x="302" y="787"/>
                </a:lnTo>
                <a:lnTo>
                  <a:pt x="280" y="763"/>
                </a:lnTo>
                <a:lnTo>
                  <a:pt x="259" y="740"/>
                </a:lnTo>
                <a:lnTo>
                  <a:pt x="237" y="718"/>
                </a:lnTo>
                <a:lnTo>
                  <a:pt x="204" y="684"/>
                </a:lnTo>
                <a:lnTo>
                  <a:pt x="163" y="642"/>
                </a:lnTo>
                <a:lnTo>
                  <a:pt x="120" y="600"/>
                </a:lnTo>
                <a:lnTo>
                  <a:pt x="87" y="567"/>
                </a:lnTo>
                <a:lnTo>
                  <a:pt x="78" y="557"/>
                </a:lnTo>
                <a:lnTo>
                  <a:pt x="69" y="548"/>
                </a:lnTo>
                <a:lnTo>
                  <a:pt x="62" y="539"/>
                </a:lnTo>
                <a:lnTo>
                  <a:pt x="58" y="533"/>
                </a:lnTo>
                <a:lnTo>
                  <a:pt x="53" y="525"/>
                </a:lnTo>
                <a:lnTo>
                  <a:pt x="50" y="519"/>
                </a:lnTo>
                <a:lnTo>
                  <a:pt x="49" y="514"/>
                </a:lnTo>
                <a:lnTo>
                  <a:pt x="48" y="508"/>
                </a:lnTo>
                <a:lnTo>
                  <a:pt x="48" y="504"/>
                </a:lnTo>
                <a:lnTo>
                  <a:pt x="48" y="498"/>
                </a:lnTo>
                <a:lnTo>
                  <a:pt x="49" y="495"/>
                </a:lnTo>
                <a:lnTo>
                  <a:pt x="51" y="490"/>
                </a:lnTo>
                <a:lnTo>
                  <a:pt x="56" y="482"/>
                </a:lnTo>
                <a:lnTo>
                  <a:pt x="62" y="475"/>
                </a:lnTo>
                <a:lnTo>
                  <a:pt x="69" y="468"/>
                </a:lnTo>
                <a:lnTo>
                  <a:pt x="75" y="459"/>
                </a:lnTo>
                <a:lnTo>
                  <a:pt x="79" y="455"/>
                </a:lnTo>
                <a:lnTo>
                  <a:pt x="81" y="449"/>
                </a:lnTo>
                <a:lnTo>
                  <a:pt x="83" y="443"/>
                </a:lnTo>
                <a:lnTo>
                  <a:pt x="85" y="438"/>
                </a:lnTo>
                <a:lnTo>
                  <a:pt x="87" y="431"/>
                </a:lnTo>
                <a:lnTo>
                  <a:pt x="87" y="424"/>
                </a:lnTo>
                <a:lnTo>
                  <a:pt x="87" y="417"/>
                </a:lnTo>
                <a:lnTo>
                  <a:pt x="85" y="408"/>
                </a:lnTo>
                <a:lnTo>
                  <a:pt x="83" y="398"/>
                </a:lnTo>
                <a:lnTo>
                  <a:pt x="80" y="388"/>
                </a:lnTo>
                <a:lnTo>
                  <a:pt x="75" y="376"/>
                </a:lnTo>
                <a:lnTo>
                  <a:pt x="70" y="364"/>
                </a:lnTo>
                <a:lnTo>
                  <a:pt x="66" y="357"/>
                </a:lnTo>
                <a:lnTo>
                  <a:pt x="65" y="351"/>
                </a:lnTo>
                <a:lnTo>
                  <a:pt x="63" y="345"/>
                </a:lnTo>
                <a:lnTo>
                  <a:pt x="63" y="339"/>
                </a:lnTo>
                <a:lnTo>
                  <a:pt x="64" y="327"/>
                </a:lnTo>
                <a:lnTo>
                  <a:pt x="66" y="317"/>
                </a:lnTo>
                <a:lnTo>
                  <a:pt x="74" y="301"/>
                </a:lnTo>
                <a:lnTo>
                  <a:pt x="78" y="287"/>
                </a:lnTo>
                <a:lnTo>
                  <a:pt x="78" y="276"/>
                </a:lnTo>
                <a:lnTo>
                  <a:pt x="77" y="268"/>
                </a:lnTo>
                <a:lnTo>
                  <a:pt x="73" y="260"/>
                </a:lnTo>
                <a:lnTo>
                  <a:pt x="68" y="254"/>
                </a:lnTo>
                <a:lnTo>
                  <a:pt x="50" y="235"/>
                </a:lnTo>
                <a:lnTo>
                  <a:pt x="20" y="205"/>
                </a:lnTo>
                <a:lnTo>
                  <a:pt x="16" y="200"/>
                </a:lnTo>
                <a:lnTo>
                  <a:pt x="14" y="195"/>
                </a:lnTo>
                <a:lnTo>
                  <a:pt x="12" y="189"/>
                </a:lnTo>
                <a:lnTo>
                  <a:pt x="11" y="182"/>
                </a:lnTo>
                <a:lnTo>
                  <a:pt x="10" y="174"/>
                </a:lnTo>
                <a:lnTo>
                  <a:pt x="7" y="168"/>
                </a:lnTo>
                <a:lnTo>
                  <a:pt x="4" y="161"/>
                </a:lnTo>
                <a:lnTo>
                  <a:pt x="0" y="1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73" name="Freeform 34">
            <a:extLst>
              <a:ext uri="{FF2B5EF4-FFF2-40B4-BE49-F238E27FC236}">
                <a16:creationId xmlns:a16="http://schemas.microsoft.com/office/drawing/2014/main" id="{E2B92B65-BF93-4B64-A392-59AB2EDA4757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165975" y="3452813"/>
            <a:ext cx="337103" cy="201613"/>
          </a:xfrm>
          <a:custGeom>
            <a:avLst/>
            <a:gdLst/>
            <a:ahLst/>
            <a:cxnLst>
              <a:cxn ang="0">
                <a:pos x="124" y="322"/>
              </a:cxn>
              <a:cxn ang="0">
                <a:pos x="183" y="354"/>
              </a:cxn>
              <a:cxn ang="0">
                <a:pos x="294" y="407"/>
              </a:cxn>
              <a:cxn ang="0">
                <a:pos x="355" y="380"/>
              </a:cxn>
              <a:cxn ang="0">
                <a:pos x="393" y="331"/>
              </a:cxn>
              <a:cxn ang="0">
                <a:pos x="502" y="312"/>
              </a:cxn>
              <a:cxn ang="0">
                <a:pos x="520" y="274"/>
              </a:cxn>
              <a:cxn ang="0">
                <a:pos x="635" y="235"/>
              </a:cxn>
              <a:cxn ang="0">
                <a:pos x="757" y="198"/>
              </a:cxn>
              <a:cxn ang="0">
                <a:pos x="874" y="93"/>
              </a:cxn>
              <a:cxn ang="0">
                <a:pos x="993" y="75"/>
              </a:cxn>
              <a:cxn ang="0">
                <a:pos x="1151" y="28"/>
              </a:cxn>
              <a:cxn ang="0">
                <a:pos x="1508" y="0"/>
              </a:cxn>
              <a:cxn ang="0">
                <a:pos x="1585" y="34"/>
              </a:cxn>
              <a:cxn ang="0">
                <a:pos x="1628" y="141"/>
              </a:cxn>
              <a:cxn ang="0">
                <a:pos x="1738" y="175"/>
              </a:cxn>
              <a:cxn ang="0">
                <a:pos x="1847" y="233"/>
              </a:cxn>
              <a:cxn ang="0">
                <a:pos x="1778" y="283"/>
              </a:cxn>
              <a:cxn ang="0">
                <a:pos x="1741" y="444"/>
              </a:cxn>
              <a:cxn ang="0">
                <a:pos x="1701" y="720"/>
              </a:cxn>
              <a:cxn ang="0">
                <a:pos x="1662" y="726"/>
              </a:cxn>
              <a:cxn ang="0">
                <a:pos x="1634" y="760"/>
              </a:cxn>
              <a:cxn ang="0">
                <a:pos x="1615" y="825"/>
              </a:cxn>
              <a:cxn ang="0">
                <a:pos x="1586" y="864"/>
              </a:cxn>
              <a:cxn ang="0">
                <a:pos x="1548" y="918"/>
              </a:cxn>
              <a:cxn ang="0">
                <a:pos x="1518" y="1126"/>
              </a:cxn>
              <a:cxn ang="0">
                <a:pos x="1576" y="1178"/>
              </a:cxn>
              <a:cxn ang="0">
                <a:pos x="1582" y="1210"/>
              </a:cxn>
              <a:cxn ang="0">
                <a:pos x="1498" y="1242"/>
              </a:cxn>
              <a:cxn ang="0">
                <a:pos x="1380" y="1176"/>
              </a:cxn>
              <a:cxn ang="0">
                <a:pos x="1352" y="1157"/>
              </a:cxn>
              <a:cxn ang="0">
                <a:pos x="1331" y="1137"/>
              </a:cxn>
              <a:cxn ang="0">
                <a:pos x="1262" y="1098"/>
              </a:cxn>
              <a:cxn ang="0">
                <a:pos x="1202" y="1052"/>
              </a:cxn>
              <a:cxn ang="0">
                <a:pos x="1144" y="989"/>
              </a:cxn>
              <a:cxn ang="0">
                <a:pos x="1129" y="976"/>
              </a:cxn>
              <a:cxn ang="0">
                <a:pos x="1097" y="927"/>
              </a:cxn>
              <a:cxn ang="0">
                <a:pos x="1058" y="905"/>
              </a:cxn>
              <a:cxn ang="0">
                <a:pos x="932" y="860"/>
              </a:cxn>
              <a:cxn ang="0">
                <a:pos x="905" y="843"/>
              </a:cxn>
              <a:cxn ang="0">
                <a:pos x="866" y="831"/>
              </a:cxn>
              <a:cxn ang="0">
                <a:pos x="827" y="818"/>
              </a:cxn>
              <a:cxn ang="0">
                <a:pos x="788" y="787"/>
              </a:cxn>
              <a:cxn ang="0">
                <a:pos x="749" y="736"/>
              </a:cxn>
              <a:cxn ang="0">
                <a:pos x="690" y="752"/>
              </a:cxn>
              <a:cxn ang="0">
                <a:pos x="673" y="770"/>
              </a:cxn>
              <a:cxn ang="0">
                <a:pos x="603" y="769"/>
              </a:cxn>
              <a:cxn ang="0">
                <a:pos x="546" y="761"/>
              </a:cxn>
              <a:cxn ang="0">
                <a:pos x="487" y="774"/>
              </a:cxn>
              <a:cxn ang="0">
                <a:pos x="438" y="798"/>
              </a:cxn>
              <a:cxn ang="0">
                <a:pos x="343" y="814"/>
              </a:cxn>
              <a:cxn ang="0">
                <a:pos x="201" y="821"/>
              </a:cxn>
              <a:cxn ang="0">
                <a:pos x="170" y="837"/>
              </a:cxn>
              <a:cxn ang="0">
                <a:pos x="100" y="873"/>
              </a:cxn>
              <a:cxn ang="0">
                <a:pos x="84" y="711"/>
              </a:cxn>
              <a:cxn ang="0">
                <a:pos x="100" y="667"/>
              </a:cxn>
              <a:cxn ang="0">
                <a:pos x="93" y="589"/>
              </a:cxn>
              <a:cxn ang="0">
                <a:pos x="54" y="559"/>
              </a:cxn>
              <a:cxn ang="0">
                <a:pos x="23" y="525"/>
              </a:cxn>
              <a:cxn ang="0">
                <a:pos x="7" y="492"/>
              </a:cxn>
            </a:cxnLst>
            <a:rect l="0" t="0" r="r" b="b"/>
            <a:pathLst>
              <a:path w="1854" h="1242">
                <a:moveTo>
                  <a:pt x="0" y="457"/>
                </a:moveTo>
                <a:lnTo>
                  <a:pt x="21" y="435"/>
                </a:lnTo>
                <a:lnTo>
                  <a:pt x="41" y="412"/>
                </a:lnTo>
                <a:lnTo>
                  <a:pt x="59" y="388"/>
                </a:lnTo>
                <a:lnTo>
                  <a:pt x="77" y="367"/>
                </a:lnTo>
                <a:lnTo>
                  <a:pt x="94" y="348"/>
                </a:lnTo>
                <a:lnTo>
                  <a:pt x="109" y="332"/>
                </a:lnTo>
                <a:lnTo>
                  <a:pt x="117" y="327"/>
                </a:lnTo>
                <a:lnTo>
                  <a:pt x="124" y="322"/>
                </a:lnTo>
                <a:lnTo>
                  <a:pt x="132" y="320"/>
                </a:lnTo>
                <a:lnTo>
                  <a:pt x="138" y="319"/>
                </a:lnTo>
                <a:lnTo>
                  <a:pt x="151" y="320"/>
                </a:lnTo>
                <a:lnTo>
                  <a:pt x="160" y="322"/>
                </a:lnTo>
                <a:lnTo>
                  <a:pt x="167" y="327"/>
                </a:lnTo>
                <a:lnTo>
                  <a:pt x="173" y="332"/>
                </a:lnTo>
                <a:lnTo>
                  <a:pt x="177" y="339"/>
                </a:lnTo>
                <a:lnTo>
                  <a:pt x="181" y="346"/>
                </a:lnTo>
                <a:lnTo>
                  <a:pt x="183" y="354"/>
                </a:lnTo>
                <a:lnTo>
                  <a:pt x="184" y="361"/>
                </a:lnTo>
                <a:lnTo>
                  <a:pt x="185" y="377"/>
                </a:lnTo>
                <a:lnTo>
                  <a:pt x="187" y="390"/>
                </a:lnTo>
                <a:lnTo>
                  <a:pt x="189" y="396"/>
                </a:lnTo>
                <a:lnTo>
                  <a:pt x="192" y="400"/>
                </a:lnTo>
                <a:lnTo>
                  <a:pt x="195" y="403"/>
                </a:lnTo>
                <a:lnTo>
                  <a:pt x="201" y="404"/>
                </a:lnTo>
                <a:lnTo>
                  <a:pt x="262" y="404"/>
                </a:lnTo>
                <a:lnTo>
                  <a:pt x="294" y="407"/>
                </a:lnTo>
                <a:lnTo>
                  <a:pt x="323" y="409"/>
                </a:lnTo>
                <a:lnTo>
                  <a:pt x="329" y="409"/>
                </a:lnTo>
                <a:lnTo>
                  <a:pt x="336" y="408"/>
                </a:lnTo>
                <a:lnTo>
                  <a:pt x="342" y="407"/>
                </a:lnTo>
                <a:lnTo>
                  <a:pt x="346" y="404"/>
                </a:lnTo>
                <a:lnTo>
                  <a:pt x="349" y="400"/>
                </a:lnTo>
                <a:lnTo>
                  <a:pt x="353" y="395"/>
                </a:lnTo>
                <a:lnTo>
                  <a:pt x="354" y="389"/>
                </a:lnTo>
                <a:lnTo>
                  <a:pt x="355" y="380"/>
                </a:lnTo>
                <a:lnTo>
                  <a:pt x="355" y="373"/>
                </a:lnTo>
                <a:lnTo>
                  <a:pt x="357" y="365"/>
                </a:lnTo>
                <a:lnTo>
                  <a:pt x="359" y="359"/>
                </a:lnTo>
                <a:lnTo>
                  <a:pt x="362" y="352"/>
                </a:lnTo>
                <a:lnTo>
                  <a:pt x="366" y="348"/>
                </a:lnTo>
                <a:lnTo>
                  <a:pt x="369" y="343"/>
                </a:lnTo>
                <a:lnTo>
                  <a:pt x="375" y="339"/>
                </a:lnTo>
                <a:lnTo>
                  <a:pt x="381" y="336"/>
                </a:lnTo>
                <a:lnTo>
                  <a:pt x="393" y="331"/>
                </a:lnTo>
                <a:lnTo>
                  <a:pt x="406" y="327"/>
                </a:lnTo>
                <a:lnTo>
                  <a:pt x="421" y="325"/>
                </a:lnTo>
                <a:lnTo>
                  <a:pt x="436" y="323"/>
                </a:lnTo>
                <a:lnTo>
                  <a:pt x="451" y="321"/>
                </a:lnTo>
                <a:lnTo>
                  <a:pt x="465" y="320"/>
                </a:lnTo>
                <a:lnTo>
                  <a:pt x="480" y="318"/>
                </a:lnTo>
                <a:lnTo>
                  <a:pt x="492" y="316"/>
                </a:lnTo>
                <a:lnTo>
                  <a:pt x="498" y="313"/>
                </a:lnTo>
                <a:lnTo>
                  <a:pt x="502" y="312"/>
                </a:lnTo>
                <a:lnTo>
                  <a:pt x="507" y="309"/>
                </a:lnTo>
                <a:lnTo>
                  <a:pt x="510" y="306"/>
                </a:lnTo>
                <a:lnTo>
                  <a:pt x="513" y="302"/>
                </a:lnTo>
                <a:lnTo>
                  <a:pt x="516" y="299"/>
                </a:lnTo>
                <a:lnTo>
                  <a:pt x="517" y="293"/>
                </a:lnTo>
                <a:lnTo>
                  <a:pt x="517" y="288"/>
                </a:lnTo>
                <a:lnTo>
                  <a:pt x="518" y="283"/>
                </a:lnTo>
                <a:lnTo>
                  <a:pt x="519" y="279"/>
                </a:lnTo>
                <a:lnTo>
                  <a:pt x="520" y="274"/>
                </a:lnTo>
                <a:lnTo>
                  <a:pt x="522" y="270"/>
                </a:lnTo>
                <a:lnTo>
                  <a:pt x="528" y="263"/>
                </a:lnTo>
                <a:lnTo>
                  <a:pt x="535" y="256"/>
                </a:lnTo>
                <a:lnTo>
                  <a:pt x="545" y="252"/>
                </a:lnTo>
                <a:lnTo>
                  <a:pt x="555" y="248"/>
                </a:lnTo>
                <a:lnTo>
                  <a:pt x="567" y="244"/>
                </a:lnTo>
                <a:lnTo>
                  <a:pt x="579" y="241"/>
                </a:lnTo>
                <a:lnTo>
                  <a:pt x="606" y="236"/>
                </a:lnTo>
                <a:lnTo>
                  <a:pt x="635" y="235"/>
                </a:lnTo>
                <a:lnTo>
                  <a:pt x="662" y="234"/>
                </a:lnTo>
                <a:lnTo>
                  <a:pt x="688" y="234"/>
                </a:lnTo>
                <a:lnTo>
                  <a:pt x="694" y="234"/>
                </a:lnTo>
                <a:lnTo>
                  <a:pt x="702" y="232"/>
                </a:lnTo>
                <a:lnTo>
                  <a:pt x="709" y="231"/>
                </a:lnTo>
                <a:lnTo>
                  <a:pt x="715" y="227"/>
                </a:lnTo>
                <a:lnTo>
                  <a:pt x="730" y="220"/>
                </a:lnTo>
                <a:lnTo>
                  <a:pt x="743" y="210"/>
                </a:lnTo>
                <a:lnTo>
                  <a:pt x="757" y="198"/>
                </a:lnTo>
                <a:lnTo>
                  <a:pt x="770" y="185"/>
                </a:lnTo>
                <a:lnTo>
                  <a:pt x="785" y="172"/>
                </a:lnTo>
                <a:lnTo>
                  <a:pt x="798" y="157"/>
                </a:lnTo>
                <a:lnTo>
                  <a:pt x="813" y="143"/>
                </a:lnTo>
                <a:lnTo>
                  <a:pt x="827" y="128"/>
                </a:lnTo>
                <a:lnTo>
                  <a:pt x="843" y="116"/>
                </a:lnTo>
                <a:lnTo>
                  <a:pt x="858" y="104"/>
                </a:lnTo>
                <a:lnTo>
                  <a:pt x="866" y="98"/>
                </a:lnTo>
                <a:lnTo>
                  <a:pt x="874" y="93"/>
                </a:lnTo>
                <a:lnTo>
                  <a:pt x="883" y="90"/>
                </a:lnTo>
                <a:lnTo>
                  <a:pt x="891" y="86"/>
                </a:lnTo>
                <a:lnTo>
                  <a:pt x="900" y="83"/>
                </a:lnTo>
                <a:lnTo>
                  <a:pt x="909" y="81"/>
                </a:lnTo>
                <a:lnTo>
                  <a:pt x="918" y="80"/>
                </a:lnTo>
                <a:lnTo>
                  <a:pt x="926" y="79"/>
                </a:lnTo>
                <a:lnTo>
                  <a:pt x="952" y="79"/>
                </a:lnTo>
                <a:lnTo>
                  <a:pt x="973" y="77"/>
                </a:lnTo>
                <a:lnTo>
                  <a:pt x="993" y="75"/>
                </a:lnTo>
                <a:lnTo>
                  <a:pt x="1010" y="71"/>
                </a:lnTo>
                <a:lnTo>
                  <a:pt x="1026" y="67"/>
                </a:lnTo>
                <a:lnTo>
                  <a:pt x="1040" y="62"/>
                </a:lnTo>
                <a:lnTo>
                  <a:pt x="1054" y="58"/>
                </a:lnTo>
                <a:lnTo>
                  <a:pt x="1067" y="52"/>
                </a:lnTo>
                <a:lnTo>
                  <a:pt x="1093" y="42"/>
                </a:lnTo>
                <a:lnTo>
                  <a:pt x="1120" y="34"/>
                </a:lnTo>
                <a:lnTo>
                  <a:pt x="1134" y="30"/>
                </a:lnTo>
                <a:lnTo>
                  <a:pt x="1151" y="28"/>
                </a:lnTo>
                <a:lnTo>
                  <a:pt x="1169" y="27"/>
                </a:lnTo>
                <a:lnTo>
                  <a:pt x="1190" y="25"/>
                </a:lnTo>
                <a:lnTo>
                  <a:pt x="1229" y="23"/>
                </a:lnTo>
                <a:lnTo>
                  <a:pt x="1284" y="19"/>
                </a:lnTo>
                <a:lnTo>
                  <a:pt x="1348" y="12"/>
                </a:lnTo>
                <a:lnTo>
                  <a:pt x="1415" y="6"/>
                </a:lnTo>
                <a:lnTo>
                  <a:pt x="1449" y="3"/>
                </a:lnTo>
                <a:lnTo>
                  <a:pt x="1480" y="1"/>
                </a:lnTo>
                <a:lnTo>
                  <a:pt x="1508" y="0"/>
                </a:lnTo>
                <a:lnTo>
                  <a:pt x="1534" y="0"/>
                </a:lnTo>
                <a:lnTo>
                  <a:pt x="1554" y="0"/>
                </a:lnTo>
                <a:lnTo>
                  <a:pt x="1571" y="2"/>
                </a:lnTo>
                <a:lnTo>
                  <a:pt x="1576" y="3"/>
                </a:lnTo>
                <a:lnTo>
                  <a:pt x="1581" y="5"/>
                </a:lnTo>
                <a:lnTo>
                  <a:pt x="1583" y="8"/>
                </a:lnTo>
                <a:lnTo>
                  <a:pt x="1584" y="10"/>
                </a:lnTo>
                <a:lnTo>
                  <a:pt x="1584" y="22"/>
                </a:lnTo>
                <a:lnTo>
                  <a:pt x="1585" y="34"/>
                </a:lnTo>
                <a:lnTo>
                  <a:pt x="1587" y="47"/>
                </a:lnTo>
                <a:lnTo>
                  <a:pt x="1590" y="60"/>
                </a:lnTo>
                <a:lnTo>
                  <a:pt x="1593" y="73"/>
                </a:lnTo>
                <a:lnTo>
                  <a:pt x="1597" y="86"/>
                </a:lnTo>
                <a:lnTo>
                  <a:pt x="1602" y="98"/>
                </a:lnTo>
                <a:lnTo>
                  <a:pt x="1607" y="110"/>
                </a:lnTo>
                <a:lnTo>
                  <a:pt x="1613" y="121"/>
                </a:lnTo>
                <a:lnTo>
                  <a:pt x="1621" y="131"/>
                </a:lnTo>
                <a:lnTo>
                  <a:pt x="1628" y="141"/>
                </a:lnTo>
                <a:lnTo>
                  <a:pt x="1636" y="149"/>
                </a:lnTo>
                <a:lnTo>
                  <a:pt x="1645" y="156"/>
                </a:lnTo>
                <a:lnTo>
                  <a:pt x="1655" y="160"/>
                </a:lnTo>
                <a:lnTo>
                  <a:pt x="1665" y="164"/>
                </a:lnTo>
                <a:lnTo>
                  <a:pt x="1677" y="165"/>
                </a:lnTo>
                <a:lnTo>
                  <a:pt x="1693" y="165"/>
                </a:lnTo>
                <a:lnTo>
                  <a:pt x="1709" y="167"/>
                </a:lnTo>
                <a:lnTo>
                  <a:pt x="1725" y="171"/>
                </a:lnTo>
                <a:lnTo>
                  <a:pt x="1738" y="175"/>
                </a:lnTo>
                <a:lnTo>
                  <a:pt x="1751" y="181"/>
                </a:lnTo>
                <a:lnTo>
                  <a:pt x="1764" y="186"/>
                </a:lnTo>
                <a:lnTo>
                  <a:pt x="1775" y="193"/>
                </a:lnTo>
                <a:lnTo>
                  <a:pt x="1786" y="200"/>
                </a:lnTo>
                <a:lnTo>
                  <a:pt x="1806" y="212"/>
                </a:lnTo>
                <a:lnTo>
                  <a:pt x="1824" y="223"/>
                </a:lnTo>
                <a:lnTo>
                  <a:pt x="1832" y="227"/>
                </a:lnTo>
                <a:lnTo>
                  <a:pt x="1840" y="231"/>
                </a:lnTo>
                <a:lnTo>
                  <a:pt x="1847" y="233"/>
                </a:lnTo>
                <a:lnTo>
                  <a:pt x="1854" y="234"/>
                </a:lnTo>
                <a:lnTo>
                  <a:pt x="1842" y="235"/>
                </a:lnTo>
                <a:lnTo>
                  <a:pt x="1831" y="237"/>
                </a:lnTo>
                <a:lnTo>
                  <a:pt x="1821" y="242"/>
                </a:lnTo>
                <a:lnTo>
                  <a:pt x="1811" y="248"/>
                </a:lnTo>
                <a:lnTo>
                  <a:pt x="1802" y="254"/>
                </a:lnTo>
                <a:lnTo>
                  <a:pt x="1793" y="263"/>
                </a:lnTo>
                <a:lnTo>
                  <a:pt x="1785" y="272"/>
                </a:lnTo>
                <a:lnTo>
                  <a:pt x="1778" y="283"/>
                </a:lnTo>
                <a:lnTo>
                  <a:pt x="1773" y="296"/>
                </a:lnTo>
                <a:lnTo>
                  <a:pt x="1767" y="309"/>
                </a:lnTo>
                <a:lnTo>
                  <a:pt x="1761" y="323"/>
                </a:lnTo>
                <a:lnTo>
                  <a:pt x="1757" y="338"/>
                </a:lnTo>
                <a:lnTo>
                  <a:pt x="1754" y="354"/>
                </a:lnTo>
                <a:lnTo>
                  <a:pt x="1750" y="370"/>
                </a:lnTo>
                <a:lnTo>
                  <a:pt x="1747" y="388"/>
                </a:lnTo>
                <a:lnTo>
                  <a:pt x="1745" y="406"/>
                </a:lnTo>
                <a:lnTo>
                  <a:pt x="1741" y="444"/>
                </a:lnTo>
                <a:lnTo>
                  <a:pt x="1739" y="483"/>
                </a:lnTo>
                <a:lnTo>
                  <a:pt x="1738" y="523"/>
                </a:lnTo>
                <a:lnTo>
                  <a:pt x="1738" y="563"/>
                </a:lnTo>
                <a:lnTo>
                  <a:pt x="1740" y="643"/>
                </a:lnTo>
                <a:lnTo>
                  <a:pt x="1744" y="715"/>
                </a:lnTo>
                <a:lnTo>
                  <a:pt x="1707" y="715"/>
                </a:lnTo>
                <a:lnTo>
                  <a:pt x="1706" y="717"/>
                </a:lnTo>
                <a:lnTo>
                  <a:pt x="1703" y="718"/>
                </a:lnTo>
                <a:lnTo>
                  <a:pt x="1701" y="720"/>
                </a:lnTo>
                <a:lnTo>
                  <a:pt x="1698" y="721"/>
                </a:lnTo>
                <a:lnTo>
                  <a:pt x="1690" y="721"/>
                </a:lnTo>
                <a:lnTo>
                  <a:pt x="1684" y="721"/>
                </a:lnTo>
                <a:lnTo>
                  <a:pt x="1683" y="723"/>
                </a:lnTo>
                <a:lnTo>
                  <a:pt x="1681" y="724"/>
                </a:lnTo>
                <a:lnTo>
                  <a:pt x="1679" y="725"/>
                </a:lnTo>
                <a:lnTo>
                  <a:pt x="1676" y="726"/>
                </a:lnTo>
                <a:lnTo>
                  <a:pt x="1668" y="726"/>
                </a:lnTo>
                <a:lnTo>
                  <a:pt x="1662" y="726"/>
                </a:lnTo>
                <a:lnTo>
                  <a:pt x="1661" y="730"/>
                </a:lnTo>
                <a:lnTo>
                  <a:pt x="1659" y="732"/>
                </a:lnTo>
                <a:lnTo>
                  <a:pt x="1655" y="732"/>
                </a:lnTo>
                <a:lnTo>
                  <a:pt x="1651" y="732"/>
                </a:lnTo>
                <a:lnTo>
                  <a:pt x="1649" y="737"/>
                </a:lnTo>
                <a:lnTo>
                  <a:pt x="1645" y="743"/>
                </a:lnTo>
                <a:lnTo>
                  <a:pt x="1640" y="746"/>
                </a:lnTo>
                <a:lnTo>
                  <a:pt x="1634" y="749"/>
                </a:lnTo>
                <a:lnTo>
                  <a:pt x="1634" y="760"/>
                </a:lnTo>
                <a:lnTo>
                  <a:pt x="1633" y="766"/>
                </a:lnTo>
                <a:lnTo>
                  <a:pt x="1629" y="782"/>
                </a:lnTo>
                <a:lnTo>
                  <a:pt x="1625" y="800"/>
                </a:lnTo>
                <a:lnTo>
                  <a:pt x="1623" y="810"/>
                </a:lnTo>
                <a:lnTo>
                  <a:pt x="1622" y="811"/>
                </a:lnTo>
                <a:lnTo>
                  <a:pt x="1620" y="813"/>
                </a:lnTo>
                <a:lnTo>
                  <a:pt x="1619" y="817"/>
                </a:lnTo>
                <a:lnTo>
                  <a:pt x="1617" y="821"/>
                </a:lnTo>
                <a:lnTo>
                  <a:pt x="1615" y="825"/>
                </a:lnTo>
                <a:lnTo>
                  <a:pt x="1613" y="828"/>
                </a:lnTo>
                <a:lnTo>
                  <a:pt x="1611" y="831"/>
                </a:lnTo>
                <a:lnTo>
                  <a:pt x="1606" y="832"/>
                </a:lnTo>
                <a:lnTo>
                  <a:pt x="1606" y="842"/>
                </a:lnTo>
                <a:lnTo>
                  <a:pt x="1603" y="843"/>
                </a:lnTo>
                <a:lnTo>
                  <a:pt x="1598" y="847"/>
                </a:lnTo>
                <a:lnTo>
                  <a:pt x="1595" y="850"/>
                </a:lnTo>
                <a:lnTo>
                  <a:pt x="1592" y="855"/>
                </a:lnTo>
                <a:lnTo>
                  <a:pt x="1586" y="864"/>
                </a:lnTo>
                <a:lnTo>
                  <a:pt x="1585" y="870"/>
                </a:lnTo>
                <a:lnTo>
                  <a:pt x="1574" y="876"/>
                </a:lnTo>
                <a:lnTo>
                  <a:pt x="1574" y="887"/>
                </a:lnTo>
                <a:lnTo>
                  <a:pt x="1568" y="893"/>
                </a:lnTo>
                <a:lnTo>
                  <a:pt x="1563" y="898"/>
                </a:lnTo>
                <a:lnTo>
                  <a:pt x="1557" y="902"/>
                </a:lnTo>
                <a:lnTo>
                  <a:pt x="1552" y="904"/>
                </a:lnTo>
                <a:lnTo>
                  <a:pt x="1552" y="915"/>
                </a:lnTo>
                <a:lnTo>
                  <a:pt x="1548" y="918"/>
                </a:lnTo>
                <a:lnTo>
                  <a:pt x="1546" y="929"/>
                </a:lnTo>
                <a:lnTo>
                  <a:pt x="1542" y="944"/>
                </a:lnTo>
                <a:lnTo>
                  <a:pt x="1538" y="962"/>
                </a:lnTo>
                <a:lnTo>
                  <a:pt x="1532" y="996"/>
                </a:lnTo>
                <a:lnTo>
                  <a:pt x="1529" y="1020"/>
                </a:lnTo>
                <a:lnTo>
                  <a:pt x="1527" y="1045"/>
                </a:lnTo>
                <a:lnTo>
                  <a:pt x="1524" y="1072"/>
                </a:lnTo>
                <a:lnTo>
                  <a:pt x="1520" y="1099"/>
                </a:lnTo>
                <a:lnTo>
                  <a:pt x="1518" y="1126"/>
                </a:lnTo>
                <a:lnTo>
                  <a:pt x="1525" y="1131"/>
                </a:lnTo>
                <a:lnTo>
                  <a:pt x="1534" y="1139"/>
                </a:lnTo>
                <a:lnTo>
                  <a:pt x="1543" y="1147"/>
                </a:lnTo>
                <a:lnTo>
                  <a:pt x="1546" y="1153"/>
                </a:lnTo>
                <a:lnTo>
                  <a:pt x="1552" y="1158"/>
                </a:lnTo>
                <a:lnTo>
                  <a:pt x="1563" y="1158"/>
                </a:lnTo>
                <a:lnTo>
                  <a:pt x="1565" y="1165"/>
                </a:lnTo>
                <a:lnTo>
                  <a:pt x="1571" y="1172"/>
                </a:lnTo>
                <a:lnTo>
                  <a:pt x="1576" y="1178"/>
                </a:lnTo>
                <a:lnTo>
                  <a:pt x="1580" y="1181"/>
                </a:lnTo>
                <a:lnTo>
                  <a:pt x="1580" y="1192"/>
                </a:lnTo>
                <a:lnTo>
                  <a:pt x="1581" y="1193"/>
                </a:lnTo>
                <a:lnTo>
                  <a:pt x="1582" y="1194"/>
                </a:lnTo>
                <a:lnTo>
                  <a:pt x="1583" y="1195"/>
                </a:lnTo>
                <a:lnTo>
                  <a:pt x="1584" y="1198"/>
                </a:lnTo>
                <a:lnTo>
                  <a:pt x="1584" y="1204"/>
                </a:lnTo>
                <a:lnTo>
                  <a:pt x="1585" y="1208"/>
                </a:lnTo>
                <a:lnTo>
                  <a:pt x="1582" y="1210"/>
                </a:lnTo>
                <a:lnTo>
                  <a:pt x="1580" y="1212"/>
                </a:lnTo>
                <a:lnTo>
                  <a:pt x="1577" y="1216"/>
                </a:lnTo>
                <a:lnTo>
                  <a:pt x="1574" y="1221"/>
                </a:lnTo>
                <a:lnTo>
                  <a:pt x="1569" y="1230"/>
                </a:lnTo>
                <a:lnTo>
                  <a:pt x="1568" y="1236"/>
                </a:lnTo>
                <a:lnTo>
                  <a:pt x="1563" y="1242"/>
                </a:lnTo>
                <a:lnTo>
                  <a:pt x="1548" y="1242"/>
                </a:lnTo>
                <a:lnTo>
                  <a:pt x="1526" y="1242"/>
                </a:lnTo>
                <a:lnTo>
                  <a:pt x="1498" y="1242"/>
                </a:lnTo>
                <a:lnTo>
                  <a:pt x="1467" y="1242"/>
                </a:lnTo>
                <a:lnTo>
                  <a:pt x="1463" y="1236"/>
                </a:lnTo>
                <a:lnTo>
                  <a:pt x="1460" y="1231"/>
                </a:lnTo>
                <a:lnTo>
                  <a:pt x="1444" y="1223"/>
                </a:lnTo>
                <a:lnTo>
                  <a:pt x="1430" y="1215"/>
                </a:lnTo>
                <a:lnTo>
                  <a:pt x="1414" y="1207"/>
                </a:lnTo>
                <a:lnTo>
                  <a:pt x="1399" y="1193"/>
                </a:lnTo>
                <a:lnTo>
                  <a:pt x="1383" y="1177"/>
                </a:lnTo>
                <a:lnTo>
                  <a:pt x="1380" y="1176"/>
                </a:lnTo>
                <a:lnTo>
                  <a:pt x="1377" y="1176"/>
                </a:lnTo>
                <a:lnTo>
                  <a:pt x="1375" y="1174"/>
                </a:lnTo>
                <a:lnTo>
                  <a:pt x="1372" y="1172"/>
                </a:lnTo>
                <a:lnTo>
                  <a:pt x="1371" y="1169"/>
                </a:lnTo>
                <a:lnTo>
                  <a:pt x="1369" y="1167"/>
                </a:lnTo>
                <a:lnTo>
                  <a:pt x="1367" y="1164"/>
                </a:lnTo>
                <a:lnTo>
                  <a:pt x="1367" y="1162"/>
                </a:lnTo>
                <a:lnTo>
                  <a:pt x="1352" y="1162"/>
                </a:lnTo>
                <a:lnTo>
                  <a:pt x="1352" y="1157"/>
                </a:lnTo>
                <a:lnTo>
                  <a:pt x="1351" y="1155"/>
                </a:lnTo>
                <a:lnTo>
                  <a:pt x="1350" y="1154"/>
                </a:lnTo>
                <a:lnTo>
                  <a:pt x="1348" y="1154"/>
                </a:lnTo>
                <a:lnTo>
                  <a:pt x="1347" y="1154"/>
                </a:lnTo>
                <a:lnTo>
                  <a:pt x="1345" y="1153"/>
                </a:lnTo>
                <a:lnTo>
                  <a:pt x="1345" y="1150"/>
                </a:lnTo>
                <a:lnTo>
                  <a:pt x="1344" y="1146"/>
                </a:lnTo>
                <a:lnTo>
                  <a:pt x="1336" y="1138"/>
                </a:lnTo>
                <a:lnTo>
                  <a:pt x="1331" y="1137"/>
                </a:lnTo>
                <a:lnTo>
                  <a:pt x="1324" y="1135"/>
                </a:lnTo>
                <a:lnTo>
                  <a:pt x="1316" y="1131"/>
                </a:lnTo>
                <a:lnTo>
                  <a:pt x="1308" y="1127"/>
                </a:lnTo>
                <a:lnTo>
                  <a:pt x="1300" y="1123"/>
                </a:lnTo>
                <a:lnTo>
                  <a:pt x="1293" y="1119"/>
                </a:lnTo>
                <a:lnTo>
                  <a:pt x="1284" y="1116"/>
                </a:lnTo>
                <a:lnTo>
                  <a:pt x="1275" y="1115"/>
                </a:lnTo>
                <a:lnTo>
                  <a:pt x="1267" y="1099"/>
                </a:lnTo>
                <a:lnTo>
                  <a:pt x="1262" y="1098"/>
                </a:lnTo>
                <a:lnTo>
                  <a:pt x="1256" y="1093"/>
                </a:lnTo>
                <a:lnTo>
                  <a:pt x="1246" y="1088"/>
                </a:lnTo>
                <a:lnTo>
                  <a:pt x="1236" y="1080"/>
                </a:lnTo>
                <a:lnTo>
                  <a:pt x="1226" y="1073"/>
                </a:lnTo>
                <a:lnTo>
                  <a:pt x="1217" y="1067"/>
                </a:lnTo>
                <a:lnTo>
                  <a:pt x="1210" y="1062"/>
                </a:lnTo>
                <a:lnTo>
                  <a:pt x="1206" y="1061"/>
                </a:lnTo>
                <a:lnTo>
                  <a:pt x="1204" y="1057"/>
                </a:lnTo>
                <a:lnTo>
                  <a:pt x="1202" y="1052"/>
                </a:lnTo>
                <a:lnTo>
                  <a:pt x="1200" y="1048"/>
                </a:lnTo>
                <a:lnTo>
                  <a:pt x="1196" y="1042"/>
                </a:lnTo>
                <a:lnTo>
                  <a:pt x="1185" y="1032"/>
                </a:lnTo>
                <a:lnTo>
                  <a:pt x="1174" y="1022"/>
                </a:lnTo>
                <a:lnTo>
                  <a:pt x="1163" y="1012"/>
                </a:lnTo>
                <a:lnTo>
                  <a:pt x="1153" y="1002"/>
                </a:lnTo>
                <a:lnTo>
                  <a:pt x="1149" y="998"/>
                </a:lnTo>
                <a:lnTo>
                  <a:pt x="1146" y="993"/>
                </a:lnTo>
                <a:lnTo>
                  <a:pt x="1144" y="989"/>
                </a:lnTo>
                <a:lnTo>
                  <a:pt x="1143" y="984"/>
                </a:lnTo>
                <a:lnTo>
                  <a:pt x="1139" y="983"/>
                </a:lnTo>
                <a:lnTo>
                  <a:pt x="1136" y="983"/>
                </a:lnTo>
                <a:lnTo>
                  <a:pt x="1136" y="981"/>
                </a:lnTo>
                <a:lnTo>
                  <a:pt x="1135" y="980"/>
                </a:lnTo>
                <a:lnTo>
                  <a:pt x="1135" y="979"/>
                </a:lnTo>
                <a:lnTo>
                  <a:pt x="1135" y="977"/>
                </a:lnTo>
                <a:lnTo>
                  <a:pt x="1132" y="976"/>
                </a:lnTo>
                <a:lnTo>
                  <a:pt x="1129" y="976"/>
                </a:lnTo>
                <a:lnTo>
                  <a:pt x="1121" y="968"/>
                </a:lnTo>
                <a:lnTo>
                  <a:pt x="1121" y="953"/>
                </a:lnTo>
                <a:lnTo>
                  <a:pt x="1117" y="952"/>
                </a:lnTo>
                <a:lnTo>
                  <a:pt x="1113" y="951"/>
                </a:lnTo>
                <a:lnTo>
                  <a:pt x="1110" y="947"/>
                </a:lnTo>
                <a:lnTo>
                  <a:pt x="1106" y="943"/>
                </a:lnTo>
                <a:lnTo>
                  <a:pt x="1103" y="938"/>
                </a:lnTo>
                <a:lnTo>
                  <a:pt x="1100" y="933"/>
                </a:lnTo>
                <a:lnTo>
                  <a:pt x="1097" y="927"/>
                </a:lnTo>
                <a:lnTo>
                  <a:pt x="1097" y="922"/>
                </a:lnTo>
                <a:lnTo>
                  <a:pt x="1089" y="914"/>
                </a:lnTo>
                <a:lnTo>
                  <a:pt x="1084" y="914"/>
                </a:lnTo>
                <a:lnTo>
                  <a:pt x="1078" y="913"/>
                </a:lnTo>
                <a:lnTo>
                  <a:pt x="1077" y="913"/>
                </a:lnTo>
                <a:lnTo>
                  <a:pt x="1075" y="910"/>
                </a:lnTo>
                <a:lnTo>
                  <a:pt x="1074" y="909"/>
                </a:lnTo>
                <a:lnTo>
                  <a:pt x="1074" y="906"/>
                </a:lnTo>
                <a:lnTo>
                  <a:pt x="1058" y="905"/>
                </a:lnTo>
                <a:lnTo>
                  <a:pt x="1040" y="902"/>
                </a:lnTo>
                <a:lnTo>
                  <a:pt x="1021" y="897"/>
                </a:lnTo>
                <a:lnTo>
                  <a:pt x="1002" y="891"/>
                </a:lnTo>
                <a:lnTo>
                  <a:pt x="985" y="885"/>
                </a:lnTo>
                <a:lnTo>
                  <a:pt x="968" y="880"/>
                </a:lnTo>
                <a:lnTo>
                  <a:pt x="953" y="877"/>
                </a:lnTo>
                <a:lnTo>
                  <a:pt x="942" y="876"/>
                </a:lnTo>
                <a:lnTo>
                  <a:pt x="934" y="860"/>
                </a:lnTo>
                <a:lnTo>
                  <a:pt x="932" y="860"/>
                </a:lnTo>
                <a:lnTo>
                  <a:pt x="929" y="859"/>
                </a:lnTo>
                <a:lnTo>
                  <a:pt x="926" y="857"/>
                </a:lnTo>
                <a:lnTo>
                  <a:pt x="924" y="856"/>
                </a:lnTo>
                <a:lnTo>
                  <a:pt x="922" y="852"/>
                </a:lnTo>
                <a:lnTo>
                  <a:pt x="921" y="850"/>
                </a:lnTo>
                <a:lnTo>
                  <a:pt x="920" y="848"/>
                </a:lnTo>
                <a:lnTo>
                  <a:pt x="920" y="845"/>
                </a:lnTo>
                <a:lnTo>
                  <a:pt x="912" y="845"/>
                </a:lnTo>
                <a:lnTo>
                  <a:pt x="905" y="843"/>
                </a:lnTo>
                <a:lnTo>
                  <a:pt x="901" y="842"/>
                </a:lnTo>
                <a:lnTo>
                  <a:pt x="899" y="841"/>
                </a:lnTo>
                <a:lnTo>
                  <a:pt x="896" y="839"/>
                </a:lnTo>
                <a:lnTo>
                  <a:pt x="896" y="837"/>
                </a:lnTo>
                <a:lnTo>
                  <a:pt x="889" y="837"/>
                </a:lnTo>
                <a:lnTo>
                  <a:pt x="877" y="836"/>
                </a:lnTo>
                <a:lnTo>
                  <a:pt x="873" y="835"/>
                </a:lnTo>
                <a:lnTo>
                  <a:pt x="868" y="833"/>
                </a:lnTo>
                <a:lnTo>
                  <a:pt x="866" y="831"/>
                </a:lnTo>
                <a:lnTo>
                  <a:pt x="865" y="829"/>
                </a:lnTo>
                <a:lnTo>
                  <a:pt x="834" y="829"/>
                </a:lnTo>
                <a:lnTo>
                  <a:pt x="834" y="825"/>
                </a:lnTo>
                <a:lnTo>
                  <a:pt x="833" y="822"/>
                </a:lnTo>
                <a:lnTo>
                  <a:pt x="832" y="821"/>
                </a:lnTo>
                <a:lnTo>
                  <a:pt x="830" y="821"/>
                </a:lnTo>
                <a:lnTo>
                  <a:pt x="829" y="821"/>
                </a:lnTo>
                <a:lnTo>
                  <a:pt x="828" y="820"/>
                </a:lnTo>
                <a:lnTo>
                  <a:pt x="827" y="818"/>
                </a:lnTo>
                <a:lnTo>
                  <a:pt x="826" y="813"/>
                </a:lnTo>
                <a:lnTo>
                  <a:pt x="819" y="806"/>
                </a:lnTo>
                <a:lnTo>
                  <a:pt x="807" y="806"/>
                </a:lnTo>
                <a:lnTo>
                  <a:pt x="796" y="806"/>
                </a:lnTo>
                <a:lnTo>
                  <a:pt x="796" y="790"/>
                </a:lnTo>
                <a:lnTo>
                  <a:pt x="791" y="790"/>
                </a:lnTo>
                <a:lnTo>
                  <a:pt x="789" y="789"/>
                </a:lnTo>
                <a:lnTo>
                  <a:pt x="788" y="788"/>
                </a:lnTo>
                <a:lnTo>
                  <a:pt x="788" y="787"/>
                </a:lnTo>
                <a:lnTo>
                  <a:pt x="788" y="785"/>
                </a:lnTo>
                <a:lnTo>
                  <a:pt x="787" y="784"/>
                </a:lnTo>
                <a:lnTo>
                  <a:pt x="785" y="783"/>
                </a:lnTo>
                <a:lnTo>
                  <a:pt x="780" y="783"/>
                </a:lnTo>
                <a:lnTo>
                  <a:pt x="780" y="768"/>
                </a:lnTo>
                <a:lnTo>
                  <a:pt x="772" y="760"/>
                </a:lnTo>
                <a:lnTo>
                  <a:pt x="765" y="752"/>
                </a:lnTo>
                <a:lnTo>
                  <a:pt x="757" y="744"/>
                </a:lnTo>
                <a:lnTo>
                  <a:pt x="749" y="736"/>
                </a:lnTo>
                <a:lnTo>
                  <a:pt x="736" y="737"/>
                </a:lnTo>
                <a:lnTo>
                  <a:pt x="719" y="740"/>
                </a:lnTo>
                <a:lnTo>
                  <a:pt x="704" y="743"/>
                </a:lnTo>
                <a:lnTo>
                  <a:pt x="695" y="744"/>
                </a:lnTo>
                <a:lnTo>
                  <a:pt x="694" y="749"/>
                </a:lnTo>
                <a:lnTo>
                  <a:pt x="694" y="751"/>
                </a:lnTo>
                <a:lnTo>
                  <a:pt x="693" y="752"/>
                </a:lnTo>
                <a:lnTo>
                  <a:pt x="691" y="752"/>
                </a:lnTo>
                <a:lnTo>
                  <a:pt x="690" y="752"/>
                </a:lnTo>
                <a:lnTo>
                  <a:pt x="689" y="753"/>
                </a:lnTo>
                <a:lnTo>
                  <a:pt x="688" y="755"/>
                </a:lnTo>
                <a:lnTo>
                  <a:pt x="688" y="760"/>
                </a:lnTo>
                <a:lnTo>
                  <a:pt x="684" y="760"/>
                </a:lnTo>
                <a:lnTo>
                  <a:pt x="682" y="761"/>
                </a:lnTo>
                <a:lnTo>
                  <a:pt x="679" y="762"/>
                </a:lnTo>
                <a:lnTo>
                  <a:pt x="676" y="764"/>
                </a:lnTo>
                <a:lnTo>
                  <a:pt x="674" y="766"/>
                </a:lnTo>
                <a:lnTo>
                  <a:pt x="673" y="770"/>
                </a:lnTo>
                <a:lnTo>
                  <a:pt x="672" y="772"/>
                </a:lnTo>
                <a:lnTo>
                  <a:pt x="672" y="775"/>
                </a:lnTo>
                <a:lnTo>
                  <a:pt x="657" y="775"/>
                </a:lnTo>
                <a:lnTo>
                  <a:pt x="634" y="774"/>
                </a:lnTo>
                <a:lnTo>
                  <a:pt x="623" y="773"/>
                </a:lnTo>
                <a:lnTo>
                  <a:pt x="612" y="772"/>
                </a:lnTo>
                <a:lnTo>
                  <a:pt x="608" y="771"/>
                </a:lnTo>
                <a:lnTo>
                  <a:pt x="605" y="770"/>
                </a:lnTo>
                <a:lnTo>
                  <a:pt x="603" y="769"/>
                </a:lnTo>
                <a:lnTo>
                  <a:pt x="603" y="768"/>
                </a:lnTo>
                <a:lnTo>
                  <a:pt x="597" y="768"/>
                </a:lnTo>
                <a:lnTo>
                  <a:pt x="592" y="766"/>
                </a:lnTo>
                <a:lnTo>
                  <a:pt x="589" y="765"/>
                </a:lnTo>
                <a:lnTo>
                  <a:pt x="588" y="764"/>
                </a:lnTo>
                <a:lnTo>
                  <a:pt x="587" y="762"/>
                </a:lnTo>
                <a:lnTo>
                  <a:pt x="587" y="760"/>
                </a:lnTo>
                <a:lnTo>
                  <a:pt x="571" y="760"/>
                </a:lnTo>
                <a:lnTo>
                  <a:pt x="546" y="761"/>
                </a:lnTo>
                <a:lnTo>
                  <a:pt x="532" y="762"/>
                </a:lnTo>
                <a:lnTo>
                  <a:pt x="520" y="763"/>
                </a:lnTo>
                <a:lnTo>
                  <a:pt x="516" y="764"/>
                </a:lnTo>
                <a:lnTo>
                  <a:pt x="512" y="764"/>
                </a:lnTo>
                <a:lnTo>
                  <a:pt x="510" y="766"/>
                </a:lnTo>
                <a:lnTo>
                  <a:pt x="510" y="768"/>
                </a:lnTo>
                <a:lnTo>
                  <a:pt x="501" y="769"/>
                </a:lnTo>
                <a:lnTo>
                  <a:pt x="491" y="772"/>
                </a:lnTo>
                <a:lnTo>
                  <a:pt x="487" y="774"/>
                </a:lnTo>
                <a:lnTo>
                  <a:pt x="482" y="778"/>
                </a:lnTo>
                <a:lnTo>
                  <a:pt x="480" y="780"/>
                </a:lnTo>
                <a:lnTo>
                  <a:pt x="479" y="783"/>
                </a:lnTo>
                <a:lnTo>
                  <a:pt x="469" y="784"/>
                </a:lnTo>
                <a:lnTo>
                  <a:pt x="460" y="787"/>
                </a:lnTo>
                <a:lnTo>
                  <a:pt x="451" y="789"/>
                </a:lnTo>
                <a:lnTo>
                  <a:pt x="440" y="790"/>
                </a:lnTo>
                <a:lnTo>
                  <a:pt x="440" y="794"/>
                </a:lnTo>
                <a:lnTo>
                  <a:pt x="438" y="798"/>
                </a:lnTo>
                <a:lnTo>
                  <a:pt x="434" y="801"/>
                </a:lnTo>
                <a:lnTo>
                  <a:pt x="430" y="804"/>
                </a:lnTo>
                <a:lnTo>
                  <a:pt x="424" y="807"/>
                </a:lnTo>
                <a:lnTo>
                  <a:pt x="417" y="809"/>
                </a:lnTo>
                <a:lnTo>
                  <a:pt x="411" y="810"/>
                </a:lnTo>
                <a:lnTo>
                  <a:pt x="403" y="811"/>
                </a:lnTo>
                <a:lnTo>
                  <a:pt x="384" y="813"/>
                </a:lnTo>
                <a:lnTo>
                  <a:pt x="364" y="814"/>
                </a:lnTo>
                <a:lnTo>
                  <a:pt x="343" y="814"/>
                </a:lnTo>
                <a:lnTo>
                  <a:pt x="320" y="814"/>
                </a:lnTo>
                <a:lnTo>
                  <a:pt x="276" y="813"/>
                </a:lnTo>
                <a:lnTo>
                  <a:pt x="238" y="813"/>
                </a:lnTo>
                <a:lnTo>
                  <a:pt x="222" y="814"/>
                </a:lnTo>
                <a:lnTo>
                  <a:pt x="211" y="816"/>
                </a:lnTo>
                <a:lnTo>
                  <a:pt x="206" y="817"/>
                </a:lnTo>
                <a:lnTo>
                  <a:pt x="203" y="818"/>
                </a:lnTo>
                <a:lnTo>
                  <a:pt x="201" y="819"/>
                </a:lnTo>
                <a:lnTo>
                  <a:pt x="201" y="821"/>
                </a:lnTo>
                <a:lnTo>
                  <a:pt x="177" y="821"/>
                </a:lnTo>
                <a:lnTo>
                  <a:pt x="176" y="826"/>
                </a:lnTo>
                <a:lnTo>
                  <a:pt x="176" y="828"/>
                </a:lnTo>
                <a:lnTo>
                  <a:pt x="175" y="829"/>
                </a:lnTo>
                <a:lnTo>
                  <a:pt x="173" y="829"/>
                </a:lnTo>
                <a:lnTo>
                  <a:pt x="172" y="829"/>
                </a:lnTo>
                <a:lnTo>
                  <a:pt x="171" y="830"/>
                </a:lnTo>
                <a:lnTo>
                  <a:pt x="170" y="832"/>
                </a:lnTo>
                <a:lnTo>
                  <a:pt x="170" y="837"/>
                </a:lnTo>
                <a:lnTo>
                  <a:pt x="154" y="841"/>
                </a:lnTo>
                <a:lnTo>
                  <a:pt x="138" y="845"/>
                </a:lnTo>
                <a:lnTo>
                  <a:pt x="127" y="856"/>
                </a:lnTo>
                <a:lnTo>
                  <a:pt x="115" y="868"/>
                </a:lnTo>
                <a:lnTo>
                  <a:pt x="109" y="868"/>
                </a:lnTo>
                <a:lnTo>
                  <a:pt x="105" y="869"/>
                </a:lnTo>
                <a:lnTo>
                  <a:pt x="103" y="869"/>
                </a:lnTo>
                <a:lnTo>
                  <a:pt x="102" y="871"/>
                </a:lnTo>
                <a:lnTo>
                  <a:pt x="100" y="873"/>
                </a:lnTo>
                <a:lnTo>
                  <a:pt x="100" y="876"/>
                </a:lnTo>
                <a:lnTo>
                  <a:pt x="11" y="876"/>
                </a:lnTo>
                <a:lnTo>
                  <a:pt x="19" y="855"/>
                </a:lnTo>
                <a:lnTo>
                  <a:pt x="27" y="828"/>
                </a:lnTo>
                <a:lnTo>
                  <a:pt x="35" y="801"/>
                </a:lnTo>
                <a:lnTo>
                  <a:pt x="43" y="781"/>
                </a:lnTo>
                <a:lnTo>
                  <a:pt x="62" y="748"/>
                </a:lnTo>
                <a:lnTo>
                  <a:pt x="78" y="721"/>
                </a:lnTo>
                <a:lnTo>
                  <a:pt x="84" y="711"/>
                </a:lnTo>
                <a:lnTo>
                  <a:pt x="88" y="701"/>
                </a:lnTo>
                <a:lnTo>
                  <a:pt x="91" y="692"/>
                </a:lnTo>
                <a:lnTo>
                  <a:pt x="93" y="683"/>
                </a:lnTo>
                <a:lnTo>
                  <a:pt x="95" y="682"/>
                </a:lnTo>
                <a:lnTo>
                  <a:pt x="97" y="681"/>
                </a:lnTo>
                <a:lnTo>
                  <a:pt x="98" y="679"/>
                </a:lnTo>
                <a:lnTo>
                  <a:pt x="99" y="677"/>
                </a:lnTo>
                <a:lnTo>
                  <a:pt x="99" y="673"/>
                </a:lnTo>
                <a:lnTo>
                  <a:pt x="100" y="667"/>
                </a:lnTo>
                <a:lnTo>
                  <a:pt x="102" y="666"/>
                </a:lnTo>
                <a:lnTo>
                  <a:pt x="103" y="664"/>
                </a:lnTo>
                <a:lnTo>
                  <a:pt x="104" y="662"/>
                </a:lnTo>
                <a:lnTo>
                  <a:pt x="105" y="657"/>
                </a:lnTo>
                <a:lnTo>
                  <a:pt x="106" y="647"/>
                </a:lnTo>
                <a:lnTo>
                  <a:pt x="107" y="635"/>
                </a:lnTo>
                <a:lnTo>
                  <a:pt x="107" y="611"/>
                </a:lnTo>
                <a:lnTo>
                  <a:pt x="107" y="597"/>
                </a:lnTo>
                <a:lnTo>
                  <a:pt x="93" y="589"/>
                </a:lnTo>
                <a:lnTo>
                  <a:pt x="85" y="582"/>
                </a:lnTo>
                <a:lnTo>
                  <a:pt x="84" y="579"/>
                </a:lnTo>
                <a:lnTo>
                  <a:pt x="80" y="575"/>
                </a:lnTo>
                <a:lnTo>
                  <a:pt x="77" y="571"/>
                </a:lnTo>
                <a:lnTo>
                  <a:pt x="71" y="568"/>
                </a:lnTo>
                <a:lnTo>
                  <a:pt x="67" y="564"/>
                </a:lnTo>
                <a:lnTo>
                  <a:pt x="61" y="561"/>
                </a:lnTo>
                <a:lnTo>
                  <a:pt x="57" y="559"/>
                </a:lnTo>
                <a:lnTo>
                  <a:pt x="54" y="559"/>
                </a:lnTo>
                <a:lnTo>
                  <a:pt x="52" y="556"/>
                </a:lnTo>
                <a:lnTo>
                  <a:pt x="51" y="553"/>
                </a:lnTo>
                <a:lnTo>
                  <a:pt x="48" y="550"/>
                </a:lnTo>
                <a:lnTo>
                  <a:pt x="45" y="548"/>
                </a:lnTo>
                <a:lnTo>
                  <a:pt x="37" y="544"/>
                </a:lnTo>
                <a:lnTo>
                  <a:pt x="30" y="543"/>
                </a:lnTo>
                <a:lnTo>
                  <a:pt x="29" y="537"/>
                </a:lnTo>
                <a:lnTo>
                  <a:pt x="26" y="529"/>
                </a:lnTo>
                <a:lnTo>
                  <a:pt x="23" y="525"/>
                </a:lnTo>
                <a:lnTo>
                  <a:pt x="20" y="522"/>
                </a:lnTo>
                <a:lnTo>
                  <a:pt x="18" y="521"/>
                </a:lnTo>
                <a:lnTo>
                  <a:pt x="14" y="520"/>
                </a:lnTo>
                <a:lnTo>
                  <a:pt x="14" y="496"/>
                </a:lnTo>
                <a:lnTo>
                  <a:pt x="10" y="496"/>
                </a:lnTo>
                <a:lnTo>
                  <a:pt x="8" y="495"/>
                </a:lnTo>
                <a:lnTo>
                  <a:pt x="8" y="494"/>
                </a:lnTo>
                <a:lnTo>
                  <a:pt x="7" y="493"/>
                </a:lnTo>
                <a:lnTo>
                  <a:pt x="7" y="492"/>
                </a:lnTo>
                <a:lnTo>
                  <a:pt x="7" y="491"/>
                </a:lnTo>
                <a:lnTo>
                  <a:pt x="4" y="490"/>
                </a:lnTo>
                <a:lnTo>
                  <a:pt x="0" y="489"/>
                </a:lnTo>
                <a:lnTo>
                  <a:pt x="0" y="45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74" name="Freeform 35">
            <a:extLst>
              <a:ext uri="{FF2B5EF4-FFF2-40B4-BE49-F238E27FC236}">
                <a16:creationId xmlns:a16="http://schemas.microsoft.com/office/drawing/2014/main" id="{3B7074EE-7870-4FFC-993A-EFB00F95F218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781800" y="3436938"/>
            <a:ext cx="265793" cy="185738"/>
          </a:xfrm>
          <a:custGeom>
            <a:avLst/>
            <a:gdLst/>
            <a:ahLst/>
            <a:cxnLst>
              <a:cxn ang="0">
                <a:pos x="1271" y="34"/>
              </a:cxn>
              <a:cxn ang="0">
                <a:pos x="1242" y="75"/>
              </a:cxn>
              <a:cxn ang="0">
                <a:pos x="1203" y="113"/>
              </a:cxn>
              <a:cxn ang="0">
                <a:pos x="1185" y="126"/>
              </a:cxn>
              <a:cxn ang="0">
                <a:pos x="1164" y="162"/>
              </a:cxn>
              <a:cxn ang="0">
                <a:pos x="1109" y="162"/>
              </a:cxn>
              <a:cxn ang="0">
                <a:pos x="957" y="101"/>
              </a:cxn>
              <a:cxn ang="0">
                <a:pos x="943" y="112"/>
              </a:cxn>
              <a:cxn ang="0">
                <a:pos x="894" y="112"/>
              </a:cxn>
              <a:cxn ang="0">
                <a:pos x="879" y="126"/>
              </a:cxn>
              <a:cxn ang="0">
                <a:pos x="851" y="161"/>
              </a:cxn>
              <a:cxn ang="0">
                <a:pos x="742" y="185"/>
              </a:cxn>
              <a:cxn ang="0">
                <a:pos x="630" y="207"/>
              </a:cxn>
              <a:cxn ang="0">
                <a:pos x="506" y="228"/>
              </a:cxn>
              <a:cxn ang="0">
                <a:pos x="385" y="250"/>
              </a:cxn>
              <a:cxn ang="0">
                <a:pos x="374" y="252"/>
              </a:cxn>
              <a:cxn ang="0">
                <a:pos x="281" y="170"/>
              </a:cxn>
              <a:cxn ang="0">
                <a:pos x="174" y="129"/>
              </a:cxn>
              <a:cxn ang="0">
                <a:pos x="14" y="119"/>
              </a:cxn>
              <a:cxn ang="0">
                <a:pos x="3" y="132"/>
              </a:cxn>
              <a:cxn ang="0">
                <a:pos x="4" y="227"/>
              </a:cxn>
              <a:cxn ang="0">
                <a:pos x="159" y="233"/>
              </a:cxn>
              <a:cxn ang="0">
                <a:pos x="260" y="231"/>
              </a:cxn>
              <a:cxn ang="0">
                <a:pos x="281" y="250"/>
              </a:cxn>
              <a:cxn ang="0">
                <a:pos x="323" y="294"/>
              </a:cxn>
              <a:cxn ang="0">
                <a:pos x="371" y="416"/>
              </a:cxn>
              <a:cxn ang="0">
                <a:pos x="387" y="464"/>
              </a:cxn>
              <a:cxn ang="0">
                <a:pos x="461" y="580"/>
              </a:cxn>
              <a:cxn ang="0">
                <a:pos x="554" y="686"/>
              </a:cxn>
              <a:cxn ang="0">
                <a:pos x="636" y="818"/>
              </a:cxn>
              <a:cxn ang="0">
                <a:pos x="657" y="859"/>
              </a:cxn>
              <a:cxn ang="0">
                <a:pos x="673" y="892"/>
              </a:cxn>
              <a:cxn ang="0">
                <a:pos x="692" y="950"/>
              </a:cxn>
              <a:cxn ang="0">
                <a:pos x="721" y="996"/>
              </a:cxn>
              <a:cxn ang="0">
                <a:pos x="751" y="968"/>
              </a:cxn>
              <a:cxn ang="0">
                <a:pos x="759" y="931"/>
              </a:cxn>
              <a:cxn ang="0">
                <a:pos x="799" y="879"/>
              </a:cxn>
              <a:cxn ang="0">
                <a:pos x="871" y="789"/>
              </a:cxn>
              <a:cxn ang="0">
                <a:pos x="888" y="747"/>
              </a:cxn>
              <a:cxn ang="0">
                <a:pos x="935" y="692"/>
              </a:cxn>
              <a:cxn ang="0">
                <a:pos x="1050" y="640"/>
              </a:cxn>
              <a:cxn ang="0">
                <a:pos x="1067" y="612"/>
              </a:cxn>
              <a:cxn ang="0">
                <a:pos x="1084" y="588"/>
              </a:cxn>
              <a:cxn ang="0">
                <a:pos x="1108" y="507"/>
              </a:cxn>
              <a:cxn ang="0">
                <a:pos x="1144" y="484"/>
              </a:cxn>
              <a:cxn ang="0">
                <a:pos x="1150" y="476"/>
              </a:cxn>
              <a:cxn ang="0">
                <a:pos x="1169" y="462"/>
              </a:cxn>
              <a:cxn ang="0">
                <a:pos x="1178" y="453"/>
              </a:cxn>
              <a:cxn ang="0">
                <a:pos x="1191" y="442"/>
              </a:cxn>
              <a:cxn ang="0">
                <a:pos x="1205" y="433"/>
              </a:cxn>
              <a:cxn ang="0">
                <a:pos x="1240" y="409"/>
              </a:cxn>
              <a:cxn ang="0">
                <a:pos x="1261" y="377"/>
              </a:cxn>
              <a:cxn ang="0">
                <a:pos x="1272" y="323"/>
              </a:cxn>
              <a:cxn ang="0">
                <a:pos x="1311" y="237"/>
              </a:cxn>
              <a:cxn ang="0">
                <a:pos x="1318" y="229"/>
              </a:cxn>
              <a:cxn ang="0">
                <a:pos x="1327" y="214"/>
              </a:cxn>
              <a:cxn ang="0">
                <a:pos x="1361" y="108"/>
              </a:cxn>
              <a:cxn ang="0">
                <a:pos x="1367" y="48"/>
              </a:cxn>
              <a:cxn ang="0">
                <a:pos x="1356" y="26"/>
              </a:cxn>
              <a:cxn ang="0">
                <a:pos x="1338" y="13"/>
              </a:cxn>
            </a:cxnLst>
            <a:rect l="0" t="0" r="r" b="b"/>
            <a:pathLst>
              <a:path w="1369" h="996">
                <a:moveTo>
                  <a:pt x="1338" y="0"/>
                </a:moveTo>
                <a:lnTo>
                  <a:pt x="1320" y="3"/>
                </a:lnTo>
                <a:lnTo>
                  <a:pt x="1306" y="4"/>
                </a:lnTo>
                <a:lnTo>
                  <a:pt x="1272" y="13"/>
                </a:lnTo>
                <a:lnTo>
                  <a:pt x="1272" y="23"/>
                </a:lnTo>
                <a:lnTo>
                  <a:pt x="1271" y="34"/>
                </a:lnTo>
                <a:lnTo>
                  <a:pt x="1270" y="44"/>
                </a:lnTo>
                <a:lnTo>
                  <a:pt x="1270" y="53"/>
                </a:lnTo>
                <a:lnTo>
                  <a:pt x="1262" y="56"/>
                </a:lnTo>
                <a:lnTo>
                  <a:pt x="1252" y="67"/>
                </a:lnTo>
                <a:lnTo>
                  <a:pt x="1248" y="71"/>
                </a:lnTo>
                <a:lnTo>
                  <a:pt x="1242" y="75"/>
                </a:lnTo>
                <a:lnTo>
                  <a:pt x="1238" y="79"/>
                </a:lnTo>
                <a:lnTo>
                  <a:pt x="1233" y="80"/>
                </a:lnTo>
                <a:lnTo>
                  <a:pt x="1229" y="85"/>
                </a:lnTo>
                <a:lnTo>
                  <a:pt x="1220" y="96"/>
                </a:lnTo>
                <a:lnTo>
                  <a:pt x="1209" y="106"/>
                </a:lnTo>
                <a:lnTo>
                  <a:pt x="1203" y="113"/>
                </a:lnTo>
                <a:lnTo>
                  <a:pt x="1198" y="113"/>
                </a:lnTo>
                <a:lnTo>
                  <a:pt x="1194" y="116"/>
                </a:lnTo>
                <a:lnTo>
                  <a:pt x="1192" y="117"/>
                </a:lnTo>
                <a:lnTo>
                  <a:pt x="1191" y="119"/>
                </a:lnTo>
                <a:lnTo>
                  <a:pt x="1185" y="119"/>
                </a:lnTo>
                <a:lnTo>
                  <a:pt x="1185" y="126"/>
                </a:lnTo>
                <a:lnTo>
                  <a:pt x="1178" y="135"/>
                </a:lnTo>
                <a:lnTo>
                  <a:pt x="1173" y="144"/>
                </a:lnTo>
                <a:lnTo>
                  <a:pt x="1172" y="150"/>
                </a:lnTo>
                <a:lnTo>
                  <a:pt x="1171" y="155"/>
                </a:lnTo>
                <a:lnTo>
                  <a:pt x="1167" y="159"/>
                </a:lnTo>
                <a:lnTo>
                  <a:pt x="1164" y="162"/>
                </a:lnTo>
                <a:lnTo>
                  <a:pt x="1159" y="165"/>
                </a:lnTo>
                <a:lnTo>
                  <a:pt x="1154" y="167"/>
                </a:lnTo>
                <a:lnTo>
                  <a:pt x="1148" y="167"/>
                </a:lnTo>
                <a:lnTo>
                  <a:pt x="1142" y="168"/>
                </a:lnTo>
                <a:lnTo>
                  <a:pt x="1126" y="166"/>
                </a:lnTo>
                <a:lnTo>
                  <a:pt x="1109" y="162"/>
                </a:lnTo>
                <a:lnTo>
                  <a:pt x="1091" y="157"/>
                </a:lnTo>
                <a:lnTo>
                  <a:pt x="1072" y="149"/>
                </a:lnTo>
                <a:lnTo>
                  <a:pt x="1033" y="133"/>
                </a:lnTo>
                <a:lnTo>
                  <a:pt x="999" y="118"/>
                </a:lnTo>
                <a:lnTo>
                  <a:pt x="972" y="106"/>
                </a:lnTo>
                <a:lnTo>
                  <a:pt x="957" y="101"/>
                </a:lnTo>
                <a:lnTo>
                  <a:pt x="956" y="103"/>
                </a:lnTo>
                <a:lnTo>
                  <a:pt x="954" y="107"/>
                </a:lnTo>
                <a:lnTo>
                  <a:pt x="950" y="109"/>
                </a:lnTo>
                <a:lnTo>
                  <a:pt x="945" y="110"/>
                </a:lnTo>
                <a:lnTo>
                  <a:pt x="944" y="111"/>
                </a:lnTo>
                <a:lnTo>
                  <a:pt x="943" y="112"/>
                </a:lnTo>
                <a:lnTo>
                  <a:pt x="940" y="113"/>
                </a:lnTo>
                <a:lnTo>
                  <a:pt x="936" y="113"/>
                </a:lnTo>
                <a:lnTo>
                  <a:pt x="926" y="112"/>
                </a:lnTo>
                <a:lnTo>
                  <a:pt x="915" y="112"/>
                </a:lnTo>
                <a:lnTo>
                  <a:pt x="904" y="111"/>
                </a:lnTo>
                <a:lnTo>
                  <a:pt x="894" y="112"/>
                </a:lnTo>
                <a:lnTo>
                  <a:pt x="890" y="115"/>
                </a:lnTo>
                <a:lnTo>
                  <a:pt x="887" y="116"/>
                </a:lnTo>
                <a:lnTo>
                  <a:pt x="885" y="119"/>
                </a:lnTo>
                <a:lnTo>
                  <a:pt x="885" y="122"/>
                </a:lnTo>
                <a:lnTo>
                  <a:pt x="881" y="123"/>
                </a:lnTo>
                <a:lnTo>
                  <a:pt x="879" y="126"/>
                </a:lnTo>
                <a:lnTo>
                  <a:pt x="877" y="128"/>
                </a:lnTo>
                <a:lnTo>
                  <a:pt x="875" y="132"/>
                </a:lnTo>
                <a:lnTo>
                  <a:pt x="871" y="139"/>
                </a:lnTo>
                <a:lnTo>
                  <a:pt x="869" y="144"/>
                </a:lnTo>
                <a:lnTo>
                  <a:pt x="859" y="152"/>
                </a:lnTo>
                <a:lnTo>
                  <a:pt x="851" y="161"/>
                </a:lnTo>
                <a:lnTo>
                  <a:pt x="835" y="162"/>
                </a:lnTo>
                <a:lnTo>
                  <a:pt x="819" y="164"/>
                </a:lnTo>
                <a:lnTo>
                  <a:pt x="806" y="166"/>
                </a:lnTo>
                <a:lnTo>
                  <a:pt x="791" y="169"/>
                </a:lnTo>
                <a:lnTo>
                  <a:pt x="766" y="176"/>
                </a:lnTo>
                <a:lnTo>
                  <a:pt x="742" y="185"/>
                </a:lnTo>
                <a:lnTo>
                  <a:pt x="717" y="193"/>
                </a:lnTo>
                <a:lnTo>
                  <a:pt x="692" y="200"/>
                </a:lnTo>
                <a:lnTo>
                  <a:pt x="677" y="203"/>
                </a:lnTo>
                <a:lnTo>
                  <a:pt x="663" y="205"/>
                </a:lnTo>
                <a:lnTo>
                  <a:pt x="647" y="207"/>
                </a:lnTo>
                <a:lnTo>
                  <a:pt x="630" y="207"/>
                </a:lnTo>
                <a:lnTo>
                  <a:pt x="615" y="208"/>
                </a:lnTo>
                <a:lnTo>
                  <a:pt x="599" y="209"/>
                </a:lnTo>
                <a:lnTo>
                  <a:pt x="583" y="212"/>
                </a:lnTo>
                <a:lnTo>
                  <a:pt x="568" y="214"/>
                </a:lnTo>
                <a:lnTo>
                  <a:pt x="537" y="221"/>
                </a:lnTo>
                <a:lnTo>
                  <a:pt x="506" y="228"/>
                </a:lnTo>
                <a:lnTo>
                  <a:pt x="475" y="236"/>
                </a:lnTo>
                <a:lnTo>
                  <a:pt x="445" y="243"/>
                </a:lnTo>
                <a:lnTo>
                  <a:pt x="429" y="246"/>
                </a:lnTo>
                <a:lnTo>
                  <a:pt x="414" y="247"/>
                </a:lnTo>
                <a:lnTo>
                  <a:pt x="399" y="250"/>
                </a:lnTo>
                <a:lnTo>
                  <a:pt x="385" y="250"/>
                </a:lnTo>
                <a:lnTo>
                  <a:pt x="384" y="252"/>
                </a:lnTo>
                <a:lnTo>
                  <a:pt x="384" y="253"/>
                </a:lnTo>
                <a:lnTo>
                  <a:pt x="382" y="254"/>
                </a:lnTo>
                <a:lnTo>
                  <a:pt x="381" y="254"/>
                </a:lnTo>
                <a:lnTo>
                  <a:pt x="378" y="254"/>
                </a:lnTo>
                <a:lnTo>
                  <a:pt x="374" y="252"/>
                </a:lnTo>
                <a:lnTo>
                  <a:pt x="362" y="244"/>
                </a:lnTo>
                <a:lnTo>
                  <a:pt x="349" y="233"/>
                </a:lnTo>
                <a:lnTo>
                  <a:pt x="324" y="208"/>
                </a:lnTo>
                <a:lnTo>
                  <a:pt x="312" y="195"/>
                </a:lnTo>
                <a:lnTo>
                  <a:pt x="297" y="181"/>
                </a:lnTo>
                <a:lnTo>
                  <a:pt x="281" y="170"/>
                </a:lnTo>
                <a:lnTo>
                  <a:pt x="265" y="160"/>
                </a:lnTo>
                <a:lnTo>
                  <a:pt x="247" y="151"/>
                </a:lnTo>
                <a:lnTo>
                  <a:pt x="230" y="144"/>
                </a:lnTo>
                <a:lnTo>
                  <a:pt x="212" y="138"/>
                </a:lnTo>
                <a:lnTo>
                  <a:pt x="193" y="132"/>
                </a:lnTo>
                <a:lnTo>
                  <a:pt x="174" y="129"/>
                </a:lnTo>
                <a:lnTo>
                  <a:pt x="154" y="126"/>
                </a:lnTo>
                <a:lnTo>
                  <a:pt x="134" y="123"/>
                </a:lnTo>
                <a:lnTo>
                  <a:pt x="113" y="121"/>
                </a:lnTo>
                <a:lnTo>
                  <a:pt x="93" y="120"/>
                </a:lnTo>
                <a:lnTo>
                  <a:pt x="54" y="119"/>
                </a:lnTo>
                <a:lnTo>
                  <a:pt x="14" y="119"/>
                </a:lnTo>
                <a:lnTo>
                  <a:pt x="13" y="121"/>
                </a:lnTo>
                <a:lnTo>
                  <a:pt x="11" y="123"/>
                </a:lnTo>
                <a:lnTo>
                  <a:pt x="9" y="125"/>
                </a:lnTo>
                <a:lnTo>
                  <a:pt x="5" y="126"/>
                </a:lnTo>
                <a:lnTo>
                  <a:pt x="5" y="131"/>
                </a:lnTo>
                <a:lnTo>
                  <a:pt x="3" y="132"/>
                </a:lnTo>
                <a:lnTo>
                  <a:pt x="2" y="136"/>
                </a:lnTo>
                <a:lnTo>
                  <a:pt x="1" y="141"/>
                </a:lnTo>
                <a:lnTo>
                  <a:pt x="1" y="148"/>
                </a:lnTo>
                <a:lnTo>
                  <a:pt x="0" y="166"/>
                </a:lnTo>
                <a:lnTo>
                  <a:pt x="1" y="186"/>
                </a:lnTo>
                <a:lnTo>
                  <a:pt x="4" y="227"/>
                </a:lnTo>
                <a:lnTo>
                  <a:pt x="5" y="253"/>
                </a:lnTo>
                <a:lnTo>
                  <a:pt x="9" y="256"/>
                </a:lnTo>
                <a:lnTo>
                  <a:pt x="32" y="253"/>
                </a:lnTo>
                <a:lnTo>
                  <a:pt x="68" y="247"/>
                </a:lnTo>
                <a:lnTo>
                  <a:pt x="112" y="241"/>
                </a:lnTo>
                <a:lnTo>
                  <a:pt x="159" y="233"/>
                </a:lnTo>
                <a:lnTo>
                  <a:pt x="183" y="231"/>
                </a:lnTo>
                <a:lnTo>
                  <a:pt x="205" y="229"/>
                </a:lnTo>
                <a:lnTo>
                  <a:pt x="226" y="228"/>
                </a:lnTo>
                <a:lnTo>
                  <a:pt x="244" y="228"/>
                </a:lnTo>
                <a:lnTo>
                  <a:pt x="252" y="229"/>
                </a:lnTo>
                <a:lnTo>
                  <a:pt x="260" y="231"/>
                </a:lnTo>
                <a:lnTo>
                  <a:pt x="265" y="233"/>
                </a:lnTo>
                <a:lnTo>
                  <a:pt x="271" y="235"/>
                </a:lnTo>
                <a:lnTo>
                  <a:pt x="275" y="238"/>
                </a:lnTo>
                <a:lnTo>
                  <a:pt x="279" y="242"/>
                </a:lnTo>
                <a:lnTo>
                  <a:pt x="281" y="245"/>
                </a:lnTo>
                <a:lnTo>
                  <a:pt x="281" y="250"/>
                </a:lnTo>
                <a:lnTo>
                  <a:pt x="288" y="250"/>
                </a:lnTo>
                <a:lnTo>
                  <a:pt x="301" y="262"/>
                </a:lnTo>
                <a:lnTo>
                  <a:pt x="314" y="274"/>
                </a:lnTo>
                <a:lnTo>
                  <a:pt x="321" y="274"/>
                </a:lnTo>
                <a:lnTo>
                  <a:pt x="321" y="283"/>
                </a:lnTo>
                <a:lnTo>
                  <a:pt x="323" y="294"/>
                </a:lnTo>
                <a:lnTo>
                  <a:pt x="327" y="305"/>
                </a:lnTo>
                <a:lnTo>
                  <a:pt x="330" y="317"/>
                </a:lnTo>
                <a:lnTo>
                  <a:pt x="340" y="341"/>
                </a:lnTo>
                <a:lnTo>
                  <a:pt x="351" y="367"/>
                </a:lnTo>
                <a:lnTo>
                  <a:pt x="362" y="391"/>
                </a:lnTo>
                <a:lnTo>
                  <a:pt x="371" y="416"/>
                </a:lnTo>
                <a:lnTo>
                  <a:pt x="376" y="428"/>
                </a:lnTo>
                <a:lnTo>
                  <a:pt x="379" y="439"/>
                </a:lnTo>
                <a:lnTo>
                  <a:pt x="380" y="449"/>
                </a:lnTo>
                <a:lnTo>
                  <a:pt x="381" y="458"/>
                </a:lnTo>
                <a:lnTo>
                  <a:pt x="384" y="460"/>
                </a:lnTo>
                <a:lnTo>
                  <a:pt x="387" y="464"/>
                </a:lnTo>
                <a:lnTo>
                  <a:pt x="391" y="469"/>
                </a:lnTo>
                <a:lnTo>
                  <a:pt x="397" y="477"/>
                </a:lnTo>
                <a:lnTo>
                  <a:pt x="408" y="495"/>
                </a:lnTo>
                <a:lnTo>
                  <a:pt x="422" y="517"/>
                </a:lnTo>
                <a:lnTo>
                  <a:pt x="446" y="559"/>
                </a:lnTo>
                <a:lnTo>
                  <a:pt x="461" y="580"/>
                </a:lnTo>
                <a:lnTo>
                  <a:pt x="480" y="600"/>
                </a:lnTo>
                <a:lnTo>
                  <a:pt x="512" y="635"/>
                </a:lnTo>
                <a:lnTo>
                  <a:pt x="528" y="651"/>
                </a:lnTo>
                <a:lnTo>
                  <a:pt x="541" y="667"/>
                </a:lnTo>
                <a:lnTo>
                  <a:pt x="551" y="679"/>
                </a:lnTo>
                <a:lnTo>
                  <a:pt x="554" y="686"/>
                </a:lnTo>
                <a:lnTo>
                  <a:pt x="559" y="693"/>
                </a:lnTo>
                <a:lnTo>
                  <a:pt x="570" y="709"/>
                </a:lnTo>
                <a:lnTo>
                  <a:pt x="586" y="733"/>
                </a:lnTo>
                <a:lnTo>
                  <a:pt x="604" y="762"/>
                </a:lnTo>
                <a:lnTo>
                  <a:pt x="621" y="791"/>
                </a:lnTo>
                <a:lnTo>
                  <a:pt x="636" y="818"/>
                </a:lnTo>
                <a:lnTo>
                  <a:pt x="643" y="830"/>
                </a:lnTo>
                <a:lnTo>
                  <a:pt x="647" y="840"/>
                </a:lnTo>
                <a:lnTo>
                  <a:pt x="650" y="848"/>
                </a:lnTo>
                <a:lnTo>
                  <a:pt x="652" y="853"/>
                </a:lnTo>
                <a:lnTo>
                  <a:pt x="655" y="854"/>
                </a:lnTo>
                <a:lnTo>
                  <a:pt x="657" y="859"/>
                </a:lnTo>
                <a:lnTo>
                  <a:pt x="660" y="866"/>
                </a:lnTo>
                <a:lnTo>
                  <a:pt x="663" y="872"/>
                </a:lnTo>
                <a:lnTo>
                  <a:pt x="665" y="880"/>
                </a:lnTo>
                <a:lnTo>
                  <a:pt x="668" y="886"/>
                </a:lnTo>
                <a:lnTo>
                  <a:pt x="670" y="890"/>
                </a:lnTo>
                <a:lnTo>
                  <a:pt x="673" y="892"/>
                </a:lnTo>
                <a:lnTo>
                  <a:pt x="673" y="899"/>
                </a:lnTo>
                <a:lnTo>
                  <a:pt x="674" y="907"/>
                </a:lnTo>
                <a:lnTo>
                  <a:pt x="676" y="914"/>
                </a:lnTo>
                <a:lnTo>
                  <a:pt x="678" y="921"/>
                </a:lnTo>
                <a:lnTo>
                  <a:pt x="685" y="937"/>
                </a:lnTo>
                <a:lnTo>
                  <a:pt x="692" y="950"/>
                </a:lnTo>
                <a:lnTo>
                  <a:pt x="705" y="975"/>
                </a:lnTo>
                <a:lnTo>
                  <a:pt x="712" y="989"/>
                </a:lnTo>
                <a:lnTo>
                  <a:pt x="717" y="989"/>
                </a:lnTo>
                <a:lnTo>
                  <a:pt x="718" y="993"/>
                </a:lnTo>
                <a:lnTo>
                  <a:pt x="720" y="995"/>
                </a:lnTo>
                <a:lnTo>
                  <a:pt x="721" y="996"/>
                </a:lnTo>
                <a:lnTo>
                  <a:pt x="724" y="996"/>
                </a:lnTo>
                <a:lnTo>
                  <a:pt x="730" y="994"/>
                </a:lnTo>
                <a:lnTo>
                  <a:pt x="736" y="989"/>
                </a:lnTo>
                <a:lnTo>
                  <a:pt x="743" y="982"/>
                </a:lnTo>
                <a:lnTo>
                  <a:pt x="749" y="973"/>
                </a:lnTo>
                <a:lnTo>
                  <a:pt x="751" y="968"/>
                </a:lnTo>
                <a:lnTo>
                  <a:pt x="753" y="963"/>
                </a:lnTo>
                <a:lnTo>
                  <a:pt x="754" y="958"/>
                </a:lnTo>
                <a:lnTo>
                  <a:pt x="754" y="953"/>
                </a:lnTo>
                <a:lnTo>
                  <a:pt x="754" y="946"/>
                </a:lnTo>
                <a:lnTo>
                  <a:pt x="756" y="938"/>
                </a:lnTo>
                <a:lnTo>
                  <a:pt x="759" y="931"/>
                </a:lnTo>
                <a:lnTo>
                  <a:pt x="762" y="924"/>
                </a:lnTo>
                <a:lnTo>
                  <a:pt x="766" y="916"/>
                </a:lnTo>
                <a:lnTo>
                  <a:pt x="771" y="909"/>
                </a:lnTo>
                <a:lnTo>
                  <a:pt x="778" y="901"/>
                </a:lnTo>
                <a:lnTo>
                  <a:pt x="784" y="894"/>
                </a:lnTo>
                <a:lnTo>
                  <a:pt x="799" y="879"/>
                </a:lnTo>
                <a:lnTo>
                  <a:pt x="817" y="864"/>
                </a:lnTo>
                <a:lnTo>
                  <a:pt x="837" y="850"/>
                </a:lnTo>
                <a:lnTo>
                  <a:pt x="859" y="835"/>
                </a:lnTo>
                <a:lnTo>
                  <a:pt x="866" y="793"/>
                </a:lnTo>
                <a:lnTo>
                  <a:pt x="869" y="792"/>
                </a:lnTo>
                <a:lnTo>
                  <a:pt x="871" y="789"/>
                </a:lnTo>
                <a:lnTo>
                  <a:pt x="875" y="783"/>
                </a:lnTo>
                <a:lnTo>
                  <a:pt x="877" y="777"/>
                </a:lnTo>
                <a:lnTo>
                  <a:pt x="880" y="764"/>
                </a:lnTo>
                <a:lnTo>
                  <a:pt x="881" y="755"/>
                </a:lnTo>
                <a:lnTo>
                  <a:pt x="885" y="753"/>
                </a:lnTo>
                <a:lnTo>
                  <a:pt x="888" y="747"/>
                </a:lnTo>
                <a:lnTo>
                  <a:pt x="893" y="739"/>
                </a:lnTo>
                <a:lnTo>
                  <a:pt x="896" y="731"/>
                </a:lnTo>
                <a:lnTo>
                  <a:pt x="902" y="713"/>
                </a:lnTo>
                <a:lnTo>
                  <a:pt x="905" y="700"/>
                </a:lnTo>
                <a:lnTo>
                  <a:pt x="913" y="693"/>
                </a:lnTo>
                <a:lnTo>
                  <a:pt x="935" y="692"/>
                </a:lnTo>
                <a:lnTo>
                  <a:pt x="957" y="689"/>
                </a:lnTo>
                <a:lnTo>
                  <a:pt x="979" y="687"/>
                </a:lnTo>
                <a:lnTo>
                  <a:pt x="998" y="686"/>
                </a:lnTo>
                <a:lnTo>
                  <a:pt x="1008" y="677"/>
                </a:lnTo>
                <a:lnTo>
                  <a:pt x="1029" y="658"/>
                </a:lnTo>
                <a:lnTo>
                  <a:pt x="1050" y="640"/>
                </a:lnTo>
                <a:lnTo>
                  <a:pt x="1059" y="631"/>
                </a:lnTo>
                <a:lnTo>
                  <a:pt x="1059" y="616"/>
                </a:lnTo>
                <a:lnTo>
                  <a:pt x="1063" y="616"/>
                </a:lnTo>
                <a:lnTo>
                  <a:pt x="1066" y="614"/>
                </a:lnTo>
                <a:lnTo>
                  <a:pt x="1067" y="613"/>
                </a:lnTo>
                <a:lnTo>
                  <a:pt x="1067" y="612"/>
                </a:lnTo>
                <a:lnTo>
                  <a:pt x="1067" y="611"/>
                </a:lnTo>
                <a:lnTo>
                  <a:pt x="1068" y="609"/>
                </a:lnTo>
                <a:lnTo>
                  <a:pt x="1070" y="609"/>
                </a:lnTo>
                <a:lnTo>
                  <a:pt x="1075" y="608"/>
                </a:lnTo>
                <a:lnTo>
                  <a:pt x="1082" y="600"/>
                </a:lnTo>
                <a:lnTo>
                  <a:pt x="1084" y="588"/>
                </a:lnTo>
                <a:lnTo>
                  <a:pt x="1086" y="572"/>
                </a:lnTo>
                <a:lnTo>
                  <a:pt x="1089" y="555"/>
                </a:lnTo>
                <a:lnTo>
                  <a:pt x="1090" y="539"/>
                </a:lnTo>
                <a:lnTo>
                  <a:pt x="1106" y="531"/>
                </a:lnTo>
                <a:lnTo>
                  <a:pt x="1106" y="507"/>
                </a:lnTo>
                <a:lnTo>
                  <a:pt x="1108" y="507"/>
                </a:lnTo>
                <a:lnTo>
                  <a:pt x="1111" y="505"/>
                </a:lnTo>
                <a:lnTo>
                  <a:pt x="1115" y="503"/>
                </a:lnTo>
                <a:lnTo>
                  <a:pt x="1117" y="498"/>
                </a:lnTo>
                <a:lnTo>
                  <a:pt x="1123" y="492"/>
                </a:lnTo>
                <a:lnTo>
                  <a:pt x="1129" y="484"/>
                </a:lnTo>
                <a:lnTo>
                  <a:pt x="1144" y="484"/>
                </a:lnTo>
                <a:lnTo>
                  <a:pt x="1145" y="481"/>
                </a:lnTo>
                <a:lnTo>
                  <a:pt x="1145" y="477"/>
                </a:lnTo>
                <a:lnTo>
                  <a:pt x="1147" y="477"/>
                </a:lnTo>
                <a:lnTo>
                  <a:pt x="1148" y="477"/>
                </a:lnTo>
                <a:lnTo>
                  <a:pt x="1149" y="476"/>
                </a:lnTo>
                <a:lnTo>
                  <a:pt x="1150" y="476"/>
                </a:lnTo>
                <a:lnTo>
                  <a:pt x="1152" y="474"/>
                </a:lnTo>
                <a:lnTo>
                  <a:pt x="1152" y="469"/>
                </a:lnTo>
                <a:lnTo>
                  <a:pt x="1167" y="469"/>
                </a:lnTo>
                <a:lnTo>
                  <a:pt x="1167" y="465"/>
                </a:lnTo>
                <a:lnTo>
                  <a:pt x="1168" y="463"/>
                </a:lnTo>
                <a:lnTo>
                  <a:pt x="1169" y="462"/>
                </a:lnTo>
                <a:lnTo>
                  <a:pt x="1172" y="462"/>
                </a:lnTo>
                <a:lnTo>
                  <a:pt x="1173" y="462"/>
                </a:lnTo>
                <a:lnTo>
                  <a:pt x="1174" y="460"/>
                </a:lnTo>
                <a:lnTo>
                  <a:pt x="1175" y="458"/>
                </a:lnTo>
                <a:lnTo>
                  <a:pt x="1175" y="454"/>
                </a:lnTo>
                <a:lnTo>
                  <a:pt x="1178" y="453"/>
                </a:lnTo>
                <a:lnTo>
                  <a:pt x="1181" y="453"/>
                </a:lnTo>
                <a:lnTo>
                  <a:pt x="1184" y="450"/>
                </a:lnTo>
                <a:lnTo>
                  <a:pt x="1186" y="448"/>
                </a:lnTo>
                <a:lnTo>
                  <a:pt x="1187" y="446"/>
                </a:lnTo>
                <a:lnTo>
                  <a:pt x="1190" y="444"/>
                </a:lnTo>
                <a:lnTo>
                  <a:pt x="1191" y="442"/>
                </a:lnTo>
                <a:lnTo>
                  <a:pt x="1191" y="438"/>
                </a:lnTo>
                <a:lnTo>
                  <a:pt x="1196" y="438"/>
                </a:lnTo>
                <a:lnTo>
                  <a:pt x="1201" y="437"/>
                </a:lnTo>
                <a:lnTo>
                  <a:pt x="1203" y="436"/>
                </a:lnTo>
                <a:lnTo>
                  <a:pt x="1205" y="435"/>
                </a:lnTo>
                <a:lnTo>
                  <a:pt x="1205" y="433"/>
                </a:lnTo>
                <a:lnTo>
                  <a:pt x="1206" y="430"/>
                </a:lnTo>
                <a:lnTo>
                  <a:pt x="1222" y="430"/>
                </a:lnTo>
                <a:lnTo>
                  <a:pt x="1222" y="415"/>
                </a:lnTo>
                <a:lnTo>
                  <a:pt x="1238" y="415"/>
                </a:lnTo>
                <a:lnTo>
                  <a:pt x="1238" y="412"/>
                </a:lnTo>
                <a:lnTo>
                  <a:pt x="1240" y="409"/>
                </a:lnTo>
                <a:lnTo>
                  <a:pt x="1242" y="406"/>
                </a:lnTo>
                <a:lnTo>
                  <a:pt x="1245" y="404"/>
                </a:lnTo>
                <a:lnTo>
                  <a:pt x="1253" y="398"/>
                </a:lnTo>
                <a:lnTo>
                  <a:pt x="1260" y="391"/>
                </a:lnTo>
                <a:lnTo>
                  <a:pt x="1260" y="385"/>
                </a:lnTo>
                <a:lnTo>
                  <a:pt x="1261" y="377"/>
                </a:lnTo>
                <a:lnTo>
                  <a:pt x="1262" y="373"/>
                </a:lnTo>
                <a:lnTo>
                  <a:pt x="1263" y="371"/>
                </a:lnTo>
                <a:lnTo>
                  <a:pt x="1265" y="369"/>
                </a:lnTo>
                <a:lnTo>
                  <a:pt x="1268" y="369"/>
                </a:lnTo>
                <a:lnTo>
                  <a:pt x="1269" y="348"/>
                </a:lnTo>
                <a:lnTo>
                  <a:pt x="1272" y="323"/>
                </a:lnTo>
                <a:lnTo>
                  <a:pt x="1274" y="300"/>
                </a:lnTo>
                <a:lnTo>
                  <a:pt x="1276" y="283"/>
                </a:lnTo>
                <a:lnTo>
                  <a:pt x="1291" y="269"/>
                </a:lnTo>
                <a:lnTo>
                  <a:pt x="1307" y="253"/>
                </a:lnTo>
                <a:lnTo>
                  <a:pt x="1307" y="237"/>
                </a:lnTo>
                <a:lnTo>
                  <a:pt x="1311" y="237"/>
                </a:lnTo>
                <a:lnTo>
                  <a:pt x="1313" y="236"/>
                </a:lnTo>
                <a:lnTo>
                  <a:pt x="1315" y="235"/>
                </a:lnTo>
                <a:lnTo>
                  <a:pt x="1315" y="233"/>
                </a:lnTo>
                <a:lnTo>
                  <a:pt x="1315" y="232"/>
                </a:lnTo>
                <a:lnTo>
                  <a:pt x="1316" y="231"/>
                </a:lnTo>
                <a:lnTo>
                  <a:pt x="1318" y="229"/>
                </a:lnTo>
                <a:lnTo>
                  <a:pt x="1322" y="229"/>
                </a:lnTo>
                <a:lnTo>
                  <a:pt x="1322" y="224"/>
                </a:lnTo>
                <a:lnTo>
                  <a:pt x="1324" y="218"/>
                </a:lnTo>
                <a:lnTo>
                  <a:pt x="1324" y="217"/>
                </a:lnTo>
                <a:lnTo>
                  <a:pt x="1326" y="215"/>
                </a:lnTo>
                <a:lnTo>
                  <a:pt x="1327" y="214"/>
                </a:lnTo>
                <a:lnTo>
                  <a:pt x="1330" y="214"/>
                </a:lnTo>
                <a:lnTo>
                  <a:pt x="1332" y="203"/>
                </a:lnTo>
                <a:lnTo>
                  <a:pt x="1339" y="180"/>
                </a:lnTo>
                <a:lnTo>
                  <a:pt x="1348" y="154"/>
                </a:lnTo>
                <a:lnTo>
                  <a:pt x="1357" y="123"/>
                </a:lnTo>
                <a:lnTo>
                  <a:pt x="1361" y="108"/>
                </a:lnTo>
                <a:lnTo>
                  <a:pt x="1365" y="93"/>
                </a:lnTo>
                <a:lnTo>
                  <a:pt x="1367" y="80"/>
                </a:lnTo>
                <a:lnTo>
                  <a:pt x="1369" y="69"/>
                </a:lnTo>
                <a:lnTo>
                  <a:pt x="1369" y="59"/>
                </a:lnTo>
                <a:lnTo>
                  <a:pt x="1368" y="51"/>
                </a:lnTo>
                <a:lnTo>
                  <a:pt x="1367" y="48"/>
                </a:lnTo>
                <a:lnTo>
                  <a:pt x="1366" y="45"/>
                </a:lnTo>
                <a:lnTo>
                  <a:pt x="1364" y="44"/>
                </a:lnTo>
                <a:lnTo>
                  <a:pt x="1360" y="44"/>
                </a:lnTo>
                <a:lnTo>
                  <a:pt x="1360" y="29"/>
                </a:lnTo>
                <a:lnTo>
                  <a:pt x="1358" y="27"/>
                </a:lnTo>
                <a:lnTo>
                  <a:pt x="1356" y="26"/>
                </a:lnTo>
                <a:lnTo>
                  <a:pt x="1354" y="24"/>
                </a:lnTo>
                <a:lnTo>
                  <a:pt x="1353" y="21"/>
                </a:lnTo>
                <a:lnTo>
                  <a:pt x="1349" y="17"/>
                </a:lnTo>
                <a:lnTo>
                  <a:pt x="1347" y="15"/>
                </a:lnTo>
                <a:lnTo>
                  <a:pt x="1343" y="14"/>
                </a:lnTo>
                <a:lnTo>
                  <a:pt x="1338" y="13"/>
                </a:lnTo>
                <a:lnTo>
                  <a:pt x="133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75" name="Freeform 36">
            <a:extLst>
              <a:ext uri="{FF2B5EF4-FFF2-40B4-BE49-F238E27FC236}">
                <a16:creationId xmlns:a16="http://schemas.microsoft.com/office/drawing/2014/main" id="{B8160EB1-0694-4F07-A60A-50E623B19DA9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094538" y="3306763"/>
            <a:ext cx="373114" cy="212725"/>
          </a:xfrm>
          <a:custGeom>
            <a:avLst/>
            <a:gdLst/>
            <a:ahLst/>
            <a:cxnLst>
              <a:cxn ang="0">
                <a:pos x="249" y="127"/>
              </a:cxn>
              <a:cxn ang="0">
                <a:pos x="262" y="192"/>
              </a:cxn>
              <a:cxn ang="0">
                <a:pos x="258" y="259"/>
              </a:cxn>
              <a:cxn ang="0">
                <a:pos x="229" y="334"/>
              </a:cxn>
              <a:cxn ang="0">
                <a:pos x="192" y="419"/>
              </a:cxn>
              <a:cxn ang="0">
                <a:pos x="117" y="457"/>
              </a:cxn>
              <a:cxn ang="0">
                <a:pos x="56" y="482"/>
              </a:cxn>
              <a:cxn ang="0">
                <a:pos x="11" y="517"/>
              </a:cxn>
              <a:cxn ang="0">
                <a:pos x="12" y="569"/>
              </a:cxn>
              <a:cxn ang="0">
                <a:pos x="44" y="585"/>
              </a:cxn>
              <a:cxn ang="0">
                <a:pos x="86" y="604"/>
              </a:cxn>
              <a:cxn ang="0">
                <a:pos x="115" y="703"/>
              </a:cxn>
              <a:cxn ang="0">
                <a:pos x="125" y="913"/>
              </a:cxn>
              <a:cxn ang="0">
                <a:pos x="123" y="1014"/>
              </a:cxn>
              <a:cxn ang="0">
                <a:pos x="135" y="1049"/>
              </a:cxn>
              <a:cxn ang="0">
                <a:pos x="165" y="1097"/>
              </a:cxn>
              <a:cxn ang="0">
                <a:pos x="225" y="1125"/>
              </a:cxn>
              <a:cxn ang="0">
                <a:pos x="270" y="1165"/>
              </a:cxn>
              <a:cxn ang="0">
                <a:pos x="305" y="1206"/>
              </a:cxn>
              <a:cxn ang="0">
                <a:pos x="344" y="1245"/>
              </a:cxn>
              <a:cxn ang="0">
                <a:pos x="388" y="1284"/>
              </a:cxn>
              <a:cxn ang="0">
                <a:pos x="444" y="1306"/>
              </a:cxn>
              <a:cxn ang="0">
                <a:pos x="511" y="1259"/>
              </a:cxn>
              <a:cxn ang="0">
                <a:pos x="619" y="1198"/>
              </a:cxn>
              <a:cxn ang="0">
                <a:pos x="647" y="1274"/>
              </a:cxn>
              <a:cxn ang="0">
                <a:pos x="805" y="1266"/>
              </a:cxn>
              <a:cxn ang="0">
                <a:pos x="833" y="1207"/>
              </a:cxn>
              <a:cxn ang="0">
                <a:pos x="954" y="1183"/>
              </a:cxn>
              <a:cxn ang="0">
                <a:pos x="974" y="1141"/>
              </a:cxn>
              <a:cxn ang="0">
                <a:pos x="1140" y="1105"/>
              </a:cxn>
              <a:cxn ang="0">
                <a:pos x="1250" y="1028"/>
              </a:cxn>
              <a:cxn ang="0">
                <a:pos x="1361" y="952"/>
              </a:cxn>
              <a:cxn ang="0">
                <a:pos x="1519" y="923"/>
              </a:cxn>
              <a:cxn ang="0">
                <a:pos x="1821" y="881"/>
              </a:cxn>
              <a:cxn ang="0">
                <a:pos x="2048" y="855"/>
              </a:cxn>
              <a:cxn ang="0">
                <a:pos x="2036" y="755"/>
              </a:cxn>
              <a:cxn ang="0">
                <a:pos x="2006" y="714"/>
              </a:cxn>
              <a:cxn ang="0">
                <a:pos x="1940" y="644"/>
              </a:cxn>
              <a:cxn ang="0">
                <a:pos x="1886" y="572"/>
              </a:cxn>
              <a:cxn ang="0">
                <a:pos x="1866" y="511"/>
              </a:cxn>
              <a:cxn ang="0">
                <a:pos x="1824" y="454"/>
              </a:cxn>
              <a:cxn ang="0">
                <a:pos x="1757" y="449"/>
              </a:cxn>
              <a:cxn ang="0">
                <a:pos x="1712" y="459"/>
              </a:cxn>
              <a:cxn ang="0">
                <a:pos x="1621" y="433"/>
              </a:cxn>
              <a:cxn ang="0">
                <a:pos x="1583" y="381"/>
              </a:cxn>
              <a:cxn ang="0">
                <a:pos x="1555" y="315"/>
              </a:cxn>
              <a:cxn ang="0">
                <a:pos x="1514" y="211"/>
              </a:cxn>
              <a:cxn ang="0">
                <a:pos x="1451" y="119"/>
              </a:cxn>
              <a:cxn ang="0">
                <a:pos x="1430" y="134"/>
              </a:cxn>
              <a:cxn ang="0">
                <a:pos x="1294" y="130"/>
              </a:cxn>
              <a:cxn ang="0">
                <a:pos x="964" y="81"/>
              </a:cxn>
              <a:cxn ang="0">
                <a:pos x="887" y="71"/>
              </a:cxn>
              <a:cxn ang="0">
                <a:pos x="839" y="36"/>
              </a:cxn>
              <a:cxn ang="0">
                <a:pos x="577" y="57"/>
              </a:cxn>
              <a:cxn ang="0">
                <a:pos x="523" y="94"/>
              </a:cxn>
              <a:cxn ang="0">
                <a:pos x="441" y="75"/>
              </a:cxn>
              <a:cxn ang="0">
                <a:pos x="407" y="86"/>
              </a:cxn>
              <a:cxn ang="0">
                <a:pos x="341" y="85"/>
              </a:cxn>
            </a:cxnLst>
            <a:rect l="0" t="0" r="r" b="b"/>
            <a:pathLst>
              <a:path w="2057" h="1328">
                <a:moveTo>
                  <a:pt x="334" y="71"/>
                </a:moveTo>
                <a:lnTo>
                  <a:pt x="314" y="81"/>
                </a:lnTo>
                <a:lnTo>
                  <a:pt x="289" y="93"/>
                </a:lnTo>
                <a:lnTo>
                  <a:pt x="277" y="101"/>
                </a:lnTo>
                <a:lnTo>
                  <a:pt x="267" y="108"/>
                </a:lnTo>
                <a:lnTo>
                  <a:pt x="263" y="112"/>
                </a:lnTo>
                <a:lnTo>
                  <a:pt x="260" y="115"/>
                </a:lnTo>
                <a:lnTo>
                  <a:pt x="259" y="120"/>
                </a:lnTo>
                <a:lnTo>
                  <a:pt x="258" y="123"/>
                </a:lnTo>
                <a:lnTo>
                  <a:pt x="249" y="127"/>
                </a:lnTo>
                <a:lnTo>
                  <a:pt x="249" y="136"/>
                </a:lnTo>
                <a:lnTo>
                  <a:pt x="249" y="149"/>
                </a:lnTo>
                <a:lnTo>
                  <a:pt x="249" y="161"/>
                </a:lnTo>
                <a:lnTo>
                  <a:pt x="249" y="170"/>
                </a:lnTo>
                <a:lnTo>
                  <a:pt x="252" y="173"/>
                </a:lnTo>
                <a:lnTo>
                  <a:pt x="255" y="178"/>
                </a:lnTo>
                <a:lnTo>
                  <a:pt x="257" y="182"/>
                </a:lnTo>
                <a:lnTo>
                  <a:pt x="258" y="189"/>
                </a:lnTo>
                <a:lnTo>
                  <a:pt x="260" y="190"/>
                </a:lnTo>
                <a:lnTo>
                  <a:pt x="262" y="192"/>
                </a:lnTo>
                <a:lnTo>
                  <a:pt x="264" y="194"/>
                </a:lnTo>
                <a:lnTo>
                  <a:pt x="266" y="198"/>
                </a:lnTo>
                <a:lnTo>
                  <a:pt x="269" y="204"/>
                </a:lnTo>
                <a:lnTo>
                  <a:pt x="270" y="213"/>
                </a:lnTo>
                <a:lnTo>
                  <a:pt x="272" y="232"/>
                </a:lnTo>
                <a:lnTo>
                  <a:pt x="272" y="249"/>
                </a:lnTo>
                <a:lnTo>
                  <a:pt x="269" y="252"/>
                </a:lnTo>
                <a:lnTo>
                  <a:pt x="264" y="256"/>
                </a:lnTo>
                <a:lnTo>
                  <a:pt x="261" y="258"/>
                </a:lnTo>
                <a:lnTo>
                  <a:pt x="258" y="259"/>
                </a:lnTo>
                <a:lnTo>
                  <a:pt x="258" y="268"/>
                </a:lnTo>
                <a:lnTo>
                  <a:pt x="253" y="270"/>
                </a:lnTo>
                <a:lnTo>
                  <a:pt x="249" y="273"/>
                </a:lnTo>
                <a:lnTo>
                  <a:pt x="248" y="277"/>
                </a:lnTo>
                <a:lnTo>
                  <a:pt x="245" y="281"/>
                </a:lnTo>
                <a:lnTo>
                  <a:pt x="242" y="286"/>
                </a:lnTo>
                <a:lnTo>
                  <a:pt x="239" y="287"/>
                </a:lnTo>
                <a:lnTo>
                  <a:pt x="234" y="292"/>
                </a:lnTo>
                <a:lnTo>
                  <a:pt x="233" y="305"/>
                </a:lnTo>
                <a:lnTo>
                  <a:pt x="229" y="334"/>
                </a:lnTo>
                <a:lnTo>
                  <a:pt x="226" y="350"/>
                </a:lnTo>
                <a:lnTo>
                  <a:pt x="224" y="363"/>
                </a:lnTo>
                <a:lnTo>
                  <a:pt x="222" y="373"/>
                </a:lnTo>
                <a:lnTo>
                  <a:pt x="221" y="376"/>
                </a:lnTo>
                <a:lnTo>
                  <a:pt x="221" y="400"/>
                </a:lnTo>
                <a:lnTo>
                  <a:pt x="215" y="404"/>
                </a:lnTo>
                <a:lnTo>
                  <a:pt x="211" y="406"/>
                </a:lnTo>
                <a:lnTo>
                  <a:pt x="206" y="409"/>
                </a:lnTo>
                <a:lnTo>
                  <a:pt x="202" y="419"/>
                </a:lnTo>
                <a:lnTo>
                  <a:pt x="192" y="419"/>
                </a:lnTo>
                <a:lnTo>
                  <a:pt x="187" y="422"/>
                </a:lnTo>
                <a:lnTo>
                  <a:pt x="180" y="427"/>
                </a:lnTo>
                <a:lnTo>
                  <a:pt x="171" y="432"/>
                </a:lnTo>
                <a:lnTo>
                  <a:pt x="161" y="437"/>
                </a:lnTo>
                <a:lnTo>
                  <a:pt x="151" y="440"/>
                </a:lnTo>
                <a:lnTo>
                  <a:pt x="142" y="443"/>
                </a:lnTo>
                <a:lnTo>
                  <a:pt x="133" y="446"/>
                </a:lnTo>
                <a:lnTo>
                  <a:pt x="126" y="447"/>
                </a:lnTo>
                <a:lnTo>
                  <a:pt x="122" y="451"/>
                </a:lnTo>
                <a:lnTo>
                  <a:pt x="117" y="457"/>
                </a:lnTo>
                <a:lnTo>
                  <a:pt x="103" y="457"/>
                </a:lnTo>
                <a:lnTo>
                  <a:pt x="101" y="458"/>
                </a:lnTo>
                <a:lnTo>
                  <a:pt x="98" y="460"/>
                </a:lnTo>
                <a:lnTo>
                  <a:pt x="94" y="462"/>
                </a:lnTo>
                <a:lnTo>
                  <a:pt x="88" y="465"/>
                </a:lnTo>
                <a:lnTo>
                  <a:pt x="77" y="469"/>
                </a:lnTo>
                <a:lnTo>
                  <a:pt x="70" y="470"/>
                </a:lnTo>
                <a:lnTo>
                  <a:pt x="68" y="475"/>
                </a:lnTo>
                <a:lnTo>
                  <a:pt x="66" y="480"/>
                </a:lnTo>
                <a:lnTo>
                  <a:pt x="56" y="482"/>
                </a:lnTo>
                <a:lnTo>
                  <a:pt x="42" y="485"/>
                </a:lnTo>
                <a:lnTo>
                  <a:pt x="41" y="487"/>
                </a:lnTo>
                <a:lnTo>
                  <a:pt x="39" y="489"/>
                </a:lnTo>
                <a:lnTo>
                  <a:pt x="36" y="489"/>
                </a:lnTo>
                <a:lnTo>
                  <a:pt x="32" y="489"/>
                </a:lnTo>
                <a:lnTo>
                  <a:pt x="28" y="494"/>
                </a:lnTo>
                <a:lnTo>
                  <a:pt x="28" y="504"/>
                </a:lnTo>
                <a:lnTo>
                  <a:pt x="21" y="506"/>
                </a:lnTo>
                <a:lnTo>
                  <a:pt x="13" y="508"/>
                </a:lnTo>
                <a:lnTo>
                  <a:pt x="11" y="517"/>
                </a:lnTo>
                <a:lnTo>
                  <a:pt x="9" y="527"/>
                </a:lnTo>
                <a:lnTo>
                  <a:pt x="5" y="528"/>
                </a:lnTo>
                <a:lnTo>
                  <a:pt x="3" y="530"/>
                </a:lnTo>
                <a:lnTo>
                  <a:pt x="2" y="535"/>
                </a:lnTo>
                <a:lnTo>
                  <a:pt x="1" y="539"/>
                </a:lnTo>
                <a:lnTo>
                  <a:pt x="0" y="550"/>
                </a:lnTo>
                <a:lnTo>
                  <a:pt x="0" y="559"/>
                </a:lnTo>
                <a:lnTo>
                  <a:pt x="3" y="562"/>
                </a:lnTo>
                <a:lnTo>
                  <a:pt x="9" y="565"/>
                </a:lnTo>
                <a:lnTo>
                  <a:pt x="12" y="569"/>
                </a:lnTo>
                <a:lnTo>
                  <a:pt x="13" y="574"/>
                </a:lnTo>
                <a:lnTo>
                  <a:pt x="23" y="574"/>
                </a:lnTo>
                <a:lnTo>
                  <a:pt x="23" y="576"/>
                </a:lnTo>
                <a:lnTo>
                  <a:pt x="26" y="577"/>
                </a:lnTo>
                <a:lnTo>
                  <a:pt x="29" y="578"/>
                </a:lnTo>
                <a:lnTo>
                  <a:pt x="32" y="578"/>
                </a:lnTo>
                <a:lnTo>
                  <a:pt x="33" y="581"/>
                </a:lnTo>
                <a:lnTo>
                  <a:pt x="37" y="582"/>
                </a:lnTo>
                <a:lnTo>
                  <a:pt x="40" y="584"/>
                </a:lnTo>
                <a:lnTo>
                  <a:pt x="44" y="585"/>
                </a:lnTo>
                <a:lnTo>
                  <a:pt x="55" y="587"/>
                </a:lnTo>
                <a:lnTo>
                  <a:pt x="60" y="587"/>
                </a:lnTo>
                <a:lnTo>
                  <a:pt x="61" y="590"/>
                </a:lnTo>
                <a:lnTo>
                  <a:pt x="62" y="591"/>
                </a:lnTo>
                <a:lnTo>
                  <a:pt x="63" y="592"/>
                </a:lnTo>
                <a:lnTo>
                  <a:pt x="66" y="592"/>
                </a:lnTo>
                <a:lnTo>
                  <a:pt x="70" y="593"/>
                </a:lnTo>
                <a:lnTo>
                  <a:pt x="75" y="593"/>
                </a:lnTo>
                <a:lnTo>
                  <a:pt x="79" y="597"/>
                </a:lnTo>
                <a:lnTo>
                  <a:pt x="86" y="604"/>
                </a:lnTo>
                <a:lnTo>
                  <a:pt x="91" y="611"/>
                </a:lnTo>
                <a:lnTo>
                  <a:pt x="94" y="616"/>
                </a:lnTo>
                <a:lnTo>
                  <a:pt x="97" y="617"/>
                </a:lnTo>
                <a:lnTo>
                  <a:pt x="99" y="621"/>
                </a:lnTo>
                <a:lnTo>
                  <a:pt x="103" y="626"/>
                </a:lnTo>
                <a:lnTo>
                  <a:pt x="105" y="632"/>
                </a:lnTo>
                <a:lnTo>
                  <a:pt x="108" y="644"/>
                </a:lnTo>
                <a:lnTo>
                  <a:pt x="113" y="649"/>
                </a:lnTo>
                <a:lnTo>
                  <a:pt x="113" y="675"/>
                </a:lnTo>
                <a:lnTo>
                  <a:pt x="115" y="703"/>
                </a:lnTo>
                <a:lnTo>
                  <a:pt x="116" y="730"/>
                </a:lnTo>
                <a:lnTo>
                  <a:pt x="119" y="756"/>
                </a:lnTo>
                <a:lnTo>
                  <a:pt x="122" y="783"/>
                </a:lnTo>
                <a:lnTo>
                  <a:pt x="124" y="808"/>
                </a:lnTo>
                <a:lnTo>
                  <a:pt x="125" y="833"/>
                </a:lnTo>
                <a:lnTo>
                  <a:pt x="126" y="857"/>
                </a:lnTo>
                <a:lnTo>
                  <a:pt x="127" y="857"/>
                </a:lnTo>
                <a:lnTo>
                  <a:pt x="127" y="873"/>
                </a:lnTo>
                <a:lnTo>
                  <a:pt x="126" y="900"/>
                </a:lnTo>
                <a:lnTo>
                  <a:pt x="125" y="913"/>
                </a:lnTo>
                <a:lnTo>
                  <a:pt x="124" y="924"/>
                </a:lnTo>
                <a:lnTo>
                  <a:pt x="123" y="929"/>
                </a:lnTo>
                <a:lnTo>
                  <a:pt x="122" y="932"/>
                </a:lnTo>
                <a:lnTo>
                  <a:pt x="120" y="934"/>
                </a:lnTo>
                <a:lnTo>
                  <a:pt x="119" y="935"/>
                </a:lnTo>
                <a:lnTo>
                  <a:pt x="119" y="954"/>
                </a:lnTo>
                <a:lnTo>
                  <a:pt x="120" y="983"/>
                </a:lnTo>
                <a:lnTo>
                  <a:pt x="120" y="997"/>
                </a:lnTo>
                <a:lnTo>
                  <a:pt x="123" y="1009"/>
                </a:lnTo>
                <a:lnTo>
                  <a:pt x="123" y="1014"/>
                </a:lnTo>
                <a:lnTo>
                  <a:pt x="124" y="1017"/>
                </a:lnTo>
                <a:lnTo>
                  <a:pt x="125" y="1019"/>
                </a:lnTo>
                <a:lnTo>
                  <a:pt x="127" y="1020"/>
                </a:lnTo>
                <a:lnTo>
                  <a:pt x="127" y="1044"/>
                </a:lnTo>
                <a:lnTo>
                  <a:pt x="132" y="1044"/>
                </a:lnTo>
                <a:lnTo>
                  <a:pt x="134" y="1045"/>
                </a:lnTo>
                <a:lnTo>
                  <a:pt x="135" y="1046"/>
                </a:lnTo>
                <a:lnTo>
                  <a:pt x="135" y="1047"/>
                </a:lnTo>
                <a:lnTo>
                  <a:pt x="135" y="1048"/>
                </a:lnTo>
                <a:lnTo>
                  <a:pt x="135" y="1049"/>
                </a:lnTo>
                <a:lnTo>
                  <a:pt x="138" y="1050"/>
                </a:lnTo>
                <a:lnTo>
                  <a:pt x="143" y="1050"/>
                </a:lnTo>
                <a:lnTo>
                  <a:pt x="149" y="1058"/>
                </a:lnTo>
                <a:lnTo>
                  <a:pt x="151" y="1066"/>
                </a:lnTo>
                <a:lnTo>
                  <a:pt x="152" y="1073"/>
                </a:lnTo>
                <a:lnTo>
                  <a:pt x="154" y="1076"/>
                </a:lnTo>
                <a:lnTo>
                  <a:pt x="156" y="1079"/>
                </a:lnTo>
                <a:lnTo>
                  <a:pt x="161" y="1082"/>
                </a:lnTo>
                <a:lnTo>
                  <a:pt x="165" y="1082"/>
                </a:lnTo>
                <a:lnTo>
                  <a:pt x="165" y="1097"/>
                </a:lnTo>
                <a:lnTo>
                  <a:pt x="181" y="1097"/>
                </a:lnTo>
                <a:lnTo>
                  <a:pt x="182" y="1101"/>
                </a:lnTo>
                <a:lnTo>
                  <a:pt x="183" y="1103"/>
                </a:lnTo>
                <a:lnTo>
                  <a:pt x="185" y="1105"/>
                </a:lnTo>
                <a:lnTo>
                  <a:pt x="188" y="1107"/>
                </a:lnTo>
                <a:lnTo>
                  <a:pt x="195" y="1112"/>
                </a:lnTo>
                <a:lnTo>
                  <a:pt x="204" y="1115"/>
                </a:lnTo>
                <a:lnTo>
                  <a:pt x="213" y="1120"/>
                </a:lnTo>
                <a:lnTo>
                  <a:pt x="220" y="1122"/>
                </a:lnTo>
                <a:lnTo>
                  <a:pt x="225" y="1125"/>
                </a:lnTo>
                <a:lnTo>
                  <a:pt x="228" y="1129"/>
                </a:lnTo>
                <a:lnTo>
                  <a:pt x="243" y="1129"/>
                </a:lnTo>
                <a:lnTo>
                  <a:pt x="250" y="1136"/>
                </a:lnTo>
                <a:lnTo>
                  <a:pt x="251" y="1140"/>
                </a:lnTo>
                <a:lnTo>
                  <a:pt x="253" y="1144"/>
                </a:lnTo>
                <a:lnTo>
                  <a:pt x="255" y="1149"/>
                </a:lnTo>
                <a:lnTo>
                  <a:pt x="259" y="1154"/>
                </a:lnTo>
                <a:lnTo>
                  <a:pt x="263" y="1159"/>
                </a:lnTo>
                <a:lnTo>
                  <a:pt x="267" y="1163"/>
                </a:lnTo>
                <a:lnTo>
                  <a:pt x="270" y="1165"/>
                </a:lnTo>
                <a:lnTo>
                  <a:pt x="273" y="1167"/>
                </a:lnTo>
                <a:lnTo>
                  <a:pt x="274" y="1171"/>
                </a:lnTo>
                <a:lnTo>
                  <a:pt x="277" y="1175"/>
                </a:lnTo>
                <a:lnTo>
                  <a:pt x="279" y="1180"/>
                </a:lnTo>
                <a:lnTo>
                  <a:pt x="282" y="1185"/>
                </a:lnTo>
                <a:lnTo>
                  <a:pt x="286" y="1190"/>
                </a:lnTo>
                <a:lnTo>
                  <a:pt x="290" y="1194"/>
                </a:lnTo>
                <a:lnTo>
                  <a:pt x="293" y="1197"/>
                </a:lnTo>
                <a:lnTo>
                  <a:pt x="297" y="1198"/>
                </a:lnTo>
                <a:lnTo>
                  <a:pt x="305" y="1206"/>
                </a:lnTo>
                <a:lnTo>
                  <a:pt x="312" y="1213"/>
                </a:lnTo>
                <a:lnTo>
                  <a:pt x="312" y="1217"/>
                </a:lnTo>
                <a:lnTo>
                  <a:pt x="315" y="1220"/>
                </a:lnTo>
                <a:lnTo>
                  <a:pt x="318" y="1225"/>
                </a:lnTo>
                <a:lnTo>
                  <a:pt x="321" y="1228"/>
                </a:lnTo>
                <a:lnTo>
                  <a:pt x="325" y="1231"/>
                </a:lnTo>
                <a:lnTo>
                  <a:pt x="328" y="1233"/>
                </a:lnTo>
                <a:lnTo>
                  <a:pt x="332" y="1236"/>
                </a:lnTo>
                <a:lnTo>
                  <a:pt x="336" y="1237"/>
                </a:lnTo>
                <a:lnTo>
                  <a:pt x="344" y="1245"/>
                </a:lnTo>
                <a:lnTo>
                  <a:pt x="344" y="1259"/>
                </a:lnTo>
                <a:lnTo>
                  <a:pt x="351" y="1267"/>
                </a:lnTo>
                <a:lnTo>
                  <a:pt x="366" y="1271"/>
                </a:lnTo>
                <a:lnTo>
                  <a:pt x="382" y="1275"/>
                </a:lnTo>
                <a:lnTo>
                  <a:pt x="382" y="1279"/>
                </a:lnTo>
                <a:lnTo>
                  <a:pt x="383" y="1281"/>
                </a:lnTo>
                <a:lnTo>
                  <a:pt x="384" y="1283"/>
                </a:lnTo>
                <a:lnTo>
                  <a:pt x="386" y="1283"/>
                </a:lnTo>
                <a:lnTo>
                  <a:pt x="387" y="1283"/>
                </a:lnTo>
                <a:lnTo>
                  <a:pt x="388" y="1284"/>
                </a:lnTo>
                <a:lnTo>
                  <a:pt x="389" y="1286"/>
                </a:lnTo>
                <a:lnTo>
                  <a:pt x="389" y="1290"/>
                </a:lnTo>
                <a:lnTo>
                  <a:pt x="396" y="1292"/>
                </a:lnTo>
                <a:lnTo>
                  <a:pt x="403" y="1293"/>
                </a:lnTo>
                <a:lnTo>
                  <a:pt x="410" y="1296"/>
                </a:lnTo>
                <a:lnTo>
                  <a:pt x="416" y="1298"/>
                </a:lnTo>
                <a:lnTo>
                  <a:pt x="424" y="1302"/>
                </a:lnTo>
                <a:lnTo>
                  <a:pt x="431" y="1304"/>
                </a:lnTo>
                <a:lnTo>
                  <a:pt x="437" y="1305"/>
                </a:lnTo>
                <a:lnTo>
                  <a:pt x="444" y="1306"/>
                </a:lnTo>
                <a:lnTo>
                  <a:pt x="444" y="1312"/>
                </a:lnTo>
                <a:lnTo>
                  <a:pt x="444" y="1317"/>
                </a:lnTo>
                <a:lnTo>
                  <a:pt x="445" y="1318"/>
                </a:lnTo>
                <a:lnTo>
                  <a:pt x="447" y="1321"/>
                </a:lnTo>
                <a:lnTo>
                  <a:pt x="449" y="1322"/>
                </a:lnTo>
                <a:lnTo>
                  <a:pt x="452" y="1322"/>
                </a:lnTo>
                <a:lnTo>
                  <a:pt x="452" y="1328"/>
                </a:lnTo>
                <a:lnTo>
                  <a:pt x="473" y="1306"/>
                </a:lnTo>
                <a:lnTo>
                  <a:pt x="493" y="1283"/>
                </a:lnTo>
                <a:lnTo>
                  <a:pt x="511" y="1259"/>
                </a:lnTo>
                <a:lnTo>
                  <a:pt x="529" y="1238"/>
                </a:lnTo>
                <a:lnTo>
                  <a:pt x="546" y="1219"/>
                </a:lnTo>
                <a:lnTo>
                  <a:pt x="561" y="1203"/>
                </a:lnTo>
                <a:lnTo>
                  <a:pt x="569" y="1198"/>
                </a:lnTo>
                <a:lnTo>
                  <a:pt x="576" y="1193"/>
                </a:lnTo>
                <a:lnTo>
                  <a:pt x="584" y="1191"/>
                </a:lnTo>
                <a:lnTo>
                  <a:pt x="590" y="1190"/>
                </a:lnTo>
                <a:lnTo>
                  <a:pt x="603" y="1191"/>
                </a:lnTo>
                <a:lnTo>
                  <a:pt x="612" y="1193"/>
                </a:lnTo>
                <a:lnTo>
                  <a:pt x="619" y="1198"/>
                </a:lnTo>
                <a:lnTo>
                  <a:pt x="625" y="1203"/>
                </a:lnTo>
                <a:lnTo>
                  <a:pt x="629" y="1210"/>
                </a:lnTo>
                <a:lnTo>
                  <a:pt x="633" y="1217"/>
                </a:lnTo>
                <a:lnTo>
                  <a:pt x="635" y="1225"/>
                </a:lnTo>
                <a:lnTo>
                  <a:pt x="636" y="1232"/>
                </a:lnTo>
                <a:lnTo>
                  <a:pt x="637" y="1248"/>
                </a:lnTo>
                <a:lnTo>
                  <a:pt x="639" y="1261"/>
                </a:lnTo>
                <a:lnTo>
                  <a:pt x="641" y="1267"/>
                </a:lnTo>
                <a:lnTo>
                  <a:pt x="644" y="1271"/>
                </a:lnTo>
                <a:lnTo>
                  <a:pt x="647" y="1274"/>
                </a:lnTo>
                <a:lnTo>
                  <a:pt x="653" y="1275"/>
                </a:lnTo>
                <a:lnTo>
                  <a:pt x="714" y="1275"/>
                </a:lnTo>
                <a:lnTo>
                  <a:pt x="746" y="1278"/>
                </a:lnTo>
                <a:lnTo>
                  <a:pt x="775" y="1280"/>
                </a:lnTo>
                <a:lnTo>
                  <a:pt x="781" y="1280"/>
                </a:lnTo>
                <a:lnTo>
                  <a:pt x="788" y="1279"/>
                </a:lnTo>
                <a:lnTo>
                  <a:pt x="794" y="1278"/>
                </a:lnTo>
                <a:lnTo>
                  <a:pt x="798" y="1275"/>
                </a:lnTo>
                <a:lnTo>
                  <a:pt x="801" y="1271"/>
                </a:lnTo>
                <a:lnTo>
                  <a:pt x="805" y="1266"/>
                </a:lnTo>
                <a:lnTo>
                  <a:pt x="806" y="1260"/>
                </a:lnTo>
                <a:lnTo>
                  <a:pt x="807" y="1251"/>
                </a:lnTo>
                <a:lnTo>
                  <a:pt x="807" y="1244"/>
                </a:lnTo>
                <a:lnTo>
                  <a:pt x="809" y="1236"/>
                </a:lnTo>
                <a:lnTo>
                  <a:pt x="811" y="1230"/>
                </a:lnTo>
                <a:lnTo>
                  <a:pt x="814" y="1223"/>
                </a:lnTo>
                <a:lnTo>
                  <a:pt x="818" y="1219"/>
                </a:lnTo>
                <a:lnTo>
                  <a:pt x="821" y="1214"/>
                </a:lnTo>
                <a:lnTo>
                  <a:pt x="827" y="1210"/>
                </a:lnTo>
                <a:lnTo>
                  <a:pt x="833" y="1207"/>
                </a:lnTo>
                <a:lnTo>
                  <a:pt x="845" y="1202"/>
                </a:lnTo>
                <a:lnTo>
                  <a:pt x="858" y="1198"/>
                </a:lnTo>
                <a:lnTo>
                  <a:pt x="873" y="1196"/>
                </a:lnTo>
                <a:lnTo>
                  <a:pt x="888" y="1194"/>
                </a:lnTo>
                <a:lnTo>
                  <a:pt x="903" y="1192"/>
                </a:lnTo>
                <a:lnTo>
                  <a:pt x="917" y="1191"/>
                </a:lnTo>
                <a:lnTo>
                  <a:pt x="932" y="1189"/>
                </a:lnTo>
                <a:lnTo>
                  <a:pt x="944" y="1187"/>
                </a:lnTo>
                <a:lnTo>
                  <a:pt x="950" y="1184"/>
                </a:lnTo>
                <a:lnTo>
                  <a:pt x="954" y="1183"/>
                </a:lnTo>
                <a:lnTo>
                  <a:pt x="959" y="1180"/>
                </a:lnTo>
                <a:lnTo>
                  <a:pt x="962" y="1177"/>
                </a:lnTo>
                <a:lnTo>
                  <a:pt x="965" y="1173"/>
                </a:lnTo>
                <a:lnTo>
                  <a:pt x="968" y="1170"/>
                </a:lnTo>
                <a:lnTo>
                  <a:pt x="969" y="1164"/>
                </a:lnTo>
                <a:lnTo>
                  <a:pt x="969" y="1159"/>
                </a:lnTo>
                <a:lnTo>
                  <a:pt x="970" y="1154"/>
                </a:lnTo>
                <a:lnTo>
                  <a:pt x="971" y="1150"/>
                </a:lnTo>
                <a:lnTo>
                  <a:pt x="972" y="1145"/>
                </a:lnTo>
                <a:lnTo>
                  <a:pt x="974" y="1141"/>
                </a:lnTo>
                <a:lnTo>
                  <a:pt x="980" y="1134"/>
                </a:lnTo>
                <a:lnTo>
                  <a:pt x="987" y="1127"/>
                </a:lnTo>
                <a:lnTo>
                  <a:pt x="997" y="1123"/>
                </a:lnTo>
                <a:lnTo>
                  <a:pt x="1007" y="1119"/>
                </a:lnTo>
                <a:lnTo>
                  <a:pt x="1019" y="1115"/>
                </a:lnTo>
                <a:lnTo>
                  <a:pt x="1031" y="1112"/>
                </a:lnTo>
                <a:lnTo>
                  <a:pt x="1058" y="1107"/>
                </a:lnTo>
                <a:lnTo>
                  <a:pt x="1087" y="1106"/>
                </a:lnTo>
                <a:lnTo>
                  <a:pt x="1114" y="1105"/>
                </a:lnTo>
                <a:lnTo>
                  <a:pt x="1140" y="1105"/>
                </a:lnTo>
                <a:lnTo>
                  <a:pt x="1146" y="1105"/>
                </a:lnTo>
                <a:lnTo>
                  <a:pt x="1154" y="1103"/>
                </a:lnTo>
                <a:lnTo>
                  <a:pt x="1161" y="1102"/>
                </a:lnTo>
                <a:lnTo>
                  <a:pt x="1167" y="1098"/>
                </a:lnTo>
                <a:lnTo>
                  <a:pt x="1182" y="1091"/>
                </a:lnTo>
                <a:lnTo>
                  <a:pt x="1195" y="1081"/>
                </a:lnTo>
                <a:lnTo>
                  <a:pt x="1209" y="1069"/>
                </a:lnTo>
                <a:lnTo>
                  <a:pt x="1222" y="1056"/>
                </a:lnTo>
                <a:lnTo>
                  <a:pt x="1237" y="1043"/>
                </a:lnTo>
                <a:lnTo>
                  <a:pt x="1250" y="1028"/>
                </a:lnTo>
                <a:lnTo>
                  <a:pt x="1265" y="1014"/>
                </a:lnTo>
                <a:lnTo>
                  <a:pt x="1279" y="999"/>
                </a:lnTo>
                <a:lnTo>
                  <a:pt x="1295" y="987"/>
                </a:lnTo>
                <a:lnTo>
                  <a:pt x="1310" y="975"/>
                </a:lnTo>
                <a:lnTo>
                  <a:pt x="1318" y="969"/>
                </a:lnTo>
                <a:lnTo>
                  <a:pt x="1326" y="964"/>
                </a:lnTo>
                <a:lnTo>
                  <a:pt x="1335" y="961"/>
                </a:lnTo>
                <a:lnTo>
                  <a:pt x="1343" y="957"/>
                </a:lnTo>
                <a:lnTo>
                  <a:pt x="1352" y="954"/>
                </a:lnTo>
                <a:lnTo>
                  <a:pt x="1361" y="952"/>
                </a:lnTo>
                <a:lnTo>
                  <a:pt x="1370" y="951"/>
                </a:lnTo>
                <a:lnTo>
                  <a:pt x="1378" y="950"/>
                </a:lnTo>
                <a:lnTo>
                  <a:pt x="1404" y="950"/>
                </a:lnTo>
                <a:lnTo>
                  <a:pt x="1425" y="948"/>
                </a:lnTo>
                <a:lnTo>
                  <a:pt x="1445" y="946"/>
                </a:lnTo>
                <a:lnTo>
                  <a:pt x="1462" y="942"/>
                </a:lnTo>
                <a:lnTo>
                  <a:pt x="1478" y="938"/>
                </a:lnTo>
                <a:lnTo>
                  <a:pt x="1492" y="933"/>
                </a:lnTo>
                <a:lnTo>
                  <a:pt x="1506" y="929"/>
                </a:lnTo>
                <a:lnTo>
                  <a:pt x="1519" y="923"/>
                </a:lnTo>
                <a:lnTo>
                  <a:pt x="1545" y="913"/>
                </a:lnTo>
                <a:lnTo>
                  <a:pt x="1572" y="905"/>
                </a:lnTo>
                <a:lnTo>
                  <a:pt x="1586" y="901"/>
                </a:lnTo>
                <a:lnTo>
                  <a:pt x="1603" y="899"/>
                </a:lnTo>
                <a:lnTo>
                  <a:pt x="1621" y="898"/>
                </a:lnTo>
                <a:lnTo>
                  <a:pt x="1642" y="896"/>
                </a:lnTo>
                <a:lnTo>
                  <a:pt x="1673" y="895"/>
                </a:lnTo>
                <a:lnTo>
                  <a:pt x="1716" y="892"/>
                </a:lnTo>
                <a:lnTo>
                  <a:pt x="1766" y="886"/>
                </a:lnTo>
                <a:lnTo>
                  <a:pt x="1821" y="881"/>
                </a:lnTo>
                <a:lnTo>
                  <a:pt x="1876" y="876"/>
                </a:lnTo>
                <a:lnTo>
                  <a:pt x="1929" y="872"/>
                </a:lnTo>
                <a:lnTo>
                  <a:pt x="1952" y="871"/>
                </a:lnTo>
                <a:lnTo>
                  <a:pt x="1975" y="871"/>
                </a:lnTo>
                <a:lnTo>
                  <a:pt x="1994" y="871"/>
                </a:lnTo>
                <a:lnTo>
                  <a:pt x="2010" y="871"/>
                </a:lnTo>
                <a:lnTo>
                  <a:pt x="2016" y="865"/>
                </a:lnTo>
                <a:lnTo>
                  <a:pt x="2019" y="861"/>
                </a:lnTo>
                <a:lnTo>
                  <a:pt x="2034" y="857"/>
                </a:lnTo>
                <a:lnTo>
                  <a:pt x="2048" y="855"/>
                </a:lnTo>
                <a:lnTo>
                  <a:pt x="2048" y="852"/>
                </a:lnTo>
                <a:lnTo>
                  <a:pt x="2050" y="850"/>
                </a:lnTo>
                <a:lnTo>
                  <a:pt x="2054" y="847"/>
                </a:lnTo>
                <a:lnTo>
                  <a:pt x="2057" y="846"/>
                </a:lnTo>
                <a:lnTo>
                  <a:pt x="2056" y="824"/>
                </a:lnTo>
                <a:lnTo>
                  <a:pt x="2053" y="803"/>
                </a:lnTo>
                <a:lnTo>
                  <a:pt x="2049" y="783"/>
                </a:lnTo>
                <a:lnTo>
                  <a:pt x="2048" y="766"/>
                </a:lnTo>
                <a:lnTo>
                  <a:pt x="2038" y="761"/>
                </a:lnTo>
                <a:lnTo>
                  <a:pt x="2036" y="755"/>
                </a:lnTo>
                <a:lnTo>
                  <a:pt x="2034" y="748"/>
                </a:lnTo>
                <a:lnTo>
                  <a:pt x="2032" y="747"/>
                </a:lnTo>
                <a:lnTo>
                  <a:pt x="2029" y="745"/>
                </a:lnTo>
                <a:lnTo>
                  <a:pt x="2026" y="741"/>
                </a:lnTo>
                <a:lnTo>
                  <a:pt x="2023" y="737"/>
                </a:lnTo>
                <a:lnTo>
                  <a:pt x="2019" y="732"/>
                </a:lnTo>
                <a:lnTo>
                  <a:pt x="2017" y="728"/>
                </a:lnTo>
                <a:lnTo>
                  <a:pt x="2016" y="723"/>
                </a:lnTo>
                <a:lnTo>
                  <a:pt x="2015" y="719"/>
                </a:lnTo>
                <a:lnTo>
                  <a:pt x="2006" y="714"/>
                </a:lnTo>
                <a:lnTo>
                  <a:pt x="2000" y="706"/>
                </a:lnTo>
                <a:lnTo>
                  <a:pt x="1989" y="692"/>
                </a:lnTo>
                <a:lnTo>
                  <a:pt x="1976" y="679"/>
                </a:lnTo>
                <a:lnTo>
                  <a:pt x="1968" y="672"/>
                </a:lnTo>
                <a:lnTo>
                  <a:pt x="1963" y="668"/>
                </a:lnTo>
                <a:lnTo>
                  <a:pt x="1954" y="660"/>
                </a:lnTo>
                <a:lnTo>
                  <a:pt x="1949" y="656"/>
                </a:lnTo>
                <a:lnTo>
                  <a:pt x="1944" y="652"/>
                </a:lnTo>
                <a:lnTo>
                  <a:pt x="1941" y="648"/>
                </a:lnTo>
                <a:lnTo>
                  <a:pt x="1940" y="644"/>
                </a:lnTo>
                <a:lnTo>
                  <a:pt x="1931" y="640"/>
                </a:lnTo>
                <a:lnTo>
                  <a:pt x="1921" y="635"/>
                </a:lnTo>
                <a:lnTo>
                  <a:pt x="1912" y="630"/>
                </a:lnTo>
                <a:lnTo>
                  <a:pt x="1910" y="625"/>
                </a:lnTo>
                <a:lnTo>
                  <a:pt x="1906" y="619"/>
                </a:lnTo>
                <a:lnTo>
                  <a:pt x="1902" y="612"/>
                </a:lnTo>
                <a:lnTo>
                  <a:pt x="1898" y="606"/>
                </a:lnTo>
                <a:lnTo>
                  <a:pt x="1898" y="597"/>
                </a:lnTo>
                <a:lnTo>
                  <a:pt x="1889" y="587"/>
                </a:lnTo>
                <a:lnTo>
                  <a:pt x="1886" y="572"/>
                </a:lnTo>
                <a:lnTo>
                  <a:pt x="1881" y="555"/>
                </a:lnTo>
                <a:lnTo>
                  <a:pt x="1879" y="546"/>
                </a:lnTo>
                <a:lnTo>
                  <a:pt x="1876" y="537"/>
                </a:lnTo>
                <a:lnTo>
                  <a:pt x="1875" y="529"/>
                </a:lnTo>
                <a:lnTo>
                  <a:pt x="1874" y="523"/>
                </a:lnTo>
                <a:lnTo>
                  <a:pt x="1872" y="521"/>
                </a:lnTo>
                <a:lnTo>
                  <a:pt x="1870" y="519"/>
                </a:lnTo>
                <a:lnTo>
                  <a:pt x="1870" y="516"/>
                </a:lnTo>
                <a:lnTo>
                  <a:pt x="1870" y="512"/>
                </a:lnTo>
                <a:lnTo>
                  <a:pt x="1866" y="511"/>
                </a:lnTo>
                <a:lnTo>
                  <a:pt x="1865" y="509"/>
                </a:lnTo>
                <a:lnTo>
                  <a:pt x="1865" y="507"/>
                </a:lnTo>
                <a:lnTo>
                  <a:pt x="1865" y="504"/>
                </a:lnTo>
                <a:lnTo>
                  <a:pt x="1857" y="496"/>
                </a:lnTo>
                <a:lnTo>
                  <a:pt x="1851" y="485"/>
                </a:lnTo>
                <a:lnTo>
                  <a:pt x="1842" y="475"/>
                </a:lnTo>
                <a:lnTo>
                  <a:pt x="1832" y="461"/>
                </a:lnTo>
                <a:lnTo>
                  <a:pt x="1831" y="460"/>
                </a:lnTo>
                <a:lnTo>
                  <a:pt x="1827" y="458"/>
                </a:lnTo>
                <a:lnTo>
                  <a:pt x="1824" y="454"/>
                </a:lnTo>
                <a:lnTo>
                  <a:pt x="1823" y="451"/>
                </a:lnTo>
                <a:lnTo>
                  <a:pt x="1813" y="451"/>
                </a:lnTo>
                <a:lnTo>
                  <a:pt x="1812" y="450"/>
                </a:lnTo>
                <a:lnTo>
                  <a:pt x="1808" y="449"/>
                </a:lnTo>
                <a:lnTo>
                  <a:pt x="1804" y="448"/>
                </a:lnTo>
                <a:lnTo>
                  <a:pt x="1798" y="448"/>
                </a:lnTo>
                <a:lnTo>
                  <a:pt x="1787" y="447"/>
                </a:lnTo>
                <a:lnTo>
                  <a:pt x="1780" y="447"/>
                </a:lnTo>
                <a:lnTo>
                  <a:pt x="1769" y="448"/>
                </a:lnTo>
                <a:lnTo>
                  <a:pt x="1757" y="449"/>
                </a:lnTo>
                <a:lnTo>
                  <a:pt x="1747" y="451"/>
                </a:lnTo>
                <a:lnTo>
                  <a:pt x="1738" y="451"/>
                </a:lnTo>
                <a:lnTo>
                  <a:pt x="1737" y="453"/>
                </a:lnTo>
                <a:lnTo>
                  <a:pt x="1736" y="454"/>
                </a:lnTo>
                <a:lnTo>
                  <a:pt x="1733" y="456"/>
                </a:lnTo>
                <a:lnTo>
                  <a:pt x="1730" y="456"/>
                </a:lnTo>
                <a:lnTo>
                  <a:pt x="1725" y="457"/>
                </a:lnTo>
                <a:lnTo>
                  <a:pt x="1719" y="457"/>
                </a:lnTo>
                <a:lnTo>
                  <a:pt x="1717" y="458"/>
                </a:lnTo>
                <a:lnTo>
                  <a:pt x="1712" y="459"/>
                </a:lnTo>
                <a:lnTo>
                  <a:pt x="1706" y="460"/>
                </a:lnTo>
                <a:lnTo>
                  <a:pt x="1697" y="460"/>
                </a:lnTo>
                <a:lnTo>
                  <a:pt x="1680" y="461"/>
                </a:lnTo>
                <a:lnTo>
                  <a:pt x="1668" y="461"/>
                </a:lnTo>
                <a:lnTo>
                  <a:pt x="1653" y="451"/>
                </a:lnTo>
                <a:lnTo>
                  <a:pt x="1634" y="442"/>
                </a:lnTo>
                <a:lnTo>
                  <a:pt x="1633" y="439"/>
                </a:lnTo>
                <a:lnTo>
                  <a:pt x="1630" y="435"/>
                </a:lnTo>
                <a:lnTo>
                  <a:pt x="1624" y="433"/>
                </a:lnTo>
                <a:lnTo>
                  <a:pt x="1621" y="433"/>
                </a:lnTo>
                <a:lnTo>
                  <a:pt x="1616" y="428"/>
                </a:lnTo>
                <a:lnTo>
                  <a:pt x="1608" y="418"/>
                </a:lnTo>
                <a:lnTo>
                  <a:pt x="1602" y="404"/>
                </a:lnTo>
                <a:lnTo>
                  <a:pt x="1596" y="404"/>
                </a:lnTo>
                <a:lnTo>
                  <a:pt x="1594" y="403"/>
                </a:lnTo>
                <a:lnTo>
                  <a:pt x="1593" y="401"/>
                </a:lnTo>
                <a:lnTo>
                  <a:pt x="1592" y="395"/>
                </a:lnTo>
                <a:lnTo>
                  <a:pt x="1587" y="393"/>
                </a:lnTo>
                <a:lnTo>
                  <a:pt x="1583" y="391"/>
                </a:lnTo>
                <a:lnTo>
                  <a:pt x="1583" y="381"/>
                </a:lnTo>
                <a:lnTo>
                  <a:pt x="1574" y="376"/>
                </a:lnTo>
                <a:lnTo>
                  <a:pt x="1572" y="365"/>
                </a:lnTo>
                <a:lnTo>
                  <a:pt x="1568" y="353"/>
                </a:lnTo>
                <a:lnTo>
                  <a:pt x="1567" y="352"/>
                </a:lnTo>
                <a:lnTo>
                  <a:pt x="1565" y="350"/>
                </a:lnTo>
                <a:lnTo>
                  <a:pt x="1563" y="345"/>
                </a:lnTo>
                <a:lnTo>
                  <a:pt x="1560" y="341"/>
                </a:lnTo>
                <a:lnTo>
                  <a:pt x="1556" y="333"/>
                </a:lnTo>
                <a:lnTo>
                  <a:pt x="1555" y="329"/>
                </a:lnTo>
                <a:lnTo>
                  <a:pt x="1555" y="315"/>
                </a:lnTo>
                <a:lnTo>
                  <a:pt x="1547" y="308"/>
                </a:lnTo>
                <a:lnTo>
                  <a:pt x="1540" y="302"/>
                </a:lnTo>
                <a:lnTo>
                  <a:pt x="1540" y="287"/>
                </a:lnTo>
                <a:lnTo>
                  <a:pt x="1534" y="279"/>
                </a:lnTo>
                <a:lnTo>
                  <a:pt x="1528" y="270"/>
                </a:lnTo>
                <a:lnTo>
                  <a:pt x="1524" y="260"/>
                </a:lnTo>
                <a:lnTo>
                  <a:pt x="1520" y="249"/>
                </a:lnTo>
                <a:lnTo>
                  <a:pt x="1517" y="237"/>
                </a:lnTo>
                <a:lnTo>
                  <a:pt x="1515" y="225"/>
                </a:lnTo>
                <a:lnTo>
                  <a:pt x="1514" y="211"/>
                </a:lnTo>
                <a:lnTo>
                  <a:pt x="1512" y="198"/>
                </a:lnTo>
                <a:lnTo>
                  <a:pt x="1511" y="170"/>
                </a:lnTo>
                <a:lnTo>
                  <a:pt x="1511" y="143"/>
                </a:lnTo>
                <a:lnTo>
                  <a:pt x="1512" y="117"/>
                </a:lnTo>
                <a:lnTo>
                  <a:pt x="1512" y="94"/>
                </a:lnTo>
                <a:lnTo>
                  <a:pt x="1485" y="94"/>
                </a:lnTo>
                <a:lnTo>
                  <a:pt x="1470" y="104"/>
                </a:lnTo>
                <a:lnTo>
                  <a:pt x="1466" y="113"/>
                </a:lnTo>
                <a:lnTo>
                  <a:pt x="1461" y="119"/>
                </a:lnTo>
                <a:lnTo>
                  <a:pt x="1451" y="119"/>
                </a:lnTo>
                <a:lnTo>
                  <a:pt x="1451" y="121"/>
                </a:lnTo>
                <a:lnTo>
                  <a:pt x="1450" y="123"/>
                </a:lnTo>
                <a:lnTo>
                  <a:pt x="1448" y="125"/>
                </a:lnTo>
                <a:lnTo>
                  <a:pt x="1445" y="126"/>
                </a:lnTo>
                <a:lnTo>
                  <a:pt x="1441" y="127"/>
                </a:lnTo>
                <a:lnTo>
                  <a:pt x="1438" y="127"/>
                </a:lnTo>
                <a:lnTo>
                  <a:pt x="1437" y="130"/>
                </a:lnTo>
                <a:lnTo>
                  <a:pt x="1435" y="131"/>
                </a:lnTo>
                <a:lnTo>
                  <a:pt x="1432" y="132"/>
                </a:lnTo>
                <a:lnTo>
                  <a:pt x="1430" y="134"/>
                </a:lnTo>
                <a:lnTo>
                  <a:pt x="1423" y="136"/>
                </a:lnTo>
                <a:lnTo>
                  <a:pt x="1419" y="136"/>
                </a:lnTo>
                <a:lnTo>
                  <a:pt x="1418" y="139"/>
                </a:lnTo>
                <a:lnTo>
                  <a:pt x="1415" y="140"/>
                </a:lnTo>
                <a:lnTo>
                  <a:pt x="1412" y="141"/>
                </a:lnTo>
                <a:lnTo>
                  <a:pt x="1408" y="141"/>
                </a:lnTo>
                <a:lnTo>
                  <a:pt x="1396" y="141"/>
                </a:lnTo>
                <a:lnTo>
                  <a:pt x="1381" y="141"/>
                </a:lnTo>
                <a:lnTo>
                  <a:pt x="1341" y="136"/>
                </a:lnTo>
                <a:lnTo>
                  <a:pt x="1294" y="130"/>
                </a:lnTo>
                <a:lnTo>
                  <a:pt x="1246" y="123"/>
                </a:lnTo>
                <a:lnTo>
                  <a:pt x="1200" y="115"/>
                </a:lnTo>
                <a:lnTo>
                  <a:pt x="1164" y="111"/>
                </a:lnTo>
                <a:lnTo>
                  <a:pt x="1141" y="108"/>
                </a:lnTo>
                <a:lnTo>
                  <a:pt x="1114" y="107"/>
                </a:lnTo>
                <a:lnTo>
                  <a:pt x="1086" y="104"/>
                </a:lnTo>
                <a:lnTo>
                  <a:pt x="1057" y="98"/>
                </a:lnTo>
                <a:lnTo>
                  <a:pt x="1027" y="92"/>
                </a:lnTo>
                <a:lnTo>
                  <a:pt x="996" y="86"/>
                </a:lnTo>
                <a:lnTo>
                  <a:pt x="964" y="81"/>
                </a:lnTo>
                <a:lnTo>
                  <a:pt x="949" y="78"/>
                </a:lnTo>
                <a:lnTo>
                  <a:pt x="933" y="77"/>
                </a:lnTo>
                <a:lnTo>
                  <a:pt x="917" y="76"/>
                </a:lnTo>
                <a:lnTo>
                  <a:pt x="902" y="76"/>
                </a:lnTo>
                <a:lnTo>
                  <a:pt x="901" y="74"/>
                </a:lnTo>
                <a:lnTo>
                  <a:pt x="900" y="73"/>
                </a:lnTo>
                <a:lnTo>
                  <a:pt x="898" y="73"/>
                </a:lnTo>
                <a:lnTo>
                  <a:pt x="896" y="72"/>
                </a:lnTo>
                <a:lnTo>
                  <a:pt x="892" y="72"/>
                </a:lnTo>
                <a:lnTo>
                  <a:pt x="887" y="71"/>
                </a:lnTo>
                <a:lnTo>
                  <a:pt x="883" y="66"/>
                </a:lnTo>
                <a:lnTo>
                  <a:pt x="878" y="57"/>
                </a:lnTo>
                <a:lnTo>
                  <a:pt x="871" y="55"/>
                </a:lnTo>
                <a:lnTo>
                  <a:pt x="864" y="53"/>
                </a:lnTo>
                <a:lnTo>
                  <a:pt x="862" y="47"/>
                </a:lnTo>
                <a:lnTo>
                  <a:pt x="859" y="43"/>
                </a:lnTo>
                <a:lnTo>
                  <a:pt x="849" y="40"/>
                </a:lnTo>
                <a:lnTo>
                  <a:pt x="840" y="38"/>
                </a:lnTo>
                <a:lnTo>
                  <a:pt x="840" y="37"/>
                </a:lnTo>
                <a:lnTo>
                  <a:pt x="839" y="36"/>
                </a:lnTo>
                <a:lnTo>
                  <a:pt x="837" y="35"/>
                </a:lnTo>
                <a:lnTo>
                  <a:pt x="835" y="34"/>
                </a:lnTo>
                <a:lnTo>
                  <a:pt x="830" y="34"/>
                </a:lnTo>
                <a:lnTo>
                  <a:pt x="826" y="34"/>
                </a:lnTo>
                <a:lnTo>
                  <a:pt x="610" y="0"/>
                </a:lnTo>
                <a:lnTo>
                  <a:pt x="600" y="12"/>
                </a:lnTo>
                <a:lnTo>
                  <a:pt x="591" y="29"/>
                </a:lnTo>
                <a:lnTo>
                  <a:pt x="583" y="34"/>
                </a:lnTo>
                <a:lnTo>
                  <a:pt x="580" y="44"/>
                </a:lnTo>
                <a:lnTo>
                  <a:pt x="577" y="57"/>
                </a:lnTo>
                <a:lnTo>
                  <a:pt x="574" y="71"/>
                </a:lnTo>
                <a:lnTo>
                  <a:pt x="573" y="81"/>
                </a:lnTo>
                <a:lnTo>
                  <a:pt x="564" y="81"/>
                </a:lnTo>
                <a:lnTo>
                  <a:pt x="562" y="83"/>
                </a:lnTo>
                <a:lnTo>
                  <a:pt x="561" y="85"/>
                </a:lnTo>
                <a:lnTo>
                  <a:pt x="559" y="87"/>
                </a:lnTo>
                <a:lnTo>
                  <a:pt x="557" y="88"/>
                </a:lnTo>
                <a:lnTo>
                  <a:pt x="549" y="91"/>
                </a:lnTo>
                <a:lnTo>
                  <a:pt x="541" y="93"/>
                </a:lnTo>
                <a:lnTo>
                  <a:pt x="523" y="94"/>
                </a:lnTo>
                <a:lnTo>
                  <a:pt x="511" y="94"/>
                </a:lnTo>
                <a:lnTo>
                  <a:pt x="502" y="85"/>
                </a:lnTo>
                <a:lnTo>
                  <a:pt x="493" y="85"/>
                </a:lnTo>
                <a:lnTo>
                  <a:pt x="488" y="76"/>
                </a:lnTo>
                <a:lnTo>
                  <a:pt x="475" y="74"/>
                </a:lnTo>
                <a:lnTo>
                  <a:pt x="461" y="71"/>
                </a:lnTo>
                <a:lnTo>
                  <a:pt x="453" y="71"/>
                </a:lnTo>
                <a:lnTo>
                  <a:pt x="446" y="72"/>
                </a:lnTo>
                <a:lnTo>
                  <a:pt x="443" y="73"/>
                </a:lnTo>
                <a:lnTo>
                  <a:pt x="441" y="75"/>
                </a:lnTo>
                <a:lnTo>
                  <a:pt x="439" y="77"/>
                </a:lnTo>
                <a:lnTo>
                  <a:pt x="436" y="81"/>
                </a:lnTo>
                <a:lnTo>
                  <a:pt x="422" y="81"/>
                </a:lnTo>
                <a:lnTo>
                  <a:pt x="422" y="82"/>
                </a:lnTo>
                <a:lnTo>
                  <a:pt x="421" y="83"/>
                </a:lnTo>
                <a:lnTo>
                  <a:pt x="420" y="84"/>
                </a:lnTo>
                <a:lnTo>
                  <a:pt x="417" y="85"/>
                </a:lnTo>
                <a:lnTo>
                  <a:pt x="413" y="85"/>
                </a:lnTo>
                <a:lnTo>
                  <a:pt x="408" y="85"/>
                </a:lnTo>
                <a:lnTo>
                  <a:pt x="407" y="86"/>
                </a:lnTo>
                <a:lnTo>
                  <a:pt x="404" y="88"/>
                </a:lnTo>
                <a:lnTo>
                  <a:pt x="399" y="88"/>
                </a:lnTo>
                <a:lnTo>
                  <a:pt x="394" y="90"/>
                </a:lnTo>
                <a:lnTo>
                  <a:pt x="383" y="90"/>
                </a:lnTo>
                <a:lnTo>
                  <a:pt x="375" y="90"/>
                </a:lnTo>
                <a:lnTo>
                  <a:pt x="374" y="88"/>
                </a:lnTo>
                <a:lnTo>
                  <a:pt x="369" y="87"/>
                </a:lnTo>
                <a:lnTo>
                  <a:pt x="364" y="86"/>
                </a:lnTo>
                <a:lnTo>
                  <a:pt x="356" y="86"/>
                </a:lnTo>
                <a:lnTo>
                  <a:pt x="341" y="85"/>
                </a:lnTo>
                <a:lnTo>
                  <a:pt x="334" y="85"/>
                </a:lnTo>
                <a:lnTo>
                  <a:pt x="334" y="7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76" name="Freeform 37">
            <a:extLst>
              <a:ext uri="{FF2B5EF4-FFF2-40B4-BE49-F238E27FC236}">
                <a16:creationId xmlns:a16="http://schemas.microsoft.com/office/drawing/2014/main" id="{E09EC42A-9FFD-4616-B00B-5F50A70C99CF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542213" y="3467100"/>
            <a:ext cx="304164" cy="254000"/>
          </a:xfrm>
          <a:custGeom>
            <a:avLst/>
            <a:gdLst/>
            <a:ahLst/>
            <a:cxnLst>
              <a:cxn ang="0">
                <a:pos x="809" y="159"/>
              </a:cxn>
              <a:cxn ang="0">
                <a:pos x="708" y="191"/>
              </a:cxn>
              <a:cxn ang="0">
                <a:pos x="606" y="265"/>
              </a:cxn>
              <a:cxn ang="0">
                <a:pos x="564" y="389"/>
              </a:cxn>
              <a:cxn ang="0">
                <a:pos x="658" y="462"/>
              </a:cxn>
              <a:cxn ang="0">
                <a:pos x="714" y="488"/>
              </a:cxn>
              <a:cxn ang="0">
                <a:pos x="676" y="549"/>
              </a:cxn>
              <a:cxn ang="0">
                <a:pos x="621" y="533"/>
              </a:cxn>
              <a:cxn ang="0">
                <a:pos x="547" y="537"/>
              </a:cxn>
              <a:cxn ang="0">
                <a:pos x="451" y="587"/>
              </a:cxn>
              <a:cxn ang="0">
                <a:pos x="322" y="549"/>
              </a:cxn>
              <a:cxn ang="0">
                <a:pos x="305" y="598"/>
              </a:cxn>
              <a:cxn ang="0">
                <a:pos x="411" y="699"/>
              </a:cxn>
              <a:cxn ang="0">
                <a:pos x="383" y="781"/>
              </a:cxn>
              <a:cxn ang="0">
                <a:pos x="236" y="846"/>
              </a:cxn>
              <a:cxn ang="0">
                <a:pos x="182" y="883"/>
              </a:cxn>
              <a:cxn ang="0">
                <a:pos x="216" y="1086"/>
              </a:cxn>
              <a:cxn ang="0">
                <a:pos x="150" y="1180"/>
              </a:cxn>
              <a:cxn ang="0">
                <a:pos x="0" y="1209"/>
              </a:cxn>
              <a:cxn ang="0">
                <a:pos x="17" y="1262"/>
              </a:cxn>
              <a:cxn ang="0">
                <a:pos x="45" y="1309"/>
              </a:cxn>
              <a:cxn ang="0">
                <a:pos x="65" y="1352"/>
              </a:cxn>
              <a:cxn ang="0">
                <a:pos x="89" y="1414"/>
              </a:cxn>
              <a:cxn ang="0">
                <a:pos x="117" y="1420"/>
              </a:cxn>
              <a:cxn ang="0">
                <a:pos x="203" y="1398"/>
              </a:cxn>
              <a:cxn ang="0">
                <a:pos x="354" y="1425"/>
              </a:cxn>
              <a:cxn ang="0">
                <a:pos x="382" y="1434"/>
              </a:cxn>
              <a:cxn ang="0">
                <a:pos x="454" y="1462"/>
              </a:cxn>
              <a:cxn ang="0">
                <a:pos x="554" y="1491"/>
              </a:cxn>
              <a:cxn ang="0">
                <a:pos x="609" y="1514"/>
              </a:cxn>
              <a:cxn ang="0">
                <a:pos x="670" y="1539"/>
              </a:cxn>
              <a:cxn ang="0">
                <a:pos x="754" y="1564"/>
              </a:cxn>
              <a:cxn ang="0">
                <a:pos x="803" y="1575"/>
              </a:cxn>
              <a:cxn ang="0">
                <a:pos x="928" y="1558"/>
              </a:cxn>
              <a:cxn ang="0">
                <a:pos x="971" y="1515"/>
              </a:cxn>
              <a:cxn ang="0">
                <a:pos x="965" y="1464"/>
              </a:cxn>
              <a:cxn ang="0">
                <a:pos x="894" y="1111"/>
              </a:cxn>
              <a:cxn ang="0">
                <a:pos x="767" y="1021"/>
              </a:cxn>
              <a:cxn ang="0">
                <a:pos x="676" y="1031"/>
              </a:cxn>
              <a:cxn ang="0">
                <a:pos x="666" y="944"/>
              </a:cxn>
              <a:cxn ang="0">
                <a:pos x="757" y="832"/>
              </a:cxn>
              <a:cxn ang="0">
                <a:pos x="943" y="694"/>
              </a:cxn>
              <a:cxn ang="0">
                <a:pos x="994" y="625"/>
              </a:cxn>
              <a:cxn ang="0">
                <a:pos x="1049" y="743"/>
              </a:cxn>
              <a:cxn ang="0">
                <a:pos x="1203" y="726"/>
              </a:cxn>
              <a:cxn ang="0">
                <a:pos x="1293" y="813"/>
              </a:cxn>
              <a:cxn ang="0">
                <a:pos x="1379" y="982"/>
              </a:cxn>
              <a:cxn ang="0">
                <a:pos x="1358" y="1112"/>
              </a:cxn>
              <a:cxn ang="0">
                <a:pos x="1295" y="1178"/>
              </a:cxn>
              <a:cxn ang="0">
                <a:pos x="1240" y="1067"/>
              </a:cxn>
              <a:cxn ang="0">
                <a:pos x="1183" y="1088"/>
              </a:cxn>
              <a:cxn ang="0">
                <a:pos x="1092" y="1308"/>
              </a:cxn>
              <a:cxn ang="0">
                <a:pos x="1145" y="1345"/>
              </a:cxn>
              <a:cxn ang="0">
                <a:pos x="1341" y="1319"/>
              </a:cxn>
              <a:cxn ang="0">
                <a:pos x="1540" y="1187"/>
              </a:cxn>
              <a:cxn ang="0">
                <a:pos x="1672" y="1075"/>
              </a:cxn>
              <a:cxn ang="0">
                <a:pos x="1641" y="1006"/>
              </a:cxn>
              <a:cxn ang="0">
                <a:pos x="1616" y="913"/>
              </a:cxn>
              <a:cxn ang="0">
                <a:pos x="1608" y="743"/>
              </a:cxn>
              <a:cxn ang="0">
                <a:pos x="1453" y="576"/>
              </a:cxn>
              <a:cxn ang="0">
                <a:pos x="1273" y="302"/>
              </a:cxn>
              <a:cxn ang="0">
                <a:pos x="1021" y="41"/>
              </a:cxn>
            </a:cxnLst>
            <a:rect l="0" t="0" r="r" b="b"/>
            <a:pathLst>
              <a:path w="1675" h="1575">
                <a:moveTo>
                  <a:pt x="923" y="0"/>
                </a:moveTo>
                <a:lnTo>
                  <a:pt x="914" y="12"/>
                </a:lnTo>
                <a:lnTo>
                  <a:pt x="905" y="27"/>
                </a:lnTo>
                <a:lnTo>
                  <a:pt x="896" y="41"/>
                </a:lnTo>
                <a:lnTo>
                  <a:pt x="887" y="57"/>
                </a:lnTo>
                <a:lnTo>
                  <a:pt x="868" y="88"/>
                </a:lnTo>
                <a:lnTo>
                  <a:pt x="847" y="120"/>
                </a:lnTo>
                <a:lnTo>
                  <a:pt x="835" y="133"/>
                </a:lnTo>
                <a:lnTo>
                  <a:pt x="823" y="146"/>
                </a:lnTo>
                <a:lnTo>
                  <a:pt x="809" y="159"/>
                </a:lnTo>
                <a:lnTo>
                  <a:pt x="794" y="169"/>
                </a:lnTo>
                <a:lnTo>
                  <a:pt x="786" y="174"/>
                </a:lnTo>
                <a:lnTo>
                  <a:pt x="777" y="178"/>
                </a:lnTo>
                <a:lnTo>
                  <a:pt x="770" y="181"/>
                </a:lnTo>
                <a:lnTo>
                  <a:pt x="760" y="184"/>
                </a:lnTo>
                <a:lnTo>
                  <a:pt x="751" y="187"/>
                </a:lnTo>
                <a:lnTo>
                  <a:pt x="741" y="189"/>
                </a:lnTo>
                <a:lnTo>
                  <a:pt x="729" y="190"/>
                </a:lnTo>
                <a:lnTo>
                  <a:pt x="718" y="190"/>
                </a:lnTo>
                <a:lnTo>
                  <a:pt x="708" y="191"/>
                </a:lnTo>
                <a:lnTo>
                  <a:pt x="697" y="193"/>
                </a:lnTo>
                <a:lnTo>
                  <a:pt x="686" y="197"/>
                </a:lnTo>
                <a:lnTo>
                  <a:pt x="675" y="201"/>
                </a:lnTo>
                <a:lnTo>
                  <a:pt x="664" y="208"/>
                </a:lnTo>
                <a:lnTo>
                  <a:pt x="654" y="214"/>
                </a:lnTo>
                <a:lnTo>
                  <a:pt x="642" y="223"/>
                </a:lnTo>
                <a:lnTo>
                  <a:pt x="632" y="232"/>
                </a:lnTo>
                <a:lnTo>
                  <a:pt x="623" y="242"/>
                </a:lnTo>
                <a:lnTo>
                  <a:pt x="614" y="254"/>
                </a:lnTo>
                <a:lnTo>
                  <a:pt x="606" y="265"/>
                </a:lnTo>
                <a:lnTo>
                  <a:pt x="598" y="276"/>
                </a:lnTo>
                <a:lnTo>
                  <a:pt x="590" y="288"/>
                </a:lnTo>
                <a:lnTo>
                  <a:pt x="583" y="302"/>
                </a:lnTo>
                <a:lnTo>
                  <a:pt x="578" y="314"/>
                </a:lnTo>
                <a:lnTo>
                  <a:pt x="573" y="326"/>
                </a:lnTo>
                <a:lnTo>
                  <a:pt x="569" y="339"/>
                </a:lnTo>
                <a:lnTo>
                  <a:pt x="566" y="352"/>
                </a:lnTo>
                <a:lnTo>
                  <a:pt x="564" y="364"/>
                </a:lnTo>
                <a:lnTo>
                  <a:pt x="564" y="376"/>
                </a:lnTo>
                <a:lnTo>
                  <a:pt x="564" y="389"/>
                </a:lnTo>
                <a:lnTo>
                  <a:pt x="566" y="400"/>
                </a:lnTo>
                <a:lnTo>
                  <a:pt x="571" y="411"/>
                </a:lnTo>
                <a:lnTo>
                  <a:pt x="575" y="421"/>
                </a:lnTo>
                <a:lnTo>
                  <a:pt x="582" y="430"/>
                </a:lnTo>
                <a:lnTo>
                  <a:pt x="590" y="438"/>
                </a:lnTo>
                <a:lnTo>
                  <a:pt x="600" y="446"/>
                </a:lnTo>
                <a:lnTo>
                  <a:pt x="611" y="451"/>
                </a:lnTo>
                <a:lnTo>
                  <a:pt x="624" y="457"/>
                </a:lnTo>
                <a:lnTo>
                  <a:pt x="640" y="460"/>
                </a:lnTo>
                <a:lnTo>
                  <a:pt x="658" y="462"/>
                </a:lnTo>
                <a:lnTo>
                  <a:pt x="677" y="463"/>
                </a:lnTo>
                <a:lnTo>
                  <a:pt x="685" y="463"/>
                </a:lnTo>
                <a:lnTo>
                  <a:pt x="690" y="464"/>
                </a:lnTo>
                <a:lnTo>
                  <a:pt x="697" y="467"/>
                </a:lnTo>
                <a:lnTo>
                  <a:pt x="702" y="469"/>
                </a:lnTo>
                <a:lnTo>
                  <a:pt x="705" y="472"/>
                </a:lnTo>
                <a:lnTo>
                  <a:pt x="708" y="476"/>
                </a:lnTo>
                <a:lnTo>
                  <a:pt x="710" y="479"/>
                </a:lnTo>
                <a:lnTo>
                  <a:pt x="713" y="483"/>
                </a:lnTo>
                <a:lnTo>
                  <a:pt x="714" y="488"/>
                </a:lnTo>
                <a:lnTo>
                  <a:pt x="715" y="492"/>
                </a:lnTo>
                <a:lnTo>
                  <a:pt x="714" y="498"/>
                </a:lnTo>
                <a:lnTo>
                  <a:pt x="714" y="502"/>
                </a:lnTo>
                <a:lnTo>
                  <a:pt x="710" y="512"/>
                </a:lnTo>
                <a:lnTo>
                  <a:pt x="706" y="523"/>
                </a:lnTo>
                <a:lnTo>
                  <a:pt x="699" y="533"/>
                </a:lnTo>
                <a:lnTo>
                  <a:pt x="690" y="540"/>
                </a:lnTo>
                <a:lnTo>
                  <a:pt x="686" y="544"/>
                </a:lnTo>
                <a:lnTo>
                  <a:pt x="681" y="547"/>
                </a:lnTo>
                <a:lnTo>
                  <a:pt x="676" y="549"/>
                </a:lnTo>
                <a:lnTo>
                  <a:pt x="671" y="552"/>
                </a:lnTo>
                <a:lnTo>
                  <a:pt x="666" y="553"/>
                </a:lnTo>
                <a:lnTo>
                  <a:pt x="660" y="553"/>
                </a:lnTo>
                <a:lnTo>
                  <a:pt x="655" y="553"/>
                </a:lnTo>
                <a:lnTo>
                  <a:pt x="649" y="552"/>
                </a:lnTo>
                <a:lnTo>
                  <a:pt x="643" y="549"/>
                </a:lnTo>
                <a:lnTo>
                  <a:pt x="638" y="546"/>
                </a:lnTo>
                <a:lnTo>
                  <a:pt x="632" y="543"/>
                </a:lnTo>
                <a:lnTo>
                  <a:pt x="626" y="537"/>
                </a:lnTo>
                <a:lnTo>
                  <a:pt x="621" y="533"/>
                </a:lnTo>
                <a:lnTo>
                  <a:pt x="616" y="529"/>
                </a:lnTo>
                <a:lnTo>
                  <a:pt x="610" y="526"/>
                </a:lnTo>
                <a:lnTo>
                  <a:pt x="604" y="524"/>
                </a:lnTo>
                <a:lnTo>
                  <a:pt x="599" y="523"/>
                </a:lnTo>
                <a:lnTo>
                  <a:pt x="593" y="521"/>
                </a:lnTo>
                <a:lnTo>
                  <a:pt x="588" y="521"/>
                </a:lnTo>
                <a:lnTo>
                  <a:pt x="581" y="523"/>
                </a:lnTo>
                <a:lnTo>
                  <a:pt x="570" y="526"/>
                </a:lnTo>
                <a:lnTo>
                  <a:pt x="559" y="530"/>
                </a:lnTo>
                <a:lnTo>
                  <a:pt x="547" y="537"/>
                </a:lnTo>
                <a:lnTo>
                  <a:pt x="536" y="545"/>
                </a:lnTo>
                <a:lnTo>
                  <a:pt x="516" y="560"/>
                </a:lnTo>
                <a:lnTo>
                  <a:pt x="499" y="576"/>
                </a:lnTo>
                <a:lnTo>
                  <a:pt x="492" y="583"/>
                </a:lnTo>
                <a:lnTo>
                  <a:pt x="486" y="588"/>
                </a:lnTo>
                <a:lnTo>
                  <a:pt x="482" y="592"/>
                </a:lnTo>
                <a:lnTo>
                  <a:pt x="478" y="593"/>
                </a:lnTo>
                <a:lnTo>
                  <a:pt x="470" y="592"/>
                </a:lnTo>
                <a:lnTo>
                  <a:pt x="461" y="589"/>
                </a:lnTo>
                <a:lnTo>
                  <a:pt x="451" y="587"/>
                </a:lnTo>
                <a:lnTo>
                  <a:pt x="440" y="583"/>
                </a:lnTo>
                <a:lnTo>
                  <a:pt x="417" y="573"/>
                </a:lnTo>
                <a:lnTo>
                  <a:pt x="392" y="563"/>
                </a:lnTo>
                <a:lnTo>
                  <a:pt x="380" y="557"/>
                </a:lnTo>
                <a:lnTo>
                  <a:pt x="368" y="554"/>
                </a:lnTo>
                <a:lnTo>
                  <a:pt x="357" y="550"/>
                </a:lnTo>
                <a:lnTo>
                  <a:pt x="345" y="548"/>
                </a:lnTo>
                <a:lnTo>
                  <a:pt x="335" y="547"/>
                </a:lnTo>
                <a:lnTo>
                  <a:pt x="326" y="548"/>
                </a:lnTo>
                <a:lnTo>
                  <a:pt x="322" y="549"/>
                </a:lnTo>
                <a:lnTo>
                  <a:pt x="317" y="550"/>
                </a:lnTo>
                <a:lnTo>
                  <a:pt x="314" y="553"/>
                </a:lnTo>
                <a:lnTo>
                  <a:pt x="311" y="556"/>
                </a:lnTo>
                <a:lnTo>
                  <a:pt x="305" y="562"/>
                </a:lnTo>
                <a:lnTo>
                  <a:pt x="302" y="568"/>
                </a:lnTo>
                <a:lnTo>
                  <a:pt x="301" y="574"/>
                </a:lnTo>
                <a:lnTo>
                  <a:pt x="300" y="581"/>
                </a:lnTo>
                <a:lnTo>
                  <a:pt x="301" y="586"/>
                </a:lnTo>
                <a:lnTo>
                  <a:pt x="303" y="592"/>
                </a:lnTo>
                <a:lnTo>
                  <a:pt x="305" y="598"/>
                </a:lnTo>
                <a:lnTo>
                  <a:pt x="310" y="604"/>
                </a:lnTo>
                <a:lnTo>
                  <a:pt x="321" y="616"/>
                </a:lnTo>
                <a:lnTo>
                  <a:pt x="334" y="629"/>
                </a:lnTo>
                <a:lnTo>
                  <a:pt x="349" y="641"/>
                </a:lnTo>
                <a:lnTo>
                  <a:pt x="364" y="653"/>
                </a:lnTo>
                <a:lnTo>
                  <a:pt x="380" y="665"/>
                </a:lnTo>
                <a:lnTo>
                  <a:pt x="393" y="679"/>
                </a:lnTo>
                <a:lnTo>
                  <a:pt x="400" y="685"/>
                </a:lnTo>
                <a:lnTo>
                  <a:pt x="406" y="692"/>
                </a:lnTo>
                <a:lnTo>
                  <a:pt x="411" y="699"/>
                </a:lnTo>
                <a:lnTo>
                  <a:pt x="416" y="706"/>
                </a:lnTo>
                <a:lnTo>
                  <a:pt x="418" y="712"/>
                </a:lnTo>
                <a:lnTo>
                  <a:pt x="420" y="720"/>
                </a:lnTo>
                <a:lnTo>
                  <a:pt x="421" y="727"/>
                </a:lnTo>
                <a:lnTo>
                  <a:pt x="421" y="735"/>
                </a:lnTo>
                <a:lnTo>
                  <a:pt x="419" y="741"/>
                </a:lnTo>
                <a:lnTo>
                  <a:pt x="416" y="749"/>
                </a:lnTo>
                <a:lnTo>
                  <a:pt x="410" y="757"/>
                </a:lnTo>
                <a:lnTo>
                  <a:pt x="403" y="765"/>
                </a:lnTo>
                <a:lnTo>
                  <a:pt x="383" y="781"/>
                </a:lnTo>
                <a:lnTo>
                  <a:pt x="351" y="806"/>
                </a:lnTo>
                <a:lnTo>
                  <a:pt x="333" y="819"/>
                </a:lnTo>
                <a:lnTo>
                  <a:pt x="315" y="831"/>
                </a:lnTo>
                <a:lnTo>
                  <a:pt x="300" y="841"/>
                </a:lnTo>
                <a:lnTo>
                  <a:pt x="287" y="847"/>
                </a:lnTo>
                <a:lnTo>
                  <a:pt x="280" y="851"/>
                </a:lnTo>
                <a:lnTo>
                  <a:pt x="271" y="852"/>
                </a:lnTo>
                <a:lnTo>
                  <a:pt x="263" y="852"/>
                </a:lnTo>
                <a:lnTo>
                  <a:pt x="254" y="850"/>
                </a:lnTo>
                <a:lnTo>
                  <a:pt x="236" y="846"/>
                </a:lnTo>
                <a:lnTo>
                  <a:pt x="219" y="842"/>
                </a:lnTo>
                <a:lnTo>
                  <a:pt x="211" y="839"/>
                </a:lnTo>
                <a:lnTo>
                  <a:pt x="204" y="838"/>
                </a:lnTo>
                <a:lnTo>
                  <a:pt x="197" y="839"/>
                </a:lnTo>
                <a:lnTo>
                  <a:pt x="192" y="841"/>
                </a:lnTo>
                <a:lnTo>
                  <a:pt x="187" y="844"/>
                </a:lnTo>
                <a:lnTo>
                  <a:pt x="184" y="850"/>
                </a:lnTo>
                <a:lnTo>
                  <a:pt x="182" y="856"/>
                </a:lnTo>
                <a:lnTo>
                  <a:pt x="181" y="866"/>
                </a:lnTo>
                <a:lnTo>
                  <a:pt x="182" y="883"/>
                </a:lnTo>
                <a:lnTo>
                  <a:pt x="184" y="901"/>
                </a:lnTo>
                <a:lnTo>
                  <a:pt x="187" y="919"/>
                </a:lnTo>
                <a:lnTo>
                  <a:pt x="191" y="937"/>
                </a:lnTo>
                <a:lnTo>
                  <a:pt x="200" y="973"/>
                </a:lnTo>
                <a:lnTo>
                  <a:pt x="209" y="1010"/>
                </a:lnTo>
                <a:lnTo>
                  <a:pt x="213" y="1028"/>
                </a:lnTo>
                <a:lnTo>
                  <a:pt x="215" y="1046"/>
                </a:lnTo>
                <a:lnTo>
                  <a:pt x="216" y="1063"/>
                </a:lnTo>
                <a:lnTo>
                  <a:pt x="216" y="1078"/>
                </a:lnTo>
                <a:lnTo>
                  <a:pt x="216" y="1086"/>
                </a:lnTo>
                <a:lnTo>
                  <a:pt x="215" y="1093"/>
                </a:lnTo>
                <a:lnTo>
                  <a:pt x="213" y="1100"/>
                </a:lnTo>
                <a:lnTo>
                  <a:pt x="210" y="1107"/>
                </a:lnTo>
                <a:lnTo>
                  <a:pt x="207" y="1113"/>
                </a:lnTo>
                <a:lnTo>
                  <a:pt x="204" y="1120"/>
                </a:lnTo>
                <a:lnTo>
                  <a:pt x="200" y="1125"/>
                </a:lnTo>
                <a:lnTo>
                  <a:pt x="195" y="1131"/>
                </a:lnTo>
                <a:lnTo>
                  <a:pt x="173" y="1154"/>
                </a:lnTo>
                <a:lnTo>
                  <a:pt x="157" y="1172"/>
                </a:lnTo>
                <a:lnTo>
                  <a:pt x="150" y="1180"/>
                </a:lnTo>
                <a:lnTo>
                  <a:pt x="143" y="1185"/>
                </a:lnTo>
                <a:lnTo>
                  <a:pt x="137" y="1191"/>
                </a:lnTo>
                <a:lnTo>
                  <a:pt x="130" y="1195"/>
                </a:lnTo>
                <a:lnTo>
                  <a:pt x="121" y="1200"/>
                </a:lnTo>
                <a:lnTo>
                  <a:pt x="112" y="1202"/>
                </a:lnTo>
                <a:lnTo>
                  <a:pt x="101" y="1206"/>
                </a:lnTo>
                <a:lnTo>
                  <a:pt x="88" y="1207"/>
                </a:lnTo>
                <a:lnTo>
                  <a:pt x="53" y="1209"/>
                </a:lnTo>
                <a:lnTo>
                  <a:pt x="5" y="1209"/>
                </a:lnTo>
                <a:lnTo>
                  <a:pt x="0" y="1209"/>
                </a:lnTo>
                <a:lnTo>
                  <a:pt x="2" y="1220"/>
                </a:lnTo>
                <a:lnTo>
                  <a:pt x="3" y="1231"/>
                </a:lnTo>
                <a:lnTo>
                  <a:pt x="5" y="1236"/>
                </a:lnTo>
                <a:lnTo>
                  <a:pt x="6" y="1239"/>
                </a:lnTo>
                <a:lnTo>
                  <a:pt x="8" y="1241"/>
                </a:lnTo>
                <a:lnTo>
                  <a:pt x="12" y="1242"/>
                </a:lnTo>
                <a:lnTo>
                  <a:pt x="12" y="1259"/>
                </a:lnTo>
                <a:lnTo>
                  <a:pt x="14" y="1259"/>
                </a:lnTo>
                <a:lnTo>
                  <a:pt x="16" y="1260"/>
                </a:lnTo>
                <a:lnTo>
                  <a:pt x="17" y="1262"/>
                </a:lnTo>
                <a:lnTo>
                  <a:pt x="19" y="1266"/>
                </a:lnTo>
                <a:lnTo>
                  <a:pt x="24" y="1273"/>
                </a:lnTo>
                <a:lnTo>
                  <a:pt x="28" y="1280"/>
                </a:lnTo>
                <a:lnTo>
                  <a:pt x="32" y="1289"/>
                </a:lnTo>
                <a:lnTo>
                  <a:pt x="36" y="1296"/>
                </a:lnTo>
                <a:lnTo>
                  <a:pt x="38" y="1299"/>
                </a:lnTo>
                <a:lnTo>
                  <a:pt x="41" y="1302"/>
                </a:lnTo>
                <a:lnTo>
                  <a:pt x="43" y="1303"/>
                </a:lnTo>
                <a:lnTo>
                  <a:pt x="45" y="1303"/>
                </a:lnTo>
                <a:lnTo>
                  <a:pt x="45" y="1309"/>
                </a:lnTo>
                <a:lnTo>
                  <a:pt x="48" y="1319"/>
                </a:lnTo>
                <a:lnTo>
                  <a:pt x="50" y="1324"/>
                </a:lnTo>
                <a:lnTo>
                  <a:pt x="52" y="1327"/>
                </a:lnTo>
                <a:lnTo>
                  <a:pt x="54" y="1329"/>
                </a:lnTo>
                <a:lnTo>
                  <a:pt x="56" y="1331"/>
                </a:lnTo>
                <a:lnTo>
                  <a:pt x="56" y="1336"/>
                </a:lnTo>
                <a:lnTo>
                  <a:pt x="60" y="1344"/>
                </a:lnTo>
                <a:lnTo>
                  <a:pt x="61" y="1347"/>
                </a:lnTo>
                <a:lnTo>
                  <a:pt x="63" y="1351"/>
                </a:lnTo>
                <a:lnTo>
                  <a:pt x="65" y="1352"/>
                </a:lnTo>
                <a:lnTo>
                  <a:pt x="67" y="1353"/>
                </a:lnTo>
                <a:lnTo>
                  <a:pt x="69" y="1365"/>
                </a:lnTo>
                <a:lnTo>
                  <a:pt x="74" y="1382"/>
                </a:lnTo>
                <a:lnTo>
                  <a:pt x="77" y="1390"/>
                </a:lnTo>
                <a:lnTo>
                  <a:pt x="81" y="1396"/>
                </a:lnTo>
                <a:lnTo>
                  <a:pt x="83" y="1399"/>
                </a:lnTo>
                <a:lnTo>
                  <a:pt x="85" y="1401"/>
                </a:lnTo>
                <a:lnTo>
                  <a:pt x="86" y="1402"/>
                </a:lnTo>
                <a:lnTo>
                  <a:pt x="89" y="1403"/>
                </a:lnTo>
                <a:lnTo>
                  <a:pt x="89" y="1414"/>
                </a:lnTo>
                <a:lnTo>
                  <a:pt x="91" y="1414"/>
                </a:lnTo>
                <a:lnTo>
                  <a:pt x="94" y="1418"/>
                </a:lnTo>
                <a:lnTo>
                  <a:pt x="99" y="1421"/>
                </a:lnTo>
                <a:lnTo>
                  <a:pt x="100" y="1425"/>
                </a:lnTo>
                <a:lnTo>
                  <a:pt x="105" y="1424"/>
                </a:lnTo>
                <a:lnTo>
                  <a:pt x="111" y="1424"/>
                </a:lnTo>
                <a:lnTo>
                  <a:pt x="113" y="1423"/>
                </a:lnTo>
                <a:lnTo>
                  <a:pt x="115" y="1422"/>
                </a:lnTo>
                <a:lnTo>
                  <a:pt x="117" y="1421"/>
                </a:lnTo>
                <a:lnTo>
                  <a:pt x="117" y="1420"/>
                </a:lnTo>
                <a:lnTo>
                  <a:pt x="122" y="1419"/>
                </a:lnTo>
                <a:lnTo>
                  <a:pt x="127" y="1419"/>
                </a:lnTo>
                <a:lnTo>
                  <a:pt x="130" y="1418"/>
                </a:lnTo>
                <a:lnTo>
                  <a:pt x="131" y="1416"/>
                </a:lnTo>
                <a:lnTo>
                  <a:pt x="133" y="1415"/>
                </a:lnTo>
                <a:lnTo>
                  <a:pt x="133" y="1414"/>
                </a:lnTo>
                <a:lnTo>
                  <a:pt x="156" y="1414"/>
                </a:lnTo>
                <a:lnTo>
                  <a:pt x="169" y="1405"/>
                </a:lnTo>
                <a:lnTo>
                  <a:pt x="184" y="1398"/>
                </a:lnTo>
                <a:lnTo>
                  <a:pt x="203" y="1398"/>
                </a:lnTo>
                <a:lnTo>
                  <a:pt x="223" y="1400"/>
                </a:lnTo>
                <a:lnTo>
                  <a:pt x="244" y="1402"/>
                </a:lnTo>
                <a:lnTo>
                  <a:pt x="266" y="1405"/>
                </a:lnTo>
                <a:lnTo>
                  <a:pt x="286" y="1409"/>
                </a:lnTo>
                <a:lnTo>
                  <a:pt x="307" y="1411"/>
                </a:lnTo>
                <a:lnTo>
                  <a:pt x="326" y="1413"/>
                </a:lnTo>
                <a:lnTo>
                  <a:pt x="344" y="1414"/>
                </a:lnTo>
                <a:lnTo>
                  <a:pt x="347" y="1420"/>
                </a:lnTo>
                <a:lnTo>
                  <a:pt x="350" y="1425"/>
                </a:lnTo>
                <a:lnTo>
                  <a:pt x="354" y="1425"/>
                </a:lnTo>
                <a:lnTo>
                  <a:pt x="360" y="1425"/>
                </a:lnTo>
                <a:lnTo>
                  <a:pt x="362" y="1427"/>
                </a:lnTo>
                <a:lnTo>
                  <a:pt x="364" y="1428"/>
                </a:lnTo>
                <a:lnTo>
                  <a:pt x="365" y="1429"/>
                </a:lnTo>
                <a:lnTo>
                  <a:pt x="365" y="1430"/>
                </a:lnTo>
                <a:lnTo>
                  <a:pt x="371" y="1431"/>
                </a:lnTo>
                <a:lnTo>
                  <a:pt x="377" y="1431"/>
                </a:lnTo>
                <a:lnTo>
                  <a:pt x="379" y="1432"/>
                </a:lnTo>
                <a:lnTo>
                  <a:pt x="381" y="1433"/>
                </a:lnTo>
                <a:lnTo>
                  <a:pt x="382" y="1434"/>
                </a:lnTo>
                <a:lnTo>
                  <a:pt x="382" y="1435"/>
                </a:lnTo>
                <a:lnTo>
                  <a:pt x="396" y="1439"/>
                </a:lnTo>
                <a:lnTo>
                  <a:pt x="411" y="1445"/>
                </a:lnTo>
                <a:lnTo>
                  <a:pt x="419" y="1449"/>
                </a:lnTo>
                <a:lnTo>
                  <a:pt x="426" y="1452"/>
                </a:lnTo>
                <a:lnTo>
                  <a:pt x="430" y="1456"/>
                </a:lnTo>
                <a:lnTo>
                  <a:pt x="432" y="1458"/>
                </a:lnTo>
                <a:lnTo>
                  <a:pt x="449" y="1458"/>
                </a:lnTo>
                <a:lnTo>
                  <a:pt x="450" y="1460"/>
                </a:lnTo>
                <a:lnTo>
                  <a:pt x="454" y="1462"/>
                </a:lnTo>
                <a:lnTo>
                  <a:pt x="459" y="1464"/>
                </a:lnTo>
                <a:lnTo>
                  <a:pt x="466" y="1467"/>
                </a:lnTo>
                <a:lnTo>
                  <a:pt x="483" y="1470"/>
                </a:lnTo>
                <a:lnTo>
                  <a:pt x="502" y="1475"/>
                </a:lnTo>
                <a:lnTo>
                  <a:pt x="521" y="1479"/>
                </a:lnTo>
                <a:lnTo>
                  <a:pt x="537" y="1483"/>
                </a:lnTo>
                <a:lnTo>
                  <a:pt x="544" y="1486"/>
                </a:lnTo>
                <a:lnTo>
                  <a:pt x="550" y="1487"/>
                </a:lnTo>
                <a:lnTo>
                  <a:pt x="553" y="1489"/>
                </a:lnTo>
                <a:lnTo>
                  <a:pt x="554" y="1491"/>
                </a:lnTo>
                <a:lnTo>
                  <a:pt x="559" y="1491"/>
                </a:lnTo>
                <a:lnTo>
                  <a:pt x="562" y="1492"/>
                </a:lnTo>
                <a:lnTo>
                  <a:pt x="564" y="1493"/>
                </a:lnTo>
                <a:lnTo>
                  <a:pt x="565" y="1497"/>
                </a:lnTo>
                <a:lnTo>
                  <a:pt x="570" y="1497"/>
                </a:lnTo>
                <a:lnTo>
                  <a:pt x="573" y="1498"/>
                </a:lnTo>
                <a:lnTo>
                  <a:pt x="575" y="1499"/>
                </a:lnTo>
                <a:lnTo>
                  <a:pt x="576" y="1502"/>
                </a:lnTo>
                <a:lnTo>
                  <a:pt x="590" y="1506"/>
                </a:lnTo>
                <a:lnTo>
                  <a:pt x="609" y="1514"/>
                </a:lnTo>
                <a:lnTo>
                  <a:pt x="624" y="1521"/>
                </a:lnTo>
                <a:lnTo>
                  <a:pt x="632" y="1525"/>
                </a:lnTo>
                <a:lnTo>
                  <a:pt x="649" y="1525"/>
                </a:lnTo>
                <a:lnTo>
                  <a:pt x="649" y="1528"/>
                </a:lnTo>
                <a:lnTo>
                  <a:pt x="652" y="1531"/>
                </a:lnTo>
                <a:lnTo>
                  <a:pt x="656" y="1534"/>
                </a:lnTo>
                <a:lnTo>
                  <a:pt x="659" y="1535"/>
                </a:lnTo>
                <a:lnTo>
                  <a:pt x="664" y="1536"/>
                </a:lnTo>
                <a:lnTo>
                  <a:pt x="667" y="1538"/>
                </a:lnTo>
                <a:lnTo>
                  <a:pt x="670" y="1539"/>
                </a:lnTo>
                <a:lnTo>
                  <a:pt x="670" y="1541"/>
                </a:lnTo>
                <a:lnTo>
                  <a:pt x="675" y="1541"/>
                </a:lnTo>
                <a:lnTo>
                  <a:pt x="678" y="1541"/>
                </a:lnTo>
                <a:lnTo>
                  <a:pt x="680" y="1544"/>
                </a:lnTo>
                <a:lnTo>
                  <a:pt x="681" y="1547"/>
                </a:lnTo>
                <a:lnTo>
                  <a:pt x="686" y="1547"/>
                </a:lnTo>
                <a:lnTo>
                  <a:pt x="689" y="1547"/>
                </a:lnTo>
                <a:lnTo>
                  <a:pt x="691" y="1549"/>
                </a:lnTo>
                <a:lnTo>
                  <a:pt x="693" y="1553"/>
                </a:lnTo>
                <a:lnTo>
                  <a:pt x="754" y="1564"/>
                </a:lnTo>
                <a:lnTo>
                  <a:pt x="757" y="1564"/>
                </a:lnTo>
                <a:lnTo>
                  <a:pt x="762" y="1564"/>
                </a:lnTo>
                <a:lnTo>
                  <a:pt x="764" y="1566"/>
                </a:lnTo>
                <a:lnTo>
                  <a:pt x="765" y="1569"/>
                </a:lnTo>
                <a:lnTo>
                  <a:pt x="773" y="1569"/>
                </a:lnTo>
                <a:lnTo>
                  <a:pt x="786" y="1569"/>
                </a:lnTo>
                <a:lnTo>
                  <a:pt x="793" y="1570"/>
                </a:lnTo>
                <a:lnTo>
                  <a:pt x="799" y="1572"/>
                </a:lnTo>
                <a:lnTo>
                  <a:pt x="802" y="1573"/>
                </a:lnTo>
                <a:lnTo>
                  <a:pt x="803" y="1575"/>
                </a:lnTo>
                <a:lnTo>
                  <a:pt x="827" y="1574"/>
                </a:lnTo>
                <a:lnTo>
                  <a:pt x="862" y="1573"/>
                </a:lnTo>
                <a:lnTo>
                  <a:pt x="880" y="1572"/>
                </a:lnTo>
                <a:lnTo>
                  <a:pt x="895" y="1569"/>
                </a:lnTo>
                <a:lnTo>
                  <a:pt x="900" y="1568"/>
                </a:lnTo>
                <a:lnTo>
                  <a:pt x="905" y="1567"/>
                </a:lnTo>
                <a:lnTo>
                  <a:pt x="908" y="1565"/>
                </a:lnTo>
                <a:lnTo>
                  <a:pt x="909" y="1564"/>
                </a:lnTo>
                <a:lnTo>
                  <a:pt x="926" y="1564"/>
                </a:lnTo>
                <a:lnTo>
                  <a:pt x="928" y="1558"/>
                </a:lnTo>
                <a:lnTo>
                  <a:pt x="931" y="1553"/>
                </a:lnTo>
                <a:lnTo>
                  <a:pt x="943" y="1553"/>
                </a:lnTo>
                <a:lnTo>
                  <a:pt x="948" y="1547"/>
                </a:lnTo>
                <a:lnTo>
                  <a:pt x="949" y="1540"/>
                </a:lnTo>
                <a:lnTo>
                  <a:pt x="955" y="1530"/>
                </a:lnTo>
                <a:lnTo>
                  <a:pt x="958" y="1526"/>
                </a:lnTo>
                <a:lnTo>
                  <a:pt x="962" y="1523"/>
                </a:lnTo>
                <a:lnTo>
                  <a:pt x="966" y="1520"/>
                </a:lnTo>
                <a:lnTo>
                  <a:pt x="969" y="1519"/>
                </a:lnTo>
                <a:lnTo>
                  <a:pt x="971" y="1515"/>
                </a:lnTo>
                <a:lnTo>
                  <a:pt x="973" y="1511"/>
                </a:lnTo>
                <a:lnTo>
                  <a:pt x="977" y="1509"/>
                </a:lnTo>
                <a:lnTo>
                  <a:pt x="981" y="1508"/>
                </a:lnTo>
                <a:lnTo>
                  <a:pt x="984" y="1502"/>
                </a:lnTo>
                <a:lnTo>
                  <a:pt x="986" y="1497"/>
                </a:lnTo>
                <a:lnTo>
                  <a:pt x="988" y="1497"/>
                </a:lnTo>
                <a:lnTo>
                  <a:pt x="991" y="1496"/>
                </a:lnTo>
                <a:lnTo>
                  <a:pt x="979" y="1485"/>
                </a:lnTo>
                <a:lnTo>
                  <a:pt x="969" y="1472"/>
                </a:lnTo>
                <a:lnTo>
                  <a:pt x="965" y="1464"/>
                </a:lnTo>
                <a:lnTo>
                  <a:pt x="962" y="1456"/>
                </a:lnTo>
                <a:lnTo>
                  <a:pt x="959" y="1444"/>
                </a:lnTo>
                <a:lnTo>
                  <a:pt x="959" y="1432"/>
                </a:lnTo>
                <a:lnTo>
                  <a:pt x="965" y="1284"/>
                </a:lnTo>
                <a:lnTo>
                  <a:pt x="960" y="1270"/>
                </a:lnTo>
                <a:lnTo>
                  <a:pt x="952" y="1246"/>
                </a:lnTo>
                <a:lnTo>
                  <a:pt x="939" y="1214"/>
                </a:lnTo>
                <a:lnTo>
                  <a:pt x="924" y="1179"/>
                </a:lnTo>
                <a:lnTo>
                  <a:pt x="908" y="1143"/>
                </a:lnTo>
                <a:lnTo>
                  <a:pt x="894" y="1111"/>
                </a:lnTo>
                <a:lnTo>
                  <a:pt x="882" y="1085"/>
                </a:lnTo>
                <a:lnTo>
                  <a:pt x="877" y="1070"/>
                </a:lnTo>
                <a:lnTo>
                  <a:pt x="871" y="1065"/>
                </a:lnTo>
                <a:lnTo>
                  <a:pt x="863" y="1058"/>
                </a:lnTo>
                <a:lnTo>
                  <a:pt x="852" y="1052"/>
                </a:lnTo>
                <a:lnTo>
                  <a:pt x="838" y="1045"/>
                </a:lnTo>
                <a:lnTo>
                  <a:pt x="822" y="1038"/>
                </a:lnTo>
                <a:lnTo>
                  <a:pt x="804" y="1031"/>
                </a:lnTo>
                <a:lnTo>
                  <a:pt x="785" y="1026"/>
                </a:lnTo>
                <a:lnTo>
                  <a:pt x="767" y="1021"/>
                </a:lnTo>
                <a:lnTo>
                  <a:pt x="748" y="1018"/>
                </a:lnTo>
                <a:lnTo>
                  <a:pt x="731" y="1017"/>
                </a:lnTo>
                <a:lnTo>
                  <a:pt x="722" y="1017"/>
                </a:lnTo>
                <a:lnTo>
                  <a:pt x="714" y="1017"/>
                </a:lnTo>
                <a:lnTo>
                  <a:pt x="706" y="1018"/>
                </a:lnTo>
                <a:lnTo>
                  <a:pt x="698" y="1019"/>
                </a:lnTo>
                <a:lnTo>
                  <a:pt x="691" y="1021"/>
                </a:lnTo>
                <a:lnTo>
                  <a:pt x="686" y="1025"/>
                </a:lnTo>
                <a:lnTo>
                  <a:pt x="680" y="1028"/>
                </a:lnTo>
                <a:lnTo>
                  <a:pt x="676" y="1031"/>
                </a:lnTo>
                <a:lnTo>
                  <a:pt x="672" y="1037"/>
                </a:lnTo>
                <a:lnTo>
                  <a:pt x="670" y="1043"/>
                </a:lnTo>
                <a:lnTo>
                  <a:pt x="668" y="1049"/>
                </a:lnTo>
                <a:lnTo>
                  <a:pt x="668" y="1056"/>
                </a:lnTo>
                <a:lnTo>
                  <a:pt x="667" y="1019"/>
                </a:lnTo>
                <a:lnTo>
                  <a:pt x="666" y="989"/>
                </a:lnTo>
                <a:lnTo>
                  <a:pt x="665" y="977"/>
                </a:lnTo>
                <a:lnTo>
                  <a:pt x="665" y="966"/>
                </a:lnTo>
                <a:lnTo>
                  <a:pt x="665" y="954"/>
                </a:lnTo>
                <a:lnTo>
                  <a:pt x="666" y="944"/>
                </a:lnTo>
                <a:lnTo>
                  <a:pt x="668" y="935"/>
                </a:lnTo>
                <a:lnTo>
                  <a:pt x="671" y="925"/>
                </a:lnTo>
                <a:lnTo>
                  <a:pt x="676" y="915"/>
                </a:lnTo>
                <a:lnTo>
                  <a:pt x="681" y="905"/>
                </a:lnTo>
                <a:lnTo>
                  <a:pt x="689" y="895"/>
                </a:lnTo>
                <a:lnTo>
                  <a:pt x="698" y="884"/>
                </a:lnTo>
                <a:lnTo>
                  <a:pt x="709" y="871"/>
                </a:lnTo>
                <a:lnTo>
                  <a:pt x="724" y="857"/>
                </a:lnTo>
                <a:lnTo>
                  <a:pt x="737" y="846"/>
                </a:lnTo>
                <a:lnTo>
                  <a:pt x="757" y="832"/>
                </a:lnTo>
                <a:lnTo>
                  <a:pt x="784" y="815"/>
                </a:lnTo>
                <a:lnTo>
                  <a:pt x="814" y="796"/>
                </a:lnTo>
                <a:lnTo>
                  <a:pt x="844" y="778"/>
                </a:lnTo>
                <a:lnTo>
                  <a:pt x="873" y="760"/>
                </a:lnTo>
                <a:lnTo>
                  <a:pt x="899" y="745"/>
                </a:lnTo>
                <a:lnTo>
                  <a:pt x="918" y="732"/>
                </a:lnTo>
                <a:lnTo>
                  <a:pt x="925" y="726"/>
                </a:lnTo>
                <a:lnTo>
                  <a:pt x="931" y="717"/>
                </a:lnTo>
                <a:lnTo>
                  <a:pt x="937" y="707"/>
                </a:lnTo>
                <a:lnTo>
                  <a:pt x="943" y="694"/>
                </a:lnTo>
                <a:lnTo>
                  <a:pt x="954" y="668"/>
                </a:lnTo>
                <a:lnTo>
                  <a:pt x="965" y="643"/>
                </a:lnTo>
                <a:lnTo>
                  <a:pt x="971" y="633"/>
                </a:lnTo>
                <a:lnTo>
                  <a:pt x="976" y="625"/>
                </a:lnTo>
                <a:lnTo>
                  <a:pt x="978" y="623"/>
                </a:lnTo>
                <a:lnTo>
                  <a:pt x="982" y="622"/>
                </a:lnTo>
                <a:lnTo>
                  <a:pt x="985" y="621"/>
                </a:lnTo>
                <a:lnTo>
                  <a:pt x="987" y="621"/>
                </a:lnTo>
                <a:lnTo>
                  <a:pt x="991" y="623"/>
                </a:lnTo>
                <a:lnTo>
                  <a:pt x="994" y="625"/>
                </a:lnTo>
                <a:lnTo>
                  <a:pt x="997" y="630"/>
                </a:lnTo>
                <a:lnTo>
                  <a:pt x="1001" y="635"/>
                </a:lnTo>
                <a:lnTo>
                  <a:pt x="1007" y="650"/>
                </a:lnTo>
                <a:lnTo>
                  <a:pt x="1015" y="672"/>
                </a:lnTo>
                <a:lnTo>
                  <a:pt x="1027" y="711"/>
                </a:lnTo>
                <a:lnTo>
                  <a:pt x="1035" y="733"/>
                </a:lnTo>
                <a:lnTo>
                  <a:pt x="1039" y="740"/>
                </a:lnTo>
                <a:lnTo>
                  <a:pt x="1042" y="743"/>
                </a:lnTo>
                <a:lnTo>
                  <a:pt x="1045" y="745"/>
                </a:lnTo>
                <a:lnTo>
                  <a:pt x="1049" y="743"/>
                </a:lnTo>
                <a:lnTo>
                  <a:pt x="1060" y="738"/>
                </a:lnTo>
                <a:lnTo>
                  <a:pt x="1078" y="729"/>
                </a:lnTo>
                <a:lnTo>
                  <a:pt x="1090" y="725"/>
                </a:lnTo>
                <a:lnTo>
                  <a:pt x="1106" y="721"/>
                </a:lnTo>
                <a:lnTo>
                  <a:pt x="1123" y="719"/>
                </a:lnTo>
                <a:lnTo>
                  <a:pt x="1145" y="718"/>
                </a:lnTo>
                <a:lnTo>
                  <a:pt x="1161" y="719"/>
                </a:lnTo>
                <a:lnTo>
                  <a:pt x="1177" y="720"/>
                </a:lnTo>
                <a:lnTo>
                  <a:pt x="1190" y="722"/>
                </a:lnTo>
                <a:lnTo>
                  <a:pt x="1203" y="726"/>
                </a:lnTo>
                <a:lnTo>
                  <a:pt x="1215" y="729"/>
                </a:lnTo>
                <a:lnTo>
                  <a:pt x="1226" y="735"/>
                </a:lnTo>
                <a:lnTo>
                  <a:pt x="1235" y="739"/>
                </a:lnTo>
                <a:lnTo>
                  <a:pt x="1244" y="746"/>
                </a:lnTo>
                <a:lnTo>
                  <a:pt x="1253" y="752"/>
                </a:lnTo>
                <a:lnTo>
                  <a:pt x="1260" y="759"/>
                </a:lnTo>
                <a:lnTo>
                  <a:pt x="1267" y="767"/>
                </a:lnTo>
                <a:lnTo>
                  <a:pt x="1273" y="776"/>
                </a:lnTo>
                <a:lnTo>
                  <a:pt x="1284" y="794"/>
                </a:lnTo>
                <a:lnTo>
                  <a:pt x="1293" y="813"/>
                </a:lnTo>
                <a:lnTo>
                  <a:pt x="1310" y="854"/>
                </a:lnTo>
                <a:lnTo>
                  <a:pt x="1326" y="896"/>
                </a:lnTo>
                <a:lnTo>
                  <a:pt x="1334" y="916"/>
                </a:lnTo>
                <a:lnTo>
                  <a:pt x="1345" y="937"/>
                </a:lnTo>
                <a:lnTo>
                  <a:pt x="1350" y="947"/>
                </a:lnTo>
                <a:lnTo>
                  <a:pt x="1357" y="956"/>
                </a:lnTo>
                <a:lnTo>
                  <a:pt x="1365" y="964"/>
                </a:lnTo>
                <a:lnTo>
                  <a:pt x="1372" y="973"/>
                </a:lnTo>
                <a:lnTo>
                  <a:pt x="1376" y="978"/>
                </a:lnTo>
                <a:lnTo>
                  <a:pt x="1379" y="982"/>
                </a:lnTo>
                <a:lnTo>
                  <a:pt x="1380" y="989"/>
                </a:lnTo>
                <a:lnTo>
                  <a:pt x="1382" y="996"/>
                </a:lnTo>
                <a:lnTo>
                  <a:pt x="1382" y="1004"/>
                </a:lnTo>
                <a:lnTo>
                  <a:pt x="1384" y="1012"/>
                </a:lnTo>
                <a:lnTo>
                  <a:pt x="1382" y="1021"/>
                </a:lnTo>
                <a:lnTo>
                  <a:pt x="1381" y="1030"/>
                </a:lnTo>
                <a:lnTo>
                  <a:pt x="1378" y="1050"/>
                </a:lnTo>
                <a:lnTo>
                  <a:pt x="1374" y="1070"/>
                </a:lnTo>
                <a:lnTo>
                  <a:pt x="1367" y="1092"/>
                </a:lnTo>
                <a:lnTo>
                  <a:pt x="1358" y="1112"/>
                </a:lnTo>
                <a:lnTo>
                  <a:pt x="1349" y="1130"/>
                </a:lnTo>
                <a:lnTo>
                  <a:pt x="1339" y="1146"/>
                </a:lnTo>
                <a:lnTo>
                  <a:pt x="1333" y="1154"/>
                </a:lnTo>
                <a:lnTo>
                  <a:pt x="1329" y="1160"/>
                </a:lnTo>
                <a:lnTo>
                  <a:pt x="1323" y="1165"/>
                </a:lnTo>
                <a:lnTo>
                  <a:pt x="1318" y="1170"/>
                </a:lnTo>
                <a:lnTo>
                  <a:pt x="1312" y="1174"/>
                </a:lnTo>
                <a:lnTo>
                  <a:pt x="1307" y="1177"/>
                </a:lnTo>
                <a:lnTo>
                  <a:pt x="1301" y="1178"/>
                </a:lnTo>
                <a:lnTo>
                  <a:pt x="1295" y="1178"/>
                </a:lnTo>
                <a:lnTo>
                  <a:pt x="1290" y="1177"/>
                </a:lnTo>
                <a:lnTo>
                  <a:pt x="1285" y="1173"/>
                </a:lnTo>
                <a:lnTo>
                  <a:pt x="1280" y="1169"/>
                </a:lnTo>
                <a:lnTo>
                  <a:pt x="1275" y="1163"/>
                </a:lnTo>
                <a:lnTo>
                  <a:pt x="1267" y="1151"/>
                </a:lnTo>
                <a:lnTo>
                  <a:pt x="1262" y="1137"/>
                </a:lnTo>
                <a:lnTo>
                  <a:pt x="1256" y="1124"/>
                </a:lnTo>
                <a:lnTo>
                  <a:pt x="1253" y="1111"/>
                </a:lnTo>
                <a:lnTo>
                  <a:pt x="1245" y="1086"/>
                </a:lnTo>
                <a:lnTo>
                  <a:pt x="1240" y="1067"/>
                </a:lnTo>
                <a:lnTo>
                  <a:pt x="1235" y="1059"/>
                </a:lnTo>
                <a:lnTo>
                  <a:pt x="1231" y="1055"/>
                </a:lnTo>
                <a:lnTo>
                  <a:pt x="1228" y="1053"/>
                </a:lnTo>
                <a:lnTo>
                  <a:pt x="1226" y="1052"/>
                </a:lnTo>
                <a:lnTo>
                  <a:pt x="1223" y="1052"/>
                </a:lnTo>
                <a:lnTo>
                  <a:pt x="1221" y="1053"/>
                </a:lnTo>
                <a:lnTo>
                  <a:pt x="1213" y="1056"/>
                </a:lnTo>
                <a:lnTo>
                  <a:pt x="1205" y="1063"/>
                </a:lnTo>
                <a:lnTo>
                  <a:pt x="1194" y="1074"/>
                </a:lnTo>
                <a:lnTo>
                  <a:pt x="1183" y="1088"/>
                </a:lnTo>
                <a:lnTo>
                  <a:pt x="1166" y="1114"/>
                </a:lnTo>
                <a:lnTo>
                  <a:pt x="1150" y="1142"/>
                </a:lnTo>
                <a:lnTo>
                  <a:pt x="1135" y="1173"/>
                </a:lnTo>
                <a:lnTo>
                  <a:pt x="1120" y="1207"/>
                </a:lnTo>
                <a:lnTo>
                  <a:pt x="1113" y="1225"/>
                </a:lnTo>
                <a:lnTo>
                  <a:pt x="1108" y="1241"/>
                </a:lnTo>
                <a:lnTo>
                  <a:pt x="1102" y="1258"/>
                </a:lnTo>
                <a:lnTo>
                  <a:pt x="1098" y="1275"/>
                </a:lnTo>
                <a:lnTo>
                  <a:pt x="1094" y="1291"/>
                </a:lnTo>
                <a:lnTo>
                  <a:pt x="1092" y="1308"/>
                </a:lnTo>
                <a:lnTo>
                  <a:pt x="1090" y="1324"/>
                </a:lnTo>
                <a:lnTo>
                  <a:pt x="1090" y="1339"/>
                </a:lnTo>
                <a:lnTo>
                  <a:pt x="1090" y="1342"/>
                </a:lnTo>
                <a:lnTo>
                  <a:pt x="1091" y="1344"/>
                </a:lnTo>
                <a:lnTo>
                  <a:pt x="1092" y="1345"/>
                </a:lnTo>
                <a:lnTo>
                  <a:pt x="1094" y="1346"/>
                </a:lnTo>
                <a:lnTo>
                  <a:pt x="1100" y="1348"/>
                </a:lnTo>
                <a:lnTo>
                  <a:pt x="1107" y="1350"/>
                </a:lnTo>
                <a:lnTo>
                  <a:pt x="1125" y="1348"/>
                </a:lnTo>
                <a:lnTo>
                  <a:pt x="1145" y="1345"/>
                </a:lnTo>
                <a:lnTo>
                  <a:pt x="1187" y="1335"/>
                </a:lnTo>
                <a:lnTo>
                  <a:pt x="1215" y="1329"/>
                </a:lnTo>
                <a:lnTo>
                  <a:pt x="1253" y="1331"/>
                </a:lnTo>
                <a:lnTo>
                  <a:pt x="1282" y="1332"/>
                </a:lnTo>
                <a:lnTo>
                  <a:pt x="1293" y="1332"/>
                </a:lnTo>
                <a:lnTo>
                  <a:pt x="1304" y="1331"/>
                </a:lnTo>
                <a:lnTo>
                  <a:pt x="1314" y="1329"/>
                </a:lnTo>
                <a:lnTo>
                  <a:pt x="1323" y="1327"/>
                </a:lnTo>
                <a:lnTo>
                  <a:pt x="1332" y="1324"/>
                </a:lnTo>
                <a:lnTo>
                  <a:pt x="1341" y="1319"/>
                </a:lnTo>
                <a:lnTo>
                  <a:pt x="1350" y="1314"/>
                </a:lnTo>
                <a:lnTo>
                  <a:pt x="1360" y="1306"/>
                </a:lnTo>
                <a:lnTo>
                  <a:pt x="1384" y="1286"/>
                </a:lnTo>
                <a:lnTo>
                  <a:pt x="1414" y="1256"/>
                </a:lnTo>
                <a:lnTo>
                  <a:pt x="1420" y="1250"/>
                </a:lnTo>
                <a:lnTo>
                  <a:pt x="1430" y="1243"/>
                </a:lnTo>
                <a:lnTo>
                  <a:pt x="1444" y="1237"/>
                </a:lnTo>
                <a:lnTo>
                  <a:pt x="1461" y="1228"/>
                </a:lnTo>
                <a:lnTo>
                  <a:pt x="1497" y="1209"/>
                </a:lnTo>
                <a:lnTo>
                  <a:pt x="1540" y="1187"/>
                </a:lnTo>
                <a:lnTo>
                  <a:pt x="1561" y="1174"/>
                </a:lnTo>
                <a:lnTo>
                  <a:pt x="1582" y="1161"/>
                </a:lnTo>
                <a:lnTo>
                  <a:pt x="1601" y="1149"/>
                </a:lnTo>
                <a:lnTo>
                  <a:pt x="1620" y="1134"/>
                </a:lnTo>
                <a:lnTo>
                  <a:pt x="1637" y="1120"/>
                </a:lnTo>
                <a:lnTo>
                  <a:pt x="1651" y="1105"/>
                </a:lnTo>
                <a:lnTo>
                  <a:pt x="1658" y="1098"/>
                </a:lnTo>
                <a:lnTo>
                  <a:pt x="1664" y="1091"/>
                </a:lnTo>
                <a:lnTo>
                  <a:pt x="1668" y="1083"/>
                </a:lnTo>
                <a:lnTo>
                  <a:pt x="1672" y="1075"/>
                </a:lnTo>
                <a:lnTo>
                  <a:pt x="1674" y="1070"/>
                </a:lnTo>
                <a:lnTo>
                  <a:pt x="1674" y="1066"/>
                </a:lnTo>
                <a:lnTo>
                  <a:pt x="1675" y="1063"/>
                </a:lnTo>
                <a:lnTo>
                  <a:pt x="1674" y="1058"/>
                </a:lnTo>
                <a:lnTo>
                  <a:pt x="1673" y="1049"/>
                </a:lnTo>
                <a:lnTo>
                  <a:pt x="1669" y="1040"/>
                </a:lnTo>
                <a:lnTo>
                  <a:pt x="1664" y="1031"/>
                </a:lnTo>
                <a:lnTo>
                  <a:pt x="1657" y="1023"/>
                </a:lnTo>
                <a:lnTo>
                  <a:pt x="1649" y="1014"/>
                </a:lnTo>
                <a:lnTo>
                  <a:pt x="1641" y="1006"/>
                </a:lnTo>
                <a:lnTo>
                  <a:pt x="1636" y="999"/>
                </a:lnTo>
                <a:lnTo>
                  <a:pt x="1631" y="993"/>
                </a:lnTo>
                <a:lnTo>
                  <a:pt x="1627" y="987"/>
                </a:lnTo>
                <a:lnTo>
                  <a:pt x="1625" y="979"/>
                </a:lnTo>
                <a:lnTo>
                  <a:pt x="1621" y="972"/>
                </a:lnTo>
                <a:lnTo>
                  <a:pt x="1620" y="964"/>
                </a:lnTo>
                <a:lnTo>
                  <a:pt x="1618" y="957"/>
                </a:lnTo>
                <a:lnTo>
                  <a:pt x="1617" y="948"/>
                </a:lnTo>
                <a:lnTo>
                  <a:pt x="1616" y="931"/>
                </a:lnTo>
                <a:lnTo>
                  <a:pt x="1616" y="913"/>
                </a:lnTo>
                <a:lnTo>
                  <a:pt x="1617" y="894"/>
                </a:lnTo>
                <a:lnTo>
                  <a:pt x="1619" y="875"/>
                </a:lnTo>
                <a:lnTo>
                  <a:pt x="1620" y="855"/>
                </a:lnTo>
                <a:lnTo>
                  <a:pt x="1621" y="836"/>
                </a:lnTo>
                <a:lnTo>
                  <a:pt x="1621" y="816"/>
                </a:lnTo>
                <a:lnTo>
                  <a:pt x="1621" y="797"/>
                </a:lnTo>
                <a:lnTo>
                  <a:pt x="1619" y="778"/>
                </a:lnTo>
                <a:lnTo>
                  <a:pt x="1615" y="760"/>
                </a:lnTo>
                <a:lnTo>
                  <a:pt x="1612" y="752"/>
                </a:lnTo>
                <a:lnTo>
                  <a:pt x="1608" y="743"/>
                </a:lnTo>
                <a:lnTo>
                  <a:pt x="1605" y="736"/>
                </a:lnTo>
                <a:lnTo>
                  <a:pt x="1599" y="728"/>
                </a:lnTo>
                <a:lnTo>
                  <a:pt x="1591" y="716"/>
                </a:lnTo>
                <a:lnTo>
                  <a:pt x="1581" y="703"/>
                </a:lnTo>
                <a:lnTo>
                  <a:pt x="1570" y="691"/>
                </a:lnTo>
                <a:lnTo>
                  <a:pt x="1558" y="679"/>
                </a:lnTo>
                <a:lnTo>
                  <a:pt x="1532" y="653"/>
                </a:lnTo>
                <a:lnTo>
                  <a:pt x="1504" y="627"/>
                </a:lnTo>
                <a:lnTo>
                  <a:pt x="1477" y="602"/>
                </a:lnTo>
                <a:lnTo>
                  <a:pt x="1453" y="576"/>
                </a:lnTo>
                <a:lnTo>
                  <a:pt x="1443" y="564"/>
                </a:lnTo>
                <a:lnTo>
                  <a:pt x="1433" y="552"/>
                </a:lnTo>
                <a:lnTo>
                  <a:pt x="1425" y="539"/>
                </a:lnTo>
                <a:lnTo>
                  <a:pt x="1418" y="528"/>
                </a:lnTo>
                <a:lnTo>
                  <a:pt x="1404" y="499"/>
                </a:lnTo>
                <a:lnTo>
                  <a:pt x="1384" y="464"/>
                </a:lnTo>
                <a:lnTo>
                  <a:pt x="1361" y="427"/>
                </a:lnTo>
                <a:lnTo>
                  <a:pt x="1334" y="386"/>
                </a:lnTo>
                <a:lnTo>
                  <a:pt x="1304" y="345"/>
                </a:lnTo>
                <a:lnTo>
                  <a:pt x="1273" y="302"/>
                </a:lnTo>
                <a:lnTo>
                  <a:pt x="1240" y="258"/>
                </a:lnTo>
                <a:lnTo>
                  <a:pt x="1204" y="216"/>
                </a:lnTo>
                <a:lnTo>
                  <a:pt x="1168" y="174"/>
                </a:lnTo>
                <a:lnTo>
                  <a:pt x="1131" y="135"/>
                </a:lnTo>
                <a:lnTo>
                  <a:pt x="1112" y="117"/>
                </a:lnTo>
                <a:lnTo>
                  <a:pt x="1093" y="100"/>
                </a:lnTo>
                <a:lnTo>
                  <a:pt x="1075" y="83"/>
                </a:lnTo>
                <a:lnTo>
                  <a:pt x="1056" y="68"/>
                </a:lnTo>
                <a:lnTo>
                  <a:pt x="1039" y="54"/>
                </a:lnTo>
                <a:lnTo>
                  <a:pt x="1021" y="41"/>
                </a:lnTo>
                <a:lnTo>
                  <a:pt x="1004" y="30"/>
                </a:lnTo>
                <a:lnTo>
                  <a:pt x="986" y="20"/>
                </a:lnTo>
                <a:lnTo>
                  <a:pt x="969" y="12"/>
                </a:lnTo>
                <a:lnTo>
                  <a:pt x="954" y="7"/>
                </a:lnTo>
                <a:lnTo>
                  <a:pt x="938" y="2"/>
                </a:lnTo>
                <a:lnTo>
                  <a:pt x="923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77" name="Freeform 38">
            <a:extLst>
              <a:ext uri="{FF2B5EF4-FFF2-40B4-BE49-F238E27FC236}">
                <a16:creationId xmlns:a16="http://schemas.microsoft.com/office/drawing/2014/main" id="{22E15605-3EEE-443A-AA34-05D6FE5BDAB5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757988" y="3262313"/>
            <a:ext cx="184307" cy="223838"/>
          </a:xfrm>
          <a:custGeom>
            <a:avLst/>
            <a:gdLst/>
            <a:ahLst/>
            <a:cxnLst>
              <a:cxn ang="0">
                <a:pos x="452" y="36"/>
              </a:cxn>
              <a:cxn ang="0">
                <a:pos x="350" y="44"/>
              </a:cxn>
              <a:cxn ang="0">
                <a:pos x="291" y="65"/>
              </a:cxn>
              <a:cxn ang="0">
                <a:pos x="273" y="93"/>
              </a:cxn>
              <a:cxn ang="0">
                <a:pos x="246" y="144"/>
              </a:cxn>
              <a:cxn ang="0">
                <a:pos x="222" y="149"/>
              </a:cxn>
              <a:cxn ang="0">
                <a:pos x="200" y="158"/>
              </a:cxn>
              <a:cxn ang="0">
                <a:pos x="215" y="193"/>
              </a:cxn>
              <a:cxn ang="0">
                <a:pos x="237" y="197"/>
              </a:cxn>
              <a:cxn ang="0">
                <a:pos x="260" y="264"/>
              </a:cxn>
              <a:cxn ang="0">
                <a:pos x="215" y="309"/>
              </a:cxn>
              <a:cxn ang="0">
                <a:pos x="179" y="338"/>
              </a:cxn>
              <a:cxn ang="0">
                <a:pos x="162" y="382"/>
              </a:cxn>
              <a:cxn ang="0">
                <a:pos x="139" y="408"/>
              </a:cxn>
              <a:cxn ang="0">
                <a:pos x="60" y="439"/>
              </a:cxn>
              <a:cxn ang="0">
                <a:pos x="8" y="462"/>
              </a:cxn>
              <a:cxn ang="0">
                <a:pos x="2" y="574"/>
              </a:cxn>
              <a:cxn ang="0">
                <a:pos x="16" y="756"/>
              </a:cxn>
              <a:cxn ang="0">
                <a:pos x="92" y="744"/>
              </a:cxn>
              <a:cxn ang="0">
                <a:pos x="150" y="759"/>
              </a:cxn>
              <a:cxn ang="0">
                <a:pos x="181" y="788"/>
              </a:cxn>
              <a:cxn ang="0">
                <a:pos x="179" y="861"/>
              </a:cxn>
              <a:cxn ang="0">
                <a:pos x="157" y="925"/>
              </a:cxn>
              <a:cxn ang="0">
                <a:pos x="177" y="1004"/>
              </a:cxn>
              <a:cxn ang="0">
                <a:pos x="190" y="1031"/>
              </a:cxn>
              <a:cxn ang="0">
                <a:pos x="204" y="1166"/>
              </a:cxn>
              <a:cxn ang="0">
                <a:pos x="217" y="1203"/>
              </a:cxn>
              <a:cxn ang="0">
                <a:pos x="240" y="1255"/>
              </a:cxn>
              <a:cxn ang="0">
                <a:pos x="258" y="1292"/>
              </a:cxn>
              <a:cxn ang="0">
                <a:pos x="280" y="1307"/>
              </a:cxn>
              <a:cxn ang="0">
                <a:pos x="284" y="1260"/>
              </a:cxn>
              <a:cxn ang="0">
                <a:pos x="392" y="1255"/>
              </a:cxn>
              <a:cxn ang="0">
                <a:pos x="526" y="1285"/>
              </a:cxn>
              <a:cxn ang="0">
                <a:pos x="641" y="1378"/>
              </a:cxn>
              <a:cxn ang="0">
                <a:pos x="664" y="1384"/>
              </a:cxn>
              <a:cxn ang="0">
                <a:pos x="816" y="1355"/>
              </a:cxn>
              <a:cxn ang="0">
                <a:pos x="943" y="1339"/>
              </a:cxn>
              <a:cxn ang="0">
                <a:pos x="1014" y="1302"/>
              </a:cxn>
              <a:cxn ang="0">
                <a:pos x="996" y="1266"/>
              </a:cxn>
              <a:cxn ang="0">
                <a:pos x="975" y="1205"/>
              </a:cxn>
              <a:cxn ang="0">
                <a:pos x="964" y="1135"/>
              </a:cxn>
              <a:cxn ang="0">
                <a:pos x="958" y="1093"/>
              </a:cxn>
              <a:cxn ang="0">
                <a:pos x="941" y="981"/>
              </a:cxn>
              <a:cxn ang="0">
                <a:pos x="925" y="949"/>
              </a:cxn>
              <a:cxn ang="0">
                <a:pos x="913" y="819"/>
              </a:cxn>
              <a:cxn ang="0">
                <a:pos x="899" y="785"/>
              </a:cxn>
              <a:cxn ang="0">
                <a:pos x="883" y="744"/>
              </a:cxn>
              <a:cxn ang="0">
                <a:pos x="852" y="727"/>
              </a:cxn>
              <a:cxn ang="0">
                <a:pos x="816" y="723"/>
              </a:cxn>
              <a:cxn ang="0">
                <a:pos x="741" y="664"/>
              </a:cxn>
              <a:cxn ang="0">
                <a:pos x="728" y="638"/>
              </a:cxn>
              <a:cxn ang="0">
                <a:pos x="723" y="609"/>
              </a:cxn>
              <a:cxn ang="0">
                <a:pos x="695" y="572"/>
              </a:cxn>
              <a:cxn ang="0">
                <a:pos x="698" y="327"/>
              </a:cxn>
              <a:cxn ang="0">
                <a:pos x="692" y="233"/>
              </a:cxn>
              <a:cxn ang="0">
                <a:pos x="664" y="175"/>
              </a:cxn>
              <a:cxn ang="0">
                <a:pos x="638" y="119"/>
              </a:cxn>
              <a:cxn ang="0">
                <a:pos x="628" y="71"/>
              </a:cxn>
              <a:cxn ang="0">
                <a:pos x="581" y="63"/>
              </a:cxn>
              <a:cxn ang="0">
                <a:pos x="521" y="53"/>
              </a:cxn>
              <a:cxn ang="0">
                <a:pos x="507" y="19"/>
              </a:cxn>
              <a:cxn ang="0">
                <a:pos x="497" y="0"/>
              </a:cxn>
            </a:cxnLst>
            <a:rect l="0" t="0" r="r" b="b"/>
            <a:pathLst>
              <a:path w="1023" h="1388">
                <a:moveTo>
                  <a:pt x="475" y="0"/>
                </a:moveTo>
                <a:lnTo>
                  <a:pt x="475" y="26"/>
                </a:lnTo>
                <a:lnTo>
                  <a:pt x="471" y="31"/>
                </a:lnTo>
                <a:lnTo>
                  <a:pt x="466" y="35"/>
                </a:lnTo>
                <a:lnTo>
                  <a:pt x="459" y="35"/>
                </a:lnTo>
                <a:lnTo>
                  <a:pt x="453" y="35"/>
                </a:lnTo>
                <a:lnTo>
                  <a:pt x="452" y="36"/>
                </a:lnTo>
                <a:lnTo>
                  <a:pt x="449" y="39"/>
                </a:lnTo>
                <a:lnTo>
                  <a:pt x="445" y="40"/>
                </a:lnTo>
                <a:lnTo>
                  <a:pt x="438" y="41"/>
                </a:lnTo>
                <a:lnTo>
                  <a:pt x="424" y="42"/>
                </a:lnTo>
                <a:lnTo>
                  <a:pt x="406" y="43"/>
                </a:lnTo>
                <a:lnTo>
                  <a:pt x="371" y="44"/>
                </a:lnTo>
                <a:lnTo>
                  <a:pt x="350" y="44"/>
                </a:lnTo>
                <a:lnTo>
                  <a:pt x="342" y="47"/>
                </a:lnTo>
                <a:lnTo>
                  <a:pt x="327" y="51"/>
                </a:lnTo>
                <a:lnTo>
                  <a:pt x="310" y="55"/>
                </a:lnTo>
                <a:lnTo>
                  <a:pt x="300" y="58"/>
                </a:lnTo>
                <a:lnTo>
                  <a:pt x="299" y="61"/>
                </a:lnTo>
                <a:lnTo>
                  <a:pt x="295" y="64"/>
                </a:lnTo>
                <a:lnTo>
                  <a:pt x="291" y="65"/>
                </a:lnTo>
                <a:lnTo>
                  <a:pt x="286" y="67"/>
                </a:lnTo>
                <a:lnTo>
                  <a:pt x="284" y="73"/>
                </a:lnTo>
                <a:lnTo>
                  <a:pt x="282" y="80"/>
                </a:lnTo>
                <a:lnTo>
                  <a:pt x="279" y="82"/>
                </a:lnTo>
                <a:lnTo>
                  <a:pt x="276" y="86"/>
                </a:lnTo>
                <a:lnTo>
                  <a:pt x="274" y="90"/>
                </a:lnTo>
                <a:lnTo>
                  <a:pt x="273" y="93"/>
                </a:lnTo>
                <a:lnTo>
                  <a:pt x="264" y="98"/>
                </a:lnTo>
                <a:lnTo>
                  <a:pt x="264" y="109"/>
                </a:lnTo>
                <a:lnTo>
                  <a:pt x="264" y="120"/>
                </a:lnTo>
                <a:lnTo>
                  <a:pt x="264" y="130"/>
                </a:lnTo>
                <a:lnTo>
                  <a:pt x="264" y="139"/>
                </a:lnTo>
                <a:lnTo>
                  <a:pt x="255" y="141"/>
                </a:lnTo>
                <a:lnTo>
                  <a:pt x="246" y="144"/>
                </a:lnTo>
                <a:lnTo>
                  <a:pt x="246" y="145"/>
                </a:lnTo>
                <a:lnTo>
                  <a:pt x="245" y="146"/>
                </a:lnTo>
                <a:lnTo>
                  <a:pt x="243" y="147"/>
                </a:lnTo>
                <a:lnTo>
                  <a:pt x="241" y="147"/>
                </a:lnTo>
                <a:lnTo>
                  <a:pt x="235" y="148"/>
                </a:lnTo>
                <a:lnTo>
                  <a:pt x="228" y="148"/>
                </a:lnTo>
                <a:lnTo>
                  <a:pt x="222" y="149"/>
                </a:lnTo>
                <a:lnTo>
                  <a:pt x="216" y="150"/>
                </a:lnTo>
                <a:lnTo>
                  <a:pt x="214" y="151"/>
                </a:lnTo>
                <a:lnTo>
                  <a:pt x="212" y="153"/>
                </a:lnTo>
                <a:lnTo>
                  <a:pt x="210" y="155"/>
                </a:lnTo>
                <a:lnTo>
                  <a:pt x="210" y="157"/>
                </a:lnTo>
                <a:lnTo>
                  <a:pt x="202" y="157"/>
                </a:lnTo>
                <a:lnTo>
                  <a:pt x="200" y="158"/>
                </a:lnTo>
                <a:lnTo>
                  <a:pt x="198" y="161"/>
                </a:lnTo>
                <a:lnTo>
                  <a:pt x="196" y="164"/>
                </a:lnTo>
                <a:lnTo>
                  <a:pt x="193" y="166"/>
                </a:lnTo>
                <a:lnTo>
                  <a:pt x="193" y="179"/>
                </a:lnTo>
                <a:lnTo>
                  <a:pt x="202" y="184"/>
                </a:lnTo>
                <a:lnTo>
                  <a:pt x="206" y="193"/>
                </a:lnTo>
                <a:lnTo>
                  <a:pt x="215" y="193"/>
                </a:lnTo>
                <a:lnTo>
                  <a:pt x="224" y="193"/>
                </a:lnTo>
                <a:lnTo>
                  <a:pt x="224" y="194"/>
                </a:lnTo>
                <a:lnTo>
                  <a:pt x="225" y="195"/>
                </a:lnTo>
                <a:lnTo>
                  <a:pt x="227" y="196"/>
                </a:lnTo>
                <a:lnTo>
                  <a:pt x="228" y="196"/>
                </a:lnTo>
                <a:lnTo>
                  <a:pt x="233" y="197"/>
                </a:lnTo>
                <a:lnTo>
                  <a:pt x="237" y="197"/>
                </a:lnTo>
                <a:lnTo>
                  <a:pt x="242" y="202"/>
                </a:lnTo>
                <a:lnTo>
                  <a:pt x="245" y="214"/>
                </a:lnTo>
                <a:lnTo>
                  <a:pt x="251" y="230"/>
                </a:lnTo>
                <a:lnTo>
                  <a:pt x="254" y="238"/>
                </a:lnTo>
                <a:lnTo>
                  <a:pt x="257" y="247"/>
                </a:lnTo>
                <a:lnTo>
                  <a:pt x="258" y="256"/>
                </a:lnTo>
                <a:lnTo>
                  <a:pt x="260" y="264"/>
                </a:lnTo>
                <a:lnTo>
                  <a:pt x="255" y="270"/>
                </a:lnTo>
                <a:lnTo>
                  <a:pt x="250" y="278"/>
                </a:lnTo>
                <a:lnTo>
                  <a:pt x="244" y="285"/>
                </a:lnTo>
                <a:lnTo>
                  <a:pt x="242" y="291"/>
                </a:lnTo>
                <a:lnTo>
                  <a:pt x="237" y="295"/>
                </a:lnTo>
                <a:lnTo>
                  <a:pt x="226" y="302"/>
                </a:lnTo>
                <a:lnTo>
                  <a:pt x="215" y="309"/>
                </a:lnTo>
                <a:lnTo>
                  <a:pt x="210" y="313"/>
                </a:lnTo>
                <a:lnTo>
                  <a:pt x="208" y="318"/>
                </a:lnTo>
                <a:lnTo>
                  <a:pt x="203" y="322"/>
                </a:lnTo>
                <a:lnTo>
                  <a:pt x="195" y="326"/>
                </a:lnTo>
                <a:lnTo>
                  <a:pt x="188" y="328"/>
                </a:lnTo>
                <a:lnTo>
                  <a:pt x="184" y="332"/>
                </a:lnTo>
                <a:lnTo>
                  <a:pt x="179" y="338"/>
                </a:lnTo>
                <a:lnTo>
                  <a:pt x="174" y="343"/>
                </a:lnTo>
                <a:lnTo>
                  <a:pt x="170" y="346"/>
                </a:lnTo>
                <a:lnTo>
                  <a:pt x="169" y="352"/>
                </a:lnTo>
                <a:lnTo>
                  <a:pt x="168" y="361"/>
                </a:lnTo>
                <a:lnTo>
                  <a:pt x="166" y="371"/>
                </a:lnTo>
                <a:lnTo>
                  <a:pt x="166" y="381"/>
                </a:lnTo>
                <a:lnTo>
                  <a:pt x="162" y="382"/>
                </a:lnTo>
                <a:lnTo>
                  <a:pt x="161" y="384"/>
                </a:lnTo>
                <a:lnTo>
                  <a:pt x="161" y="387"/>
                </a:lnTo>
                <a:lnTo>
                  <a:pt x="161" y="390"/>
                </a:lnTo>
                <a:lnTo>
                  <a:pt x="156" y="392"/>
                </a:lnTo>
                <a:lnTo>
                  <a:pt x="148" y="397"/>
                </a:lnTo>
                <a:lnTo>
                  <a:pt x="141" y="404"/>
                </a:lnTo>
                <a:lnTo>
                  <a:pt x="139" y="408"/>
                </a:lnTo>
                <a:lnTo>
                  <a:pt x="131" y="408"/>
                </a:lnTo>
                <a:lnTo>
                  <a:pt x="125" y="410"/>
                </a:lnTo>
                <a:lnTo>
                  <a:pt x="117" y="413"/>
                </a:lnTo>
                <a:lnTo>
                  <a:pt x="109" y="415"/>
                </a:lnTo>
                <a:lnTo>
                  <a:pt x="92" y="423"/>
                </a:lnTo>
                <a:lnTo>
                  <a:pt x="77" y="430"/>
                </a:lnTo>
                <a:lnTo>
                  <a:pt x="60" y="439"/>
                </a:lnTo>
                <a:lnTo>
                  <a:pt x="44" y="446"/>
                </a:lnTo>
                <a:lnTo>
                  <a:pt x="37" y="449"/>
                </a:lnTo>
                <a:lnTo>
                  <a:pt x="30" y="451"/>
                </a:lnTo>
                <a:lnTo>
                  <a:pt x="23" y="453"/>
                </a:lnTo>
                <a:lnTo>
                  <a:pt x="17" y="453"/>
                </a:lnTo>
                <a:lnTo>
                  <a:pt x="17" y="462"/>
                </a:lnTo>
                <a:lnTo>
                  <a:pt x="8" y="462"/>
                </a:lnTo>
                <a:lnTo>
                  <a:pt x="7" y="465"/>
                </a:lnTo>
                <a:lnTo>
                  <a:pt x="4" y="468"/>
                </a:lnTo>
                <a:lnTo>
                  <a:pt x="1" y="471"/>
                </a:lnTo>
                <a:lnTo>
                  <a:pt x="0" y="471"/>
                </a:lnTo>
                <a:lnTo>
                  <a:pt x="0" y="505"/>
                </a:lnTo>
                <a:lnTo>
                  <a:pt x="1" y="540"/>
                </a:lnTo>
                <a:lnTo>
                  <a:pt x="2" y="574"/>
                </a:lnTo>
                <a:lnTo>
                  <a:pt x="4" y="610"/>
                </a:lnTo>
                <a:lnTo>
                  <a:pt x="5" y="645"/>
                </a:lnTo>
                <a:lnTo>
                  <a:pt x="7" y="678"/>
                </a:lnTo>
                <a:lnTo>
                  <a:pt x="7" y="713"/>
                </a:lnTo>
                <a:lnTo>
                  <a:pt x="8" y="745"/>
                </a:lnTo>
                <a:lnTo>
                  <a:pt x="12" y="750"/>
                </a:lnTo>
                <a:lnTo>
                  <a:pt x="16" y="756"/>
                </a:lnTo>
                <a:lnTo>
                  <a:pt x="21" y="763"/>
                </a:lnTo>
                <a:lnTo>
                  <a:pt x="22" y="767"/>
                </a:lnTo>
                <a:lnTo>
                  <a:pt x="58" y="767"/>
                </a:lnTo>
                <a:lnTo>
                  <a:pt x="68" y="759"/>
                </a:lnTo>
                <a:lnTo>
                  <a:pt x="77" y="752"/>
                </a:lnTo>
                <a:lnTo>
                  <a:pt x="84" y="747"/>
                </a:lnTo>
                <a:lnTo>
                  <a:pt x="92" y="744"/>
                </a:lnTo>
                <a:lnTo>
                  <a:pt x="99" y="743"/>
                </a:lnTo>
                <a:lnTo>
                  <a:pt x="106" y="742"/>
                </a:lnTo>
                <a:lnTo>
                  <a:pt x="111" y="743"/>
                </a:lnTo>
                <a:lnTo>
                  <a:pt x="118" y="745"/>
                </a:lnTo>
                <a:lnTo>
                  <a:pt x="130" y="750"/>
                </a:lnTo>
                <a:lnTo>
                  <a:pt x="142" y="756"/>
                </a:lnTo>
                <a:lnTo>
                  <a:pt x="150" y="759"/>
                </a:lnTo>
                <a:lnTo>
                  <a:pt x="157" y="761"/>
                </a:lnTo>
                <a:lnTo>
                  <a:pt x="166" y="762"/>
                </a:lnTo>
                <a:lnTo>
                  <a:pt x="175" y="763"/>
                </a:lnTo>
                <a:lnTo>
                  <a:pt x="177" y="772"/>
                </a:lnTo>
                <a:lnTo>
                  <a:pt x="179" y="785"/>
                </a:lnTo>
                <a:lnTo>
                  <a:pt x="180" y="786"/>
                </a:lnTo>
                <a:lnTo>
                  <a:pt x="181" y="788"/>
                </a:lnTo>
                <a:lnTo>
                  <a:pt x="183" y="791"/>
                </a:lnTo>
                <a:lnTo>
                  <a:pt x="184" y="795"/>
                </a:lnTo>
                <a:lnTo>
                  <a:pt x="186" y="805"/>
                </a:lnTo>
                <a:lnTo>
                  <a:pt x="187" y="818"/>
                </a:lnTo>
                <a:lnTo>
                  <a:pt x="188" y="842"/>
                </a:lnTo>
                <a:lnTo>
                  <a:pt x="188" y="857"/>
                </a:lnTo>
                <a:lnTo>
                  <a:pt x="179" y="861"/>
                </a:lnTo>
                <a:lnTo>
                  <a:pt x="179" y="875"/>
                </a:lnTo>
                <a:lnTo>
                  <a:pt x="170" y="891"/>
                </a:lnTo>
                <a:lnTo>
                  <a:pt x="161" y="907"/>
                </a:lnTo>
                <a:lnTo>
                  <a:pt x="161" y="913"/>
                </a:lnTo>
                <a:lnTo>
                  <a:pt x="160" y="917"/>
                </a:lnTo>
                <a:lnTo>
                  <a:pt x="159" y="921"/>
                </a:lnTo>
                <a:lnTo>
                  <a:pt x="157" y="925"/>
                </a:lnTo>
                <a:lnTo>
                  <a:pt x="158" y="943"/>
                </a:lnTo>
                <a:lnTo>
                  <a:pt x="161" y="962"/>
                </a:lnTo>
                <a:lnTo>
                  <a:pt x="164" y="981"/>
                </a:lnTo>
                <a:lnTo>
                  <a:pt x="166" y="996"/>
                </a:lnTo>
                <a:lnTo>
                  <a:pt x="171" y="1000"/>
                </a:lnTo>
                <a:lnTo>
                  <a:pt x="176" y="1002"/>
                </a:lnTo>
                <a:lnTo>
                  <a:pt x="177" y="1004"/>
                </a:lnTo>
                <a:lnTo>
                  <a:pt x="178" y="1006"/>
                </a:lnTo>
                <a:lnTo>
                  <a:pt x="179" y="1010"/>
                </a:lnTo>
                <a:lnTo>
                  <a:pt x="179" y="1014"/>
                </a:lnTo>
                <a:lnTo>
                  <a:pt x="184" y="1023"/>
                </a:lnTo>
                <a:lnTo>
                  <a:pt x="186" y="1025"/>
                </a:lnTo>
                <a:lnTo>
                  <a:pt x="188" y="1028"/>
                </a:lnTo>
                <a:lnTo>
                  <a:pt x="190" y="1031"/>
                </a:lnTo>
                <a:lnTo>
                  <a:pt x="192" y="1034"/>
                </a:lnTo>
                <a:lnTo>
                  <a:pt x="195" y="1044"/>
                </a:lnTo>
                <a:lnTo>
                  <a:pt x="196" y="1055"/>
                </a:lnTo>
                <a:lnTo>
                  <a:pt x="199" y="1082"/>
                </a:lnTo>
                <a:lnTo>
                  <a:pt x="200" y="1111"/>
                </a:lnTo>
                <a:lnTo>
                  <a:pt x="202" y="1140"/>
                </a:lnTo>
                <a:lnTo>
                  <a:pt x="204" y="1166"/>
                </a:lnTo>
                <a:lnTo>
                  <a:pt x="206" y="1175"/>
                </a:lnTo>
                <a:lnTo>
                  <a:pt x="208" y="1183"/>
                </a:lnTo>
                <a:lnTo>
                  <a:pt x="209" y="1186"/>
                </a:lnTo>
                <a:lnTo>
                  <a:pt x="212" y="1188"/>
                </a:lnTo>
                <a:lnTo>
                  <a:pt x="213" y="1189"/>
                </a:lnTo>
                <a:lnTo>
                  <a:pt x="215" y="1189"/>
                </a:lnTo>
                <a:lnTo>
                  <a:pt x="217" y="1203"/>
                </a:lnTo>
                <a:lnTo>
                  <a:pt x="219" y="1216"/>
                </a:lnTo>
                <a:lnTo>
                  <a:pt x="228" y="1225"/>
                </a:lnTo>
                <a:lnTo>
                  <a:pt x="229" y="1232"/>
                </a:lnTo>
                <a:lnTo>
                  <a:pt x="234" y="1243"/>
                </a:lnTo>
                <a:lnTo>
                  <a:pt x="235" y="1249"/>
                </a:lnTo>
                <a:lnTo>
                  <a:pt x="237" y="1253"/>
                </a:lnTo>
                <a:lnTo>
                  <a:pt x="240" y="1255"/>
                </a:lnTo>
                <a:lnTo>
                  <a:pt x="242" y="1257"/>
                </a:lnTo>
                <a:lnTo>
                  <a:pt x="242" y="1266"/>
                </a:lnTo>
                <a:lnTo>
                  <a:pt x="245" y="1269"/>
                </a:lnTo>
                <a:lnTo>
                  <a:pt x="251" y="1276"/>
                </a:lnTo>
                <a:lnTo>
                  <a:pt x="254" y="1282"/>
                </a:lnTo>
                <a:lnTo>
                  <a:pt x="257" y="1286"/>
                </a:lnTo>
                <a:lnTo>
                  <a:pt x="258" y="1292"/>
                </a:lnTo>
                <a:lnTo>
                  <a:pt x="260" y="1298"/>
                </a:lnTo>
                <a:lnTo>
                  <a:pt x="264" y="1298"/>
                </a:lnTo>
                <a:lnTo>
                  <a:pt x="269" y="1300"/>
                </a:lnTo>
                <a:lnTo>
                  <a:pt x="272" y="1303"/>
                </a:lnTo>
                <a:lnTo>
                  <a:pt x="273" y="1307"/>
                </a:lnTo>
                <a:lnTo>
                  <a:pt x="276" y="1307"/>
                </a:lnTo>
                <a:lnTo>
                  <a:pt x="280" y="1307"/>
                </a:lnTo>
                <a:lnTo>
                  <a:pt x="279" y="1291"/>
                </a:lnTo>
                <a:lnTo>
                  <a:pt x="280" y="1278"/>
                </a:lnTo>
                <a:lnTo>
                  <a:pt x="281" y="1272"/>
                </a:lnTo>
                <a:lnTo>
                  <a:pt x="281" y="1269"/>
                </a:lnTo>
                <a:lnTo>
                  <a:pt x="283" y="1266"/>
                </a:lnTo>
                <a:lnTo>
                  <a:pt x="284" y="1265"/>
                </a:lnTo>
                <a:lnTo>
                  <a:pt x="284" y="1260"/>
                </a:lnTo>
                <a:lnTo>
                  <a:pt x="288" y="1259"/>
                </a:lnTo>
                <a:lnTo>
                  <a:pt x="290" y="1257"/>
                </a:lnTo>
                <a:lnTo>
                  <a:pt x="292" y="1255"/>
                </a:lnTo>
                <a:lnTo>
                  <a:pt x="293" y="1253"/>
                </a:lnTo>
                <a:lnTo>
                  <a:pt x="333" y="1253"/>
                </a:lnTo>
                <a:lnTo>
                  <a:pt x="372" y="1254"/>
                </a:lnTo>
                <a:lnTo>
                  <a:pt x="392" y="1255"/>
                </a:lnTo>
                <a:lnTo>
                  <a:pt x="413" y="1257"/>
                </a:lnTo>
                <a:lnTo>
                  <a:pt x="433" y="1260"/>
                </a:lnTo>
                <a:lnTo>
                  <a:pt x="453" y="1263"/>
                </a:lnTo>
                <a:lnTo>
                  <a:pt x="472" y="1266"/>
                </a:lnTo>
                <a:lnTo>
                  <a:pt x="491" y="1272"/>
                </a:lnTo>
                <a:lnTo>
                  <a:pt x="509" y="1278"/>
                </a:lnTo>
                <a:lnTo>
                  <a:pt x="526" y="1285"/>
                </a:lnTo>
                <a:lnTo>
                  <a:pt x="544" y="1294"/>
                </a:lnTo>
                <a:lnTo>
                  <a:pt x="560" y="1304"/>
                </a:lnTo>
                <a:lnTo>
                  <a:pt x="576" y="1315"/>
                </a:lnTo>
                <a:lnTo>
                  <a:pt x="591" y="1329"/>
                </a:lnTo>
                <a:lnTo>
                  <a:pt x="603" y="1342"/>
                </a:lnTo>
                <a:lnTo>
                  <a:pt x="628" y="1367"/>
                </a:lnTo>
                <a:lnTo>
                  <a:pt x="641" y="1378"/>
                </a:lnTo>
                <a:lnTo>
                  <a:pt x="653" y="1386"/>
                </a:lnTo>
                <a:lnTo>
                  <a:pt x="657" y="1388"/>
                </a:lnTo>
                <a:lnTo>
                  <a:pt x="660" y="1388"/>
                </a:lnTo>
                <a:lnTo>
                  <a:pt x="661" y="1388"/>
                </a:lnTo>
                <a:lnTo>
                  <a:pt x="663" y="1387"/>
                </a:lnTo>
                <a:lnTo>
                  <a:pt x="663" y="1386"/>
                </a:lnTo>
                <a:lnTo>
                  <a:pt x="664" y="1384"/>
                </a:lnTo>
                <a:lnTo>
                  <a:pt x="678" y="1384"/>
                </a:lnTo>
                <a:lnTo>
                  <a:pt x="693" y="1381"/>
                </a:lnTo>
                <a:lnTo>
                  <a:pt x="708" y="1380"/>
                </a:lnTo>
                <a:lnTo>
                  <a:pt x="724" y="1377"/>
                </a:lnTo>
                <a:lnTo>
                  <a:pt x="754" y="1370"/>
                </a:lnTo>
                <a:lnTo>
                  <a:pt x="785" y="1362"/>
                </a:lnTo>
                <a:lnTo>
                  <a:pt x="816" y="1355"/>
                </a:lnTo>
                <a:lnTo>
                  <a:pt x="847" y="1348"/>
                </a:lnTo>
                <a:lnTo>
                  <a:pt x="862" y="1346"/>
                </a:lnTo>
                <a:lnTo>
                  <a:pt x="878" y="1343"/>
                </a:lnTo>
                <a:lnTo>
                  <a:pt x="894" y="1342"/>
                </a:lnTo>
                <a:lnTo>
                  <a:pt x="909" y="1341"/>
                </a:lnTo>
                <a:lnTo>
                  <a:pt x="926" y="1341"/>
                </a:lnTo>
                <a:lnTo>
                  <a:pt x="943" y="1339"/>
                </a:lnTo>
                <a:lnTo>
                  <a:pt x="957" y="1337"/>
                </a:lnTo>
                <a:lnTo>
                  <a:pt x="972" y="1333"/>
                </a:lnTo>
                <a:lnTo>
                  <a:pt x="997" y="1327"/>
                </a:lnTo>
                <a:lnTo>
                  <a:pt x="1023" y="1318"/>
                </a:lnTo>
                <a:lnTo>
                  <a:pt x="1019" y="1313"/>
                </a:lnTo>
                <a:lnTo>
                  <a:pt x="1014" y="1311"/>
                </a:lnTo>
                <a:lnTo>
                  <a:pt x="1014" y="1302"/>
                </a:lnTo>
                <a:lnTo>
                  <a:pt x="1005" y="1293"/>
                </a:lnTo>
                <a:lnTo>
                  <a:pt x="1005" y="1285"/>
                </a:lnTo>
                <a:lnTo>
                  <a:pt x="1004" y="1276"/>
                </a:lnTo>
                <a:lnTo>
                  <a:pt x="1003" y="1272"/>
                </a:lnTo>
                <a:lnTo>
                  <a:pt x="1002" y="1269"/>
                </a:lnTo>
                <a:lnTo>
                  <a:pt x="1000" y="1266"/>
                </a:lnTo>
                <a:lnTo>
                  <a:pt x="996" y="1266"/>
                </a:lnTo>
                <a:lnTo>
                  <a:pt x="996" y="1257"/>
                </a:lnTo>
                <a:lnTo>
                  <a:pt x="989" y="1246"/>
                </a:lnTo>
                <a:lnTo>
                  <a:pt x="983" y="1238"/>
                </a:lnTo>
                <a:lnTo>
                  <a:pt x="981" y="1223"/>
                </a:lnTo>
                <a:lnTo>
                  <a:pt x="979" y="1207"/>
                </a:lnTo>
                <a:lnTo>
                  <a:pt x="977" y="1207"/>
                </a:lnTo>
                <a:lnTo>
                  <a:pt x="975" y="1205"/>
                </a:lnTo>
                <a:lnTo>
                  <a:pt x="974" y="1202"/>
                </a:lnTo>
                <a:lnTo>
                  <a:pt x="973" y="1197"/>
                </a:lnTo>
                <a:lnTo>
                  <a:pt x="971" y="1187"/>
                </a:lnTo>
                <a:lnTo>
                  <a:pt x="968" y="1175"/>
                </a:lnTo>
                <a:lnTo>
                  <a:pt x="966" y="1150"/>
                </a:lnTo>
                <a:lnTo>
                  <a:pt x="965" y="1136"/>
                </a:lnTo>
                <a:lnTo>
                  <a:pt x="964" y="1135"/>
                </a:lnTo>
                <a:lnTo>
                  <a:pt x="963" y="1132"/>
                </a:lnTo>
                <a:lnTo>
                  <a:pt x="962" y="1128"/>
                </a:lnTo>
                <a:lnTo>
                  <a:pt x="961" y="1124"/>
                </a:lnTo>
                <a:lnTo>
                  <a:pt x="961" y="1115"/>
                </a:lnTo>
                <a:lnTo>
                  <a:pt x="961" y="1109"/>
                </a:lnTo>
                <a:lnTo>
                  <a:pt x="960" y="1105"/>
                </a:lnTo>
                <a:lnTo>
                  <a:pt x="958" y="1093"/>
                </a:lnTo>
                <a:lnTo>
                  <a:pt x="957" y="1079"/>
                </a:lnTo>
                <a:lnTo>
                  <a:pt x="956" y="1060"/>
                </a:lnTo>
                <a:lnTo>
                  <a:pt x="956" y="1025"/>
                </a:lnTo>
                <a:lnTo>
                  <a:pt x="956" y="1005"/>
                </a:lnTo>
                <a:lnTo>
                  <a:pt x="951" y="1000"/>
                </a:lnTo>
                <a:lnTo>
                  <a:pt x="944" y="987"/>
                </a:lnTo>
                <a:lnTo>
                  <a:pt x="941" y="981"/>
                </a:lnTo>
                <a:lnTo>
                  <a:pt x="936" y="975"/>
                </a:lnTo>
                <a:lnTo>
                  <a:pt x="933" y="971"/>
                </a:lnTo>
                <a:lnTo>
                  <a:pt x="929" y="969"/>
                </a:lnTo>
                <a:lnTo>
                  <a:pt x="929" y="961"/>
                </a:lnTo>
                <a:lnTo>
                  <a:pt x="927" y="959"/>
                </a:lnTo>
                <a:lnTo>
                  <a:pt x="926" y="955"/>
                </a:lnTo>
                <a:lnTo>
                  <a:pt x="925" y="949"/>
                </a:lnTo>
                <a:lnTo>
                  <a:pt x="923" y="942"/>
                </a:lnTo>
                <a:lnTo>
                  <a:pt x="920" y="921"/>
                </a:lnTo>
                <a:lnTo>
                  <a:pt x="919" y="898"/>
                </a:lnTo>
                <a:lnTo>
                  <a:pt x="916" y="850"/>
                </a:lnTo>
                <a:lnTo>
                  <a:pt x="916" y="821"/>
                </a:lnTo>
                <a:lnTo>
                  <a:pt x="914" y="821"/>
                </a:lnTo>
                <a:lnTo>
                  <a:pt x="913" y="819"/>
                </a:lnTo>
                <a:lnTo>
                  <a:pt x="913" y="817"/>
                </a:lnTo>
                <a:lnTo>
                  <a:pt x="912" y="814"/>
                </a:lnTo>
                <a:lnTo>
                  <a:pt x="912" y="808"/>
                </a:lnTo>
                <a:lnTo>
                  <a:pt x="912" y="803"/>
                </a:lnTo>
                <a:lnTo>
                  <a:pt x="903" y="799"/>
                </a:lnTo>
                <a:lnTo>
                  <a:pt x="901" y="792"/>
                </a:lnTo>
                <a:lnTo>
                  <a:pt x="899" y="785"/>
                </a:lnTo>
                <a:lnTo>
                  <a:pt x="896" y="779"/>
                </a:lnTo>
                <a:lnTo>
                  <a:pt x="894" y="772"/>
                </a:lnTo>
                <a:lnTo>
                  <a:pt x="890" y="765"/>
                </a:lnTo>
                <a:lnTo>
                  <a:pt x="887" y="759"/>
                </a:lnTo>
                <a:lnTo>
                  <a:pt x="885" y="752"/>
                </a:lnTo>
                <a:lnTo>
                  <a:pt x="884" y="745"/>
                </a:lnTo>
                <a:lnTo>
                  <a:pt x="883" y="744"/>
                </a:lnTo>
                <a:lnTo>
                  <a:pt x="881" y="743"/>
                </a:lnTo>
                <a:lnTo>
                  <a:pt x="880" y="742"/>
                </a:lnTo>
                <a:lnTo>
                  <a:pt x="880" y="740"/>
                </a:lnTo>
                <a:lnTo>
                  <a:pt x="880" y="735"/>
                </a:lnTo>
                <a:lnTo>
                  <a:pt x="879" y="732"/>
                </a:lnTo>
                <a:lnTo>
                  <a:pt x="868" y="730"/>
                </a:lnTo>
                <a:lnTo>
                  <a:pt x="852" y="727"/>
                </a:lnTo>
                <a:lnTo>
                  <a:pt x="851" y="728"/>
                </a:lnTo>
                <a:lnTo>
                  <a:pt x="849" y="730"/>
                </a:lnTo>
                <a:lnTo>
                  <a:pt x="846" y="731"/>
                </a:lnTo>
                <a:lnTo>
                  <a:pt x="841" y="731"/>
                </a:lnTo>
                <a:lnTo>
                  <a:pt x="832" y="732"/>
                </a:lnTo>
                <a:lnTo>
                  <a:pt x="826" y="732"/>
                </a:lnTo>
                <a:lnTo>
                  <a:pt x="816" y="723"/>
                </a:lnTo>
                <a:lnTo>
                  <a:pt x="797" y="709"/>
                </a:lnTo>
                <a:lnTo>
                  <a:pt x="778" y="697"/>
                </a:lnTo>
                <a:lnTo>
                  <a:pt x="768" y="690"/>
                </a:lnTo>
                <a:lnTo>
                  <a:pt x="763" y="686"/>
                </a:lnTo>
                <a:lnTo>
                  <a:pt x="759" y="677"/>
                </a:lnTo>
                <a:lnTo>
                  <a:pt x="751" y="670"/>
                </a:lnTo>
                <a:lnTo>
                  <a:pt x="741" y="664"/>
                </a:lnTo>
                <a:lnTo>
                  <a:pt x="738" y="660"/>
                </a:lnTo>
                <a:lnTo>
                  <a:pt x="736" y="658"/>
                </a:lnTo>
                <a:lnTo>
                  <a:pt x="733" y="656"/>
                </a:lnTo>
                <a:lnTo>
                  <a:pt x="732" y="655"/>
                </a:lnTo>
                <a:lnTo>
                  <a:pt x="732" y="641"/>
                </a:lnTo>
                <a:lnTo>
                  <a:pt x="730" y="640"/>
                </a:lnTo>
                <a:lnTo>
                  <a:pt x="728" y="638"/>
                </a:lnTo>
                <a:lnTo>
                  <a:pt x="728" y="635"/>
                </a:lnTo>
                <a:lnTo>
                  <a:pt x="727" y="630"/>
                </a:lnTo>
                <a:lnTo>
                  <a:pt x="727" y="621"/>
                </a:lnTo>
                <a:lnTo>
                  <a:pt x="727" y="615"/>
                </a:lnTo>
                <a:lnTo>
                  <a:pt x="724" y="613"/>
                </a:lnTo>
                <a:lnTo>
                  <a:pt x="723" y="612"/>
                </a:lnTo>
                <a:lnTo>
                  <a:pt x="723" y="609"/>
                </a:lnTo>
                <a:lnTo>
                  <a:pt x="723" y="606"/>
                </a:lnTo>
                <a:lnTo>
                  <a:pt x="718" y="601"/>
                </a:lnTo>
                <a:lnTo>
                  <a:pt x="714" y="597"/>
                </a:lnTo>
                <a:lnTo>
                  <a:pt x="711" y="592"/>
                </a:lnTo>
                <a:lnTo>
                  <a:pt x="709" y="588"/>
                </a:lnTo>
                <a:lnTo>
                  <a:pt x="701" y="583"/>
                </a:lnTo>
                <a:lnTo>
                  <a:pt x="695" y="572"/>
                </a:lnTo>
                <a:lnTo>
                  <a:pt x="690" y="565"/>
                </a:lnTo>
                <a:lnTo>
                  <a:pt x="692" y="526"/>
                </a:lnTo>
                <a:lnTo>
                  <a:pt x="693" y="487"/>
                </a:lnTo>
                <a:lnTo>
                  <a:pt x="694" y="447"/>
                </a:lnTo>
                <a:lnTo>
                  <a:pt x="695" y="407"/>
                </a:lnTo>
                <a:lnTo>
                  <a:pt x="697" y="368"/>
                </a:lnTo>
                <a:lnTo>
                  <a:pt x="698" y="327"/>
                </a:lnTo>
                <a:lnTo>
                  <a:pt x="699" y="286"/>
                </a:lnTo>
                <a:lnTo>
                  <a:pt x="701" y="246"/>
                </a:lnTo>
                <a:lnTo>
                  <a:pt x="698" y="246"/>
                </a:lnTo>
                <a:lnTo>
                  <a:pt x="697" y="244"/>
                </a:lnTo>
                <a:lnTo>
                  <a:pt x="695" y="242"/>
                </a:lnTo>
                <a:lnTo>
                  <a:pt x="694" y="240"/>
                </a:lnTo>
                <a:lnTo>
                  <a:pt x="692" y="233"/>
                </a:lnTo>
                <a:lnTo>
                  <a:pt x="690" y="228"/>
                </a:lnTo>
                <a:lnTo>
                  <a:pt x="686" y="222"/>
                </a:lnTo>
                <a:lnTo>
                  <a:pt x="680" y="212"/>
                </a:lnTo>
                <a:lnTo>
                  <a:pt x="675" y="202"/>
                </a:lnTo>
                <a:lnTo>
                  <a:pt x="673" y="193"/>
                </a:lnTo>
                <a:lnTo>
                  <a:pt x="668" y="185"/>
                </a:lnTo>
                <a:lnTo>
                  <a:pt x="664" y="175"/>
                </a:lnTo>
                <a:lnTo>
                  <a:pt x="655" y="170"/>
                </a:lnTo>
                <a:lnTo>
                  <a:pt x="650" y="166"/>
                </a:lnTo>
                <a:lnTo>
                  <a:pt x="646" y="150"/>
                </a:lnTo>
                <a:lnTo>
                  <a:pt x="641" y="135"/>
                </a:lnTo>
                <a:lnTo>
                  <a:pt x="640" y="132"/>
                </a:lnTo>
                <a:lnTo>
                  <a:pt x="639" y="127"/>
                </a:lnTo>
                <a:lnTo>
                  <a:pt x="638" y="119"/>
                </a:lnTo>
                <a:lnTo>
                  <a:pt x="638" y="110"/>
                </a:lnTo>
                <a:lnTo>
                  <a:pt x="637" y="92"/>
                </a:lnTo>
                <a:lnTo>
                  <a:pt x="637" y="80"/>
                </a:lnTo>
                <a:lnTo>
                  <a:pt x="634" y="79"/>
                </a:lnTo>
                <a:lnTo>
                  <a:pt x="631" y="76"/>
                </a:lnTo>
                <a:lnTo>
                  <a:pt x="629" y="72"/>
                </a:lnTo>
                <a:lnTo>
                  <a:pt x="628" y="71"/>
                </a:lnTo>
                <a:lnTo>
                  <a:pt x="619" y="71"/>
                </a:lnTo>
                <a:lnTo>
                  <a:pt x="618" y="70"/>
                </a:lnTo>
                <a:lnTo>
                  <a:pt x="616" y="69"/>
                </a:lnTo>
                <a:lnTo>
                  <a:pt x="612" y="67"/>
                </a:lnTo>
                <a:lnTo>
                  <a:pt x="608" y="67"/>
                </a:lnTo>
                <a:lnTo>
                  <a:pt x="596" y="64"/>
                </a:lnTo>
                <a:lnTo>
                  <a:pt x="581" y="63"/>
                </a:lnTo>
                <a:lnTo>
                  <a:pt x="553" y="62"/>
                </a:lnTo>
                <a:lnTo>
                  <a:pt x="534" y="62"/>
                </a:lnTo>
                <a:lnTo>
                  <a:pt x="533" y="60"/>
                </a:lnTo>
                <a:lnTo>
                  <a:pt x="531" y="59"/>
                </a:lnTo>
                <a:lnTo>
                  <a:pt x="528" y="58"/>
                </a:lnTo>
                <a:lnTo>
                  <a:pt x="525" y="58"/>
                </a:lnTo>
                <a:lnTo>
                  <a:pt x="521" y="53"/>
                </a:lnTo>
                <a:lnTo>
                  <a:pt x="521" y="47"/>
                </a:lnTo>
                <a:lnTo>
                  <a:pt x="521" y="40"/>
                </a:lnTo>
                <a:lnTo>
                  <a:pt x="511" y="31"/>
                </a:lnTo>
                <a:lnTo>
                  <a:pt x="511" y="22"/>
                </a:lnTo>
                <a:lnTo>
                  <a:pt x="510" y="22"/>
                </a:lnTo>
                <a:lnTo>
                  <a:pt x="509" y="21"/>
                </a:lnTo>
                <a:lnTo>
                  <a:pt x="507" y="19"/>
                </a:lnTo>
                <a:lnTo>
                  <a:pt x="507" y="16"/>
                </a:lnTo>
                <a:lnTo>
                  <a:pt x="507" y="12"/>
                </a:lnTo>
                <a:lnTo>
                  <a:pt x="506" y="9"/>
                </a:lnTo>
                <a:lnTo>
                  <a:pt x="503" y="7"/>
                </a:lnTo>
                <a:lnTo>
                  <a:pt x="501" y="4"/>
                </a:lnTo>
                <a:lnTo>
                  <a:pt x="498" y="1"/>
                </a:lnTo>
                <a:lnTo>
                  <a:pt x="497" y="0"/>
                </a:lnTo>
                <a:lnTo>
                  <a:pt x="47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78" name="Freeform 39">
            <a:extLst>
              <a:ext uri="{FF2B5EF4-FFF2-40B4-BE49-F238E27FC236}">
                <a16:creationId xmlns:a16="http://schemas.microsoft.com/office/drawing/2014/main" id="{F9156CD7-A167-4AC6-A6F6-2CCC66A31DEC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6827838" y="3079750"/>
            <a:ext cx="342967" cy="411163"/>
          </a:xfrm>
          <a:custGeom>
            <a:avLst/>
            <a:gdLst/>
            <a:ahLst/>
            <a:cxnLst>
              <a:cxn ang="0">
                <a:pos x="840" y="60"/>
              </a:cxn>
              <a:cxn ang="0">
                <a:pos x="765" y="215"/>
              </a:cxn>
              <a:cxn ang="0">
                <a:pos x="721" y="403"/>
              </a:cxn>
              <a:cxn ang="0">
                <a:pos x="691" y="583"/>
              </a:cxn>
              <a:cxn ang="0">
                <a:pos x="341" y="623"/>
              </a:cxn>
              <a:cxn ang="0">
                <a:pos x="240" y="670"/>
              </a:cxn>
              <a:cxn ang="0">
                <a:pos x="172" y="748"/>
              </a:cxn>
              <a:cxn ang="0">
                <a:pos x="48" y="806"/>
              </a:cxn>
              <a:cxn ang="0">
                <a:pos x="0" y="873"/>
              </a:cxn>
              <a:cxn ang="0">
                <a:pos x="49" y="934"/>
              </a:cxn>
              <a:cxn ang="0">
                <a:pos x="93" y="1044"/>
              </a:cxn>
              <a:cxn ang="0">
                <a:pos x="155" y="1238"/>
              </a:cxn>
              <a:cxn ang="0">
                <a:pos x="182" y="1295"/>
              </a:cxn>
              <a:cxn ang="0">
                <a:pos x="286" y="1309"/>
              </a:cxn>
              <a:cxn ang="0">
                <a:pos x="325" y="1422"/>
              </a:cxn>
              <a:cxn ang="0">
                <a:pos x="354" y="1605"/>
              </a:cxn>
              <a:cxn ang="0">
                <a:pos x="380" y="1849"/>
              </a:cxn>
              <a:cxn ang="0">
                <a:pos x="408" y="1907"/>
              </a:cxn>
              <a:cxn ang="0">
                <a:pos x="525" y="1967"/>
              </a:cxn>
              <a:cxn ang="0">
                <a:pos x="558" y="2029"/>
              </a:cxn>
              <a:cxn ang="0">
                <a:pos x="583" y="2192"/>
              </a:cxn>
              <a:cxn ang="0">
                <a:pos x="617" y="2342"/>
              </a:cxn>
              <a:cxn ang="0">
                <a:pos x="634" y="2444"/>
              </a:cxn>
              <a:cxn ang="0">
                <a:pos x="671" y="2548"/>
              </a:cxn>
              <a:cxn ang="0">
                <a:pos x="813" y="2499"/>
              </a:cxn>
              <a:cxn ang="0">
                <a:pos x="880" y="2482"/>
              </a:cxn>
              <a:cxn ang="0">
                <a:pos x="1084" y="2538"/>
              </a:cxn>
              <a:cxn ang="0">
                <a:pos x="1134" y="2484"/>
              </a:cxn>
              <a:cxn ang="0">
                <a:pos x="1208" y="2394"/>
              </a:cxn>
              <a:cxn ang="0">
                <a:pos x="1310" y="2330"/>
              </a:cxn>
              <a:cxn ang="0">
                <a:pos x="1350" y="2210"/>
              </a:cxn>
              <a:cxn ang="0">
                <a:pos x="1398" y="2171"/>
              </a:cxn>
              <a:cxn ang="0">
                <a:pos x="1447" y="2152"/>
              </a:cxn>
              <a:cxn ang="0">
                <a:pos x="1613" y="2044"/>
              </a:cxn>
              <a:cxn ang="0">
                <a:pos x="1654" y="1843"/>
              </a:cxn>
              <a:cxn ang="0">
                <a:pos x="1603" y="1785"/>
              </a:cxn>
              <a:cxn ang="0">
                <a:pos x="1553" y="1763"/>
              </a:cxn>
              <a:cxn ang="0">
                <a:pos x="1569" y="1688"/>
              </a:cxn>
              <a:cxn ang="0">
                <a:pos x="1642" y="1652"/>
              </a:cxn>
              <a:cxn ang="0">
                <a:pos x="1747" y="1603"/>
              </a:cxn>
              <a:cxn ang="0">
                <a:pos x="1789" y="1471"/>
              </a:cxn>
              <a:cxn ang="0">
                <a:pos x="1803" y="1386"/>
              </a:cxn>
              <a:cxn ang="0">
                <a:pos x="1804" y="1306"/>
              </a:cxn>
              <a:cxn ang="0">
                <a:pos x="1861" y="1209"/>
              </a:cxn>
              <a:cxn ang="0">
                <a:pos x="1697" y="1205"/>
              </a:cxn>
              <a:cxn ang="0">
                <a:pos x="1543" y="1170"/>
              </a:cxn>
              <a:cxn ang="0">
                <a:pos x="1503" y="1094"/>
              </a:cxn>
              <a:cxn ang="0">
                <a:pos x="1454" y="999"/>
              </a:cxn>
              <a:cxn ang="0">
                <a:pos x="1424" y="911"/>
              </a:cxn>
              <a:cxn ang="0">
                <a:pos x="1423" y="835"/>
              </a:cxn>
              <a:cxn ang="0">
                <a:pos x="1460" y="763"/>
              </a:cxn>
              <a:cxn ang="0">
                <a:pos x="1332" y="695"/>
              </a:cxn>
              <a:cxn ang="0">
                <a:pos x="1301" y="593"/>
              </a:cxn>
              <a:cxn ang="0">
                <a:pos x="1320" y="515"/>
              </a:cxn>
              <a:cxn ang="0">
                <a:pos x="1297" y="332"/>
              </a:cxn>
              <a:cxn ang="0">
                <a:pos x="1243" y="174"/>
              </a:cxn>
              <a:cxn ang="0">
                <a:pos x="1142" y="106"/>
              </a:cxn>
              <a:cxn ang="0">
                <a:pos x="1060" y="77"/>
              </a:cxn>
              <a:cxn ang="0">
                <a:pos x="1016" y="11"/>
              </a:cxn>
              <a:cxn ang="0">
                <a:pos x="906" y="6"/>
              </a:cxn>
            </a:cxnLst>
            <a:rect l="0" t="0" r="r" b="b"/>
            <a:pathLst>
              <a:path w="1890" h="2555">
                <a:moveTo>
                  <a:pt x="906" y="11"/>
                </a:moveTo>
                <a:lnTo>
                  <a:pt x="892" y="13"/>
                </a:lnTo>
                <a:lnTo>
                  <a:pt x="879" y="17"/>
                </a:lnTo>
                <a:lnTo>
                  <a:pt x="878" y="21"/>
                </a:lnTo>
                <a:lnTo>
                  <a:pt x="874" y="25"/>
                </a:lnTo>
                <a:lnTo>
                  <a:pt x="869" y="27"/>
                </a:lnTo>
                <a:lnTo>
                  <a:pt x="862" y="28"/>
                </a:lnTo>
                <a:lnTo>
                  <a:pt x="861" y="32"/>
                </a:lnTo>
                <a:lnTo>
                  <a:pt x="858" y="38"/>
                </a:lnTo>
                <a:lnTo>
                  <a:pt x="855" y="40"/>
                </a:lnTo>
                <a:lnTo>
                  <a:pt x="853" y="42"/>
                </a:lnTo>
                <a:lnTo>
                  <a:pt x="850" y="44"/>
                </a:lnTo>
                <a:lnTo>
                  <a:pt x="845" y="45"/>
                </a:lnTo>
                <a:lnTo>
                  <a:pt x="840" y="60"/>
                </a:lnTo>
                <a:lnTo>
                  <a:pt x="838" y="63"/>
                </a:lnTo>
                <a:lnTo>
                  <a:pt x="833" y="67"/>
                </a:lnTo>
                <a:lnTo>
                  <a:pt x="829" y="74"/>
                </a:lnTo>
                <a:lnTo>
                  <a:pt x="823" y="82"/>
                </a:lnTo>
                <a:lnTo>
                  <a:pt x="812" y="97"/>
                </a:lnTo>
                <a:lnTo>
                  <a:pt x="802" y="111"/>
                </a:lnTo>
                <a:lnTo>
                  <a:pt x="798" y="123"/>
                </a:lnTo>
                <a:lnTo>
                  <a:pt x="793" y="142"/>
                </a:lnTo>
                <a:lnTo>
                  <a:pt x="785" y="161"/>
                </a:lnTo>
                <a:lnTo>
                  <a:pt x="780" y="171"/>
                </a:lnTo>
                <a:lnTo>
                  <a:pt x="780" y="186"/>
                </a:lnTo>
                <a:lnTo>
                  <a:pt x="775" y="194"/>
                </a:lnTo>
                <a:lnTo>
                  <a:pt x="769" y="204"/>
                </a:lnTo>
                <a:lnTo>
                  <a:pt x="765" y="215"/>
                </a:lnTo>
                <a:lnTo>
                  <a:pt x="763" y="225"/>
                </a:lnTo>
                <a:lnTo>
                  <a:pt x="755" y="239"/>
                </a:lnTo>
                <a:lnTo>
                  <a:pt x="747" y="252"/>
                </a:lnTo>
                <a:lnTo>
                  <a:pt x="747" y="269"/>
                </a:lnTo>
                <a:lnTo>
                  <a:pt x="745" y="271"/>
                </a:lnTo>
                <a:lnTo>
                  <a:pt x="742" y="275"/>
                </a:lnTo>
                <a:lnTo>
                  <a:pt x="739" y="280"/>
                </a:lnTo>
                <a:lnTo>
                  <a:pt x="736" y="287"/>
                </a:lnTo>
                <a:lnTo>
                  <a:pt x="732" y="299"/>
                </a:lnTo>
                <a:lnTo>
                  <a:pt x="730" y="308"/>
                </a:lnTo>
                <a:lnTo>
                  <a:pt x="719" y="319"/>
                </a:lnTo>
                <a:lnTo>
                  <a:pt x="719" y="346"/>
                </a:lnTo>
                <a:lnTo>
                  <a:pt x="720" y="374"/>
                </a:lnTo>
                <a:lnTo>
                  <a:pt x="721" y="403"/>
                </a:lnTo>
                <a:lnTo>
                  <a:pt x="721" y="431"/>
                </a:lnTo>
                <a:lnTo>
                  <a:pt x="723" y="460"/>
                </a:lnTo>
                <a:lnTo>
                  <a:pt x="724" y="489"/>
                </a:lnTo>
                <a:lnTo>
                  <a:pt x="725" y="517"/>
                </a:lnTo>
                <a:lnTo>
                  <a:pt x="725" y="544"/>
                </a:lnTo>
                <a:lnTo>
                  <a:pt x="721" y="545"/>
                </a:lnTo>
                <a:lnTo>
                  <a:pt x="720" y="547"/>
                </a:lnTo>
                <a:lnTo>
                  <a:pt x="719" y="550"/>
                </a:lnTo>
                <a:lnTo>
                  <a:pt x="719" y="555"/>
                </a:lnTo>
                <a:lnTo>
                  <a:pt x="708" y="560"/>
                </a:lnTo>
                <a:lnTo>
                  <a:pt x="707" y="565"/>
                </a:lnTo>
                <a:lnTo>
                  <a:pt x="702" y="571"/>
                </a:lnTo>
                <a:lnTo>
                  <a:pt x="697" y="577"/>
                </a:lnTo>
                <a:lnTo>
                  <a:pt x="691" y="583"/>
                </a:lnTo>
                <a:lnTo>
                  <a:pt x="684" y="584"/>
                </a:lnTo>
                <a:lnTo>
                  <a:pt x="670" y="586"/>
                </a:lnTo>
                <a:lnTo>
                  <a:pt x="665" y="587"/>
                </a:lnTo>
                <a:lnTo>
                  <a:pt x="659" y="589"/>
                </a:lnTo>
                <a:lnTo>
                  <a:pt x="654" y="592"/>
                </a:lnTo>
                <a:lnTo>
                  <a:pt x="653" y="594"/>
                </a:lnTo>
                <a:lnTo>
                  <a:pt x="494" y="594"/>
                </a:lnTo>
                <a:lnTo>
                  <a:pt x="488" y="604"/>
                </a:lnTo>
                <a:lnTo>
                  <a:pt x="470" y="605"/>
                </a:lnTo>
                <a:lnTo>
                  <a:pt x="448" y="607"/>
                </a:lnTo>
                <a:lnTo>
                  <a:pt x="422" y="612"/>
                </a:lnTo>
                <a:lnTo>
                  <a:pt x="395" y="615"/>
                </a:lnTo>
                <a:lnTo>
                  <a:pt x="369" y="619"/>
                </a:lnTo>
                <a:lnTo>
                  <a:pt x="341" y="623"/>
                </a:lnTo>
                <a:lnTo>
                  <a:pt x="315" y="625"/>
                </a:lnTo>
                <a:lnTo>
                  <a:pt x="291" y="626"/>
                </a:lnTo>
                <a:lnTo>
                  <a:pt x="289" y="629"/>
                </a:lnTo>
                <a:lnTo>
                  <a:pt x="287" y="631"/>
                </a:lnTo>
                <a:lnTo>
                  <a:pt x="284" y="632"/>
                </a:lnTo>
                <a:lnTo>
                  <a:pt x="279" y="632"/>
                </a:lnTo>
                <a:lnTo>
                  <a:pt x="275" y="643"/>
                </a:lnTo>
                <a:lnTo>
                  <a:pt x="266" y="643"/>
                </a:lnTo>
                <a:lnTo>
                  <a:pt x="258" y="643"/>
                </a:lnTo>
                <a:lnTo>
                  <a:pt x="253" y="648"/>
                </a:lnTo>
                <a:lnTo>
                  <a:pt x="253" y="660"/>
                </a:lnTo>
                <a:lnTo>
                  <a:pt x="248" y="663"/>
                </a:lnTo>
                <a:lnTo>
                  <a:pt x="244" y="666"/>
                </a:lnTo>
                <a:lnTo>
                  <a:pt x="240" y="670"/>
                </a:lnTo>
                <a:lnTo>
                  <a:pt x="236" y="670"/>
                </a:lnTo>
                <a:lnTo>
                  <a:pt x="234" y="681"/>
                </a:lnTo>
                <a:lnTo>
                  <a:pt x="230" y="692"/>
                </a:lnTo>
                <a:lnTo>
                  <a:pt x="226" y="693"/>
                </a:lnTo>
                <a:lnTo>
                  <a:pt x="222" y="695"/>
                </a:lnTo>
                <a:lnTo>
                  <a:pt x="218" y="699"/>
                </a:lnTo>
                <a:lnTo>
                  <a:pt x="214" y="703"/>
                </a:lnTo>
                <a:lnTo>
                  <a:pt x="214" y="714"/>
                </a:lnTo>
                <a:lnTo>
                  <a:pt x="209" y="720"/>
                </a:lnTo>
                <a:lnTo>
                  <a:pt x="192" y="730"/>
                </a:lnTo>
                <a:lnTo>
                  <a:pt x="176" y="741"/>
                </a:lnTo>
                <a:lnTo>
                  <a:pt x="176" y="743"/>
                </a:lnTo>
                <a:lnTo>
                  <a:pt x="173" y="746"/>
                </a:lnTo>
                <a:lnTo>
                  <a:pt x="172" y="748"/>
                </a:lnTo>
                <a:lnTo>
                  <a:pt x="169" y="749"/>
                </a:lnTo>
                <a:lnTo>
                  <a:pt x="164" y="751"/>
                </a:lnTo>
                <a:lnTo>
                  <a:pt x="159" y="752"/>
                </a:lnTo>
                <a:lnTo>
                  <a:pt x="151" y="761"/>
                </a:lnTo>
                <a:lnTo>
                  <a:pt x="142" y="769"/>
                </a:lnTo>
                <a:lnTo>
                  <a:pt x="132" y="770"/>
                </a:lnTo>
                <a:lnTo>
                  <a:pt x="120" y="775"/>
                </a:lnTo>
                <a:lnTo>
                  <a:pt x="109" y="779"/>
                </a:lnTo>
                <a:lnTo>
                  <a:pt x="96" y="786"/>
                </a:lnTo>
                <a:lnTo>
                  <a:pt x="84" y="791"/>
                </a:lnTo>
                <a:lnTo>
                  <a:pt x="72" y="797"/>
                </a:lnTo>
                <a:lnTo>
                  <a:pt x="59" y="800"/>
                </a:lnTo>
                <a:lnTo>
                  <a:pt x="49" y="801"/>
                </a:lnTo>
                <a:lnTo>
                  <a:pt x="48" y="806"/>
                </a:lnTo>
                <a:lnTo>
                  <a:pt x="46" y="809"/>
                </a:lnTo>
                <a:lnTo>
                  <a:pt x="43" y="811"/>
                </a:lnTo>
                <a:lnTo>
                  <a:pt x="38" y="813"/>
                </a:lnTo>
                <a:lnTo>
                  <a:pt x="36" y="818"/>
                </a:lnTo>
                <a:lnTo>
                  <a:pt x="33" y="824"/>
                </a:lnTo>
                <a:lnTo>
                  <a:pt x="22" y="824"/>
                </a:lnTo>
                <a:lnTo>
                  <a:pt x="16" y="829"/>
                </a:lnTo>
                <a:lnTo>
                  <a:pt x="15" y="834"/>
                </a:lnTo>
                <a:lnTo>
                  <a:pt x="13" y="837"/>
                </a:lnTo>
                <a:lnTo>
                  <a:pt x="9" y="839"/>
                </a:lnTo>
                <a:lnTo>
                  <a:pt x="5" y="840"/>
                </a:lnTo>
                <a:lnTo>
                  <a:pt x="0" y="846"/>
                </a:lnTo>
                <a:lnTo>
                  <a:pt x="0" y="859"/>
                </a:lnTo>
                <a:lnTo>
                  <a:pt x="0" y="873"/>
                </a:lnTo>
                <a:lnTo>
                  <a:pt x="5" y="878"/>
                </a:lnTo>
                <a:lnTo>
                  <a:pt x="10" y="882"/>
                </a:lnTo>
                <a:lnTo>
                  <a:pt x="16" y="884"/>
                </a:lnTo>
                <a:lnTo>
                  <a:pt x="19" y="891"/>
                </a:lnTo>
                <a:lnTo>
                  <a:pt x="25" y="900"/>
                </a:lnTo>
                <a:lnTo>
                  <a:pt x="29" y="904"/>
                </a:lnTo>
                <a:lnTo>
                  <a:pt x="33" y="909"/>
                </a:lnTo>
                <a:lnTo>
                  <a:pt x="36" y="911"/>
                </a:lnTo>
                <a:lnTo>
                  <a:pt x="38" y="912"/>
                </a:lnTo>
                <a:lnTo>
                  <a:pt x="41" y="920"/>
                </a:lnTo>
                <a:lnTo>
                  <a:pt x="44" y="929"/>
                </a:lnTo>
                <a:lnTo>
                  <a:pt x="46" y="929"/>
                </a:lnTo>
                <a:lnTo>
                  <a:pt x="48" y="931"/>
                </a:lnTo>
                <a:lnTo>
                  <a:pt x="49" y="934"/>
                </a:lnTo>
                <a:lnTo>
                  <a:pt x="52" y="938"/>
                </a:lnTo>
                <a:lnTo>
                  <a:pt x="54" y="944"/>
                </a:lnTo>
                <a:lnTo>
                  <a:pt x="55" y="950"/>
                </a:lnTo>
                <a:lnTo>
                  <a:pt x="57" y="951"/>
                </a:lnTo>
                <a:lnTo>
                  <a:pt x="58" y="953"/>
                </a:lnTo>
                <a:lnTo>
                  <a:pt x="61" y="955"/>
                </a:lnTo>
                <a:lnTo>
                  <a:pt x="63" y="959"/>
                </a:lnTo>
                <a:lnTo>
                  <a:pt x="67" y="967"/>
                </a:lnTo>
                <a:lnTo>
                  <a:pt x="72" y="972"/>
                </a:lnTo>
                <a:lnTo>
                  <a:pt x="73" y="987"/>
                </a:lnTo>
                <a:lnTo>
                  <a:pt x="76" y="1002"/>
                </a:lnTo>
                <a:lnTo>
                  <a:pt x="81" y="1018"/>
                </a:lnTo>
                <a:lnTo>
                  <a:pt x="82" y="1032"/>
                </a:lnTo>
                <a:lnTo>
                  <a:pt x="93" y="1044"/>
                </a:lnTo>
                <a:lnTo>
                  <a:pt x="94" y="1050"/>
                </a:lnTo>
                <a:lnTo>
                  <a:pt x="97" y="1059"/>
                </a:lnTo>
                <a:lnTo>
                  <a:pt x="102" y="1068"/>
                </a:lnTo>
                <a:lnTo>
                  <a:pt x="109" y="1078"/>
                </a:lnTo>
                <a:lnTo>
                  <a:pt x="114" y="1087"/>
                </a:lnTo>
                <a:lnTo>
                  <a:pt x="121" y="1095"/>
                </a:lnTo>
                <a:lnTo>
                  <a:pt x="126" y="1100"/>
                </a:lnTo>
                <a:lnTo>
                  <a:pt x="132" y="1104"/>
                </a:lnTo>
                <a:lnTo>
                  <a:pt x="132" y="1137"/>
                </a:lnTo>
                <a:lnTo>
                  <a:pt x="135" y="1171"/>
                </a:lnTo>
                <a:lnTo>
                  <a:pt x="139" y="1203"/>
                </a:lnTo>
                <a:lnTo>
                  <a:pt x="144" y="1237"/>
                </a:lnTo>
                <a:lnTo>
                  <a:pt x="154" y="1237"/>
                </a:lnTo>
                <a:lnTo>
                  <a:pt x="155" y="1238"/>
                </a:lnTo>
                <a:lnTo>
                  <a:pt x="158" y="1241"/>
                </a:lnTo>
                <a:lnTo>
                  <a:pt x="160" y="1244"/>
                </a:lnTo>
                <a:lnTo>
                  <a:pt x="163" y="1246"/>
                </a:lnTo>
                <a:lnTo>
                  <a:pt x="164" y="1249"/>
                </a:lnTo>
                <a:lnTo>
                  <a:pt x="164" y="1253"/>
                </a:lnTo>
                <a:lnTo>
                  <a:pt x="164" y="1256"/>
                </a:lnTo>
                <a:lnTo>
                  <a:pt x="166" y="1258"/>
                </a:lnTo>
                <a:lnTo>
                  <a:pt x="167" y="1259"/>
                </a:lnTo>
                <a:lnTo>
                  <a:pt x="168" y="1259"/>
                </a:lnTo>
                <a:lnTo>
                  <a:pt x="168" y="1268"/>
                </a:lnTo>
                <a:lnTo>
                  <a:pt x="178" y="1277"/>
                </a:lnTo>
                <a:lnTo>
                  <a:pt x="178" y="1284"/>
                </a:lnTo>
                <a:lnTo>
                  <a:pt x="178" y="1290"/>
                </a:lnTo>
                <a:lnTo>
                  <a:pt x="182" y="1295"/>
                </a:lnTo>
                <a:lnTo>
                  <a:pt x="185" y="1295"/>
                </a:lnTo>
                <a:lnTo>
                  <a:pt x="188" y="1296"/>
                </a:lnTo>
                <a:lnTo>
                  <a:pt x="190" y="1297"/>
                </a:lnTo>
                <a:lnTo>
                  <a:pt x="191" y="1299"/>
                </a:lnTo>
                <a:lnTo>
                  <a:pt x="210" y="1299"/>
                </a:lnTo>
                <a:lnTo>
                  <a:pt x="238" y="1300"/>
                </a:lnTo>
                <a:lnTo>
                  <a:pt x="253" y="1301"/>
                </a:lnTo>
                <a:lnTo>
                  <a:pt x="265" y="1304"/>
                </a:lnTo>
                <a:lnTo>
                  <a:pt x="269" y="1304"/>
                </a:lnTo>
                <a:lnTo>
                  <a:pt x="273" y="1306"/>
                </a:lnTo>
                <a:lnTo>
                  <a:pt x="275" y="1307"/>
                </a:lnTo>
                <a:lnTo>
                  <a:pt x="276" y="1308"/>
                </a:lnTo>
                <a:lnTo>
                  <a:pt x="285" y="1308"/>
                </a:lnTo>
                <a:lnTo>
                  <a:pt x="286" y="1309"/>
                </a:lnTo>
                <a:lnTo>
                  <a:pt x="288" y="1313"/>
                </a:lnTo>
                <a:lnTo>
                  <a:pt x="291" y="1316"/>
                </a:lnTo>
                <a:lnTo>
                  <a:pt x="294" y="1317"/>
                </a:lnTo>
                <a:lnTo>
                  <a:pt x="294" y="1329"/>
                </a:lnTo>
                <a:lnTo>
                  <a:pt x="295" y="1347"/>
                </a:lnTo>
                <a:lnTo>
                  <a:pt x="295" y="1356"/>
                </a:lnTo>
                <a:lnTo>
                  <a:pt x="296" y="1364"/>
                </a:lnTo>
                <a:lnTo>
                  <a:pt x="297" y="1369"/>
                </a:lnTo>
                <a:lnTo>
                  <a:pt x="298" y="1372"/>
                </a:lnTo>
                <a:lnTo>
                  <a:pt x="303" y="1387"/>
                </a:lnTo>
                <a:lnTo>
                  <a:pt x="307" y="1403"/>
                </a:lnTo>
                <a:lnTo>
                  <a:pt x="312" y="1407"/>
                </a:lnTo>
                <a:lnTo>
                  <a:pt x="321" y="1412"/>
                </a:lnTo>
                <a:lnTo>
                  <a:pt x="325" y="1422"/>
                </a:lnTo>
                <a:lnTo>
                  <a:pt x="330" y="1430"/>
                </a:lnTo>
                <a:lnTo>
                  <a:pt x="332" y="1439"/>
                </a:lnTo>
                <a:lnTo>
                  <a:pt x="337" y="1449"/>
                </a:lnTo>
                <a:lnTo>
                  <a:pt x="343" y="1459"/>
                </a:lnTo>
                <a:lnTo>
                  <a:pt x="347" y="1465"/>
                </a:lnTo>
                <a:lnTo>
                  <a:pt x="349" y="1470"/>
                </a:lnTo>
                <a:lnTo>
                  <a:pt x="351" y="1477"/>
                </a:lnTo>
                <a:lnTo>
                  <a:pt x="352" y="1479"/>
                </a:lnTo>
                <a:lnTo>
                  <a:pt x="354" y="1481"/>
                </a:lnTo>
                <a:lnTo>
                  <a:pt x="355" y="1483"/>
                </a:lnTo>
                <a:lnTo>
                  <a:pt x="358" y="1483"/>
                </a:lnTo>
                <a:lnTo>
                  <a:pt x="356" y="1523"/>
                </a:lnTo>
                <a:lnTo>
                  <a:pt x="355" y="1564"/>
                </a:lnTo>
                <a:lnTo>
                  <a:pt x="354" y="1605"/>
                </a:lnTo>
                <a:lnTo>
                  <a:pt x="352" y="1644"/>
                </a:lnTo>
                <a:lnTo>
                  <a:pt x="351" y="1684"/>
                </a:lnTo>
                <a:lnTo>
                  <a:pt x="350" y="1724"/>
                </a:lnTo>
                <a:lnTo>
                  <a:pt x="349" y="1763"/>
                </a:lnTo>
                <a:lnTo>
                  <a:pt x="347" y="1802"/>
                </a:lnTo>
                <a:lnTo>
                  <a:pt x="352" y="1809"/>
                </a:lnTo>
                <a:lnTo>
                  <a:pt x="358" y="1820"/>
                </a:lnTo>
                <a:lnTo>
                  <a:pt x="366" y="1825"/>
                </a:lnTo>
                <a:lnTo>
                  <a:pt x="368" y="1829"/>
                </a:lnTo>
                <a:lnTo>
                  <a:pt x="371" y="1834"/>
                </a:lnTo>
                <a:lnTo>
                  <a:pt x="375" y="1838"/>
                </a:lnTo>
                <a:lnTo>
                  <a:pt x="380" y="1843"/>
                </a:lnTo>
                <a:lnTo>
                  <a:pt x="380" y="1846"/>
                </a:lnTo>
                <a:lnTo>
                  <a:pt x="380" y="1849"/>
                </a:lnTo>
                <a:lnTo>
                  <a:pt x="381" y="1850"/>
                </a:lnTo>
                <a:lnTo>
                  <a:pt x="384" y="1852"/>
                </a:lnTo>
                <a:lnTo>
                  <a:pt x="384" y="1858"/>
                </a:lnTo>
                <a:lnTo>
                  <a:pt x="384" y="1867"/>
                </a:lnTo>
                <a:lnTo>
                  <a:pt x="385" y="1872"/>
                </a:lnTo>
                <a:lnTo>
                  <a:pt x="385" y="1875"/>
                </a:lnTo>
                <a:lnTo>
                  <a:pt x="387" y="1877"/>
                </a:lnTo>
                <a:lnTo>
                  <a:pt x="389" y="1878"/>
                </a:lnTo>
                <a:lnTo>
                  <a:pt x="389" y="1892"/>
                </a:lnTo>
                <a:lnTo>
                  <a:pt x="390" y="1893"/>
                </a:lnTo>
                <a:lnTo>
                  <a:pt x="393" y="1895"/>
                </a:lnTo>
                <a:lnTo>
                  <a:pt x="395" y="1897"/>
                </a:lnTo>
                <a:lnTo>
                  <a:pt x="398" y="1901"/>
                </a:lnTo>
                <a:lnTo>
                  <a:pt x="408" y="1907"/>
                </a:lnTo>
                <a:lnTo>
                  <a:pt x="416" y="1914"/>
                </a:lnTo>
                <a:lnTo>
                  <a:pt x="420" y="1923"/>
                </a:lnTo>
                <a:lnTo>
                  <a:pt x="425" y="1927"/>
                </a:lnTo>
                <a:lnTo>
                  <a:pt x="435" y="1934"/>
                </a:lnTo>
                <a:lnTo>
                  <a:pt x="454" y="1946"/>
                </a:lnTo>
                <a:lnTo>
                  <a:pt x="473" y="1960"/>
                </a:lnTo>
                <a:lnTo>
                  <a:pt x="483" y="1969"/>
                </a:lnTo>
                <a:lnTo>
                  <a:pt x="489" y="1969"/>
                </a:lnTo>
                <a:lnTo>
                  <a:pt x="498" y="1968"/>
                </a:lnTo>
                <a:lnTo>
                  <a:pt x="503" y="1968"/>
                </a:lnTo>
                <a:lnTo>
                  <a:pt x="506" y="1967"/>
                </a:lnTo>
                <a:lnTo>
                  <a:pt x="508" y="1965"/>
                </a:lnTo>
                <a:lnTo>
                  <a:pt x="509" y="1964"/>
                </a:lnTo>
                <a:lnTo>
                  <a:pt x="525" y="1967"/>
                </a:lnTo>
                <a:lnTo>
                  <a:pt x="536" y="1969"/>
                </a:lnTo>
                <a:lnTo>
                  <a:pt x="537" y="1972"/>
                </a:lnTo>
                <a:lnTo>
                  <a:pt x="537" y="1977"/>
                </a:lnTo>
                <a:lnTo>
                  <a:pt x="537" y="1979"/>
                </a:lnTo>
                <a:lnTo>
                  <a:pt x="538" y="1980"/>
                </a:lnTo>
                <a:lnTo>
                  <a:pt x="540" y="1981"/>
                </a:lnTo>
                <a:lnTo>
                  <a:pt x="541" y="1982"/>
                </a:lnTo>
                <a:lnTo>
                  <a:pt x="542" y="1989"/>
                </a:lnTo>
                <a:lnTo>
                  <a:pt x="544" y="1996"/>
                </a:lnTo>
                <a:lnTo>
                  <a:pt x="547" y="2002"/>
                </a:lnTo>
                <a:lnTo>
                  <a:pt x="551" y="2009"/>
                </a:lnTo>
                <a:lnTo>
                  <a:pt x="553" y="2016"/>
                </a:lnTo>
                <a:lnTo>
                  <a:pt x="556" y="2022"/>
                </a:lnTo>
                <a:lnTo>
                  <a:pt x="558" y="2029"/>
                </a:lnTo>
                <a:lnTo>
                  <a:pt x="560" y="2036"/>
                </a:lnTo>
                <a:lnTo>
                  <a:pt x="569" y="2040"/>
                </a:lnTo>
                <a:lnTo>
                  <a:pt x="569" y="2045"/>
                </a:lnTo>
                <a:lnTo>
                  <a:pt x="569" y="2051"/>
                </a:lnTo>
                <a:lnTo>
                  <a:pt x="570" y="2054"/>
                </a:lnTo>
                <a:lnTo>
                  <a:pt x="570" y="2056"/>
                </a:lnTo>
                <a:lnTo>
                  <a:pt x="571" y="2058"/>
                </a:lnTo>
                <a:lnTo>
                  <a:pt x="573" y="2058"/>
                </a:lnTo>
                <a:lnTo>
                  <a:pt x="573" y="2087"/>
                </a:lnTo>
                <a:lnTo>
                  <a:pt x="576" y="2135"/>
                </a:lnTo>
                <a:lnTo>
                  <a:pt x="577" y="2158"/>
                </a:lnTo>
                <a:lnTo>
                  <a:pt x="580" y="2179"/>
                </a:lnTo>
                <a:lnTo>
                  <a:pt x="582" y="2186"/>
                </a:lnTo>
                <a:lnTo>
                  <a:pt x="583" y="2192"/>
                </a:lnTo>
                <a:lnTo>
                  <a:pt x="584" y="2196"/>
                </a:lnTo>
                <a:lnTo>
                  <a:pt x="586" y="2198"/>
                </a:lnTo>
                <a:lnTo>
                  <a:pt x="586" y="2206"/>
                </a:lnTo>
                <a:lnTo>
                  <a:pt x="590" y="2208"/>
                </a:lnTo>
                <a:lnTo>
                  <a:pt x="593" y="2212"/>
                </a:lnTo>
                <a:lnTo>
                  <a:pt x="598" y="2218"/>
                </a:lnTo>
                <a:lnTo>
                  <a:pt x="601" y="2224"/>
                </a:lnTo>
                <a:lnTo>
                  <a:pt x="608" y="2237"/>
                </a:lnTo>
                <a:lnTo>
                  <a:pt x="613" y="2242"/>
                </a:lnTo>
                <a:lnTo>
                  <a:pt x="613" y="2262"/>
                </a:lnTo>
                <a:lnTo>
                  <a:pt x="613" y="2297"/>
                </a:lnTo>
                <a:lnTo>
                  <a:pt x="614" y="2316"/>
                </a:lnTo>
                <a:lnTo>
                  <a:pt x="615" y="2330"/>
                </a:lnTo>
                <a:lnTo>
                  <a:pt x="617" y="2342"/>
                </a:lnTo>
                <a:lnTo>
                  <a:pt x="618" y="2346"/>
                </a:lnTo>
                <a:lnTo>
                  <a:pt x="618" y="2352"/>
                </a:lnTo>
                <a:lnTo>
                  <a:pt x="618" y="2361"/>
                </a:lnTo>
                <a:lnTo>
                  <a:pt x="619" y="2365"/>
                </a:lnTo>
                <a:lnTo>
                  <a:pt x="620" y="2369"/>
                </a:lnTo>
                <a:lnTo>
                  <a:pt x="621" y="2372"/>
                </a:lnTo>
                <a:lnTo>
                  <a:pt x="622" y="2373"/>
                </a:lnTo>
                <a:lnTo>
                  <a:pt x="623" y="2387"/>
                </a:lnTo>
                <a:lnTo>
                  <a:pt x="625" y="2412"/>
                </a:lnTo>
                <a:lnTo>
                  <a:pt x="628" y="2424"/>
                </a:lnTo>
                <a:lnTo>
                  <a:pt x="630" y="2434"/>
                </a:lnTo>
                <a:lnTo>
                  <a:pt x="631" y="2439"/>
                </a:lnTo>
                <a:lnTo>
                  <a:pt x="632" y="2442"/>
                </a:lnTo>
                <a:lnTo>
                  <a:pt x="634" y="2444"/>
                </a:lnTo>
                <a:lnTo>
                  <a:pt x="636" y="2444"/>
                </a:lnTo>
                <a:lnTo>
                  <a:pt x="638" y="2460"/>
                </a:lnTo>
                <a:lnTo>
                  <a:pt x="640" y="2475"/>
                </a:lnTo>
                <a:lnTo>
                  <a:pt x="646" y="2483"/>
                </a:lnTo>
                <a:lnTo>
                  <a:pt x="653" y="2494"/>
                </a:lnTo>
                <a:lnTo>
                  <a:pt x="653" y="2503"/>
                </a:lnTo>
                <a:lnTo>
                  <a:pt x="657" y="2503"/>
                </a:lnTo>
                <a:lnTo>
                  <a:pt x="659" y="2506"/>
                </a:lnTo>
                <a:lnTo>
                  <a:pt x="660" y="2509"/>
                </a:lnTo>
                <a:lnTo>
                  <a:pt x="661" y="2513"/>
                </a:lnTo>
                <a:lnTo>
                  <a:pt x="662" y="2522"/>
                </a:lnTo>
                <a:lnTo>
                  <a:pt x="662" y="2530"/>
                </a:lnTo>
                <a:lnTo>
                  <a:pt x="671" y="2539"/>
                </a:lnTo>
                <a:lnTo>
                  <a:pt x="671" y="2548"/>
                </a:lnTo>
                <a:lnTo>
                  <a:pt x="676" y="2550"/>
                </a:lnTo>
                <a:lnTo>
                  <a:pt x="679" y="2555"/>
                </a:lnTo>
                <a:lnTo>
                  <a:pt x="680" y="2555"/>
                </a:lnTo>
                <a:lnTo>
                  <a:pt x="704" y="2547"/>
                </a:lnTo>
                <a:lnTo>
                  <a:pt x="729" y="2539"/>
                </a:lnTo>
                <a:lnTo>
                  <a:pt x="743" y="2537"/>
                </a:lnTo>
                <a:lnTo>
                  <a:pt x="756" y="2535"/>
                </a:lnTo>
                <a:lnTo>
                  <a:pt x="772" y="2533"/>
                </a:lnTo>
                <a:lnTo>
                  <a:pt x="787" y="2532"/>
                </a:lnTo>
                <a:lnTo>
                  <a:pt x="795" y="2523"/>
                </a:lnTo>
                <a:lnTo>
                  <a:pt x="805" y="2515"/>
                </a:lnTo>
                <a:lnTo>
                  <a:pt x="807" y="2510"/>
                </a:lnTo>
                <a:lnTo>
                  <a:pt x="811" y="2503"/>
                </a:lnTo>
                <a:lnTo>
                  <a:pt x="813" y="2499"/>
                </a:lnTo>
                <a:lnTo>
                  <a:pt x="815" y="2497"/>
                </a:lnTo>
                <a:lnTo>
                  <a:pt x="817" y="2494"/>
                </a:lnTo>
                <a:lnTo>
                  <a:pt x="821" y="2493"/>
                </a:lnTo>
                <a:lnTo>
                  <a:pt x="821" y="2490"/>
                </a:lnTo>
                <a:lnTo>
                  <a:pt x="823" y="2487"/>
                </a:lnTo>
                <a:lnTo>
                  <a:pt x="826" y="2486"/>
                </a:lnTo>
                <a:lnTo>
                  <a:pt x="830" y="2483"/>
                </a:lnTo>
                <a:lnTo>
                  <a:pt x="840" y="2482"/>
                </a:lnTo>
                <a:lnTo>
                  <a:pt x="851" y="2483"/>
                </a:lnTo>
                <a:lnTo>
                  <a:pt x="862" y="2483"/>
                </a:lnTo>
                <a:lnTo>
                  <a:pt x="872" y="2484"/>
                </a:lnTo>
                <a:lnTo>
                  <a:pt x="876" y="2484"/>
                </a:lnTo>
                <a:lnTo>
                  <a:pt x="879" y="2483"/>
                </a:lnTo>
                <a:lnTo>
                  <a:pt x="880" y="2482"/>
                </a:lnTo>
                <a:lnTo>
                  <a:pt x="881" y="2481"/>
                </a:lnTo>
                <a:lnTo>
                  <a:pt x="886" y="2480"/>
                </a:lnTo>
                <a:lnTo>
                  <a:pt x="890" y="2478"/>
                </a:lnTo>
                <a:lnTo>
                  <a:pt x="892" y="2474"/>
                </a:lnTo>
                <a:lnTo>
                  <a:pt x="893" y="2472"/>
                </a:lnTo>
                <a:lnTo>
                  <a:pt x="908" y="2477"/>
                </a:lnTo>
                <a:lnTo>
                  <a:pt x="935" y="2489"/>
                </a:lnTo>
                <a:lnTo>
                  <a:pt x="969" y="2504"/>
                </a:lnTo>
                <a:lnTo>
                  <a:pt x="1008" y="2520"/>
                </a:lnTo>
                <a:lnTo>
                  <a:pt x="1027" y="2528"/>
                </a:lnTo>
                <a:lnTo>
                  <a:pt x="1045" y="2533"/>
                </a:lnTo>
                <a:lnTo>
                  <a:pt x="1062" y="2537"/>
                </a:lnTo>
                <a:lnTo>
                  <a:pt x="1078" y="2539"/>
                </a:lnTo>
                <a:lnTo>
                  <a:pt x="1084" y="2538"/>
                </a:lnTo>
                <a:lnTo>
                  <a:pt x="1090" y="2538"/>
                </a:lnTo>
                <a:lnTo>
                  <a:pt x="1095" y="2536"/>
                </a:lnTo>
                <a:lnTo>
                  <a:pt x="1100" y="2533"/>
                </a:lnTo>
                <a:lnTo>
                  <a:pt x="1103" y="2530"/>
                </a:lnTo>
                <a:lnTo>
                  <a:pt x="1107" y="2526"/>
                </a:lnTo>
                <a:lnTo>
                  <a:pt x="1108" y="2521"/>
                </a:lnTo>
                <a:lnTo>
                  <a:pt x="1109" y="2515"/>
                </a:lnTo>
                <a:lnTo>
                  <a:pt x="1114" y="2506"/>
                </a:lnTo>
                <a:lnTo>
                  <a:pt x="1121" y="2497"/>
                </a:lnTo>
                <a:lnTo>
                  <a:pt x="1121" y="2490"/>
                </a:lnTo>
                <a:lnTo>
                  <a:pt x="1127" y="2490"/>
                </a:lnTo>
                <a:lnTo>
                  <a:pt x="1128" y="2488"/>
                </a:lnTo>
                <a:lnTo>
                  <a:pt x="1130" y="2487"/>
                </a:lnTo>
                <a:lnTo>
                  <a:pt x="1134" y="2484"/>
                </a:lnTo>
                <a:lnTo>
                  <a:pt x="1139" y="2484"/>
                </a:lnTo>
                <a:lnTo>
                  <a:pt x="1145" y="2477"/>
                </a:lnTo>
                <a:lnTo>
                  <a:pt x="1156" y="2467"/>
                </a:lnTo>
                <a:lnTo>
                  <a:pt x="1165" y="2456"/>
                </a:lnTo>
                <a:lnTo>
                  <a:pt x="1169" y="2451"/>
                </a:lnTo>
                <a:lnTo>
                  <a:pt x="1174" y="2450"/>
                </a:lnTo>
                <a:lnTo>
                  <a:pt x="1178" y="2446"/>
                </a:lnTo>
                <a:lnTo>
                  <a:pt x="1184" y="2442"/>
                </a:lnTo>
                <a:lnTo>
                  <a:pt x="1188" y="2438"/>
                </a:lnTo>
                <a:lnTo>
                  <a:pt x="1198" y="2427"/>
                </a:lnTo>
                <a:lnTo>
                  <a:pt x="1206" y="2424"/>
                </a:lnTo>
                <a:lnTo>
                  <a:pt x="1206" y="2415"/>
                </a:lnTo>
                <a:lnTo>
                  <a:pt x="1207" y="2405"/>
                </a:lnTo>
                <a:lnTo>
                  <a:pt x="1208" y="2394"/>
                </a:lnTo>
                <a:lnTo>
                  <a:pt x="1208" y="2384"/>
                </a:lnTo>
                <a:lnTo>
                  <a:pt x="1242" y="2375"/>
                </a:lnTo>
                <a:lnTo>
                  <a:pt x="1256" y="2374"/>
                </a:lnTo>
                <a:lnTo>
                  <a:pt x="1274" y="2371"/>
                </a:lnTo>
                <a:lnTo>
                  <a:pt x="1274" y="2361"/>
                </a:lnTo>
                <a:lnTo>
                  <a:pt x="1289" y="2353"/>
                </a:lnTo>
                <a:lnTo>
                  <a:pt x="1296" y="2345"/>
                </a:lnTo>
                <a:lnTo>
                  <a:pt x="1297" y="2343"/>
                </a:lnTo>
                <a:lnTo>
                  <a:pt x="1297" y="2339"/>
                </a:lnTo>
                <a:lnTo>
                  <a:pt x="1300" y="2337"/>
                </a:lnTo>
                <a:lnTo>
                  <a:pt x="1302" y="2335"/>
                </a:lnTo>
                <a:lnTo>
                  <a:pt x="1304" y="2333"/>
                </a:lnTo>
                <a:lnTo>
                  <a:pt x="1306" y="2331"/>
                </a:lnTo>
                <a:lnTo>
                  <a:pt x="1310" y="2330"/>
                </a:lnTo>
                <a:lnTo>
                  <a:pt x="1312" y="2330"/>
                </a:lnTo>
                <a:lnTo>
                  <a:pt x="1312" y="2326"/>
                </a:lnTo>
                <a:lnTo>
                  <a:pt x="1313" y="2324"/>
                </a:lnTo>
                <a:lnTo>
                  <a:pt x="1314" y="2323"/>
                </a:lnTo>
                <a:lnTo>
                  <a:pt x="1316" y="2323"/>
                </a:lnTo>
                <a:lnTo>
                  <a:pt x="1318" y="2323"/>
                </a:lnTo>
                <a:lnTo>
                  <a:pt x="1319" y="2321"/>
                </a:lnTo>
                <a:lnTo>
                  <a:pt x="1320" y="2319"/>
                </a:lnTo>
                <a:lnTo>
                  <a:pt x="1320" y="2315"/>
                </a:lnTo>
                <a:lnTo>
                  <a:pt x="1335" y="2315"/>
                </a:lnTo>
                <a:lnTo>
                  <a:pt x="1343" y="2307"/>
                </a:lnTo>
                <a:lnTo>
                  <a:pt x="1343" y="2214"/>
                </a:lnTo>
                <a:lnTo>
                  <a:pt x="1347" y="2213"/>
                </a:lnTo>
                <a:lnTo>
                  <a:pt x="1350" y="2210"/>
                </a:lnTo>
                <a:lnTo>
                  <a:pt x="1353" y="2206"/>
                </a:lnTo>
                <a:lnTo>
                  <a:pt x="1358" y="2201"/>
                </a:lnTo>
                <a:lnTo>
                  <a:pt x="1361" y="2196"/>
                </a:lnTo>
                <a:lnTo>
                  <a:pt x="1363" y="2191"/>
                </a:lnTo>
                <a:lnTo>
                  <a:pt x="1366" y="2186"/>
                </a:lnTo>
                <a:lnTo>
                  <a:pt x="1367" y="2183"/>
                </a:lnTo>
                <a:lnTo>
                  <a:pt x="1372" y="2183"/>
                </a:lnTo>
                <a:lnTo>
                  <a:pt x="1377" y="2182"/>
                </a:lnTo>
                <a:lnTo>
                  <a:pt x="1379" y="2181"/>
                </a:lnTo>
                <a:lnTo>
                  <a:pt x="1380" y="2180"/>
                </a:lnTo>
                <a:lnTo>
                  <a:pt x="1381" y="2177"/>
                </a:lnTo>
                <a:lnTo>
                  <a:pt x="1381" y="2175"/>
                </a:lnTo>
                <a:lnTo>
                  <a:pt x="1397" y="2175"/>
                </a:lnTo>
                <a:lnTo>
                  <a:pt x="1398" y="2171"/>
                </a:lnTo>
                <a:lnTo>
                  <a:pt x="1398" y="2169"/>
                </a:lnTo>
                <a:lnTo>
                  <a:pt x="1399" y="2167"/>
                </a:lnTo>
                <a:lnTo>
                  <a:pt x="1401" y="2167"/>
                </a:lnTo>
                <a:lnTo>
                  <a:pt x="1402" y="2167"/>
                </a:lnTo>
                <a:lnTo>
                  <a:pt x="1404" y="2166"/>
                </a:lnTo>
                <a:lnTo>
                  <a:pt x="1405" y="2164"/>
                </a:lnTo>
                <a:lnTo>
                  <a:pt x="1405" y="2160"/>
                </a:lnTo>
                <a:lnTo>
                  <a:pt x="1410" y="2160"/>
                </a:lnTo>
                <a:lnTo>
                  <a:pt x="1416" y="2158"/>
                </a:lnTo>
                <a:lnTo>
                  <a:pt x="1418" y="2158"/>
                </a:lnTo>
                <a:lnTo>
                  <a:pt x="1419" y="2156"/>
                </a:lnTo>
                <a:lnTo>
                  <a:pt x="1420" y="2155"/>
                </a:lnTo>
                <a:lnTo>
                  <a:pt x="1420" y="2152"/>
                </a:lnTo>
                <a:lnTo>
                  <a:pt x="1447" y="2152"/>
                </a:lnTo>
                <a:lnTo>
                  <a:pt x="1492" y="2151"/>
                </a:lnTo>
                <a:lnTo>
                  <a:pt x="1514" y="2151"/>
                </a:lnTo>
                <a:lnTo>
                  <a:pt x="1533" y="2148"/>
                </a:lnTo>
                <a:lnTo>
                  <a:pt x="1541" y="2148"/>
                </a:lnTo>
                <a:lnTo>
                  <a:pt x="1546" y="2147"/>
                </a:lnTo>
                <a:lnTo>
                  <a:pt x="1551" y="2146"/>
                </a:lnTo>
                <a:lnTo>
                  <a:pt x="1552" y="2144"/>
                </a:lnTo>
                <a:lnTo>
                  <a:pt x="1583" y="2144"/>
                </a:lnTo>
                <a:lnTo>
                  <a:pt x="1583" y="2124"/>
                </a:lnTo>
                <a:lnTo>
                  <a:pt x="1583" y="2098"/>
                </a:lnTo>
                <a:lnTo>
                  <a:pt x="1583" y="2073"/>
                </a:lnTo>
                <a:lnTo>
                  <a:pt x="1583" y="2051"/>
                </a:lnTo>
                <a:lnTo>
                  <a:pt x="1590" y="2044"/>
                </a:lnTo>
                <a:lnTo>
                  <a:pt x="1613" y="2044"/>
                </a:lnTo>
                <a:lnTo>
                  <a:pt x="1620" y="2050"/>
                </a:lnTo>
                <a:lnTo>
                  <a:pt x="1629" y="2055"/>
                </a:lnTo>
                <a:lnTo>
                  <a:pt x="1638" y="2058"/>
                </a:lnTo>
                <a:lnTo>
                  <a:pt x="1645" y="2059"/>
                </a:lnTo>
                <a:lnTo>
                  <a:pt x="1660" y="2044"/>
                </a:lnTo>
                <a:lnTo>
                  <a:pt x="1667" y="2051"/>
                </a:lnTo>
                <a:lnTo>
                  <a:pt x="1666" y="2027"/>
                </a:lnTo>
                <a:lnTo>
                  <a:pt x="1665" y="2002"/>
                </a:lnTo>
                <a:lnTo>
                  <a:pt x="1663" y="1977"/>
                </a:lnTo>
                <a:lnTo>
                  <a:pt x="1660" y="1950"/>
                </a:lnTo>
                <a:lnTo>
                  <a:pt x="1657" y="1924"/>
                </a:lnTo>
                <a:lnTo>
                  <a:pt x="1656" y="1897"/>
                </a:lnTo>
                <a:lnTo>
                  <a:pt x="1654" y="1869"/>
                </a:lnTo>
                <a:lnTo>
                  <a:pt x="1654" y="1843"/>
                </a:lnTo>
                <a:lnTo>
                  <a:pt x="1649" y="1838"/>
                </a:lnTo>
                <a:lnTo>
                  <a:pt x="1646" y="1826"/>
                </a:lnTo>
                <a:lnTo>
                  <a:pt x="1644" y="1820"/>
                </a:lnTo>
                <a:lnTo>
                  <a:pt x="1640" y="1815"/>
                </a:lnTo>
                <a:lnTo>
                  <a:pt x="1638" y="1811"/>
                </a:lnTo>
                <a:lnTo>
                  <a:pt x="1635" y="1810"/>
                </a:lnTo>
                <a:lnTo>
                  <a:pt x="1632" y="1805"/>
                </a:lnTo>
                <a:lnTo>
                  <a:pt x="1627" y="1798"/>
                </a:lnTo>
                <a:lnTo>
                  <a:pt x="1620" y="1791"/>
                </a:lnTo>
                <a:lnTo>
                  <a:pt x="1616" y="1787"/>
                </a:lnTo>
                <a:lnTo>
                  <a:pt x="1611" y="1787"/>
                </a:lnTo>
                <a:lnTo>
                  <a:pt x="1607" y="1786"/>
                </a:lnTo>
                <a:lnTo>
                  <a:pt x="1604" y="1786"/>
                </a:lnTo>
                <a:lnTo>
                  <a:pt x="1603" y="1785"/>
                </a:lnTo>
                <a:lnTo>
                  <a:pt x="1602" y="1784"/>
                </a:lnTo>
                <a:lnTo>
                  <a:pt x="1601" y="1781"/>
                </a:lnTo>
                <a:lnTo>
                  <a:pt x="1596" y="1781"/>
                </a:lnTo>
                <a:lnTo>
                  <a:pt x="1585" y="1779"/>
                </a:lnTo>
                <a:lnTo>
                  <a:pt x="1581" y="1778"/>
                </a:lnTo>
                <a:lnTo>
                  <a:pt x="1578" y="1776"/>
                </a:lnTo>
                <a:lnTo>
                  <a:pt x="1574" y="1775"/>
                </a:lnTo>
                <a:lnTo>
                  <a:pt x="1573" y="1772"/>
                </a:lnTo>
                <a:lnTo>
                  <a:pt x="1570" y="1772"/>
                </a:lnTo>
                <a:lnTo>
                  <a:pt x="1567" y="1771"/>
                </a:lnTo>
                <a:lnTo>
                  <a:pt x="1564" y="1770"/>
                </a:lnTo>
                <a:lnTo>
                  <a:pt x="1564" y="1768"/>
                </a:lnTo>
                <a:lnTo>
                  <a:pt x="1554" y="1768"/>
                </a:lnTo>
                <a:lnTo>
                  <a:pt x="1553" y="1763"/>
                </a:lnTo>
                <a:lnTo>
                  <a:pt x="1550" y="1759"/>
                </a:lnTo>
                <a:lnTo>
                  <a:pt x="1544" y="1756"/>
                </a:lnTo>
                <a:lnTo>
                  <a:pt x="1541" y="1753"/>
                </a:lnTo>
                <a:lnTo>
                  <a:pt x="1541" y="1744"/>
                </a:lnTo>
                <a:lnTo>
                  <a:pt x="1542" y="1733"/>
                </a:lnTo>
                <a:lnTo>
                  <a:pt x="1543" y="1729"/>
                </a:lnTo>
                <a:lnTo>
                  <a:pt x="1544" y="1724"/>
                </a:lnTo>
                <a:lnTo>
                  <a:pt x="1546" y="1722"/>
                </a:lnTo>
                <a:lnTo>
                  <a:pt x="1550" y="1721"/>
                </a:lnTo>
                <a:lnTo>
                  <a:pt x="1552" y="1711"/>
                </a:lnTo>
                <a:lnTo>
                  <a:pt x="1554" y="1702"/>
                </a:lnTo>
                <a:lnTo>
                  <a:pt x="1562" y="1700"/>
                </a:lnTo>
                <a:lnTo>
                  <a:pt x="1569" y="1698"/>
                </a:lnTo>
                <a:lnTo>
                  <a:pt x="1569" y="1688"/>
                </a:lnTo>
                <a:lnTo>
                  <a:pt x="1573" y="1683"/>
                </a:lnTo>
                <a:lnTo>
                  <a:pt x="1577" y="1683"/>
                </a:lnTo>
                <a:lnTo>
                  <a:pt x="1580" y="1683"/>
                </a:lnTo>
                <a:lnTo>
                  <a:pt x="1582" y="1681"/>
                </a:lnTo>
                <a:lnTo>
                  <a:pt x="1583" y="1679"/>
                </a:lnTo>
                <a:lnTo>
                  <a:pt x="1597" y="1676"/>
                </a:lnTo>
                <a:lnTo>
                  <a:pt x="1607" y="1674"/>
                </a:lnTo>
                <a:lnTo>
                  <a:pt x="1609" y="1669"/>
                </a:lnTo>
                <a:lnTo>
                  <a:pt x="1611" y="1664"/>
                </a:lnTo>
                <a:lnTo>
                  <a:pt x="1618" y="1663"/>
                </a:lnTo>
                <a:lnTo>
                  <a:pt x="1629" y="1659"/>
                </a:lnTo>
                <a:lnTo>
                  <a:pt x="1635" y="1656"/>
                </a:lnTo>
                <a:lnTo>
                  <a:pt x="1639" y="1654"/>
                </a:lnTo>
                <a:lnTo>
                  <a:pt x="1642" y="1652"/>
                </a:lnTo>
                <a:lnTo>
                  <a:pt x="1644" y="1651"/>
                </a:lnTo>
                <a:lnTo>
                  <a:pt x="1658" y="1651"/>
                </a:lnTo>
                <a:lnTo>
                  <a:pt x="1663" y="1645"/>
                </a:lnTo>
                <a:lnTo>
                  <a:pt x="1667" y="1641"/>
                </a:lnTo>
                <a:lnTo>
                  <a:pt x="1674" y="1640"/>
                </a:lnTo>
                <a:lnTo>
                  <a:pt x="1683" y="1637"/>
                </a:lnTo>
                <a:lnTo>
                  <a:pt x="1692" y="1634"/>
                </a:lnTo>
                <a:lnTo>
                  <a:pt x="1702" y="1631"/>
                </a:lnTo>
                <a:lnTo>
                  <a:pt x="1712" y="1626"/>
                </a:lnTo>
                <a:lnTo>
                  <a:pt x="1721" y="1621"/>
                </a:lnTo>
                <a:lnTo>
                  <a:pt x="1728" y="1616"/>
                </a:lnTo>
                <a:lnTo>
                  <a:pt x="1733" y="1613"/>
                </a:lnTo>
                <a:lnTo>
                  <a:pt x="1743" y="1613"/>
                </a:lnTo>
                <a:lnTo>
                  <a:pt x="1747" y="1603"/>
                </a:lnTo>
                <a:lnTo>
                  <a:pt x="1752" y="1600"/>
                </a:lnTo>
                <a:lnTo>
                  <a:pt x="1756" y="1598"/>
                </a:lnTo>
                <a:lnTo>
                  <a:pt x="1762" y="1594"/>
                </a:lnTo>
                <a:lnTo>
                  <a:pt x="1762" y="1570"/>
                </a:lnTo>
                <a:lnTo>
                  <a:pt x="1763" y="1567"/>
                </a:lnTo>
                <a:lnTo>
                  <a:pt x="1765" y="1557"/>
                </a:lnTo>
                <a:lnTo>
                  <a:pt x="1767" y="1544"/>
                </a:lnTo>
                <a:lnTo>
                  <a:pt x="1770" y="1528"/>
                </a:lnTo>
                <a:lnTo>
                  <a:pt x="1774" y="1499"/>
                </a:lnTo>
                <a:lnTo>
                  <a:pt x="1775" y="1486"/>
                </a:lnTo>
                <a:lnTo>
                  <a:pt x="1780" y="1481"/>
                </a:lnTo>
                <a:lnTo>
                  <a:pt x="1783" y="1480"/>
                </a:lnTo>
                <a:lnTo>
                  <a:pt x="1786" y="1475"/>
                </a:lnTo>
                <a:lnTo>
                  <a:pt x="1789" y="1471"/>
                </a:lnTo>
                <a:lnTo>
                  <a:pt x="1790" y="1467"/>
                </a:lnTo>
                <a:lnTo>
                  <a:pt x="1794" y="1464"/>
                </a:lnTo>
                <a:lnTo>
                  <a:pt x="1799" y="1462"/>
                </a:lnTo>
                <a:lnTo>
                  <a:pt x="1799" y="1453"/>
                </a:lnTo>
                <a:lnTo>
                  <a:pt x="1802" y="1452"/>
                </a:lnTo>
                <a:lnTo>
                  <a:pt x="1805" y="1450"/>
                </a:lnTo>
                <a:lnTo>
                  <a:pt x="1810" y="1446"/>
                </a:lnTo>
                <a:lnTo>
                  <a:pt x="1813" y="1443"/>
                </a:lnTo>
                <a:lnTo>
                  <a:pt x="1813" y="1426"/>
                </a:lnTo>
                <a:lnTo>
                  <a:pt x="1811" y="1407"/>
                </a:lnTo>
                <a:lnTo>
                  <a:pt x="1810" y="1398"/>
                </a:lnTo>
                <a:lnTo>
                  <a:pt x="1807" y="1392"/>
                </a:lnTo>
                <a:lnTo>
                  <a:pt x="1805" y="1388"/>
                </a:lnTo>
                <a:lnTo>
                  <a:pt x="1803" y="1386"/>
                </a:lnTo>
                <a:lnTo>
                  <a:pt x="1801" y="1384"/>
                </a:lnTo>
                <a:lnTo>
                  <a:pt x="1799" y="1383"/>
                </a:lnTo>
                <a:lnTo>
                  <a:pt x="1798" y="1376"/>
                </a:lnTo>
                <a:lnTo>
                  <a:pt x="1796" y="1372"/>
                </a:lnTo>
                <a:lnTo>
                  <a:pt x="1793" y="1367"/>
                </a:lnTo>
                <a:lnTo>
                  <a:pt x="1790" y="1364"/>
                </a:lnTo>
                <a:lnTo>
                  <a:pt x="1790" y="1355"/>
                </a:lnTo>
                <a:lnTo>
                  <a:pt x="1790" y="1343"/>
                </a:lnTo>
                <a:lnTo>
                  <a:pt x="1790" y="1330"/>
                </a:lnTo>
                <a:lnTo>
                  <a:pt x="1790" y="1321"/>
                </a:lnTo>
                <a:lnTo>
                  <a:pt x="1799" y="1317"/>
                </a:lnTo>
                <a:lnTo>
                  <a:pt x="1800" y="1314"/>
                </a:lnTo>
                <a:lnTo>
                  <a:pt x="1801" y="1309"/>
                </a:lnTo>
                <a:lnTo>
                  <a:pt x="1804" y="1306"/>
                </a:lnTo>
                <a:lnTo>
                  <a:pt x="1808" y="1302"/>
                </a:lnTo>
                <a:lnTo>
                  <a:pt x="1818" y="1295"/>
                </a:lnTo>
                <a:lnTo>
                  <a:pt x="1830" y="1287"/>
                </a:lnTo>
                <a:lnTo>
                  <a:pt x="1855" y="1275"/>
                </a:lnTo>
                <a:lnTo>
                  <a:pt x="1875" y="1265"/>
                </a:lnTo>
                <a:lnTo>
                  <a:pt x="1875" y="1279"/>
                </a:lnTo>
                <a:lnTo>
                  <a:pt x="1880" y="1279"/>
                </a:lnTo>
                <a:lnTo>
                  <a:pt x="1890" y="1279"/>
                </a:lnTo>
                <a:lnTo>
                  <a:pt x="1889" y="1267"/>
                </a:lnTo>
                <a:lnTo>
                  <a:pt x="1889" y="1258"/>
                </a:lnTo>
                <a:lnTo>
                  <a:pt x="1881" y="1244"/>
                </a:lnTo>
                <a:lnTo>
                  <a:pt x="1872" y="1230"/>
                </a:lnTo>
                <a:lnTo>
                  <a:pt x="1872" y="1219"/>
                </a:lnTo>
                <a:lnTo>
                  <a:pt x="1861" y="1209"/>
                </a:lnTo>
                <a:lnTo>
                  <a:pt x="1843" y="1209"/>
                </a:lnTo>
                <a:lnTo>
                  <a:pt x="1823" y="1209"/>
                </a:lnTo>
                <a:lnTo>
                  <a:pt x="1803" y="1209"/>
                </a:lnTo>
                <a:lnTo>
                  <a:pt x="1784" y="1209"/>
                </a:lnTo>
                <a:lnTo>
                  <a:pt x="1784" y="1210"/>
                </a:lnTo>
                <a:lnTo>
                  <a:pt x="1782" y="1211"/>
                </a:lnTo>
                <a:lnTo>
                  <a:pt x="1777" y="1212"/>
                </a:lnTo>
                <a:lnTo>
                  <a:pt x="1773" y="1213"/>
                </a:lnTo>
                <a:lnTo>
                  <a:pt x="1761" y="1213"/>
                </a:lnTo>
                <a:lnTo>
                  <a:pt x="1746" y="1212"/>
                </a:lnTo>
                <a:lnTo>
                  <a:pt x="1719" y="1210"/>
                </a:lnTo>
                <a:lnTo>
                  <a:pt x="1708" y="1209"/>
                </a:lnTo>
                <a:lnTo>
                  <a:pt x="1705" y="1206"/>
                </a:lnTo>
                <a:lnTo>
                  <a:pt x="1697" y="1205"/>
                </a:lnTo>
                <a:lnTo>
                  <a:pt x="1686" y="1204"/>
                </a:lnTo>
                <a:lnTo>
                  <a:pt x="1674" y="1203"/>
                </a:lnTo>
                <a:lnTo>
                  <a:pt x="1648" y="1203"/>
                </a:lnTo>
                <a:lnTo>
                  <a:pt x="1631" y="1203"/>
                </a:lnTo>
                <a:lnTo>
                  <a:pt x="1620" y="1202"/>
                </a:lnTo>
                <a:lnTo>
                  <a:pt x="1610" y="1200"/>
                </a:lnTo>
                <a:lnTo>
                  <a:pt x="1600" y="1198"/>
                </a:lnTo>
                <a:lnTo>
                  <a:pt x="1590" y="1194"/>
                </a:lnTo>
                <a:lnTo>
                  <a:pt x="1580" y="1192"/>
                </a:lnTo>
                <a:lnTo>
                  <a:pt x="1569" y="1189"/>
                </a:lnTo>
                <a:lnTo>
                  <a:pt x="1559" y="1186"/>
                </a:lnTo>
                <a:lnTo>
                  <a:pt x="1549" y="1186"/>
                </a:lnTo>
                <a:lnTo>
                  <a:pt x="1545" y="1177"/>
                </a:lnTo>
                <a:lnTo>
                  <a:pt x="1543" y="1170"/>
                </a:lnTo>
                <a:lnTo>
                  <a:pt x="1540" y="1169"/>
                </a:lnTo>
                <a:lnTo>
                  <a:pt x="1536" y="1164"/>
                </a:lnTo>
                <a:lnTo>
                  <a:pt x="1535" y="1162"/>
                </a:lnTo>
                <a:lnTo>
                  <a:pt x="1533" y="1161"/>
                </a:lnTo>
                <a:lnTo>
                  <a:pt x="1530" y="1160"/>
                </a:lnTo>
                <a:lnTo>
                  <a:pt x="1526" y="1159"/>
                </a:lnTo>
                <a:lnTo>
                  <a:pt x="1524" y="1142"/>
                </a:lnTo>
                <a:lnTo>
                  <a:pt x="1521" y="1126"/>
                </a:lnTo>
                <a:lnTo>
                  <a:pt x="1515" y="1121"/>
                </a:lnTo>
                <a:lnTo>
                  <a:pt x="1510" y="1115"/>
                </a:lnTo>
                <a:lnTo>
                  <a:pt x="1510" y="1098"/>
                </a:lnTo>
                <a:lnTo>
                  <a:pt x="1507" y="1098"/>
                </a:lnTo>
                <a:lnTo>
                  <a:pt x="1505" y="1096"/>
                </a:lnTo>
                <a:lnTo>
                  <a:pt x="1503" y="1094"/>
                </a:lnTo>
                <a:lnTo>
                  <a:pt x="1500" y="1090"/>
                </a:lnTo>
                <a:lnTo>
                  <a:pt x="1493" y="1083"/>
                </a:lnTo>
                <a:lnTo>
                  <a:pt x="1487" y="1073"/>
                </a:lnTo>
                <a:lnTo>
                  <a:pt x="1481" y="1061"/>
                </a:lnTo>
                <a:lnTo>
                  <a:pt x="1476" y="1052"/>
                </a:lnTo>
                <a:lnTo>
                  <a:pt x="1473" y="1044"/>
                </a:lnTo>
                <a:lnTo>
                  <a:pt x="1472" y="1038"/>
                </a:lnTo>
                <a:lnTo>
                  <a:pt x="1466" y="1036"/>
                </a:lnTo>
                <a:lnTo>
                  <a:pt x="1460" y="1032"/>
                </a:lnTo>
                <a:lnTo>
                  <a:pt x="1460" y="1010"/>
                </a:lnTo>
                <a:lnTo>
                  <a:pt x="1458" y="1010"/>
                </a:lnTo>
                <a:lnTo>
                  <a:pt x="1457" y="1007"/>
                </a:lnTo>
                <a:lnTo>
                  <a:pt x="1456" y="1003"/>
                </a:lnTo>
                <a:lnTo>
                  <a:pt x="1454" y="999"/>
                </a:lnTo>
                <a:lnTo>
                  <a:pt x="1452" y="987"/>
                </a:lnTo>
                <a:lnTo>
                  <a:pt x="1449" y="972"/>
                </a:lnTo>
                <a:lnTo>
                  <a:pt x="1446" y="958"/>
                </a:lnTo>
                <a:lnTo>
                  <a:pt x="1443" y="945"/>
                </a:lnTo>
                <a:lnTo>
                  <a:pt x="1440" y="941"/>
                </a:lnTo>
                <a:lnTo>
                  <a:pt x="1438" y="938"/>
                </a:lnTo>
                <a:lnTo>
                  <a:pt x="1436" y="934"/>
                </a:lnTo>
                <a:lnTo>
                  <a:pt x="1434" y="934"/>
                </a:lnTo>
                <a:lnTo>
                  <a:pt x="1434" y="923"/>
                </a:lnTo>
                <a:lnTo>
                  <a:pt x="1431" y="922"/>
                </a:lnTo>
                <a:lnTo>
                  <a:pt x="1429" y="921"/>
                </a:lnTo>
                <a:lnTo>
                  <a:pt x="1427" y="919"/>
                </a:lnTo>
                <a:lnTo>
                  <a:pt x="1426" y="916"/>
                </a:lnTo>
                <a:lnTo>
                  <a:pt x="1424" y="911"/>
                </a:lnTo>
                <a:lnTo>
                  <a:pt x="1423" y="906"/>
                </a:lnTo>
                <a:lnTo>
                  <a:pt x="1418" y="905"/>
                </a:lnTo>
                <a:lnTo>
                  <a:pt x="1414" y="903"/>
                </a:lnTo>
                <a:lnTo>
                  <a:pt x="1410" y="900"/>
                </a:lnTo>
                <a:lnTo>
                  <a:pt x="1406" y="895"/>
                </a:lnTo>
                <a:lnTo>
                  <a:pt x="1406" y="884"/>
                </a:lnTo>
                <a:lnTo>
                  <a:pt x="1400" y="882"/>
                </a:lnTo>
                <a:lnTo>
                  <a:pt x="1395" y="878"/>
                </a:lnTo>
                <a:lnTo>
                  <a:pt x="1395" y="857"/>
                </a:lnTo>
                <a:lnTo>
                  <a:pt x="1400" y="852"/>
                </a:lnTo>
                <a:lnTo>
                  <a:pt x="1406" y="848"/>
                </a:lnTo>
                <a:lnTo>
                  <a:pt x="1411" y="846"/>
                </a:lnTo>
                <a:lnTo>
                  <a:pt x="1411" y="835"/>
                </a:lnTo>
                <a:lnTo>
                  <a:pt x="1423" y="835"/>
                </a:lnTo>
                <a:lnTo>
                  <a:pt x="1428" y="821"/>
                </a:lnTo>
                <a:lnTo>
                  <a:pt x="1434" y="807"/>
                </a:lnTo>
                <a:lnTo>
                  <a:pt x="1437" y="807"/>
                </a:lnTo>
                <a:lnTo>
                  <a:pt x="1440" y="804"/>
                </a:lnTo>
                <a:lnTo>
                  <a:pt x="1444" y="800"/>
                </a:lnTo>
                <a:lnTo>
                  <a:pt x="1444" y="797"/>
                </a:lnTo>
                <a:lnTo>
                  <a:pt x="1449" y="794"/>
                </a:lnTo>
                <a:lnTo>
                  <a:pt x="1455" y="791"/>
                </a:lnTo>
                <a:lnTo>
                  <a:pt x="1455" y="780"/>
                </a:lnTo>
                <a:lnTo>
                  <a:pt x="1457" y="779"/>
                </a:lnTo>
                <a:lnTo>
                  <a:pt x="1458" y="777"/>
                </a:lnTo>
                <a:lnTo>
                  <a:pt x="1459" y="775"/>
                </a:lnTo>
                <a:lnTo>
                  <a:pt x="1460" y="771"/>
                </a:lnTo>
                <a:lnTo>
                  <a:pt x="1460" y="763"/>
                </a:lnTo>
                <a:lnTo>
                  <a:pt x="1460" y="758"/>
                </a:lnTo>
                <a:lnTo>
                  <a:pt x="1455" y="752"/>
                </a:lnTo>
                <a:lnTo>
                  <a:pt x="1445" y="752"/>
                </a:lnTo>
                <a:lnTo>
                  <a:pt x="1433" y="750"/>
                </a:lnTo>
                <a:lnTo>
                  <a:pt x="1420" y="748"/>
                </a:lnTo>
                <a:lnTo>
                  <a:pt x="1408" y="744"/>
                </a:lnTo>
                <a:lnTo>
                  <a:pt x="1395" y="741"/>
                </a:lnTo>
                <a:lnTo>
                  <a:pt x="1382" y="739"/>
                </a:lnTo>
                <a:lnTo>
                  <a:pt x="1369" y="737"/>
                </a:lnTo>
                <a:lnTo>
                  <a:pt x="1357" y="736"/>
                </a:lnTo>
                <a:lnTo>
                  <a:pt x="1353" y="718"/>
                </a:lnTo>
                <a:lnTo>
                  <a:pt x="1351" y="703"/>
                </a:lnTo>
                <a:lnTo>
                  <a:pt x="1340" y="703"/>
                </a:lnTo>
                <a:lnTo>
                  <a:pt x="1332" y="695"/>
                </a:lnTo>
                <a:lnTo>
                  <a:pt x="1323" y="686"/>
                </a:lnTo>
                <a:lnTo>
                  <a:pt x="1312" y="686"/>
                </a:lnTo>
                <a:lnTo>
                  <a:pt x="1306" y="681"/>
                </a:lnTo>
                <a:lnTo>
                  <a:pt x="1302" y="675"/>
                </a:lnTo>
                <a:lnTo>
                  <a:pt x="1296" y="670"/>
                </a:lnTo>
                <a:lnTo>
                  <a:pt x="1291" y="664"/>
                </a:lnTo>
                <a:lnTo>
                  <a:pt x="1291" y="647"/>
                </a:lnTo>
                <a:lnTo>
                  <a:pt x="1293" y="629"/>
                </a:lnTo>
                <a:lnTo>
                  <a:pt x="1295" y="613"/>
                </a:lnTo>
                <a:lnTo>
                  <a:pt x="1296" y="598"/>
                </a:lnTo>
                <a:lnTo>
                  <a:pt x="1297" y="598"/>
                </a:lnTo>
                <a:lnTo>
                  <a:pt x="1299" y="597"/>
                </a:lnTo>
                <a:lnTo>
                  <a:pt x="1300" y="595"/>
                </a:lnTo>
                <a:lnTo>
                  <a:pt x="1301" y="593"/>
                </a:lnTo>
                <a:lnTo>
                  <a:pt x="1301" y="587"/>
                </a:lnTo>
                <a:lnTo>
                  <a:pt x="1302" y="583"/>
                </a:lnTo>
                <a:lnTo>
                  <a:pt x="1303" y="582"/>
                </a:lnTo>
                <a:lnTo>
                  <a:pt x="1304" y="579"/>
                </a:lnTo>
                <a:lnTo>
                  <a:pt x="1305" y="575"/>
                </a:lnTo>
                <a:lnTo>
                  <a:pt x="1306" y="570"/>
                </a:lnTo>
                <a:lnTo>
                  <a:pt x="1306" y="561"/>
                </a:lnTo>
                <a:lnTo>
                  <a:pt x="1306" y="555"/>
                </a:lnTo>
                <a:lnTo>
                  <a:pt x="1309" y="554"/>
                </a:lnTo>
                <a:lnTo>
                  <a:pt x="1311" y="551"/>
                </a:lnTo>
                <a:lnTo>
                  <a:pt x="1312" y="548"/>
                </a:lnTo>
                <a:lnTo>
                  <a:pt x="1314" y="542"/>
                </a:lnTo>
                <a:lnTo>
                  <a:pt x="1316" y="530"/>
                </a:lnTo>
                <a:lnTo>
                  <a:pt x="1320" y="515"/>
                </a:lnTo>
                <a:lnTo>
                  <a:pt x="1322" y="483"/>
                </a:lnTo>
                <a:lnTo>
                  <a:pt x="1323" y="461"/>
                </a:lnTo>
                <a:lnTo>
                  <a:pt x="1321" y="460"/>
                </a:lnTo>
                <a:lnTo>
                  <a:pt x="1320" y="455"/>
                </a:lnTo>
                <a:lnTo>
                  <a:pt x="1318" y="450"/>
                </a:lnTo>
                <a:lnTo>
                  <a:pt x="1315" y="442"/>
                </a:lnTo>
                <a:lnTo>
                  <a:pt x="1313" y="429"/>
                </a:lnTo>
                <a:lnTo>
                  <a:pt x="1312" y="423"/>
                </a:lnTo>
                <a:lnTo>
                  <a:pt x="1302" y="363"/>
                </a:lnTo>
                <a:lnTo>
                  <a:pt x="1302" y="349"/>
                </a:lnTo>
                <a:lnTo>
                  <a:pt x="1302" y="335"/>
                </a:lnTo>
                <a:lnTo>
                  <a:pt x="1300" y="335"/>
                </a:lnTo>
                <a:lnTo>
                  <a:pt x="1299" y="334"/>
                </a:lnTo>
                <a:lnTo>
                  <a:pt x="1297" y="332"/>
                </a:lnTo>
                <a:lnTo>
                  <a:pt x="1296" y="329"/>
                </a:lnTo>
                <a:lnTo>
                  <a:pt x="1296" y="324"/>
                </a:lnTo>
                <a:lnTo>
                  <a:pt x="1296" y="319"/>
                </a:lnTo>
                <a:lnTo>
                  <a:pt x="1291" y="316"/>
                </a:lnTo>
                <a:lnTo>
                  <a:pt x="1285" y="314"/>
                </a:lnTo>
                <a:lnTo>
                  <a:pt x="1285" y="297"/>
                </a:lnTo>
                <a:lnTo>
                  <a:pt x="1283" y="296"/>
                </a:lnTo>
                <a:lnTo>
                  <a:pt x="1282" y="291"/>
                </a:lnTo>
                <a:lnTo>
                  <a:pt x="1281" y="286"/>
                </a:lnTo>
                <a:lnTo>
                  <a:pt x="1280" y="279"/>
                </a:lnTo>
                <a:lnTo>
                  <a:pt x="1280" y="267"/>
                </a:lnTo>
                <a:lnTo>
                  <a:pt x="1280" y="258"/>
                </a:lnTo>
                <a:lnTo>
                  <a:pt x="1252" y="182"/>
                </a:lnTo>
                <a:lnTo>
                  <a:pt x="1243" y="174"/>
                </a:lnTo>
                <a:lnTo>
                  <a:pt x="1226" y="156"/>
                </a:lnTo>
                <a:lnTo>
                  <a:pt x="1216" y="147"/>
                </a:lnTo>
                <a:lnTo>
                  <a:pt x="1207" y="140"/>
                </a:lnTo>
                <a:lnTo>
                  <a:pt x="1203" y="136"/>
                </a:lnTo>
                <a:lnTo>
                  <a:pt x="1198" y="134"/>
                </a:lnTo>
                <a:lnTo>
                  <a:pt x="1195" y="133"/>
                </a:lnTo>
                <a:lnTo>
                  <a:pt x="1191" y="132"/>
                </a:lnTo>
                <a:lnTo>
                  <a:pt x="1186" y="121"/>
                </a:lnTo>
                <a:lnTo>
                  <a:pt x="1177" y="119"/>
                </a:lnTo>
                <a:lnTo>
                  <a:pt x="1168" y="115"/>
                </a:lnTo>
                <a:lnTo>
                  <a:pt x="1161" y="112"/>
                </a:lnTo>
                <a:lnTo>
                  <a:pt x="1159" y="111"/>
                </a:lnTo>
                <a:lnTo>
                  <a:pt x="1152" y="109"/>
                </a:lnTo>
                <a:lnTo>
                  <a:pt x="1142" y="106"/>
                </a:lnTo>
                <a:lnTo>
                  <a:pt x="1138" y="105"/>
                </a:lnTo>
                <a:lnTo>
                  <a:pt x="1134" y="103"/>
                </a:lnTo>
                <a:lnTo>
                  <a:pt x="1132" y="102"/>
                </a:lnTo>
                <a:lnTo>
                  <a:pt x="1131" y="99"/>
                </a:lnTo>
                <a:lnTo>
                  <a:pt x="1117" y="98"/>
                </a:lnTo>
                <a:lnTo>
                  <a:pt x="1101" y="96"/>
                </a:lnTo>
                <a:lnTo>
                  <a:pt x="1085" y="95"/>
                </a:lnTo>
                <a:lnTo>
                  <a:pt x="1071" y="94"/>
                </a:lnTo>
                <a:lnTo>
                  <a:pt x="1069" y="90"/>
                </a:lnTo>
                <a:lnTo>
                  <a:pt x="1065" y="87"/>
                </a:lnTo>
                <a:lnTo>
                  <a:pt x="1063" y="86"/>
                </a:lnTo>
                <a:lnTo>
                  <a:pt x="1062" y="84"/>
                </a:lnTo>
                <a:lnTo>
                  <a:pt x="1060" y="80"/>
                </a:lnTo>
                <a:lnTo>
                  <a:pt x="1060" y="77"/>
                </a:lnTo>
                <a:lnTo>
                  <a:pt x="1049" y="77"/>
                </a:lnTo>
                <a:lnTo>
                  <a:pt x="1043" y="71"/>
                </a:lnTo>
                <a:lnTo>
                  <a:pt x="1037" y="66"/>
                </a:lnTo>
                <a:lnTo>
                  <a:pt x="1037" y="55"/>
                </a:lnTo>
                <a:lnTo>
                  <a:pt x="1035" y="54"/>
                </a:lnTo>
                <a:lnTo>
                  <a:pt x="1033" y="50"/>
                </a:lnTo>
                <a:lnTo>
                  <a:pt x="1031" y="46"/>
                </a:lnTo>
                <a:lnTo>
                  <a:pt x="1027" y="40"/>
                </a:lnTo>
                <a:lnTo>
                  <a:pt x="1023" y="30"/>
                </a:lnTo>
                <a:lnTo>
                  <a:pt x="1022" y="22"/>
                </a:lnTo>
                <a:lnTo>
                  <a:pt x="1018" y="21"/>
                </a:lnTo>
                <a:lnTo>
                  <a:pt x="1016" y="19"/>
                </a:lnTo>
                <a:lnTo>
                  <a:pt x="1016" y="16"/>
                </a:lnTo>
                <a:lnTo>
                  <a:pt x="1016" y="11"/>
                </a:lnTo>
                <a:lnTo>
                  <a:pt x="999" y="11"/>
                </a:lnTo>
                <a:lnTo>
                  <a:pt x="998" y="9"/>
                </a:lnTo>
                <a:lnTo>
                  <a:pt x="996" y="8"/>
                </a:lnTo>
                <a:lnTo>
                  <a:pt x="993" y="6"/>
                </a:lnTo>
                <a:lnTo>
                  <a:pt x="987" y="4"/>
                </a:lnTo>
                <a:lnTo>
                  <a:pt x="975" y="3"/>
                </a:lnTo>
                <a:lnTo>
                  <a:pt x="959" y="1"/>
                </a:lnTo>
                <a:lnTo>
                  <a:pt x="930" y="0"/>
                </a:lnTo>
                <a:lnTo>
                  <a:pt x="911" y="0"/>
                </a:lnTo>
                <a:lnTo>
                  <a:pt x="911" y="3"/>
                </a:lnTo>
                <a:lnTo>
                  <a:pt x="910" y="4"/>
                </a:lnTo>
                <a:lnTo>
                  <a:pt x="908" y="6"/>
                </a:lnTo>
                <a:lnTo>
                  <a:pt x="907" y="6"/>
                </a:lnTo>
                <a:lnTo>
                  <a:pt x="906" y="6"/>
                </a:lnTo>
                <a:lnTo>
                  <a:pt x="905" y="7"/>
                </a:lnTo>
                <a:lnTo>
                  <a:pt x="905" y="8"/>
                </a:lnTo>
                <a:lnTo>
                  <a:pt x="906" y="11"/>
                </a:lnTo>
                <a:close/>
              </a:path>
            </a:pathLst>
          </a:cu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79" name="Freeform 40">
            <a:extLst>
              <a:ext uri="{FF2B5EF4-FFF2-40B4-BE49-F238E27FC236}">
                <a16:creationId xmlns:a16="http://schemas.microsoft.com/office/drawing/2014/main" id="{7660D6B3-CA25-4720-B630-5C6CAB436180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366000" y="3230563"/>
            <a:ext cx="362436" cy="419100"/>
          </a:xfrm>
          <a:custGeom>
            <a:avLst/>
            <a:gdLst/>
            <a:ahLst/>
            <a:cxnLst>
              <a:cxn ang="0">
                <a:pos x="365" y="45"/>
              </a:cxn>
              <a:cxn ang="0">
                <a:pos x="313" y="156"/>
              </a:cxn>
              <a:cxn ang="0">
                <a:pos x="285" y="203"/>
              </a:cxn>
              <a:cxn ang="0">
                <a:pos x="218" y="271"/>
              </a:cxn>
              <a:cxn ang="0">
                <a:pos x="151" y="359"/>
              </a:cxn>
              <a:cxn ang="0">
                <a:pos x="126" y="389"/>
              </a:cxn>
              <a:cxn ang="0">
                <a:pos x="58" y="452"/>
              </a:cxn>
              <a:cxn ang="0">
                <a:pos x="12" y="652"/>
              </a:cxn>
              <a:cxn ang="0">
                <a:pos x="38" y="920"/>
              </a:cxn>
              <a:cxn ang="0">
                <a:pos x="84" y="1026"/>
              </a:cxn>
              <a:cxn ang="0">
                <a:pos x="143" y="1089"/>
              </a:cxn>
              <a:cxn ang="0">
                <a:pos x="247" y="1103"/>
              </a:cxn>
              <a:cxn ang="0">
                <a:pos x="337" y="1108"/>
              </a:cxn>
              <a:cxn ang="0">
                <a:pos x="384" y="1173"/>
              </a:cxn>
              <a:cxn ang="0">
                <a:pos x="441" y="1290"/>
              </a:cxn>
              <a:cxn ang="0">
                <a:pos x="527" y="1378"/>
              </a:cxn>
              <a:cxn ang="0">
                <a:pos x="564" y="1497"/>
              </a:cxn>
              <a:cxn ang="0">
                <a:pos x="546" y="1543"/>
              </a:cxn>
              <a:cxn ang="0">
                <a:pos x="627" y="1685"/>
              </a:cxn>
              <a:cxn ang="0">
                <a:pos x="809" y="1754"/>
              </a:cxn>
              <a:cxn ang="0">
                <a:pos x="716" y="1875"/>
              </a:cxn>
              <a:cxn ang="0">
                <a:pos x="782" y="2258"/>
              </a:cxn>
              <a:cxn ang="0">
                <a:pos x="934" y="2325"/>
              </a:cxn>
              <a:cxn ang="0">
                <a:pos x="1034" y="2459"/>
              </a:cxn>
              <a:cxn ang="0">
                <a:pos x="1080" y="2571"/>
              </a:cxn>
              <a:cxn ang="0">
                <a:pos x="1251" y="2524"/>
              </a:cxn>
              <a:cxn ang="0">
                <a:pos x="1278" y="2344"/>
              </a:cxn>
              <a:cxn ang="0">
                <a:pos x="1314" y="2217"/>
              </a:cxn>
              <a:cxn ang="0">
                <a:pos x="1497" y="2112"/>
              </a:cxn>
              <a:cxn ang="0">
                <a:pos x="1399" y="1987"/>
              </a:cxn>
              <a:cxn ang="0">
                <a:pos x="1413" y="1918"/>
              </a:cxn>
              <a:cxn ang="0">
                <a:pos x="1570" y="1954"/>
              </a:cxn>
              <a:cxn ang="0">
                <a:pos x="1699" y="1904"/>
              </a:cxn>
              <a:cxn ang="0">
                <a:pos x="1777" y="1904"/>
              </a:cxn>
              <a:cxn ang="0">
                <a:pos x="1763" y="1834"/>
              </a:cxn>
              <a:cxn ang="0">
                <a:pos x="1642" y="1735"/>
              </a:cxn>
              <a:cxn ang="0">
                <a:pos x="1742" y="1579"/>
              </a:cxn>
              <a:cxn ang="0">
                <a:pos x="1882" y="1533"/>
              </a:cxn>
              <a:cxn ang="0">
                <a:pos x="1938" y="1294"/>
              </a:cxn>
              <a:cxn ang="0">
                <a:pos x="1911" y="1223"/>
              </a:cxn>
              <a:cxn ang="0">
                <a:pos x="1881" y="1118"/>
              </a:cxn>
              <a:cxn ang="0">
                <a:pos x="1853" y="998"/>
              </a:cxn>
              <a:cxn ang="0">
                <a:pos x="1807" y="881"/>
              </a:cxn>
              <a:cxn ang="0">
                <a:pos x="1788" y="835"/>
              </a:cxn>
              <a:cxn ang="0">
                <a:pos x="1724" y="784"/>
              </a:cxn>
              <a:cxn ang="0">
                <a:pos x="1647" y="721"/>
              </a:cxn>
              <a:cxn ang="0">
                <a:pos x="1584" y="621"/>
              </a:cxn>
              <a:cxn ang="0">
                <a:pos x="1545" y="495"/>
              </a:cxn>
              <a:cxn ang="0">
                <a:pos x="1421" y="513"/>
              </a:cxn>
              <a:cxn ang="0">
                <a:pos x="1246" y="468"/>
              </a:cxn>
              <a:cxn ang="0">
                <a:pos x="1191" y="439"/>
              </a:cxn>
              <a:cxn ang="0">
                <a:pos x="1129" y="406"/>
              </a:cxn>
              <a:cxn ang="0">
                <a:pos x="1046" y="338"/>
              </a:cxn>
              <a:cxn ang="0">
                <a:pos x="978" y="284"/>
              </a:cxn>
              <a:cxn ang="0">
                <a:pos x="955" y="238"/>
              </a:cxn>
              <a:cxn ang="0">
                <a:pos x="930" y="187"/>
              </a:cxn>
              <a:cxn ang="0">
                <a:pos x="904" y="97"/>
              </a:cxn>
              <a:cxn ang="0">
                <a:pos x="862" y="46"/>
              </a:cxn>
              <a:cxn ang="0">
                <a:pos x="692" y="81"/>
              </a:cxn>
              <a:cxn ang="0">
                <a:pos x="649" y="29"/>
              </a:cxn>
              <a:cxn ang="0">
                <a:pos x="518" y="14"/>
              </a:cxn>
            </a:cxnLst>
            <a:rect l="0" t="0" r="r" b="b"/>
            <a:pathLst>
              <a:path w="1992" h="2580">
                <a:moveTo>
                  <a:pt x="408" y="8"/>
                </a:moveTo>
                <a:lnTo>
                  <a:pt x="402" y="8"/>
                </a:lnTo>
                <a:lnTo>
                  <a:pt x="398" y="10"/>
                </a:lnTo>
                <a:lnTo>
                  <a:pt x="393" y="11"/>
                </a:lnTo>
                <a:lnTo>
                  <a:pt x="390" y="13"/>
                </a:lnTo>
                <a:lnTo>
                  <a:pt x="386" y="15"/>
                </a:lnTo>
                <a:lnTo>
                  <a:pt x="384" y="19"/>
                </a:lnTo>
                <a:lnTo>
                  <a:pt x="383" y="23"/>
                </a:lnTo>
                <a:lnTo>
                  <a:pt x="383" y="29"/>
                </a:lnTo>
                <a:lnTo>
                  <a:pt x="379" y="33"/>
                </a:lnTo>
                <a:lnTo>
                  <a:pt x="373" y="35"/>
                </a:lnTo>
                <a:lnTo>
                  <a:pt x="368" y="38"/>
                </a:lnTo>
                <a:lnTo>
                  <a:pt x="367" y="42"/>
                </a:lnTo>
                <a:lnTo>
                  <a:pt x="365" y="45"/>
                </a:lnTo>
                <a:lnTo>
                  <a:pt x="362" y="49"/>
                </a:lnTo>
                <a:lnTo>
                  <a:pt x="358" y="52"/>
                </a:lnTo>
                <a:lnTo>
                  <a:pt x="358" y="67"/>
                </a:lnTo>
                <a:lnTo>
                  <a:pt x="354" y="69"/>
                </a:lnTo>
                <a:lnTo>
                  <a:pt x="350" y="72"/>
                </a:lnTo>
                <a:lnTo>
                  <a:pt x="346" y="83"/>
                </a:lnTo>
                <a:lnTo>
                  <a:pt x="344" y="96"/>
                </a:lnTo>
                <a:lnTo>
                  <a:pt x="325" y="120"/>
                </a:lnTo>
                <a:lnTo>
                  <a:pt x="325" y="135"/>
                </a:lnTo>
                <a:lnTo>
                  <a:pt x="320" y="137"/>
                </a:lnTo>
                <a:lnTo>
                  <a:pt x="315" y="139"/>
                </a:lnTo>
                <a:lnTo>
                  <a:pt x="315" y="154"/>
                </a:lnTo>
                <a:lnTo>
                  <a:pt x="314" y="155"/>
                </a:lnTo>
                <a:lnTo>
                  <a:pt x="313" y="156"/>
                </a:lnTo>
                <a:lnTo>
                  <a:pt x="312" y="157"/>
                </a:lnTo>
                <a:lnTo>
                  <a:pt x="310" y="159"/>
                </a:lnTo>
                <a:lnTo>
                  <a:pt x="310" y="164"/>
                </a:lnTo>
                <a:lnTo>
                  <a:pt x="310" y="168"/>
                </a:lnTo>
                <a:lnTo>
                  <a:pt x="307" y="169"/>
                </a:lnTo>
                <a:lnTo>
                  <a:pt x="305" y="173"/>
                </a:lnTo>
                <a:lnTo>
                  <a:pt x="304" y="176"/>
                </a:lnTo>
                <a:lnTo>
                  <a:pt x="303" y="180"/>
                </a:lnTo>
                <a:lnTo>
                  <a:pt x="300" y="185"/>
                </a:lnTo>
                <a:lnTo>
                  <a:pt x="298" y="189"/>
                </a:lnTo>
                <a:lnTo>
                  <a:pt x="296" y="192"/>
                </a:lnTo>
                <a:lnTo>
                  <a:pt x="291" y="193"/>
                </a:lnTo>
                <a:lnTo>
                  <a:pt x="286" y="197"/>
                </a:lnTo>
                <a:lnTo>
                  <a:pt x="285" y="203"/>
                </a:lnTo>
                <a:lnTo>
                  <a:pt x="280" y="209"/>
                </a:lnTo>
                <a:lnTo>
                  <a:pt x="276" y="215"/>
                </a:lnTo>
                <a:lnTo>
                  <a:pt x="271" y="217"/>
                </a:lnTo>
                <a:lnTo>
                  <a:pt x="271" y="226"/>
                </a:lnTo>
                <a:lnTo>
                  <a:pt x="267" y="232"/>
                </a:lnTo>
                <a:lnTo>
                  <a:pt x="261" y="236"/>
                </a:lnTo>
                <a:lnTo>
                  <a:pt x="252" y="236"/>
                </a:lnTo>
                <a:lnTo>
                  <a:pt x="249" y="242"/>
                </a:lnTo>
                <a:lnTo>
                  <a:pt x="242" y="247"/>
                </a:lnTo>
                <a:lnTo>
                  <a:pt x="233" y="253"/>
                </a:lnTo>
                <a:lnTo>
                  <a:pt x="228" y="255"/>
                </a:lnTo>
                <a:lnTo>
                  <a:pt x="227" y="260"/>
                </a:lnTo>
                <a:lnTo>
                  <a:pt x="222" y="265"/>
                </a:lnTo>
                <a:lnTo>
                  <a:pt x="218" y="271"/>
                </a:lnTo>
                <a:lnTo>
                  <a:pt x="213" y="275"/>
                </a:lnTo>
                <a:lnTo>
                  <a:pt x="213" y="284"/>
                </a:lnTo>
                <a:lnTo>
                  <a:pt x="208" y="290"/>
                </a:lnTo>
                <a:lnTo>
                  <a:pt x="199" y="294"/>
                </a:lnTo>
                <a:lnTo>
                  <a:pt x="199" y="304"/>
                </a:lnTo>
                <a:lnTo>
                  <a:pt x="194" y="308"/>
                </a:lnTo>
                <a:lnTo>
                  <a:pt x="188" y="314"/>
                </a:lnTo>
                <a:lnTo>
                  <a:pt x="182" y="322"/>
                </a:lnTo>
                <a:lnTo>
                  <a:pt x="180" y="328"/>
                </a:lnTo>
                <a:lnTo>
                  <a:pt x="174" y="333"/>
                </a:lnTo>
                <a:lnTo>
                  <a:pt x="165" y="338"/>
                </a:lnTo>
                <a:lnTo>
                  <a:pt x="163" y="343"/>
                </a:lnTo>
                <a:lnTo>
                  <a:pt x="158" y="352"/>
                </a:lnTo>
                <a:lnTo>
                  <a:pt x="151" y="359"/>
                </a:lnTo>
                <a:lnTo>
                  <a:pt x="145" y="362"/>
                </a:lnTo>
                <a:lnTo>
                  <a:pt x="145" y="367"/>
                </a:lnTo>
                <a:lnTo>
                  <a:pt x="142" y="371"/>
                </a:lnTo>
                <a:lnTo>
                  <a:pt x="140" y="373"/>
                </a:lnTo>
                <a:lnTo>
                  <a:pt x="137" y="375"/>
                </a:lnTo>
                <a:lnTo>
                  <a:pt x="134" y="376"/>
                </a:lnTo>
                <a:lnTo>
                  <a:pt x="131" y="377"/>
                </a:lnTo>
                <a:lnTo>
                  <a:pt x="131" y="382"/>
                </a:lnTo>
                <a:lnTo>
                  <a:pt x="131" y="386"/>
                </a:lnTo>
                <a:lnTo>
                  <a:pt x="130" y="387"/>
                </a:lnTo>
                <a:lnTo>
                  <a:pt x="128" y="388"/>
                </a:lnTo>
                <a:lnTo>
                  <a:pt x="127" y="387"/>
                </a:lnTo>
                <a:lnTo>
                  <a:pt x="127" y="388"/>
                </a:lnTo>
                <a:lnTo>
                  <a:pt x="126" y="389"/>
                </a:lnTo>
                <a:lnTo>
                  <a:pt x="126" y="391"/>
                </a:lnTo>
                <a:lnTo>
                  <a:pt x="122" y="394"/>
                </a:lnTo>
                <a:lnTo>
                  <a:pt x="117" y="399"/>
                </a:lnTo>
                <a:lnTo>
                  <a:pt x="113" y="406"/>
                </a:lnTo>
                <a:lnTo>
                  <a:pt x="112" y="410"/>
                </a:lnTo>
                <a:lnTo>
                  <a:pt x="107" y="412"/>
                </a:lnTo>
                <a:lnTo>
                  <a:pt x="102" y="416"/>
                </a:lnTo>
                <a:lnTo>
                  <a:pt x="93" y="425"/>
                </a:lnTo>
                <a:lnTo>
                  <a:pt x="83" y="435"/>
                </a:lnTo>
                <a:lnTo>
                  <a:pt x="73" y="435"/>
                </a:lnTo>
                <a:lnTo>
                  <a:pt x="73" y="445"/>
                </a:lnTo>
                <a:lnTo>
                  <a:pt x="64" y="445"/>
                </a:lnTo>
                <a:lnTo>
                  <a:pt x="62" y="448"/>
                </a:lnTo>
                <a:lnTo>
                  <a:pt x="58" y="452"/>
                </a:lnTo>
                <a:lnTo>
                  <a:pt x="54" y="453"/>
                </a:lnTo>
                <a:lnTo>
                  <a:pt x="49" y="454"/>
                </a:lnTo>
                <a:lnTo>
                  <a:pt x="48" y="457"/>
                </a:lnTo>
                <a:lnTo>
                  <a:pt x="46" y="460"/>
                </a:lnTo>
                <a:lnTo>
                  <a:pt x="43" y="463"/>
                </a:lnTo>
                <a:lnTo>
                  <a:pt x="39" y="464"/>
                </a:lnTo>
                <a:lnTo>
                  <a:pt x="25" y="478"/>
                </a:lnTo>
                <a:lnTo>
                  <a:pt x="24" y="514"/>
                </a:lnTo>
                <a:lnTo>
                  <a:pt x="22" y="554"/>
                </a:lnTo>
                <a:lnTo>
                  <a:pt x="20" y="594"/>
                </a:lnTo>
                <a:lnTo>
                  <a:pt x="20" y="633"/>
                </a:lnTo>
                <a:lnTo>
                  <a:pt x="17" y="636"/>
                </a:lnTo>
                <a:lnTo>
                  <a:pt x="15" y="642"/>
                </a:lnTo>
                <a:lnTo>
                  <a:pt x="12" y="652"/>
                </a:lnTo>
                <a:lnTo>
                  <a:pt x="10" y="666"/>
                </a:lnTo>
                <a:lnTo>
                  <a:pt x="5" y="702"/>
                </a:lnTo>
                <a:lnTo>
                  <a:pt x="0" y="744"/>
                </a:lnTo>
                <a:lnTo>
                  <a:pt x="22" y="744"/>
                </a:lnTo>
                <a:lnTo>
                  <a:pt x="22" y="767"/>
                </a:lnTo>
                <a:lnTo>
                  <a:pt x="21" y="793"/>
                </a:lnTo>
                <a:lnTo>
                  <a:pt x="21" y="820"/>
                </a:lnTo>
                <a:lnTo>
                  <a:pt x="22" y="848"/>
                </a:lnTo>
                <a:lnTo>
                  <a:pt x="24" y="861"/>
                </a:lnTo>
                <a:lnTo>
                  <a:pt x="25" y="875"/>
                </a:lnTo>
                <a:lnTo>
                  <a:pt x="27" y="887"/>
                </a:lnTo>
                <a:lnTo>
                  <a:pt x="30" y="899"/>
                </a:lnTo>
                <a:lnTo>
                  <a:pt x="34" y="910"/>
                </a:lnTo>
                <a:lnTo>
                  <a:pt x="38" y="920"/>
                </a:lnTo>
                <a:lnTo>
                  <a:pt x="44" y="929"/>
                </a:lnTo>
                <a:lnTo>
                  <a:pt x="50" y="937"/>
                </a:lnTo>
                <a:lnTo>
                  <a:pt x="50" y="952"/>
                </a:lnTo>
                <a:lnTo>
                  <a:pt x="57" y="958"/>
                </a:lnTo>
                <a:lnTo>
                  <a:pt x="65" y="965"/>
                </a:lnTo>
                <a:lnTo>
                  <a:pt x="65" y="979"/>
                </a:lnTo>
                <a:lnTo>
                  <a:pt x="66" y="983"/>
                </a:lnTo>
                <a:lnTo>
                  <a:pt x="70" y="991"/>
                </a:lnTo>
                <a:lnTo>
                  <a:pt x="73" y="995"/>
                </a:lnTo>
                <a:lnTo>
                  <a:pt x="75" y="1000"/>
                </a:lnTo>
                <a:lnTo>
                  <a:pt x="77" y="1002"/>
                </a:lnTo>
                <a:lnTo>
                  <a:pt x="78" y="1003"/>
                </a:lnTo>
                <a:lnTo>
                  <a:pt x="82" y="1015"/>
                </a:lnTo>
                <a:lnTo>
                  <a:pt x="84" y="1026"/>
                </a:lnTo>
                <a:lnTo>
                  <a:pt x="93" y="1031"/>
                </a:lnTo>
                <a:lnTo>
                  <a:pt x="93" y="1041"/>
                </a:lnTo>
                <a:lnTo>
                  <a:pt x="97" y="1043"/>
                </a:lnTo>
                <a:lnTo>
                  <a:pt x="102" y="1045"/>
                </a:lnTo>
                <a:lnTo>
                  <a:pt x="103" y="1051"/>
                </a:lnTo>
                <a:lnTo>
                  <a:pt x="104" y="1053"/>
                </a:lnTo>
                <a:lnTo>
                  <a:pt x="106" y="1054"/>
                </a:lnTo>
                <a:lnTo>
                  <a:pt x="112" y="1054"/>
                </a:lnTo>
                <a:lnTo>
                  <a:pt x="118" y="1068"/>
                </a:lnTo>
                <a:lnTo>
                  <a:pt x="126" y="1078"/>
                </a:lnTo>
                <a:lnTo>
                  <a:pt x="131" y="1083"/>
                </a:lnTo>
                <a:lnTo>
                  <a:pt x="134" y="1083"/>
                </a:lnTo>
                <a:lnTo>
                  <a:pt x="140" y="1085"/>
                </a:lnTo>
                <a:lnTo>
                  <a:pt x="143" y="1089"/>
                </a:lnTo>
                <a:lnTo>
                  <a:pt x="144" y="1092"/>
                </a:lnTo>
                <a:lnTo>
                  <a:pt x="163" y="1101"/>
                </a:lnTo>
                <a:lnTo>
                  <a:pt x="178" y="1111"/>
                </a:lnTo>
                <a:lnTo>
                  <a:pt x="190" y="1111"/>
                </a:lnTo>
                <a:lnTo>
                  <a:pt x="207" y="1110"/>
                </a:lnTo>
                <a:lnTo>
                  <a:pt x="216" y="1110"/>
                </a:lnTo>
                <a:lnTo>
                  <a:pt x="222" y="1109"/>
                </a:lnTo>
                <a:lnTo>
                  <a:pt x="227" y="1108"/>
                </a:lnTo>
                <a:lnTo>
                  <a:pt x="229" y="1107"/>
                </a:lnTo>
                <a:lnTo>
                  <a:pt x="235" y="1107"/>
                </a:lnTo>
                <a:lnTo>
                  <a:pt x="240" y="1106"/>
                </a:lnTo>
                <a:lnTo>
                  <a:pt x="243" y="1106"/>
                </a:lnTo>
                <a:lnTo>
                  <a:pt x="246" y="1104"/>
                </a:lnTo>
                <a:lnTo>
                  <a:pt x="247" y="1103"/>
                </a:lnTo>
                <a:lnTo>
                  <a:pt x="248" y="1101"/>
                </a:lnTo>
                <a:lnTo>
                  <a:pt x="257" y="1101"/>
                </a:lnTo>
                <a:lnTo>
                  <a:pt x="267" y="1099"/>
                </a:lnTo>
                <a:lnTo>
                  <a:pt x="279" y="1098"/>
                </a:lnTo>
                <a:lnTo>
                  <a:pt x="290" y="1097"/>
                </a:lnTo>
                <a:lnTo>
                  <a:pt x="297" y="1097"/>
                </a:lnTo>
                <a:lnTo>
                  <a:pt x="308" y="1098"/>
                </a:lnTo>
                <a:lnTo>
                  <a:pt x="314" y="1098"/>
                </a:lnTo>
                <a:lnTo>
                  <a:pt x="318" y="1099"/>
                </a:lnTo>
                <a:lnTo>
                  <a:pt x="322" y="1100"/>
                </a:lnTo>
                <a:lnTo>
                  <a:pt x="323" y="1101"/>
                </a:lnTo>
                <a:lnTo>
                  <a:pt x="333" y="1101"/>
                </a:lnTo>
                <a:lnTo>
                  <a:pt x="334" y="1104"/>
                </a:lnTo>
                <a:lnTo>
                  <a:pt x="337" y="1108"/>
                </a:lnTo>
                <a:lnTo>
                  <a:pt x="341" y="1110"/>
                </a:lnTo>
                <a:lnTo>
                  <a:pt x="342" y="1111"/>
                </a:lnTo>
                <a:lnTo>
                  <a:pt x="352" y="1125"/>
                </a:lnTo>
                <a:lnTo>
                  <a:pt x="361" y="1135"/>
                </a:lnTo>
                <a:lnTo>
                  <a:pt x="367" y="1146"/>
                </a:lnTo>
                <a:lnTo>
                  <a:pt x="375" y="1154"/>
                </a:lnTo>
                <a:lnTo>
                  <a:pt x="375" y="1157"/>
                </a:lnTo>
                <a:lnTo>
                  <a:pt x="375" y="1159"/>
                </a:lnTo>
                <a:lnTo>
                  <a:pt x="376" y="1161"/>
                </a:lnTo>
                <a:lnTo>
                  <a:pt x="380" y="1162"/>
                </a:lnTo>
                <a:lnTo>
                  <a:pt x="380" y="1166"/>
                </a:lnTo>
                <a:lnTo>
                  <a:pt x="380" y="1169"/>
                </a:lnTo>
                <a:lnTo>
                  <a:pt x="382" y="1171"/>
                </a:lnTo>
                <a:lnTo>
                  <a:pt x="384" y="1173"/>
                </a:lnTo>
                <a:lnTo>
                  <a:pt x="385" y="1179"/>
                </a:lnTo>
                <a:lnTo>
                  <a:pt x="386" y="1187"/>
                </a:lnTo>
                <a:lnTo>
                  <a:pt x="389" y="1196"/>
                </a:lnTo>
                <a:lnTo>
                  <a:pt x="391" y="1205"/>
                </a:lnTo>
                <a:lnTo>
                  <a:pt x="396" y="1222"/>
                </a:lnTo>
                <a:lnTo>
                  <a:pt x="399" y="1237"/>
                </a:lnTo>
                <a:lnTo>
                  <a:pt x="408" y="1247"/>
                </a:lnTo>
                <a:lnTo>
                  <a:pt x="408" y="1256"/>
                </a:lnTo>
                <a:lnTo>
                  <a:pt x="412" y="1262"/>
                </a:lnTo>
                <a:lnTo>
                  <a:pt x="416" y="1269"/>
                </a:lnTo>
                <a:lnTo>
                  <a:pt x="420" y="1275"/>
                </a:lnTo>
                <a:lnTo>
                  <a:pt x="422" y="1280"/>
                </a:lnTo>
                <a:lnTo>
                  <a:pt x="431" y="1285"/>
                </a:lnTo>
                <a:lnTo>
                  <a:pt x="441" y="1290"/>
                </a:lnTo>
                <a:lnTo>
                  <a:pt x="450" y="1294"/>
                </a:lnTo>
                <a:lnTo>
                  <a:pt x="451" y="1298"/>
                </a:lnTo>
                <a:lnTo>
                  <a:pt x="454" y="1302"/>
                </a:lnTo>
                <a:lnTo>
                  <a:pt x="459" y="1306"/>
                </a:lnTo>
                <a:lnTo>
                  <a:pt x="464" y="1310"/>
                </a:lnTo>
                <a:lnTo>
                  <a:pt x="473" y="1318"/>
                </a:lnTo>
                <a:lnTo>
                  <a:pt x="478" y="1322"/>
                </a:lnTo>
                <a:lnTo>
                  <a:pt x="486" y="1329"/>
                </a:lnTo>
                <a:lnTo>
                  <a:pt x="499" y="1342"/>
                </a:lnTo>
                <a:lnTo>
                  <a:pt x="510" y="1356"/>
                </a:lnTo>
                <a:lnTo>
                  <a:pt x="516" y="1364"/>
                </a:lnTo>
                <a:lnTo>
                  <a:pt x="525" y="1369"/>
                </a:lnTo>
                <a:lnTo>
                  <a:pt x="526" y="1373"/>
                </a:lnTo>
                <a:lnTo>
                  <a:pt x="527" y="1378"/>
                </a:lnTo>
                <a:lnTo>
                  <a:pt x="529" y="1382"/>
                </a:lnTo>
                <a:lnTo>
                  <a:pt x="533" y="1387"/>
                </a:lnTo>
                <a:lnTo>
                  <a:pt x="536" y="1391"/>
                </a:lnTo>
                <a:lnTo>
                  <a:pt x="539" y="1395"/>
                </a:lnTo>
                <a:lnTo>
                  <a:pt x="542" y="1397"/>
                </a:lnTo>
                <a:lnTo>
                  <a:pt x="544" y="1398"/>
                </a:lnTo>
                <a:lnTo>
                  <a:pt x="546" y="1405"/>
                </a:lnTo>
                <a:lnTo>
                  <a:pt x="548" y="1411"/>
                </a:lnTo>
                <a:lnTo>
                  <a:pt x="558" y="1416"/>
                </a:lnTo>
                <a:lnTo>
                  <a:pt x="559" y="1433"/>
                </a:lnTo>
                <a:lnTo>
                  <a:pt x="563" y="1453"/>
                </a:lnTo>
                <a:lnTo>
                  <a:pt x="566" y="1474"/>
                </a:lnTo>
                <a:lnTo>
                  <a:pt x="567" y="1496"/>
                </a:lnTo>
                <a:lnTo>
                  <a:pt x="564" y="1497"/>
                </a:lnTo>
                <a:lnTo>
                  <a:pt x="560" y="1500"/>
                </a:lnTo>
                <a:lnTo>
                  <a:pt x="558" y="1502"/>
                </a:lnTo>
                <a:lnTo>
                  <a:pt x="558" y="1505"/>
                </a:lnTo>
                <a:lnTo>
                  <a:pt x="544" y="1507"/>
                </a:lnTo>
                <a:lnTo>
                  <a:pt x="529" y="1511"/>
                </a:lnTo>
                <a:lnTo>
                  <a:pt x="526" y="1515"/>
                </a:lnTo>
                <a:lnTo>
                  <a:pt x="520" y="1521"/>
                </a:lnTo>
                <a:lnTo>
                  <a:pt x="531" y="1523"/>
                </a:lnTo>
                <a:lnTo>
                  <a:pt x="539" y="1524"/>
                </a:lnTo>
                <a:lnTo>
                  <a:pt x="543" y="1526"/>
                </a:lnTo>
                <a:lnTo>
                  <a:pt x="544" y="1527"/>
                </a:lnTo>
                <a:lnTo>
                  <a:pt x="546" y="1529"/>
                </a:lnTo>
                <a:lnTo>
                  <a:pt x="546" y="1531"/>
                </a:lnTo>
                <a:lnTo>
                  <a:pt x="546" y="1543"/>
                </a:lnTo>
                <a:lnTo>
                  <a:pt x="547" y="1555"/>
                </a:lnTo>
                <a:lnTo>
                  <a:pt x="549" y="1568"/>
                </a:lnTo>
                <a:lnTo>
                  <a:pt x="552" y="1581"/>
                </a:lnTo>
                <a:lnTo>
                  <a:pt x="555" y="1594"/>
                </a:lnTo>
                <a:lnTo>
                  <a:pt x="559" y="1607"/>
                </a:lnTo>
                <a:lnTo>
                  <a:pt x="564" y="1619"/>
                </a:lnTo>
                <a:lnTo>
                  <a:pt x="569" y="1631"/>
                </a:lnTo>
                <a:lnTo>
                  <a:pt x="575" y="1642"/>
                </a:lnTo>
                <a:lnTo>
                  <a:pt x="583" y="1652"/>
                </a:lnTo>
                <a:lnTo>
                  <a:pt x="590" y="1662"/>
                </a:lnTo>
                <a:lnTo>
                  <a:pt x="598" y="1670"/>
                </a:lnTo>
                <a:lnTo>
                  <a:pt x="607" y="1677"/>
                </a:lnTo>
                <a:lnTo>
                  <a:pt x="617" y="1681"/>
                </a:lnTo>
                <a:lnTo>
                  <a:pt x="627" y="1685"/>
                </a:lnTo>
                <a:lnTo>
                  <a:pt x="639" y="1686"/>
                </a:lnTo>
                <a:lnTo>
                  <a:pt x="655" y="1686"/>
                </a:lnTo>
                <a:lnTo>
                  <a:pt x="671" y="1688"/>
                </a:lnTo>
                <a:lnTo>
                  <a:pt x="687" y="1692"/>
                </a:lnTo>
                <a:lnTo>
                  <a:pt x="700" y="1696"/>
                </a:lnTo>
                <a:lnTo>
                  <a:pt x="713" y="1702"/>
                </a:lnTo>
                <a:lnTo>
                  <a:pt x="726" y="1707"/>
                </a:lnTo>
                <a:lnTo>
                  <a:pt x="737" y="1714"/>
                </a:lnTo>
                <a:lnTo>
                  <a:pt x="748" y="1721"/>
                </a:lnTo>
                <a:lnTo>
                  <a:pt x="768" y="1733"/>
                </a:lnTo>
                <a:lnTo>
                  <a:pt x="786" y="1744"/>
                </a:lnTo>
                <a:lnTo>
                  <a:pt x="794" y="1748"/>
                </a:lnTo>
                <a:lnTo>
                  <a:pt x="802" y="1752"/>
                </a:lnTo>
                <a:lnTo>
                  <a:pt x="809" y="1754"/>
                </a:lnTo>
                <a:lnTo>
                  <a:pt x="816" y="1755"/>
                </a:lnTo>
                <a:lnTo>
                  <a:pt x="804" y="1756"/>
                </a:lnTo>
                <a:lnTo>
                  <a:pt x="793" y="1758"/>
                </a:lnTo>
                <a:lnTo>
                  <a:pt x="783" y="1763"/>
                </a:lnTo>
                <a:lnTo>
                  <a:pt x="773" y="1769"/>
                </a:lnTo>
                <a:lnTo>
                  <a:pt x="764" y="1775"/>
                </a:lnTo>
                <a:lnTo>
                  <a:pt x="755" y="1784"/>
                </a:lnTo>
                <a:lnTo>
                  <a:pt x="747" y="1793"/>
                </a:lnTo>
                <a:lnTo>
                  <a:pt x="740" y="1804"/>
                </a:lnTo>
                <a:lnTo>
                  <a:pt x="735" y="1817"/>
                </a:lnTo>
                <a:lnTo>
                  <a:pt x="729" y="1830"/>
                </a:lnTo>
                <a:lnTo>
                  <a:pt x="723" y="1844"/>
                </a:lnTo>
                <a:lnTo>
                  <a:pt x="719" y="1859"/>
                </a:lnTo>
                <a:lnTo>
                  <a:pt x="716" y="1875"/>
                </a:lnTo>
                <a:lnTo>
                  <a:pt x="712" y="1891"/>
                </a:lnTo>
                <a:lnTo>
                  <a:pt x="709" y="1909"/>
                </a:lnTo>
                <a:lnTo>
                  <a:pt x="707" y="1927"/>
                </a:lnTo>
                <a:lnTo>
                  <a:pt x="703" y="1965"/>
                </a:lnTo>
                <a:lnTo>
                  <a:pt x="701" y="2004"/>
                </a:lnTo>
                <a:lnTo>
                  <a:pt x="700" y="2044"/>
                </a:lnTo>
                <a:lnTo>
                  <a:pt x="700" y="2084"/>
                </a:lnTo>
                <a:lnTo>
                  <a:pt x="702" y="2164"/>
                </a:lnTo>
                <a:lnTo>
                  <a:pt x="706" y="2236"/>
                </a:lnTo>
                <a:lnTo>
                  <a:pt x="735" y="2236"/>
                </a:lnTo>
                <a:lnTo>
                  <a:pt x="749" y="2245"/>
                </a:lnTo>
                <a:lnTo>
                  <a:pt x="763" y="2253"/>
                </a:lnTo>
                <a:lnTo>
                  <a:pt x="779" y="2253"/>
                </a:lnTo>
                <a:lnTo>
                  <a:pt x="782" y="2258"/>
                </a:lnTo>
                <a:lnTo>
                  <a:pt x="785" y="2264"/>
                </a:lnTo>
                <a:lnTo>
                  <a:pt x="799" y="2269"/>
                </a:lnTo>
                <a:lnTo>
                  <a:pt x="832" y="2279"/>
                </a:lnTo>
                <a:lnTo>
                  <a:pt x="850" y="2284"/>
                </a:lnTo>
                <a:lnTo>
                  <a:pt x="864" y="2290"/>
                </a:lnTo>
                <a:lnTo>
                  <a:pt x="875" y="2294"/>
                </a:lnTo>
                <a:lnTo>
                  <a:pt x="879" y="2298"/>
                </a:lnTo>
                <a:lnTo>
                  <a:pt x="893" y="2300"/>
                </a:lnTo>
                <a:lnTo>
                  <a:pt x="907" y="2303"/>
                </a:lnTo>
                <a:lnTo>
                  <a:pt x="910" y="2309"/>
                </a:lnTo>
                <a:lnTo>
                  <a:pt x="912" y="2314"/>
                </a:lnTo>
                <a:lnTo>
                  <a:pt x="918" y="2320"/>
                </a:lnTo>
                <a:lnTo>
                  <a:pt x="929" y="2320"/>
                </a:lnTo>
                <a:lnTo>
                  <a:pt x="934" y="2325"/>
                </a:lnTo>
                <a:lnTo>
                  <a:pt x="974" y="2363"/>
                </a:lnTo>
                <a:lnTo>
                  <a:pt x="977" y="2370"/>
                </a:lnTo>
                <a:lnTo>
                  <a:pt x="985" y="2380"/>
                </a:lnTo>
                <a:lnTo>
                  <a:pt x="991" y="2388"/>
                </a:lnTo>
                <a:lnTo>
                  <a:pt x="996" y="2391"/>
                </a:lnTo>
                <a:lnTo>
                  <a:pt x="1000" y="2402"/>
                </a:lnTo>
                <a:lnTo>
                  <a:pt x="1006" y="2414"/>
                </a:lnTo>
                <a:lnTo>
                  <a:pt x="1011" y="2417"/>
                </a:lnTo>
                <a:lnTo>
                  <a:pt x="1017" y="2419"/>
                </a:lnTo>
                <a:lnTo>
                  <a:pt x="1023" y="2436"/>
                </a:lnTo>
                <a:lnTo>
                  <a:pt x="1028" y="2453"/>
                </a:lnTo>
                <a:lnTo>
                  <a:pt x="1032" y="2454"/>
                </a:lnTo>
                <a:lnTo>
                  <a:pt x="1034" y="2456"/>
                </a:lnTo>
                <a:lnTo>
                  <a:pt x="1034" y="2459"/>
                </a:lnTo>
                <a:lnTo>
                  <a:pt x="1034" y="2464"/>
                </a:lnTo>
                <a:lnTo>
                  <a:pt x="1045" y="2475"/>
                </a:lnTo>
                <a:lnTo>
                  <a:pt x="1046" y="2481"/>
                </a:lnTo>
                <a:lnTo>
                  <a:pt x="1047" y="2486"/>
                </a:lnTo>
                <a:lnTo>
                  <a:pt x="1048" y="2492"/>
                </a:lnTo>
                <a:lnTo>
                  <a:pt x="1051" y="2497"/>
                </a:lnTo>
                <a:lnTo>
                  <a:pt x="1053" y="2502"/>
                </a:lnTo>
                <a:lnTo>
                  <a:pt x="1055" y="2507"/>
                </a:lnTo>
                <a:lnTo>
                  <a:pt x="1056" y="2513"/>
                </a:lnTo>
                <a:lnTo>
                  <a:pt x="1056" y="2519"/>
                </a:lnTo>
                <a:lnTo>
                  <a:pt x="1062" y="2522"/>
                </a:lnTo>
                <a:lnTo>
                  <a:pt x="1067" y="2524"/>
                </a:lnTo>
                <a:lnTo>
                  <a:pt x="1078" y="2569"/>
                </a:lnTo>
                <a:lnTo>
                  <a:pt x="1080" y="2571"/>
                </a:lnTo>
                <a:lnTo>
                  <a:pt x="1081" y="2574"/>
                </a:lnTo>
                <a:lnTo>
                  <a:pt x="1084" y="2577"/>
                </a:lnTo>
                <a:lnTo>
                  <a:pt x="1087" y="2580"/>
                </a:lnTo>
                <a:lnTo>
                  <a:pt x="1134" y="2580"/>
                </a:lnTo>
                <a:lnTo>
                  <a:pt x="1168" y="2578"/>
                </a:lnTo>
                <a:lnTo>
                  <a:pt x="1180" y="2575"/>
                </a:lnTo>
                <a:lnTo>
                  <a:pt x="1191" y="2573"/>
                </a:lnTo>
                <a:lnTo>
                  <a:pt x="1200" y="2570"/>
                </a:lnTo>
                <a:lnTo>
                  <a:pt x="1208" y="2566"/>
                </a:lnTo>
                <a:lnTo>
                  <a:pt x="1216" y="2562"/>
                </a:lnTo>
                <a:lnTo>
                  <a:pt x="1221" y="2556"/>
                </a:lnTo>
                <a:lnTo>
                  <a:pt x="1228" y="2550"/>
                </a:lnTo>
                <a:lnTo>
                  <a:pt x="1235" y="2543"/>
                </a:lnTo>
                <a:lnTo>
                  <a:pt x="1251" y="2524"/>
                </a:lnTo>
                <a:lnTo>
                  <a:pt x="1273" y="2502"/>
                </a:lnTo>
                <a:lnTo>
                  <a:pt x="1278" y="2496"/>
                </a:lnTo>
                <a:lnTo>
                  <a:pt x="1282" y="2491"/>
                </a:lnTo>
                <a:lnTo>
                  <a:pt x="1285" y="2484"/>
                </a:lnTo>
                <a:lnTo>
                  <a:pt x="1288" y="2478"/>
                </a:lnTo>
                <a:lnTo>
                  <a:pt x="1291" y="2471"/>
                </a:lnTo>
                <a:lnTo>
                  <a:pt x="1293" y="2464"/>
                </a:lnTo>
                <a:lnTo>
                  <a:pt x="1294" y="2457"/>
                </a:lnTo>
                <a:lnTo>
                  <a:pt x="1294" y="2449"/>
                </a:lnTo>
                <a:lnTo>
                  <a:pt x="1294" y="2434"/>
                </a:lnTo>
                <a:lnTo>
                  <a:pt x="1293" y="2417"/>
                </a:lnTo>
                <a:lnTo>
                  <a:pt x="1291" y="2399"/>
                </a:lnTo>
                <a:lnTo>
                  <a:pt x="1287" y="2381"/>
                </a:lnTo>
                <a:lnTo>
                  <a:pt x="1278" y="2344"/>
                </a:lnTo>
                <a:lnTo>
                  <a:pt x="1269" y="2308"/>
                </a:lnTo>
                <a:lnTo>
                  <a:pt x="1265" y="2290"/>
                </a:lnTo>
                <a:lnTo>
                  <a:pt x="1262" y="2272"/>
                </a:lnTo>
                <a:lnTo>
                  <a:pt x="1260" y="2254"/>
                </a:lnTo>
                <a:lnTo>
                  <a:pt x="1259" y="2237"/>
                </a:lnTo>
                <a:lnTo>
                  <a:pt x="1260" y="2227"/>
                </a:lnTo>
                <a:lnTo>
                  <a:pt x="1262" y="2221"/>
                </a:lnTo>
                <a:lnTo>
                  <a:pt x="1265" y="2215"/>
                </a:lnTo>
                <a:lnTo>
                  <a:pt x="1270" y="2212"/>
                </a:lnTo>
                <a:lnTo>
                  <a:pt x="1275" y="2210"/>
                </a:lnTo>
                <a:lnTo>
                  <a:pt x="1282" y="2209"/>
                </a:lnTo>
                <a:lnTo>
                  <a:pt x="1289" y="2210"/>
                </a:lnTo>
                <a:lnTo>
                  <a:pt x="1297" y="2213"/>
                </a:lnTo>
                <a:lnTo>
                  <a:pt x="1314" y="2217"/>
                </a:lnTo>
                <a:lnTo>
                  <a:pt x="1332" y="2221"/>
                </a:lnTo>
                <a:lnTo>
                  <a:pt x="1341" y="2223"/>
                </a:lnTo>
                <a:lnTo>
                  <a:pt x="1349" y="2223"/>
                </a:lnTo>
                <a:lnTo>
                  <a:pt x="1358" y="2222"/>
                </a:lnTo>
                <a:lnTo>
                  <a:pt x="1365" y="2218"/>
                </a:lnTo>
                <a:lnTo>
                  <a:pt x="1378" y="2212"/>
                </a:lnTo>
                <a:lnTo>
                  <a:pt x="1393" y="2202"/>
                </a:lnTo>
                <a:lnTo>
                  <a:pt x="1411" y="2190"/>
                </a:lnTo>
                <a:lnTo>
                  <a:pt x="1429" y="2177"/>
                </a:lnTo>
                <a:lnTo>
                  <a:pt x="1461" y="2152"/>
                </a:lnTo>
                <a:lnTo>
                  <a:pt x="1481" y="2136"/>
                </a:lnTo>
                <a:lnTo>
                  <a:pt x="1488" y="2128"/>
                </a:lnTo>
                <a:lnTo>
                  <a:pt x="1494" y="2120"/>
                </a:lnTo>
                <a:lnTo>
                  <a:pt x="1497" y="2112"/>
                </a:lnTo>
                <a:lnTo>
                  <a:pt x="1499" y="2106"/>
                </a:lnTo>
                <a:lnTo>
                  <a:pt x="1499" y="2098"/>
                </a:lnTo>
                <a:lnTo>
                  <a:pt x="1498" y="2091"/>
                </a:lnTo>
                <a:lnTo>
                  <a:pt x="1496" y="2083"/>
                </a:lnTo>
                <a:lnTo>
                  <a:pt x="1494" y="2077"/>
                </a:lnTo>
                <a:lnTo>
                  <a:pt x="1489" y="2070"/>
                </a:lnTo>
                <a:lnTo>
                  <a:pt x="1484" y="2063"/>
                </a:lnTo>
                <a:lnTo>
                  <a:pt x="1478" y="2056"/>
                </a:lnTo>
                <a:lnTo>
                  <a:pt x="1471" y="2050"/>
                </a:lnTo>
                <a:lnTo>
                  <a:pt x="1458" y="2036"/>
                </a:lnTo>
                <a:lnTo>
                  <a:pt x="1442" y="2024"/>
                </a:lnTo>
                <a:lnTo>
                  <a:pt x="1427" y="2012"/>
                </a:lnTo>
                <a:lnTo>
                  <a:pt x="1412" y="2000"/>
                </a:lnTo>
                <a:lnTo>
                  <a:pt x="1399" y="1987"/>
                </a:lnTo>
                <a:lnTo>
                  <a:pt x="1388" y="1975"/>
                </a:lnTo>
                <a:lnTo>
                  <a:pt x="1383" y="1969"/>
                </a:lnTo>
                <a:lnTo>
                  <a:pt x="1381" y="1963"/>
                </a:lnTo>
                <a:lnTo>
                  <a:pt x="1379" y="1957"/>
                </a:lnTo>
                <a:lnTo>
                  <a:pt x="1378" y="1952"/>
                </a:lnTo>
                <a:lnTo>
                  <a:pt x="1379" y="1945"/>
                </a:lnTo>
                <a:lnTo>
                  <a:pt x="1380" y="1939"/>
                </a:lnTo>
                <a:lnTo>
                  <a:pt x="1383" y="1933"/>
                </a:lnTo>
                <a:lnTo>
                  <a:pt x="1389" y="1927"/>
                </a:lnTo>
                <a:lnTo>
                  <a:pt x="1392" y="1924"/>
                </a:lnTo>
                <a:lnTo>
                  <a:pt x="1395" y="1921"/>
                </a:lnTo>
                <a:lnTo>
                  <a:pt x="1400" y="1920"/>
                </a:lnTo>
                <a:lnTo>
                  <a:pt x="1404" y="1919"/>
                </a:lnTo>
                <a:lnTo>
                  <a:pt x="1413" y="1918"/>
                </a:lnTo>
                <a:lnTo>
                  <a:pt x="1423" y="1919"/>
                </a:lnTo>
                <a:lnTo>
                  <a:pt x="1435" y="1921"/>
                </a:lnTo>
                <a:lnTo>
                  <a:pt x="1446" y="1925"/>
                </a:lnTo>
                <a:lnTo>
                  <a:pt x="1458" y="1928"/>
                </a:lnTo>
                <a:lnTo>
                  <a:pt x="1470" y="1934"/>
                </a:lnTo>
                <a:lnTo>
                  <a:pt x="1495" y="1944"/>
                </a:lnTo>
                <a:lnTo>
                  <a:pt x="1518" y="1954"/>
                </a:lnTo>
                <a:lnTo>
                  <a:pt x="1529" y="1958"/>
                </a:lnTo>
                <a:lnTo>
                  <a:pt x="1539" y="1960"/>
                </a:lnTo>
                <a:lnTo>
                  <a:pt x="1548" y="1963"/>
                </a:lnTo>
                <a:lnTo>
                  <a:pt x="1556" y="1964"/>
                </a:lnTo>
                <a:lnTo>
                  <a:pt x="1560" y="1963"/>
                </a:lnTo>
                <a:lnTo>
                  <a:pt x="1564" y="1959"/>
                </a:lnTo>
                <a:lnTo>
                  <a:pt x="1570" y="1954"/>
                </a:lnTo>
                <a:lnTo>
                  <a:pt x="1577" y="1947"/>
                </a:lnTo>
                <a:lnTo>
                  <a:pt x="1594" y="1931"/>
                </a:lnTo>
                <a:lnTo>
                  <a:pt x="1614" y="1916"/>
                </a:lnTo>
                <a:lnTo>
                  <a:pt x="1625" y="1908"/>
                </a:lnTo>
                <a:lnTo>
                  <a:pt x="1637" y="1901"/>
                </a:lnTo>
                <a:lnTo>
                  <a:pt x="1648" y="1897"/>
                </a:lnTo>
                <a:lnTo>
                  <a:pt x="1659" y="1894"/>
                </a:lnTo>
                <a:lnTo>
                  <a:pt x="1666" y="1892"/>
                </a:lnTo>
                <a:lnTo>
                  <a:pt x="1671" y="1892"/>
                </a:lnTo>
                <a:lnTo>
                  <a:pt x="1677" y="1894"/>
                </a:lnTo>
                <a:lnTo>
                  <a:pt x="1682" y="1895"/>
                </a:lnTo>
                <a:lnTo>
                  <a:pt x="1688" y="1897"/>
                </a:lnTo>
                <a:lnTo>
                  <a:pt x="1694" y="1900"/>
                </a:lnTo>
                <a:lnTo>
                  <a:pt x="1699" y="1904"/>
                </a:lnTo>
                <a:lnTo>
                  <a:pt x="1704" y="1908"/>
                </a:lnTo>
                <a:lnTo>
                  <a:pt x="1710" y="1914"/>
                </a:lnTo>
                <a:lnTo>
                  <a:pt x="1716" y="1917"/>
                </a:lnTo>
                <a:lnTo>
                  <a:pt x="1721" y="1920"/>
                </a:lnTo>
                <a:lnTo>
                  <a:pt x="1727" y="1923"/>
                </a:lnTo>
                <a:lnTo>
                  <a:pt x="1733" y="1924"/>
                </a:lnTo>
                <a:lnTo>
                  <a:pt x="1738" y="1924"/>
                </a:lnTo>
                <a:lnTo>
                  <a:pt x="1744" y="1924"/>
                </a:lnTo>
                <a:lnTo>
                  <a:pt x="1749" y="1923"/>
                </a:lnTo>
                <a:lnTo>
                  <a:pt x="1754" y="1920"/>
                </a:lnTo>
                <a:lnTo>
                  <a:pt x="1759" y="1918"/>
                </a:lnTo>
                <a:lnTo>
                  <a:pt x="1764" y="1915"/>
                </a:lnTo>
                <a:lnTo>
                  <a:pt x="1768" y="1911"/>
                </a:lnTo>
                <a:lnTo>
                  <a:pt x="1777" y="1904"/>
                </a:lnTo>
                <a:lnTo>
                  <a:pt x="1784" y="1894"/>
                </a:lnTo>
                <a:lnTo>
                  <a:pt x="1788" y="1883"/>
                </a:lnTo>
                <a:lnTo>
                  <a:pt x="1792" y="1873"/>
                </a:lnTo>
                <a:lnTo>
                  <a:pt x="1792" y="1869"/>
                </a:lnTo>
                <a:lnTo>
                  <a:pt x="1793" y="1863"/>
                </a:lnTo>
                <a:lnTo>
                  <a:pt x="1792" y="1859"/>
                </a:lnTo>
                <a:lnTo>
                  <a:pt x="1791" y="1854"/>
                </a:lnTo>
                <a:lnTo>
                  <a:pt x="1788" y="1850"/>
                </a:lnTo>
                <a:lnTo>
                  <a:pt x="1786" y="1847"/>
                </a:lnTo>
                <a:lnTo>
                  <a:pt x="1783" y="1843"/>
                </a:lnTo>
                <a:lnTo>
                  <a:pt x="1780" y="1840"/>
                </a:lnTo>
                <a:lnTo>
                  <a:pt x="1775" y="1838"/>
                </a:lnTo>
                <a:lnTo>
                  <a:pt x="1768" y="1835"/>
                </a:lnTo>
                <a:lnTo>
                  <a:pt x="1763" y="1834"/>
                </a:lnTo>
                <a:lnTo>
                  <a:pt x="1755" y="1834"/>
                </a:lnTo>
                <a:lnTo>
                  <a:pt x="1736" y="1833"/>
                </a:lnTo>
                <a:lnTo>
                  <a:pt x="1718" y="1831"/>
                </a:lnTo>
                <a:lnTo>
                  <a:pt x="1702" y="1828"/>
                </a:lnTo>
                <a:lnTo>
                  <a:pt x="1689" y="1822"/>
                </a:lnTo>
                <a:lnTo>
                  <a:pt x="1678" y="1817"/>
                </a:lnTo>
                <a:lnTo>
                  <a:pt x="1668" y="1809"/>
                </a:lnTo>
                <a:lnTo>
                  <a:pt x="1660" y="1801"/>
                </a:lnTo>
                <a:lnTo>
                  <a:pt x="1653" y="1792"/>
                </a:lnTo>
                <a:lnTo>
                  <a:pt x="1649" y="1782"/>
                </a:lnTo>
                <a:lnTo>
                  <a:pt x="1644" y="1771"/>
                </a:lnTo>
                <a:lnTo>
                  <a:pt x="1642" y="1760"/>
                </a:lnTo>
                <a:lnTo>
                  <a:pt x="1642" y="1747"/>
                </a:lnTo>
                <a:lnTo>
                  <a:pt x="1642" y="1735"/>
                </a:lnTo>
                <a:lnTo>
                  <a:pt x="1644" y="1723"/>
                </a:lnTo>
                <a:lnTo>
                  <a:pt x="1647" y="1710"/>
                </a:lnTo>
                <a:lnTo>
                  <a:pt x="1651" y="1697"/>
                </a:lnTo>
                <a:lnTo>
                  <a:pt x="1656" y="1685"/>
                </a:lnTo>
                <a:lnTo>
                  <a:pt x="1661" y="1673"/>
                </a:lnTo>
                <a:lnTo>
                  <a:pt x="1668" y="1659"/>
                </a:lnTo>
                <a:lnTo>
                  <a:pt x="1676" y="1647"/>
                </a:lnTo>
                <a:lnTo>
                  <a:pt x="1684" y="1636"/>
                </a:lnTo>
                <a:lnTo>
                  <a:pt x="1692" y="1625"/>
                </a:lnTo>
                <a:lnTo>
                  <a:pt x="1701" y="1613"/>
                </a:lnTo>
                <a:lnTo>
                  <a:pt x="1710" y="1603"/>
                </a:lnTo>
                <a:lnTo>
                  <a:pt x="1720" y="1594"/>
                </a:lnTo>
                <a:lnTo>
                  <a:pt x="1732" y="1585"/>
                </a:lnTo>
                <a:lnTo>
                  <a:pt x="1742" y="1579"/>
                </a:lnTo>
                <a:lnTo>
                  <a:pt x="1753" y="1572"/>
                </a:lnTo>
                <a:lnTo>
                  <a:pt x="1764" y="1568"/>
                </a:lnTo>
                <a:lnTo>
                  <a:pt x="1775" y="1564"/>
                </a:lnTo>
                <a:lnTo>
                  <a:pt x="1786" y="1562"/>
                </a:lnTo>
                <a:lnTo>
                  <a:pt x="1796" y="1561"/>
                </a:lnTo>
                <a:lnTo>
                  <a:pt x="1807" y="1561"/>
                </a:lnTo>
                <a:lnTo>
                  <a:pt x="1817" y="1560"/>
                </a:lnTo>
                <a:lnTo>
                  <a:pt x="1826" y="1558"/>
                </a:lnTo>
                <a:lnTo>
                  <a:pt x="1835" y="1556"/>
                </a:lnTo>
                <a:lnTo>
                  <a:pt x="1844" y="1553"/>
                </a:lnTo>
                <a:lnTo>
                  <a:pt x="1853" y="1550"/>
                </a:lnTo>
                <a:lnTo>
                  <a:pt x="1861" y="1546"/>
                </a:lnTo>
                <a:lnTo>
                  <a:pt x="1869" y="1543"/>
                </a:lnTo>
                <a:lnTo>
                  <a:pt x="1882" y="1533"/>
                </a:lnTo>
                <a:lnTo>
                  <a:pt x="1896" y="1523"/>
                </a:lnTo>
                <a:lnTo>
                  <a:pt x="1908" y="1511"/>
                </a:lnTo>
                <a:lnTo>
                  <a:pt x="1919" y="1497"/>
                </a:lnTo>
                <a:lnTo>
                  <a:pt x="1929" y="1484"/>
                </a:lnTo>
                <a:lnTo>
                  <a:pt x="1939" y="1469"/>
                </a:lnTo>
                <a:lnTo>
                  <a:pt x="1948" y="1455"/>
                </a:lnTo>
                <a:lnTo>
                  <a:pt x="1957" y="1440"/>
                </a:lnTo>
                <a:lnTo>
                  <a:pt x="1974" y="1411"/>
                </a:lnTo>
                <a:lnTo>
                  <a:pt x="1992" y="1383"/>
                </a:lnTo>
                <a:lnTo>
                  <a:pt x="1974" y="1359"/>
                </a:lnTo>
                <a:lnTo>
                  <a:pt x="1957" y="1330"/>
                </a:lnTo>
                <a:lnTo>
                  <a:pt x="1949" y="1317"/>
                </a:lnTo>
                <a:lnTo>
                  <a:pt x="1942" y="1304"/>
                </a:lnTo>
                <a:lnTo>
                  <a:pt x="1938" y="1294"/>
                </a:lnTo>
                <a:lnTo>
                  <a:pt x="1937" y="1286"/>
                </a:lnTo>
                <a:lnTo>
                  <a:pt x="1935" y="1285"/>
                </a:lnTo>
                <a:lnTo>
                  <a:pt x="1934" y="1283"/>
                </a:lnTo>
                <a:lnTo>
                  <a:pt x="1931" y="1279"/>
                </a:lnTo>
                <a:lnTo>
                  <a:pt x="1930" y="1274"/>
                </a:lnTo>
                <a:lnTo>
                  <a:pt x="1928" y="1264"/>
                </a:lnTo>
                <a:lnTo>
                  <a:pt x="1927" y="1257"/>
                </a:lnTo>
                <a:lnTo>
                  <a:pt x="1926" y="1256"/>
                </a:lnTo>
                <a:lnTo>
                  <a:pt x="1922" y="1253"/>
                </a:lnTo>
                <a:lnTo>
                  <a:pt x="1920" y="1248"/>
                </a:lnTo>
                <a:lnTo>
                  <a:pt x="1918" y="1243"/>
                </a:lnTo>
                <a:lnTo>
                  <a:pt x="1915" y="1231"/>
                </a:lnTo>
                <a:lnTo>
                  <a:pt x="1912" y="1224"/>
                </a:lnTo>
                <a:lnTo>
                  <a:pt x="1911" y="1223"/>
                </a:lnTo>
                <a:lnTo>
                  <a:pt x="1910" y="1222"/>
                </a:lnTo>
                <a:lnTo>
                  <a:pt x="1909" y="1221"/>
                </a:lnTo>
                <a:lnTo>
                  <a:pt x="1909" y="1218"/>
                </a:lnTo>
                <a:lnTo>
                  <a:pt x="1908" y="1214"/>
                </a:lnTo>
                <a:lnTo>
                  <a:pt x="1908" y="1209"/>
                </a:lnTo>
                <a:lnTo>
                  <a:pt x="1898" y="1199"/>
                </a:lnTo>
                <a:lnTo>
                  <a:pt x="1898" y="1196"/>
                </a:lnTo>
                <a:lnTo>
                  <a:pt x="1898" y="1193"/>
                </a:lnTo>
                <a:lnTo>
                  <a:pt x="1896" y="1190"/>
                </a:lnTo>
                <a:lnTo>
                  <a:pt x="1893" y="1189"/>
                </a:lnTo>
                <a:lnTo>
                  <a:pt x="1893" y="1175"/>
                </a:lnTo>
                <a:lnTo>
                  <a:pt x="1891" y="1165"/>
                </a:lnTo>
                <a:lnTo>
                  <a:pt x="1886" y="1142"/>
                </a:lnTo>
                <a:lnTo>
                  <a:pt x="1881" y="1118"/>
                </a:lnTo>
                <a:lnTo>
                  <a:pt x="1879" y="1102"/>
                </a:lnTo>
                <a:lnTo>
                  <a:pt x="1878" y="1093"/>
                </a:lnTo>
                <a:lnTo>
                  <a:pt x="1877" y="1083"/>
                </a:lnTo>
                <a:lnTo>
                  <a:pt x="1874" y="1072"/>
                </a:lnTo>
                <a:lnTo>
                  <a:pt x="1871" y="1061"/>
                </a:lnTo>
                <a:lnTo>
                  <a:pt x="1869" y="1050"/>
                </a:lnTo>
                <a:lnTo>
                  <a:pt x="1867" y="1037"/>
                </a:lnTo>
                <a:lnTo>
                  <a:pt x="1864" y="1026"/>
                </a:lnTo>
                <a:lnTo>
                  <a:pt x="1864" y="1015"/>
                </a:lnTo>
                <a:lnTo>
                  <a:pt x="1862" y="1015"/>
                </a:lnTo>
                <a:lnTo>
                  <a:pt x="1861" y="1013"/>
                </a:lnTo>
                <a:lnTo>
                  <a:pt x="1859" y="1011"/>
                </a:lnTo>
                <a:lnTo>
                  <a:pt x="1857" y="1007"/>
                </a:lnTo>
                <a:lnTo>
                  <a:pt x="1853" y="998"/>
                </a:lnTo>
                <a:lnTo>
                  <a:pt x="1850" y="988"/>
                </a:lnTo>
                <a:lnTo>
                  <a:pt x="1846" y="979"/>
                </a:lnTo>
                <a:lnTo>
                  <a:pt x="1842" y="971"/>
                </a:lnTo>
                <a:lnTo>
                  <a:pt x="1841" y="967"/>
                </a:lnTo>
                <a:lnTo>
                  <a:pt x="1839" y="965"/>
                </a:lnTo>
                <a:lnTo>
                  <a:pt x="1838" y="963"/>
                </a:lnTo>
                <a:lnTo>
                  <a:pt x="1835" y="963"/>
                </a:lnTo>
                <a:lnTo>
                  <a:pt x="1834" y="952"/>
                </a:lnTo>
                <a:lnTo>
                  <a:pt x="1831" y="939"/>
                </a:lnTo>
                <a:lnTo>
                  <a:pt x="1826" y="928"/>
                </a:lnTo>
                <a:lnTo>
                  <a:pt x="1821" y="916"/>
                </a:lnTo>
                <a:lnTo>
                  <a:pt x="1815" y="905"/>
                </a:lnTo>
                <a:lnTo>
                  <a:pt x="1811" y="892"/>
                </a:lnTo>
                <a:lnTo>
                  <a:pt x="1807" y="881"/>
                </a:lnTo>
                <a:lnTo>
                  <a:pt x="1806" y="870"/>
                </a:lnTo>
                <a:lnTo>
                  <a:pt x="1804" y="870"/>
                </a:lnTo>
                <a:lnTo>
                  <a:pt x="1803" y="868"/>
                </a:lnTo>
                <a:lnTo>
                  <a:pt x="1801" y="866"/>
                </a:lnTo>
                <a:lnTo>
                  <a:pt x="1800" y="862"/>
                </a:lnTo>
                <a:lnTo>
                  <a:pt x="1797" y="856"/>
                </a:lnTo>
                <a:lnTo>
                  <a:pt x="1796" y="851"/>
                </a:lnTo>
                <a:lnTo>
                  <a:pt x="1795" y="850"/>
                </a:lnTo>
                <a:lnTo>
                  <a:pt x="1794" y="849"/>
                </a:lnTo>
                <a:lnTo>
                  <a:pt x="1793" y="848"/>
                </a:lnTo>
                <a:lnTo>
                  <a:pt x="1792" y="846"/>
                </a:lnTo>
                <a:lnTo>
                  <a:pt x="1792" y="841"/>
                </a:lnTo>
                <a:lnTo>
                  <a:pt x="1792" y="837"/>
                </a:lnTo>
                <a:lnTo>
                  <a:pt x="1788" y="835"/>
                </a:lnTo>
                <a:lnTo>
                  <a:pt x="1787" y="833"/>
                </a:lnTo>
                <a:lnTo>
                  <a:pt x="1787" y="830"/>
                </a:lnTo>
                <a:lnTo>
                  <a:pt x="1787" y="827"/>
                </a:lnTo>
                <a:lnTo>
                  <a:pt x="1775" y="820"/>
                </a:lnTo>
                <a:lnTo>
                  <a:pt x="1767" y="812"/>
                </a:lnTo>
                <a:lnTo>
                  <a:pt x="1758" y="812"/>
                </a:lnTo>
                <a:lnTo>
                  <a:pt x="1753" y="802"/>
                </a:lnTo>
                <a:lnTo>
                  <a:pt x="1748" y="802"/>
                </a:lnTo>
                <a:lnTo>
                  <a:pt x="1744" y="800"/>
                </a:lnTo>
                <a:lnTo>
                  <a:pt x="1739" y="796"/>
                </a:lnTo>
                <a:lnTo>
                  <a:pt x="1736" y="793"/>
                </a:lnTo>
                <a:lnTo>
                  <a:pt x="1733" y="790"/>
                </a:lnTo>
                <a:lnTo>
                  <a:pt x="1728" y="786"/>
                </a:lnTo>
                <a:lnTo>
                  <a:pt x="1724" y="784"/>
                </a:lnTo>
                <a:lnTo>
                  <a:pt x="1719" y="783"/>
                </a:lnTo>
                <a:lnTo>
                  <a:pt x="1715" y="777"/>
                </a:lnTo>
                <a:lnTo>
                  <a:pt x="1706" y="770"/>
                </a:lnTo>
                <a:lnTo>
                  <a:pt x="1697" y="762"/>
                </a:lnTo>
                <a:lnTo>
                  <a:pt x="1690" y="758"/>
                </a:lnTo>
                <a:lnTo>
                  <a:pt x="1688" y="754"/>
                </a:lnTo>
                <a:lnTo>
                  <a:pt x="1685" y="750"/>
                </a:lnTo>
                <a:lnTo>
                  <a:pt x="1676" y="747"/>
                </a:lnTo>
                <a:lnTo>
                  <a:pt x="1666" y="744"/>
                </a:lnTo>
                <a:lnTo>
                  <a:pt x="1666" y="735"/>
                </a:lnTo>
                <a:lnTo>
                  <a:pt x="1656" y="735"/>
                </a:lnTo>
                <a:lnTo>
                  <a:pt x="1651" y="729"/>
                </a:lnTo>
                <a:lnTo>
                  <a:pt x="1649" y="725"/>
                </a:lnTo>
                <a:lnTo>
                  <a:pt x="1647" y="721"/>
                </a:lnTo>
                <a:lnTo>
                  <a:pt x="1637" y="721"/>
                </a:lnTo>
                <a:lnTo>
                  <a:pt x="1637" y="710"/>
                </a:lnTo>
                <a:lnTo>
                  <a:pt x="1632" y="706"/>
                </a:lnTo>
                <a:lnTo>
                  <a:pt x="1627" y="704"/>
                </a:lnTo>
                <a:lnTo>
                  <a:pt x="1622" y="700"/>
                </a:lnTo>
                <a:lnTo>
                  <a:pt x="1619" y="694"/>
                </a:lnTo>
                <a:lnTo>
                  <a:pt x="1610" y="683"/>
                </a:lnTo>
                <a:lnTo>
                  <a:pt x="1602" y="671"/>
                </a:lnTo>
                <a:lnTo>
                  <a:pt x="1598" y="667"/>
                </a:lnTo>
                <a:lnTo>
                  <a:pt x="1598" y="660"/>
                </a:lnTo>
                <a:lnTo>
                  <a:pt x="1596" y="654"/>
                </a:lnTo>
                <a:lnTo>
                  <a:pt x="1594" y="646"/>
                </a:lnTo>
                <a:lnTo>
                  <a:pt x="1591" y="638"/>
                </a:lnTo>
                <a:lnTo>
                  <a:pt x="1584" y="621"/>
                </a:lnTo>
                <a:lnTo>
                  <a:pt x="1576" y="603"/>
                </a:lnTo>
                <a:lnTo>
                  <a:pt x="1569" y="584"/>
                </a:lnTo>
                <a:lnTo>
                  <a:pt x="1561" y="567"/>
                </a:lnTo>
                <a:lnTo>
                  <a:pt x="1558" y="558"/>
                </a:lnTo>
                <a:lnTo>
                  <a:pt x="1556" y="549"/>
                </a:lnTo>
                <a:lnTo>
                  <a:pt x="1555" y="540"/>
                </a:lnTo>
                <a:lnTo>
                  <a:pt x="1554" y="532"/>
                </a:lnTo>
                <a:lnTo>
                  <a:pt x="1553" y="531"/>
                </a:lnTo>
                <a:lnTo>
                  <a:pt x="1552" y="527"/>
                </a:lnTo>
                <a:lnTo>
                  <a:pt x="1551" y="524"/>
                </a:lnTo>
                <a:lnTo>
                  <a:pt x="1551" y="519"/>
                </a:lnTo>
                <a:lnTo>
                  <a:pt x="1550" y="508"/>
                </a:lnTo>
                <a:lnTo>
                  <a:pt x="1550" y="503"/>
                </a:lnTo>
                <a:lnTo>
                  <a:pt x="1545" y="495"/>
                </a:lnTo>
                <a:lnTo>
                  <a:pt x="1539" y="483"/>
                </a:lnTo>
                <a:lnTo>
                  <a:pt x="1528" y="484"/>
                </a:lnTo>
                <a:lnTo>
                  <a:pt x="1517" y="485"/>
                </a:lnTo>
                <a:lnTo>
                  <a:pt x="1506" y="487"/>
                </a:lnTo>
                <a:lnTo>
                  <a:pt x="1495" y="491"/>
                </a:lnTo>
                <a:lnTo>
                  <a:pt x="1484" y="493"/>
                </a:lnTo>
                <a:lnTo>
                  <a:pt x="1473" y="495"/>
                </a:lnTo>
                <a:lnTo>
                  <a:pt x="1462" y="497"/>
                </a:lnTo>
                <a:lnTo>
                  <a:pt x="1452" y="497"/>
                </a:lnTo>
                <a:lnTo>
                  <a:pt x="1451" y="502"/>
                </a:lnTo>
                <a:lnTo>
                  <a:pt x="1449" y="505"/>
                </a:lnTo>
                <a:lnTo>
                  <a:pt x="1443" y="508"/>
                </a:lnTo>
                <a:lnTo>
                  <a:pt x="1438" y="510"/>
                </a:lnTo>
                <a:lnTo>
                  <a:pt x="1421" y="513"/>
                </a:lnTo>
                <a:lnTo>
                  <a:pt x="1403" y="514"/>
                </a:lnTo>
                <a:lnTo>
                  <a:pt x="1366" y="513"/>
                </a:lnTo>
                <a:lnTo>
                  <a:pt x="1346" y="512"/>
                </a:lnTo>
                <a:lnTo>
                  <a:pt x="1342" y="503"/>
                </a:lnTo>
                <a:lnTo>
                  <a:pt x="1331" y="502"/>
                </a:lnTo>
                <a:lnTo>
                  <a:pt x="1322" y="500"/>
                </a:lnTo>
                <a:lnTo>
                  <a:pt x="1313" y="498"/>
                </a:lnTo>
                <a:lnTo>
                  <a:pt x="1303" y="497"/>
                </a:lnTo>
                <a:lnTo>
                  <a:pt x="1299" y="495"/>
                </a:lnTo>
                <a:lnTo>
                  <a:pt x="1293" y="491"/>
                </a:lnTo>
                <a:lnTo>
                  <a:pt x="1283" y="485"/>
                </a:lnTo>
                <a:lnTo>
                  <a:pt x="1270" y="478"/>
                </a:lnTo>
                <a:lnTo>
                  <a:pt x="1257" y="473"/>
                </a:lnTo>
                <a:lnTo>
                  <a:pt x="1246" y="468"/>
                </a:lnTo>
                <a:lnTo>
                  <a:pt x="1236" y="465"/>
                </a:lnTo>
                <a:lnTo>
                  <a:pt x="1230" y="464"/>
                </a:lnTo>
                <a:lnTo>
                  <a:pt x="1229" y="462"/>
                </a:lnTo>
                <a:lnTo>
                  <a:pt x="1228" y="460"/>
                </a:lnTo>
                <a:lnTo>
                  <a:pt x="1227" y="460"/>
                </a:lnTo>
                <a:lnTo>
                  <a:pt x="1225" y="459"/>
                </a:lnTo>
                <a:lnTo>
                  <a:pt x="1220" y="459"/>
                </a:lnTo>
                <a:lnTo>
                  <a:pt x="1216" y="459"/>
                </a:lnTo>
                <a:lnTo>
                  <a:pt x="1216" y="449"/>
                </a:lnTo>
                <a:lnTo>
                  <a:pt x="1211" y="448"/>
                </a:lnTo>
                <a:lnTo>
                  <a:pt x="1207" y="446"/>
                </a:lnTo>
                <a:lnTo>
                  <a:pt x="1202" y="443"/>
                </a:lnTo>
                <a:lnTo>
                  <a:pt x="1201" y="439"/>
                </a:lnTo>
                <a:lnTo>
                  <a:pt x="1191" y="439"/>
                </a:lnTo>
                <a:lnTo>
                  <a:pt x="1187" y="430"/>
                </a:lnTo>
                <a:lnTo>
                  <a:pt x="1183" y="429"/>
                </a:lnTo>
                <a:lnTo>
                  <a:pt x="1180" y="429"/>
                </a:lnTo>
                <a:lnTo>
                  <a:pt x="1178" y="428"/>
                </a:lnTo>
                <a:lnTo>
                  <a:pt x="1177" y="425"/>
                </a:lnTo>
                <a:lnTo>
                  <a:pt x="1162" y="425"/>
                </a:lnTo>
                <a:lnTo>
                  <a:pt x="1162" y="424"/>
                </a:lnTo>
                <a:lnTo>
                  <a:pt x="1160" y="421"/>
                </a:lnTo>
                <a:lnTo>
                  <a:pt x="1158" y="420"/>
                </a:lnTo>
                <a:lnTo>
                  <a:pt x="1154" y="418"/>
                </a:lnTo>
                <a:lnTo>
                  <a:pt x="1148" y="416"/>
                </a:lnTo>
                <a:lnTo>
                  <a:pt x="1143" y="416"/>
                </a:lnTo>
                <a:lnTo>
                  <a:pt x="1135" y="410"/>
                </a:lnTo>
                <a:lnTo>
                  <a:pt x="1129" y="406"/>
                </a:lnTo>
                <a:lnTo>
                  <a:pt x="1114" y="406"/>
                </a:lnTo>
                <a:lnTo>
                  <a:pt x="1112" y="400"/>
                </a:lnTo>
                <a:lnTo>
                  <a:pt x="1109" y="396"/>
                </a:lnTo>
                <a:lnTo>
                  <a:pt x="1100" y="396"/>
                </a:lnTo>
                <a:lnTo>
                  <a:pt x="1090" y="387"/>
                </a:lnTo>
                <a:lnTo>
                  <a:pt x="1080" y="377"/>
                </a:lnTo>
                <a:lnTo>
                  <a:pt x="1075" y="375"/>
                </a:lnTo>
                <a:lnTo>
                  <a:pt x="1068" y="369"/>
                </a:lnTo>
                <a:lnTo>
                  <a:pt x="1063" y="362"/>
                </a:lnTo>
                <a:lnTo>
                  <a:pt x="1061" y="357"/>
                </a:lnTo>
                <a:lnTo>
                  <a:pt x="1056" y="354"/>
                </a:lnTo>
                <a:lnTo>
                  <a:pt x="1051" y="352"/>
                </a:lnTo>
                <a:lnTo>
                  <a:pt x="1048" y="346"/>
                </a:lnTo>
                <a:lnTo>
                  <a:pt x="1046" y="338"/>
                </a:lnTo>
                <a:lnTo>
                  <a:pt x="1042" y="333"/>
                </a:lnTo>
                <a:lnTo>
                  <a:pt x="1037" y="332"/>
                </a:lnTo>
                <a:lnTo>
                  <a:pt x="1033" y="330"/>
                </a:lnTo>
                <a:lnTo>
                  <a:pt x="1028" y="327"/>
                </a:lnTo>
                <a:lnTo>
                  <a:pt x="1027" y="323"/>
                </a:lnTo>
                <a:lnTo>
                  <a:pt x="1017" y="323"/>
                </a:lnTo>
                <a:lnTo>
                  <a:pt x="1016" y="320"/>
                </a:lnTo>
                <a:lnTo>
                  <a:pt x="1014" y="317"/>
                </a:lnTo>
                <a:lnTo>
                  <a:pt x="1011" y="314"/>
                </a:lnTo>
                <a:lnTo>
                  <a:pt x="1007" y="313"/>
                </a:lnTo>
                <a:lnTo>
                  <a:pt x="1000" y="305"/>
                </a:lnTo>
                <a:lnTo>
                  <a:pt x="993" y="294"/>
                </a:lnTo>
                <a:lnTo>
                  <a:pt x="987" y="290"/>
                </a:lnTo>
                <a:lnTo>
                  <a:pt x="978" y="284"/>
                </a:lnTo>
                <a:lnTo>
                  <a:pt x="978" y="275"/>
                </a:lnTo>
                <a:lnTo>
                  <a:pt x="976" y="274"/>
                </a:lnTo>
                <a:lnTo>
                  <a:pt x="975" y="272"/>
                </a:lnTo>
                <a:lnTo>
                  <a:pt x="974" y="269"/>
                </a:lnTo>
                <a:lnTo>
                  <a:pt x="974" y="265"/>
                </a:lnTo>
                <a:lnTo>
                  <a:pt x="972" y="265"/>
                </a:lnTo>
                <a:lnTo>
                  <a:pt x="970" y="264"/>
                </a:lnTo>
                <a:lnTo>
                  <a:pt x="970" y="262"/>
                </a:lnTo>
                <a:lnTo>
                  <a:pt x="969" y="260"/>
                </a:lnTo>
                <a:lnTo>
                  <a:pt x="969" y="255"/>
                </a:lnTo>
                <a:lnTo>
                  <a:pt x="969" y="251"/>
                </a:lnTo>
                <a:lnTo>
                  <a:pt x="959" y="251"/>
                </a:lnTo>
                <a:lnTo>
                  <a:pt x="959" y="241"/>
                </a:lnTo>
                <a:lnTo>
                  <a:pt x="955" y="238"/>
                </a:lnTo>
                <a:lnTo>
                  <a:pt x="949" y="236"/>
                </a:lnTo>
                <a:lnTo>
                  <a:pt x="949" y="226"/>
                </a:lnTo>
                <a:lnTo>
                  <a:pt x="940" y="222"/>
                </a:lnTo>
                <a:lnTo>
                  <a:pt x="940" y="215"/>
                </a:lnTo>
                <a:lnTo>
                  <a:pt x="940" y="207"/>
                </a:lnTo>
                <a:lnTo>
                  <a:pt x="938" y="207"/>
                </a:lnTo>
                <a:lnTo>
                  <a:pt x="937" y="206"/>
                </a:lnTo>
                <a:lnTo>
                  <a:pt x="936" y="204"/>
                </a:lnTo>
                <a:lnTo>
                  <a:pt x="936" y="202"/>
                </a:lnTo>
                <a:lnTo>
                  <a:pt x="934" y="197"/>
                </a:lnTo>
                <a:lnTo>
                  <a:pt x="934" y="193"/>
                </a:lnTo>
                <a:lnTo>
                  <a:pt x="932" y="192"/>
                </a:lnTo>
                <a:lnTo>
                  <a:pt x="931" y="189"/>
                </a:lnTo>
                <a:lnTo>
                  <a:pt x="930" y="187"/>
                </a:lnTo>
                <a:lnTo>
                  <a:pt x="930" y="183"/>
                </a:lnTo>
                <a:lnTo>
                  <a:pt x="928" y="183"/>
                </a:lnTo>
                <a:lnTo>
                  <a:pt x="927" y="180"/>
                </a:lnTo>
                <a:lnTo>
                  <a:pt x="924" y="177"/>
                </a:lnTo>
                <a:lnTo>
                  <a:pt x="923" y="173"/>
                </a:lnTo>
                <a:lnTo>
                  <a:pt x="921" y="165"/>
                </a:lnTo>
                <a:lnTo>
                  <a:pt x="920" y="159"/>
                </a:lnTo>
                <a:lnTo>
                  <a:pt x="915" y="147"/>
                </a:lnTo>
                <a:lnTo>
                  <a:pt x="911" y="135"/>
                </a:lnTo>
                <a:lnTo>
                  <a:pt x="910" y="125"/>
                </a:lnTo>
                <a:lnTo>
                  <a:pt x="910" y="111"/>
                </a:lnTo>
                <a:lnTo>
                  <a:pt x="908" y="106"/>
                </a:lnTo>
                <a:lnTo>
                  <a:pt x="907" y="100"/>
                </a:lnTo>
                <a:lnTo>
                  <a:pt x="904" y="97"/>
                </a:lnTo>
                <a:lnTo>
                  <a:pt x="901" y="96"/>
                </a:lnTo>
                <a:lnTo>
                  <a:pt x="900" y="90"/>
                </a:lnTo>
                <a:lnTo>
                  <a:pt x="898" y="82"/>
                </a:lnTo>
                <a:lnTo>
                  <a:pt x="897" y="78"/>
                </a:lnTo>
                <a:lnTo>
                  <a:pt x="894" y="74"/>
                </a:lnTo>
                <a:lnTo>
                  <a:pt x="893" y="72"/>
                </a:lnTo>
                <a:lnTo>
                  <a:pt x="891" y="72"/>
                </a:lnTo>
                <a:lnTo>
                  <a:pt x="891" y="58"/>
                </a:lnTo>
                <a:lnTo>
                  <a:pt x="882" y="48"/>
                </a:lnTo>
                <a:lnTo>
                  <a:pt x="882" y="38"/>
                </a:lnTo>
                <a:lnTo>
                  <a:pt x="872" y="38"/>
                </a:lnTo>
                <a:lnTo>
                  <a:pt x="870" y="41"/>
                </a:lnTo>
                <a:lnTo>
                  <a:pt x="866" y="44"/>
                </a:lnTo>
                <a:lnTo>
                  <a:pt x="862" y="46"/>
                </a:lnTo>
                <a:lnTo>
                  <a:pt x="857" y="48"/>
                </a:lnTo>
                <a:lnTo>
                  <a:pt x="856" y="51"/>
                </a:lnTo>
                <a:lnTo>
                  <a:pt x="855" y="53"/>
                </a:lnTo>
                <a:lnTo>
                  <a:pt x="853" y="56"/>
                </a:lnTo>
                <a:lnTo>
                  <a:pt x="850" y="58"/>
                </a:lnTo>
                <a:lnTo>
                  <a:pt x="842" y="61"/>
                </a:lnTo>
                <a:lnTo>
                  <a:pt x="833" y="64"/>
                </a:lnTo>
                <a:lnTo>
                  <a:pt x="824" y="67"/>
                </a:lnTo>
                <a:lnTo>
                  <a:pt x="816" y="69"/>
                </a:lnTo>
                <a:lnTo>
                  <a:pt x="814" y="70"/>
                </a:lnTo>
                <a:lnTo>
                  <a:pt x="811" y="72"/>
                </a:lnTo>
                <a:lnTo>
                  <a:pt x="809" y="74"/>
                </a:lnTo>
                <a:lnTo>
                  <a:pt x="809" y="77"/>
                </a:lnTo>
                <a:lnTo>
                  <a:pt x="692" y="81"/>
                </a:lnTo>
                <a:lnTo>
                  <a:pt x="692" y="79"/>
                </a:lnTo>
                <a:lnTo>
                  <a:pt x="690" y="77"/>
                </a:lnTo>
                <a:lnTo>
                  <a:pt x="687" y="77"/>
                </a:lnTo>
                <a:lnTo>
                  <a:pt x="683" y="77"/>
                </a:lnTo>
                <a:lnTo>
                  <a:pt x="663" y="58"/>
                </a:lnTo>
                <a:lnTo>
                  <a:pt x="654" y="58"/>
                </a:lnTo>
                <a:lnTo>
                  <a:pt x="654" y="50"/>
                </a:lnTo>
                <a:lnTo>
                  <a:pt x="654" y="43"/>
                </a:lnTo>
                <a:lnTo>
                  <a:pt x="652" y="42"/>
                </a:lnTo>
                <a:lnTo>
                  <a:pt x="651" y="41"/>
                </a:lnTo>
                <a:lnTo>
                  <a:pt x="650" y="40"/>
                </a:lnTo>
                <a:lnTo>
                  <a:pt x="650" y="38"/>
                </a:lnTo>
                <a:lnTo>
                  <a:pt x="649" y="32"/>
                </a:lnTo>
                <a:lnTo>
                  <a:pt x="649" y="29"/>
                </a:lnTo>
                <a:lnTo>
                  <a:pt x="644" y="23"/>
                </a:lnTo>
                <a:lnTo>
                  <a:pt x="640" y="19"/>
                </a:lnTo>
                <a:lnTo>
                  <a:pt x="630" y="19"/>
                </a:lnTo>
                <a:lnTo>
                  <a:pt x="629" y="16"/>
                </a:lnTo>
                <a:lnTo>
                  <a:pt x="627" y="15"/>
                </a:lnTo>
                <a:lnTo>
                  <a:pt x="624" y="15"/>
                </a:lnTo>
                <a:lnTo>
                  <a:pt x="621" y="14"/>
                </a:lnTo>
                <a:lnTo>
                  <a:pt x="612" y="14"/>
                </a:lnTo>
                <a:lnTo>
                  <a:pt x="601" y="15"/>
                </a:lnTo>
                <a:lnTo>
                  <a:pt x="581" y="17"/>
                </a:lnTo>
                <a:lnTo>
                  <a:pt x="572" y="19"/>
                </a:lnTo>
                <a:lnTo>
                  <a:pt x="555" y="17"/>
                </a:lnTo>
                <a:lnTo>
                  <a:pt x="536" y="16"/>
                </a:lnTo>
                <a:lnTo>
                  <a:pt x="518" y="14"/>
                </a:lnTo>
                <a:lnTo>
                  <a:pt x="504" y="14"/>
                </a:lnTo>
                <a:lnTo>
                  <a:pt x="499" y="11"/>
                </a:lnTo>
                <a:lnTo>
                  <a:pt x="491" y="7"/>
                </a:lnTo>
                <a:lnTo>
                  <a:pt x="481" y="5"/>
                </a:lnTo>
                <a:lnTo>
                  <a:pt x="471" y="3"/>
                </a:lnTo>
                <a:lnTo>
                  <a:pt x="450" y="0"/>
                </a:lnTo>
                <a:lnTo>
                  <a:pt x="431" y="0"/>
                </a:lnTo>
                <a:lnTo>
                  <a:pt x="431" y="1"/>
                </a:lnTo>
                <a:lnTo>
                  <a:pt x="429" y="2"/>
                </a:lnTo>
                <a:lnTo>
                  <a:pt x="427" y="3"/>
                </a:lnTo>
                <a:lnTo>
                  <a:pt x="423" y="4"/>
                </a:lnTo>
                <a:lnTo>
                  <a:pt x="415" y="6"/>
                </a:lnTo>
                <a:lnTo>
                  <a:pt x="408" y="8"/>
                </a:lnTo>
                <a:close/>
              </a:path>
            </a:pathLst>
          </a:cu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80" name="Freeform 41">
            <a:extLst>
              <a:ext uri="{FF2B5EF4-FFF2-40B4-BE49-F238E27FC236}">
                <a16:creationId xmlns:a16="http://schemas.microsoft.com/office/drawing/2014/main" id="{00D4DC70-BD18-4814-8BE8-5A7F491FF4BE}"/>
              </a:ext>
            </a:extLst>
          </p:cNvPr>
          <p:cNvSpPr>
            <a:spLocks noChangeAspect="1" noEditPoints="1"/>
          </p:cNvSpPr>
          <p:nvPr/>
        </p:nvSpPr>
        <p:spPr bwMode="gray">
          <a:xfrm rot="355651">
            <a:off x="7067550" y="3159125"/>
            <a:ext cx="320736" cy="163513"/>
          </a:xfrm>
          <a:custGeom>
            <a:avLst/>
            <a:gdLst/>
            <a:ahLst/>
            <a:cxnLst>
              <a:cxn ang="0">
                <a:pos x="154" y="208"/>
              </a:cxn>
              <a:cxn ang="0">
                <a:pos x="389" y="208"/>
              </a:cxn>
              <a:cxn ang="0">
                <a:pos x="424" y="189"/>
              </a:cxn>
              <a:cxn ang="0">
                <a:pos x="451" y="176"/>
              </a:cxn>
              <a:cxn ang="0">
                <a:pos x="491" y="164"/>
              </a:cxn>
              <a:cxn ang="0">
                <a:pos x="574" y="131"/>
              </a:cxn>
              <a:cxn ang="0">
                <a:pos x="615" y="109"/>
              </a:cxn>
              <a:cxn ang="0">
                <a:pos x="639" y="23"/>
              </a:cxn>
              <a:cxn ang="0">
                <a:pos x="657" y="11"/>
              </a:cxn>
              <a:cxn ang="0">
                <a:pos x="759" y="0"/>
              </a:cxn>
              <a:cxn ang="0">
                <a:pos x="885" y="11"/>
              </a:cxn>
              <a:cxn ang="0">
                <a:pos x="952" y="28"/>
              </a:cxn>
              <a:cxn ang="0">
                <a:pos x="974" y="38"/>
              </a:cxn>
              <a:cxn ang="0">
                <a:pos x="1007" y="51"/>
              </a:cxn>
              <a:cxn ang="0">
                <a:pos x="1028" y="67"/>
              </a:cxn>
              <a:cxn ang="0">
                <a:pos x="1057" y="90"/>
              </a:cxn>
              <a:cxn ang="0">
                <a:pos x="1080" y="103"/>
              </a:cxn>
              <a:cxn ang="0">
                <a:pos x="1214" y="133"/>
              </a:cxn>
              <a:cxn ang="0">
                <a:pos x="1269" y="183"/>
              </a:cxn>
              <a:cxn ang="0">
                <a:pos x="1299" y="219"/>
              </a:cxn>
              <a:cxn ang="0">
                <a:pos x="1319" y="231"/>
              </a:cxn>
              <a:cxn ang="0">
                <a:pos x="1342" y="243"/>
              </a:cxn>
              <a:cxn ang="0">
                <a:pos x="1358" y="261"/>
              </a:cxn>
              <a:cxn ang="0">
                <a:pos x="1405" y="292"/>
              </a:cxn>
              <a:cxn ang="0">
                <a:pos x="1455" y="323"/>
              </a:cxn>
              <a:cxn ang="0">
                <a:pos x="1506" y="352"/>
              </a:cxn>
              <a:cxn ang="0">
                <a:pos x="1548" y="377"/>
              </a:cxn>
              <a:cxn ang="0">
                <a:pos x="1596" y="462"/>
              </a:cxn>
              <a:cxn ang="0">
                <a:pos x="1611" y="540"/>
              </a:cxn>
              <a:cxn ang="0">
                <a:pos x="1578" y="573"/>
              </a:cxn>
              <a:cxn ang="0">
                <a:pos x="1573" y="699"/>
              </a:cxn>
              <a:cxn ang="0">
                <a:pos x="1595" y="719"/>
              </a:cxn>
              <a:cxn ang="0">
                <a:pos x="1713" y="741"/>
              </a:cxn>
              <a:cxn ang="0">
                <a:pos x="1752" y="879"/>
              </a:cxn>
              <a:cxn ang="0">
                <a:pos x="1700" y="1000"/>
              </a:cxn>
              <a:cxn ang="0">
                <a:pos x="1669" y="1013"/>
              </a:cxn>
              <a:cxn ang="0">
                <a:pos x="1450" y="992"/>
              </a:cxn>
              <a:cxn ang="0">
                <a:pos x="1183" y="954"/>
              </a:cxn>
              <a:cxn ang="0">
                <a:pos x="1128" y="934"/>
              </a:cxn>
              <a:cxn ang="0">
                <a:pos x="1085" y="911"/>
              </a:cxn>
              <a:cxn ang="0">
                <a:pos x="823" y="958"/>
              </a:cxn>
              <a:cxn ang="0">
                <a:pos x="752" y="962"/>
              </a:cxn>
              <a:cxn ang="0">
                <a:pos x="686" y="958"/>
              </a:cxn>
              <a:cxn ang="0">
                <a:pos x="649" y="965"/>
              </a:cxn>
              <a:cxn ang="0">
                <a:pos x="590" y="927"/>
              </a:cxn>
              <a:cxn ang="0">
                <a:pos x="486" y="895"/>
              </a:cxn>
              <a:cxn ang="0">
                <a:pos x="357" y="886"/>
              </a:cxn>
              <a:cxn ang="0">
                <a:pos x="254" y="860"/>
              </a:cxn>
              <a:cxn ang="0">
                <a:pos x="224" y="804"/>
              </a:cxn>
              <a:cxn ang="0">
                <a:pos x="185" y="735"/>
              </a:cxn>
              <a:cxn ang="0">
                <a:pos x="161" y="670"/>
              </a:cxn>
              <a:cxn ang="0">
                <a:pos x="138" y="604"/>
              </a:cxn>
              <a:cxn ang="0">
                <a:pos x="109" y="565"/>
              </a:cxn>
              <a:cxn ang="0">
                <a:pos x="146" y="490"/>
              </a:cxn>
              <a:cxn ang="0">
                <a:pos x="169" y="454"/>
              </a:cxn>
              <a:cxn ang="0">
                <a:pos x="78" y="420"/>
              </a:cxn>
              <a:cxn ang="0">
                <a:pos x="5" y="353"/>
              </a:cxn>
              <a:cxn ang="0">
                <a:pos x="10" y="270"/>
              </a:cxn>
              <a:cxn ang="0">
                <a:pos x="21" y="231"/>
              </a:cxn>
            </a:cxnLst>
            <a:rect l="0" t="0" r="r" b="b"/>
            <a:pathLst>
              <a:path w="1764" h="1018">
                <a:moveTo>
                  <a:pt x="28" y="200"/>
                </a:moveTo>
                <a:lnTo>
                  <a:pt x="33" y="204"/>
                </a:lnTo>
                <a:lnTo>
                  <a:pt x="36" y="206"/>
                </a:lnTo>
                <a:lnTo>
                  <a:pt x="60" y="208"/>
                </a:lnTo>
                <a:lnTo>
                  <a:pt x="85" y="210"/>
                </a:lnTo>
                <a:lnTo>
                  <a:pt x="110" y="212"/>
                </a:lnTo>
                <a:lnTo>
                  <a:pt x="134" y="212"/>
                </a:lnTo>
                <a:lnTo>
                  <a:pt x="136" y="211"/>
                </a:lnTo>
                <a:lnTo>
                  <a:pt x="143" y="209"/>
                </a:lnTo>
                <a:lnTo>
                  <a:pt x="154" y="208"/>
                </a:lnTo>
                <a:lnTo>
                  <a:pt x="168" y="208"/>
                </a:lnTo>
                <a:lnTo>
                  <a:pt x="204" y="208"/>
                </a:lnTo>
                <a:lnTo>
                  <a:pt x="248" y="208"/>
                </a:lnTo>
                <a:lnTo>
                  <a:pt x="291" y="210"/>
                </a:lnTo>
                <a:lnTo>
                  <a:pt x="331" y="211"/>
                </a:lnTo>
                <a:lnTo>
                  <a:pt x="364" y="212"/>
                </a:lnTo>
                <a:lnTo>
                  <a:pt x="384" y="212"/>
                </a:lnTo>
                <a:lnTo>
                  <a:pt x="384" y="211"/>
                </a:lnTo>
                <a:lnTo>
                  <a:pt x="386" y="209"/>
                </a:lnTo>
                <a:lnTo>
                  <a:pt x="389" y="208"/>
                </a:lnTo>
                <a:lnTo>
                  <a:pt x="394" y="208"/>
                </a:lnTo>
                <a:lnTo>
                  <a:pt x="402" y="206"/>
                </a:lnTo>
                <a:lnTo>
                  <a:pt x="408" y="206"/>
                </a:lnTo>
                <a:lnTo>
                  <a:pt x="414" y="201"/>
                </a:lnTo>
                <a:lnTo>
                  <a:pt x="420" y="194"/>
                </a:lnTo>
                <a:lnTo>
                  <a:pt x="421" y="191"/>
                </a:lnTo>
                <a:lnTo>
                  <a:pt x="421" y="189"/>
                </a:lnTo>
                <a:lnTo>
                  <a:pt x="422" y="189"/>
                </a:lnTo>
                <a:lnTo>
                  <a:pt x="423" y="189"/>
                </a:lnTo>
                <a:lnTo>
                  <a:pt x="424" y="189"/>
                </a:lnTo>
                <a:lnTo>
                  <a:pt x="425" y="187"/>
                </a:lnTo>
                <a:lnTo>
                  <a:pt x="426" y="185"/>
                </a:lnTo>
                <a:lnTo>
                  <a:pt x="426" y="182"/>
                </a:lnTo>
                <a:lnTo>
                  <a:pt x="438" y="182"/>
                </a:lnTo>
                <a:lnTo>
                  <a:pt x="438" y="180"/>
                </a:lnTo>
                <a:lnTo>
                  <a:pt x="440" y="179"/>
                </a:lnTo>
                <a:lnTo>
                  <a:pt x="441" y="177"/>
                </a:lnTo>
                <a:lnTo>
                  <a:pt x="442" y="176"/>
                </a:lnTo>
                <a:lnTo>
                  <a:pt x="446" y="176"/>
                </a:lnTo>
                <a:lnTo>
                  <a:pt x="451" y="176"/>
                </a:lnTo>
                <a:lnTo>
                  <a:pt x="452" y="174"/>
                </a:lnTo>
                <a:lnTo>
                  <a:pt x="454" y="173"/>
                </a:lnTo>
                <a:lnTo>
                  <a:pt x="459" y="172"/>
                </a:lnTo>
                <a:lnTo>
                  <a:pt x="463" y="171"/>
                </a:lnTo>
                <a:lnTo>
                  <a:pt x="473" y="170"/>
                </a:lnTo>
                <a:lnTo>
                  <a:pt x="481" y="170"/>
                </a:lnTo>
                <a:lnTo>
                  <a:pt x="482" y="167"/>
                </a:lnTo>
                <a:lnTo>
                  <a:pt x="484" y="166"/>
                </a:lnTo>
                <a:lnTo>
                  <a:pt x="488" y="165"/>
                </a:lnTo>
                <a:lnTo>
                  <a:pt x="491" y="164"/>
                </a:lnTo>
                <a:lnTo>
                  <a:pt x="499" y="164"/>
                </a:lnTo>
                <a:lnTo>
                  <a:pt x="505" y="164"/>
                </a:lnTo>
                <a:lnTo>
                  <a:pt x="513" y="160"/>
                </a:lnTo>
                <a:lnTo>
                  <a:pt x="530" y="152"/>
                </a:lnTo>
                <a:lnTo>
                  <a:pt x="549" y="143"/>
                </a:lnTo>
                <a:lnTo>
                  <a:pt x="560" y="140"/>
                </a:lnTo>
                <a:lnTo>
                  <a:pt x="561" y="137"/>
                </a:lnTo>
                <a:lnTo>
                  <a:pt x="565" y="135"/>
                </a:lnTo>
                <a:lnTo>
                  <a:pt x="568" y="133"/>
                </a:lnTo>
                <a:lnTo>
                  <a:pt x="574" y="131"/>
                </a:lnTo>
                <a:lnTo>
                  <a:pt x="584" y="128"/>
                </a:lnTo>
                <a:lnTo>
                  <a:pt x="590" y="127"/>
                </a:lnTo>
                <a:lnTo>
                  <a:pt x="591" y="125"/>
                </a:lnTo>
                <a:lnTo>
                  <a:pt x="591" y="124"/>
                </a:lnTo>
                <a:lnTo>
                  <a:pt x="593" y="123"/>
                </a:lnTo>
                <a:lnTo>
                  <a:pt x="595" y="122"/>
                </a:lnTo>
                <a:lnTo>
                  <a:pt x="598" y="122"/>
                </a:lnTo>
                <a:lnTo>
                  <a:pt x="603" y="122"/>
                </a:lnTo>
                <a:lnTo>
                  <a:pt x="609" y="115"/>
                </a:lnTo>
                <a:lnTo>
                  <a:pt x="615" y="109"/>
                </a:lnTo>
                <a:lnTo>
                  <a:pt x="615" y="99"/>
                </a:lnTo>
                <a:lnTo>
                  <a:pt x="615" y="90"/>
                </a:lnTo>
                <a:lnTo>
                  <a:pt x="617" y="88"/>
                </a:lnTo>
                <a:lnTo>
                  <a:pt x="618" y="83"/>
                </a:lnTo>
                <a:lnTo>
                  <a:pt x="619" y="73"/>
                </a:lnTo>
                <a:lnTo>
                  <a:pt x="620" y="62"/>
                </a:lnTo>
                <a:lnTo>
                  <a:pt x="622" y="42"/>
                </a:lnTo>
                <a:lnTo>
                  <a:pt x="622" y="30"/>
                </a:lnTo>
                <a:lnTo>
                  <a:pt x="634" y="30"/>
                </a:lnTo>
                <a:lnTo>
                  <a:pt x="639" y="23"/>
                </a:lnTo>
                <a:lnTo>
                  <a:pt x="639" y="20"/>
                </a:lnTo>
                <a:lnTo>
                  <a:pt x="641" y="18"/>
                </a:lnTo>
                <a:lnTo>
                  <a:pt x="642" y="18"/>
                </a:lnTo>
                <a:lnTo>
                  <a:pt x="643" y="18"/>
                </a:lnTo>
                <a:lnTo>
                  <a:pt x="644" y="18"/>
                </a:lnTo>
                <a:lnTo>
                  <a:pt x="645" y="17"/>
                </a:lnTo>
                <a:lnTo>
                  <a:pt x="645" y="15"/>
                </a:lnTo>
                <a:lnTo>
                  <a:pt x="645" y="11"/>
                </a:lnTo>
                <a:lnTo>
                  <a:pt x="651" y="11"/>
                </a:lnTo>
                <a:lnTo>
                  <a:pt x="657" y="11"/>
                </a:lnTo>
                <a:lnTo>
                  <a:pt x="660" y="10"/>
                </a:lnTo>
                <a:lnTo>
                  <a:pt x="662" y="9"/>
                </a:lnTo>
                <a:lnTo>
                  <a:pt x="663" y="8"/>
                </a:lnTo>
                <a:lnTo>
                  <a:pt x="664" y="6"/>
                </a:lnTo>
                <a:lnTo>
                  <a:pt x="706" y="6"/>
                </a:lnTo>
                <a:lnTo>
                  <a:pt x="709" y="3"/>
                </a:lnTo>
                <a:lnTo>
                  <a:pt x="713" y="2"/>
                </a:lnTo>
                <a:lnTo>
                  <a:pt x="722" y="1"/>
                </a:lnTo>
                <a:lnTo>
                  <a:pt x="732" y="0"/>
                </a:lnTo>
                <a:lnTo>
                  <a:pt x="759" y="0"/>
                </a:lnTo>
                <a:lnTo>
                  <a:pt x="789" y="1"/>
                </a:lnTo>
                <a:lnTo>
                  <a:pt x="820" y="2"/>
                </a:lnTo>
                <a:lnTo>
                  <a:pt x="848" y="3"/>
                </a:lnTo>
                <a:lnTo>
                  <a:pt x="868" y="4"/>
                </a:lnTo>
                <a:lnTo>
                  <a:pt x="877" y="6"/>
                </a:lnTo>
                <a:lnTo>
                  <a:pt x="877" y="8"/>
                </a:lnTo>
                <a:lnTo>
                  <a:pt x="878" y="9"/>
                </a:lnTo>
                <a:lnTo>
                  <a:pt x="879" y="10"/>
                </a:lnTo>
                <a:lnTo>
                  <a:pt x="881" y="11"/>
                </a:lnTo>
                <a:lnTo>
                  <a:pt x="885" y="11"/>
                </a:lnTo>
                <a:lnTo>
                  <a:pt x="889" y="11"/>
                </a:lnTo>
                <a:lnTo>
                  <a:pt x="892" y="13"/>
                </a:lnTo>
                <a:lnTo>
                  <a:pt x="897" y="16"/>
                </a:lnTo>
                <a:lnTo>
                  <a:pt x="905" y="18"/>
                </a:lnTo>
                <a:lnTo>
                  <a:pt x="915" y="20"/>
                </a:lnTo>
                <a:lnTo>
                  <a:pt x="935" y="22"/>
                </a:lnTo>
                <a:lnTo>
                  <a:pt x="950" y="23"/>
                </a:lnTo>
                <a:lnTo>
                  <a:pt x="951" y="26"/>
                </a:lnTo>
                <a:lnTo>
                  <a:pt x="951" y="27"/>
                </a:lnTo>
                <a:lnTo>
                  <a:pt x="952" y="28"/>
                </a:lnTo>
                <a:lnTo>
                  <a:pt x="954" y="29"/>
                </a:lnTo>
                <a:lnTo>
                  <a:pt x="958" y="30"/>
                </a:lnTo>
                <a:lnTo>
                  <a:pt x="962" y="30"/>
                </a:lnTo>
                <a:lnTo>
                  <a:pt x="963" y="33"/>
                </a:lnTo>
                <a:lnTo>
                  <a:pt x="964" y="35"/>
                </a:lnTo>
                <a:lnTo>
                  <a:pt x="967" y="36"/>
                </a:lnTo>
                <a:lnTo>
                  <a:pt x="969" y="36"/>
                </a:lnTo>
                <a:lnTo>
                  <a:pt x="971" y="36"/>
                </a:lnTo>
                <a:lnTo>
                  <a:pt x="973" y="37"/>
                </a:lnTo>
                <a:lnTo>
                  <a:pt x="974" y="38"/>
                </a:lnTo>
                <a:lnTo>
                  <a:pt x="974" y="42"/>
                </a:lnTo>
                <a:lnTo>
                  <a:pt x="993" y="42"/>
                </a:lnTo>
                <a:lnTo>
                  <a:pt x="993" y="44"/>
                </a:lnTo>
                <a:lnTo>
                  <a:pt x="994" y="46"/>
                </a:lnTo>
                <a:lnTo>
                  <a:pt x="996" y="47"/>
                </a:lnTo>
                <a:lnTo>
                  <a:pt x="997" y="47"/>
                </a:lnTo>
                <a:lnTo>
                  <a:pt x="1001" y="48"/>
                </a:lnTo>
                <a:lnTo>
                  <a:pt x="1006" y="48"/>
                </a:lnTo>
                <a:lnTo>
                  <a:pt x="1006" y="50"/>
                </a:lnTo>
                <a:lnTo>
                  <a:pt x="1007" y="51"/>
                </a:lnTo>
                <a:lnTo>
                  <a:pt x="1008" y="52"/>
                </a:lnTo>
                <a:lnTo>
                  <a:pt x="1009" y="54"/>
                </a:lnTo>
                <a:lnTo>
                  <a:pt x="1013" y="54"/>
                </a:lnTo>
                <a:lnTo>
                  <a:pt x="1018" y="55"/>
                </a:lnTo>
                <a:lnTo>
                  <a:pt x="1023" y="60"/>
                </a:lnTo>
                <a:lnTo>
                  <a:pt x="1023" y="64"/>
                </a:lnTo>
                <a:lnTo>
                  <a:pt x="1025" y="66"/>
                </a:lnTo>
                <a:lnTo>
                  <a:pt x="1026" y="66"/>
                </a:lnTo>
                <a:lnTo>
                  <a:pt x="1027" y="66"/>
                </a:lnTo>
                <a:lnTo>
                  <a:pt x="1028" y="67"/>
                </a:lnTo>
                <a:lnTo>
                  <a:pt x="1029" y="67"/>
                </a:lnTo>
                <a:lnTo>
                  <a:pt x="1029" y="69"/>
                </a:lnTo>
                <a:lnTo>
                  <a:pt x="1029" y="73"/>
                </a:lnTo>
                <a:lnTo>
                  <a:pt x="1039" y="76"/>
                </a:lnTo>
                <a:lnTo>
                  <a:pt x="1048" y="78"/>
                </a:lnTo>
                <a:lnTo>
                  <a:pt x="1054" y="85"/>
                </a:lnTo>
                <a:lnTo>
                  <a:pt x="1055" y="88"/>
                </a:lnTo>
                <a:lnTo>
                  <a:pt x="1055" y="90"/>
                </a:lnTo>
                <a:lnTo>
                  <a:pt x="1056" y="90"/>
                </a:lnTo>
                <a:lnTo>
                  <a:pt x="1057" y="90"/>
                </a:lnTo>
                <a:lnTo>
                  <a:pt x="1058" y="90"/>
                </a:lnTo>
                <a:lnTo>
                  <a:pt x="1059" y="92"/>
                </a:lnTo>
                <a:lnTo>
                  <a:pt x="1060" y="94"/>
                </a:lnTo>
                <a:lnTo>
                  <a:pt x="1060" y="97"/>
                </a:lnTo>
                <a:lnTo>
                  <a:pt x="1073" y="97"/>
                </a:lnTo>
                <a:lnTo>
                  <a:pt x="1073" y="99"/>
                </a:lnTo>
                <a:lnTo>
                  <a:pt x="1074" y="100"/>
                </a:lnTo>
                <a:lnTo>
                  <a:pt x="1075" y="102"/>
                </a:lnTo>
                <a:lnTo>
                  <a:pt x="1076" y="103"/>
                </a:lnTo>
                <a:lnTo>
                  <a:pt x="1080" y="103"/>
                </a:lnTo>
                <a:lnTo>
                  <a:pt x="1085" y="103"/>
                </a:lnTo>
                <a:lnTo>
                  <a:pt x="1090" y="115"/>
                </a:lnTo>
                <a:lnTo>
                  <a:pt x="1099" y="118"/>
                </a:lnTo>
                <a:lnTo>
                  <a:pt x="1108" y="122"/>
                </a:lnTo>
                <a:lnTo>
                  <a:pt x="1133" y="122"/>
                </a:lnTo>
                <a:lnTo>
                  <a:pt x="1145" y="125"/>
                </a:lnTo>
                <a:lnTo>
                  <a:pt x="1159" y="128"/>
                </a:lnTo>
                <a:lnTo>
                  <a:pt x="1172" y="131"/>
                </a:lnTo>
                <a:lnTo>
                  <a:pt x="1185" y="132"/>
                </a:lnTo>
                <a:lnTo>
                  <a:pt x="1214" y="133"/>
                </a:lnTo>
                <a:lnTo>
                  <a:pt x="1243" y="134"/>
                </a:lnTo>
                <a:lnTo>
                  <a:pt x="1244" y="138"/>
                </a:lnTo>
                <a:lnTo>
                  <a:pt x="1249" y="142"/>
                </a:lnTo>
                <a:lnTo>
                  <a:pt x="1253" y="144"/>
                </a:lnTo>
                <a:lnTo>
                  <a:pt x="1255" y="145"/>
                </a:lnTo>
                <a:lnTo>
                  <a:pt x="1257" y="155"/>
                </a:lnTo>
                <a:lnTo>
                  <a:pt x="1261" y="164"/>
                </a:lnTo>
                <a:lnTo>
                  <a:pt x="1266" y="173"/>
                </a:lnTo>
                <a:lnTo>
                  <a:pt x="1267" y="182"/>
                </a:lnTo>
                <a:lnTo>
                  <a:pt x="1269" y="183"/>
                </a:lnTo>
                <a:lnTo>
                  <a:pt x="1271" y="184"/>
                </a:lnTo>
                <a:lnTo>
                  <a:pt x="1273" y="186"/>
                </a:lnTo>
                <a:lnTo>
                  <a:pt x="1276" y="189"/>
                </a:lnTo>
                <a:lnTo>
                  <a:pt x="1278" y="195"/>
                </a:lnTo>
                <a:lnTo>
                  <a:pt x="1279" y="201"/>
                </a:lnTo>
                <a:lnTo>
                  <a:pt x="1291" y="206"/>
                </a:lnTo>
                <a:lnTo>
                  <a:pt x="1298" y="212"/>
                </a:lnTo>
                <a:lnTo>
                  <a:pt x="1298" y="217"/>
                </a:lnTo>
                <a:lnTo>
                  <a:pt x="1299" y="218"/>
                </a:lnTo>
                <a:lnTo>
                  <a:pt x="1299" y="219"/>
                </a:lnTo>
                <a:lnTo>
                  <a:pt x="1300" y="219"/>
                </a:lnTo>
                <a:lnTo>
                  <a:pt x="1301" y="219"/>
                </a:lnTo>
                <a:lnTo>
                  <a:pt x="1303" y="220"/>
                </a:lnTo>
                <a:lnTo>
                  <a:pt x="1304" y="221"/>
                </a:lnTo>
                <a:lnTo>
                  <a:pt x="1304" y="224"/>
                </a:lnTo>
                <a:lnTo>
                  <a:pt x="1316" y="224"/>
                </a:lnTo>
                <a:lnTo>
                  <a:pt x="1316" y="229"/>
                </a:lnTo>
                <a:lnTo>
                  <a:pt x="1317" y="230"/>
                </a:lnTo>
                <a:lnTo>
                  <a:pt x="1318" y="231"/>
                </a:lnTo>
                <a:lnTo>
                  <a:pt x="1319" y="231"/>
                </a:lnTo>
                <a:lnTo>
                  <a:pt x="1320" y="231"/>
                </a:lnTo>
                <a:lnTo>
                  <a:pt x="1321" y="232"/>
                </a:lnTo>
                <a:lnTo>
                  <a:pt x="1321" y="233"/>
                </a:lnTo>
                <a:lnTo>
                  <a:pt x="1323" y="237"/>
                </a:lnTo>
                <a:lnTo>
                  <a:pt x="1334" y="237"/>
                </a:lnTo>
                <a:lnTo>
                  <a:pt x="1335" y="239"/>
                </a:lnTo>
                <a:lnTo>
                  <a:pt x="1335" y="240"/>
                </a:lnTo>
                <a:lnTo>
                  <a:pt x="1336" y="241"/>
                </a:lnTo>
                <a:lnTo>
                  <a:pt x="1338" y="242"/>
                </a:lnTo>
                <a:lnTo>
                  <a:pt x="1342" y="243"/>
                </a:lnTo>
                <a:lnTo>
                  <a:pt x="1346" y="243"/>
                </a:lnTo>
                <a:lnTo>
                  <a:pt x="1353" y="249"/>
                </a:lnTo>
                <a:lnTo>
                  <a:pt x="1353" y="252"/>
                </a:lnTo>
                <a:lnTo>
                  <a:pt x="1354" y="254"/>
                </a:lnTo>
                <a:lnTo>
                  <a:pt x="1355" y="256"/>
                </a:lnTo>
                <a:lnTo>
                  <a:pt x="1356" y="256"/>
                </a:lnTo>
                <a:lnTo>
                  <a:pt x="1357" y="256"/>
                </a:lnTo>
                <a:lnTo>
                  <a:pt x="1357" y="256"/>
                </a:lnTo>
                <a:lnTo>
                  <a:pt x="1358" y="258"/>
                </a:lnTo>
                <a:lnTo>
                  <a:pt x="1358" y="261"/>
                </a:lnTo>
                <a:lnTo>
                  <a:pt x="1371" y="261"/>
                </a:lnTo>
                <a:lnTo>
                  <a:pt x="1377" y="270"/>
                </a:lnTo>
                <a:lnTo>
                  <a:pt x="1383" y="280"/>
                </a:lnTo>
                <a:lnTo>
                  <a:pt x="1395" y="280"/>
                </a:lnTo>
                <a:lnTo>
                  <a:pt x="1402" y="286"/>
                </a:lnTo>
                <a:lnTo>
                  <a:pt x="1402" y="289"/>
                </a:lnTo>
                <a:lnTo>
                  <a:pt x="1402" y="291"/>
                </a:lnTo>
                <a:lnTo>
                  <a:pt x="1403" y="291"/>
                </a:lnTo>
                <a:lnTo>
                  <a:pt x="1404" y="291"/>
                </a:lnTo>
                <a:lnTo>
                  <a:pt x="1405" y="292"/>
                </a:lnTo>
                <a:lnTo>
                  <a:pt x="1406" y="292"/>
                </a:lnTo>
                <a:lnTo>
                  <a:pt x="1407" y="295"/>
                </a:lnTo>
                <a:lnTo>
                  <a:pt x="1407" y="298"/>
                </a:lnTo>
                <a:lnTo>
                  <a:pt x="1416" y="301"/>
                </a:lnTo>
                <a:lnTo>
                  <a:pt x="1431" y="308"/>
                </a:lnTo>
                <a:lnTo>
                  <a:pt x="1439" y="311"/>
                </a:lnTo>
                <a:lnTo>
                  <a:pt x="1444" y="316"/>
                </a:lnTo>
                <a:lnTo>
                  <a:pt x="1449" y="319"/>
                </a:lnTo>
                <a:lnTo>
                  <a:pt x="1450" y="323"/>
                </a:lnTo>
                <a:lnTo>
                  <a:pt x="1455" y="323"/>
                </a:lnTo>
                <a:lnTo>
                  <a:pt x="1462" y="325"/>
                </a:lnTo>
                <a:lnTo>
                  <a:pt x="1469" y="327"/>
                </a:lnTo>
                <a:lnTo>
                  <a:pt x="1476" y="330"/>
                </a:lnTo>
                <a:lnTo>
                  <a:pt x="1482" y="334"/>
                </a:lnTo>
                <a:lnTo>
                  <a:pt x="1488" y="338"/>
                </a:lnTo>
                <a:lnTo>
                  <a:pt x="1491" y="343"/>
                </a:lnTo>
                <a:lnTo>
                  <a:pt x="1492" y="347"/>
                </a:lnTo>
                <a:lnTo>
                  <a:pt x="1505" y="347"/>
                </a:lnTo>
                <a:lnTo>
                  <a:pt x="1506" y="350"/>
                </a:lnTo>
                <a:lnTo>
                  <a:pt x="1506" y="352"/>
                </a:lnTo>
                <a:lnTo>
                  <a:pt x="1507" y="353"/>
                </a:lnTo>
                <a:lnTo>
                  <a:pt x="1508" y="353"/>
                </a:lnTo>
                <a:lnTo>
                  <a:pt x="1509" y="353"/>
                </a:lnTo>
                <a:lnTo>
                  <a:pt x="1510" y="354"/>
                </a:lnTo>
                <a:lnTo>
                  <a:pt x="1511" y="355"/>
                </a:lnTo>
                <a:lnTo>
                  <a:pt x="1511" y="359"/>
                </a:lnTo>
                <a:lnTo>
                  <a:pt x="1524" y="359"/>
                </a:lnTo>
                <a:lnTo>
                  <a:pt x="1529" y="371"/>
                </a:lnTo>
                <a:lnTo>
                  <a:pt x="1538" y="374"/>
                </a:lnTo>
                <a:lnTo>
                  <a:pt x="1548" y="377"/>
                </a:lnTo>
                <a:lnTo>
                  <a:pt x="1554" y="383"/>
                </a:lnTo>
                <a:lnTo>
                  <a:pt x="1555" y="387"/>
                </a:lnTo>
                <a:lnTo>
                  <a:pt x="1557" y="392"/>
                </a:lnTo>
                <a:lnTo>
                  <a:pt x="1561" y="394"/>
                </a:lnTo>
                <a:lnTo>
                  <a:pt x="1566" y="395"/>
                </a:lnTo>
                <a:lnTo>
                  <a:pt x="1572" y="411"/>
                </a:lnTo>
                <a:lnTo>
                  <a:pt x="1578" y="426"/>
                </a:lnTo>
                <a:lnTo>
                  <a:pt x="1587" y="435"/>
                </a:lnTo>
                <a:lnTo>
                  <a:pt x="1596" y="444"/>
                </a:lnTo>
                <a:lnTo>
                  <a:pt x="1596" y="462"/>
                </a:lnTo>
                <a:lnTo>
                  <a:pt x="1598" y="463"/>
                </a:lnTo>
                <a:lnTo>
                  <a:pt x="1601" y="467"/>
                </a:lnTo>
                <a:lnTo>
                  <a:pt x="1602" y="470"/>
                </a:lnTo>
                <a:lnTo>
                  <a:pt x="1603" y="474"/>
                </a:lnTo>
                <a:lnTo>
                  <a:pt x="1605" y="479"/>
                </a:lnTo>
                <a:lnTo>
                  <a:pt x="1607" y="483"/>
                </a:lnTo>
                <a:lnTo>
                  <a:pt x="1611" y="485"/>
                </a:lnTo>
                <a:lnTo>
                  <a:pt x="1615" y="487"/>
                </a:lnTo>
                <a:lnTo>
                  <a:pt x="1615" y="536"/>
                </a:lnTo>
                <a:lnTo>
                  <a:pt x="1611" y="540"/>
                </a:lnTo>
                <a:lnTo>
                  <a:pt x="1605" y="544"/>
                </a:lnTo>
                <a:lnTo>
                  <a:pt x="1601" y="547"/>
                </a:lnTo>
                <a:lnTo>
                  <a:pt x="1596" y="548"/>
                </a:lnTo>
                <a:lnTo>
                  <a:pt x="1596" y="560"/>
                </a:lnTo>
                <a:lnTo>
                  <a:pt x="1593" y="561"/>
                </a:lnTo>
                <a:lnTo>
                  <a:pt x="1589" y="566"/>
                </a:lnTo>
                <a:lnTo>
                  <a:pt x="1587" y="568"/>
                </a:lnTo>
                <a:lnTo>
                  <a:pt x="1585" y="570"/>
                </a:lnTo>
                <a:lnTo>
                  <a:pt x="1582" y="571"/>
                </a:lnTo>
                <a:lnTo>
                  <a:pt x="1578" y="573"/>
                </a:lnTo>
                <a:lnTo>
                  <a:pt x="1576" y="599"/>
                </a:lnTo>
                <a:lnTo>
                  <a:pt x="1572" y="631"/>
                </a:lnTo>
                <a:lnTo>
                  <a:pt x="1568" y="664"/>
                </a:lnTo>
                <a:lnTo>
                  <a:pt x="1566" y="694"/>
                </a:lnTo>
                <a:lnTo>
                  <a:pt x="1569" y="694"/>
                </a:lnTo>
                <a:lnTo>
                  <a:pt x="1572" y="695"/>
                </a:lnTo>
                <a:lnTo>
                  <a:pt x="1572" y="696"/>
                </a:lnTo>
                <a:lnTo>
                  <a:pt x="1572" y="698"/>
                </a:lnTo>
                <a:lnTo>
                  <a:pt x="1573" y="699"/>
                </a:lnTo>
                <a:lnTo>
                  <a:pt x="1573" y="699"/>
                </a:lnTo>
                <a:lnTo>
                  <a:pt x="1575" y="700"/>
                </a:lnTo>
                <a:lnTo>
                  <a:pt x="1578" y="700"/>
                </a:lnTo>
                <a:lnTo>
                  <a:pt x="1578" y="712"/>
                </a:lnTo>
                <a:lnTo>
                  <a:pt x="1591" y="712"/>
                </a:lnTo>
                <a:lnTo>
                  <a:pt x="1591" y="715"/>
                </a:lnTo>
                <a:lnTo>
                  <a:pt x="1592" y="718"/>
                </a:lnTo>
                <a:lnTo>
                  <a:pt x="1593" y="719"/>
                </a:lnTo>
                <a:lnTo>
                  <a:pt x="1594" y="719"/>
                </a:lnTo>
                <a:lnTo>
                  <a:pt x="1595" y="719"/>
                </a:lnTo>
                <a:lnTo>
                  <a:pt x="1595" y="719"/>
                </a:lnTo>
                <a:lnTo>
                  <a:pt x="1596" y="721"/>
                </a:lnTo>
                <a:lnTo>
                  <a:pt x="1596" y="724"/>
                </a:lnTo>
                <a:lnTo>
                  <a:pt x="1621" y="724"/>
                </a:lnTo>
                <a:lnTo>
                  <a:pt x="1622" y="727"/>
                </a:lnTo>
                <a:lnTo>
                  <a:pt x="1625" y="729"/>
                </a:lnTo>
                <a:lnTo>
                  <a:pt x="1631" y="731"/>
                </a:lnTo>
                <a:lnTo>
                  <a:pt x="1637" y="732"/>
                </a:lnTo>
                <a:lnTo>
                  <a:pt x="1654" y="735"/>
                </a:lnTo>
                <a:lnTo>
                  <a:pt x="1674" y="738"/>
                </a:lnTo>
                <a:lnTo>
                  <a:pt x="1713" y="741"/>
                </a:lnTo>
                <a:lnTo>
                  <a:pt x="1737" y="743"/>
                </a:lnTo>
                <a:lnTo>
                  <a:pt x="1749" y="746"/>
                </a:lnTo>
                <a:lnTo>
                  <a:pt x="1764" y="750"/>
                </a:lnTo>
                <a:lnTo>
                  <a:pt x="1762" y="778"/>
                </a:lnTo>
                <a:lnTo>
                  <a:pt x="1761" y="806"/>
                </a:lnTo>
                <a:lnTo>
                  <a:pt x="1760" y="834"/>
                </a:lnTo>
                <a:lnTo>
                  <a:pt x="1760" y="860"/>
                </a:lnTo>
                <a:lnTo>
                  <a:pt x="1757" y="863"/>
                </a:lnTo>
                <a:lnTo>
                  <a:pt x="1755" y="869"/>
                </a:lnTo>
                <a:lnTo>
                  <a:pt x="1752" y="879"/>
                </a:lnTo>
                <a:lnTo>
                  <a:pt x="1750" y="893"/>
                </a:lnTo>
                <a:lnTo>
                  <a:pt x="1745" y="929"/>
                </a:lnTo>
                <a:lnTo>
                  <a:pt x="1740" y="971"/>
                </a:lnTo>
                <a:lnTo>
                  <a:pt x="1735" y="971"/>
                </a:lnTo>
                <a:lnTo>
                  <a:pt x="1720" y="981"/>
                </a:lnTo>
                <a:lnTo>
                  <a:pt x="1716" y="990"/>
                </a:lnTo>
                <a:lnTo>
                  <a:pt x="1711" y="996"/>
                </a:lnTo>
                <a:lnTo>
                  <a:pt x="1701" y="996"/>
                </a:lnTo>
                <a:lnTo>
                  <a:pt x="1701" y="998"/>
                </a:lnTo>
                <a:lnTo>
                  <a:pt x="1700" y="1000"/>
                </a:lnTo>
                <a:lnTo>
                  <a:pt x="1698" y="1002"/>
                </a:lnTo>
                <a:lnTo>
                  <a:pt x="1695" y="1003"/>
                </a:lnTo>
                <a:lnTo>
                  <a:pt x="1691" y="1004"/>
                </a:lnTo>
                <a:lnTo>
                  <a:pt x="1688" y="1004"/>
                </a:lnTo>
                <a:lnTo>
                  <a:pt x="1687" y="1007"/>
                </a:lnTo>
                <a:lnTo>
                  <a:pt x="1685" y="1008"/>
                </a:lnTo>
                <a:lnTo>
                  <a:pt x="1682" y="1009"/>
                </a:lnTo>
                <a:lnTo>
                  <a:pt x="1680" y="1011"/>
                </a:lnTo>
                <a:lnTo>
                  <a:pt x="1673" y="1013"/>
                </a:lnTo>
                <a:lnTo>
                  <a:pt x="1669" y="1013"/>
                </a:lnTo>
                <a:lnTo>
                  <a:pt x="1668" y="1016"/>
                </a:lnTo>
                <a:lnTo>
                  <a:pt x="1665" y="1017"/>
                </a:lnTo>
                <a:lnTo>
                  <a:pt x="1662" y="1018"/>
                </a:lnTo>
                <a:lnTo>
                  <a:pt x="1658" y="1018"/>
                </a:lnTo>
                <a:lnTo>
                  <a:pt x="1646" y="1018"/>
                </a:lnTo>
                <a:lnTo>
                  <a:pt x="1631" y="1018"/>
                </a:lnTo>
                <a:lnTo>
                  <a:pt x="1591" y="1013"/>
                </a:lnTo>
                <a:lnTo>
                  <a:pt x="1544" y="1007"/>
                </a:lnTo>
                <a:lnTo>
                  <a:pt x="1496" y="1000"/>
                </a:lnTo>
                <a:lnTo>
                  <a:pt x="1450" y="992"/>
                </a:lnTo>
                <a:lnTo>
                  <a:pt x="1414" y="988"/>
                </a:lnTo>
                <a:lnTo>
                  <a:pt x="1391" y="985"/>
                </a:lnTo>
                <a:lnTo>
                  <a:pt x="1364" y="984"/>
                </a:lnTo>
                <a:lnTo>
                  <a:pt x="1336" y="981"/>
                </a:lnTo>
                <a:lnTo>
                  <a:pt x="1307" y="975"/>
                </a:lnTo>
                <a:lnTo>
                  <a:pt x="1277" y="969"/>
                </a:lnTo>
                <a:lnTo>
                  <a:pt x="1246" y="963"/>
                </a:lnTo>
                <a:lnTo>
                  <a:pt x="1214" y="958"/>
                </a:lnTo>
                <a:lnTo>
                  <a:pt x="1199" y="955"/>
                </a:lnTo>
                <a:lnTo>
                  <a:pt x="1183" y="954"/>
                </a:lnTo>
                <a:lnTo>
                  <a:pt x="1167" y="953"/>
                </a:lnTo>
                <a:lnTo>
                  <a:pt x="1152" y="953"/>
                </a:lnTo>
                <a:lnTo>
                  <a:pt x="1151" y="951"/>
                </a:lnTo>
                <a:lnTo>
                  <a:pt x="1150" y="950"/>
                </a:lnTo>
                <a:lnTo>
                  <a:pt x="1148" y="950"/>
                </a:lnTo>
                <a:lnTo>
                  <a:pt x="1146" y="949"/>
                </a:lnTo>
                <a:lnTo>
                  <a:pt x="1142" y="949"/>
                </a:lnTo>
                <a:lnTo>
                  <a:pt x="1137" y="948"/>
                </a:lnTo>
                <a:lnTo>
                  <a:pt x="1133" y="943"/>
                </a:lnTo>
                <a:lnTo>
                  <a:pt x="1128" y="934"/>
                </a:lnTo>
                <a:lnTo>
                  <a:pt x="1121" y="932"/>
                </a:lnTo>
                <a:lnTo>
                  <a:pt x="1114" y="930"/>
                </a:lnTo>
                <a:lnTo>
                  <a:pt x="1112" y="924"/>
                </a:lnTo>
                <a:lnTo>
                  <a:pt x="1109" y="920"/>
                </a:lnTo>
                <a:lnTo>
                  <a:pt x="1099" y="917"/>
                </a:lnTo>
                <a:lnTo>
                  <a:pt x="1090" y="915"/>
                </a:lnTo>
                <a:lnTo>
                  <a:pt x="1090" y="914"/>
                </a:lnTo>
                <a:lnTo>
                  <a:pt x="1089" y="913"/>
                </a:lnTo>
                <a:lnTo>
                  <a:pt x="1087" y="912"/>
                </a:lnTo>
                <a:lnTo>
                  <a:pt x="1085" y="911"/>
                </a:lnTo>
                <a:lnTo>
                  <a:pt x="1080" y="911"/>
                </a:lnTo>
                <a:lnTo>
                  <a:pt x="1076" y="911"/>
                </a:lnTo>
                <a:lnTo>
                  <a:pt x="860" y="877"/>
                </a:lnTo>
                <a:lnTo>
                  <a:pt x="850" y="889"/>
                </a:lnTo>
                <a:lnTo>
                  <a:pt x="841" y="906"/>
                </a:lnTo>
                <a:lnTo>
                  <a:pt x="833" y="911"/>
                </a:lnTo>
                <a:lnTo>
                  <a:pt x="830" y="921"/>
                </a:lnTo>
                <a:lnTo>
                  <a:pt x="827" y="934"/>
                </a:lnTo>
                <a:lnTo>
                  <a:pt x="824" y="948"/>
                </a:lnTo>
                <a:lnTo>
                  <a:pt x="823" y="958"/>
                </a:lnTo>
                <a:lnTo>
                  <a:pt x="814" y="958"/>
                </a:lnTo>
                <a:lnTo>
                  <a:pt x="812" y="960"/>
                </a:lnTo>
                <a:lnTo>
                  <a:pt x="811" y="962"/>
                </a:lnTo>
                <a:lnTo>
                  <a:pt x="809" y="964"/>
                </a:lnTo>
                <a:lnTo>
                  <a:pt x="807" y="965"/>
                </a:lnTo>
                <a:lnTo>
                  <a:pt x="799" y="968"/>
                </a:lnTo>
                <a:lnTo>
                  <a:pt x="791" y="970"/>
                </a:lnTo>
                <a:lnTo>
                  <a:pt x="773" y="971"/>
                </a:lnTo>
                <a:lnTo>
                  <a:pt x="761" y="971"/>
                </a:lnTo>
                <a:lnTo>
                  <a:pt x="752" y="962"/>
                </a:lnTo>
                <a:lnTo>
                  <a:pt x="743" y="962"/>
                </a:lnTo>
                <a:lnTo>
                  <a:pt x="738" y="953"/>
                </a:lnTo>
                <a:lnTo>
                  <a:pt x="725" y="951"/>
                </a:lnTo>
                <a:lnTo>
                  <a:pt x="711" y="948"/>
                </a:lnTo>
                <a:lnTo>
                  <a:pt x="703" y="948"/>
                </a:lnTo>
                <a:lnTo>
                  <a:pt x="696" y="949"/>
                </a:lnTo>
                <a:lnTo>
                  <a:pt x="693" y="950"/>
                </a:lnTo>
                <a:lnTo>
                  <a:pt x="691" y="952"/>
                </a:lnTo>
                <a:lnTo>
                  <a:pt x="689" y="954"/>
                </a:lnTo>
                <a:lnTo>
                  <a:pt x="686" y="958"/>
                </a:lnTo>
                <a:lnTo>
                  <a:pt x="672" y="958"/>
                </a:lnTo>
                <a:lnTo>
                  <a:pt x="672" y="959"/>
                </a:lnTo>
                <a:lnTo>
                  <a:pt x="671" y="960"/>
                </a:lnTo>
                <a:lnTo>
                  <a:pt x="670" y="961"/>
                </a:lnTo>
                <a:lnTo>
                  <a:pt x="667" y="962"/>
                </a:lnTo>
                <a:lnTo>
                  <a:pt x="663" y="962"/>
                </a:lnTo>
                <a:lnTo>
                  <a:pt x="658" y="962"/>
                </a:lnTo>
                <a:lnTo>
                  <a:pt x="657" y="963"/>
                </a:lnTo>
                <a:lnTo>
                  <a:pt x="654" y="965"/>
                </a:lnTo>
                <a:lnTo>
                  <a:pt x="649" y="965"/>
                </a:lnTo>
                <a:lnTo>
                  <a:pt x="644" y="967"/>
                </a:lnTo>
                <a:lnTo>
                  <a:pt x="633" y="967"/>
                </a:lnTo>
                <a:lnTo>
                  <a:pt x="625" y="967"/>
                </a:lnTo>
                <a:lnTo>
                  <a:pt x="623" y="965"/>
                </a:lnTo>
                <a:lnTo>
                  <a:pt x="617" y="964"/>
                </a:lnTo>
                <a:lnTo>
                  <a:pt x="608" y="963"/>
                </a:lnTo>
                <a:lnTo>
                  <a:pt x="599" y="962"/>
                </a:lnTo>
                <a:lnTo>
                  <a:pt x="598" y="950"/>
                </a:lnTo>
                <a:lnTo>
                  <a:pt x="598" y="941"/>
                </a:lnTo>
                <a:lnTo>
                  <a:pt x="590" y="927"/>
                </a:lnTo>
                <a:lnTo>
                  <a:pt x="581" y="913"/>
                </a:lnTo>
                <a:lnTo>
                  <a:pt x="581" y="902"/>
                </a:lnTo>
                <a:lnTo>
                  <a:pt x="570" y="892"/>
                </a:lnTo>
                <a:lnTo>
                  <a:pt x="552" y="892"/>
                </a:lnTo>
                <a:lnTo>
                  <a:pt x="532" y="892"/>
                </a:lnTo>
                <a:lnTo>
                  <a:pt x="512" y="892"/>
                </a:lnTo>
                <a:lnTo>
                  <a:pt x="493" y="892"/>
                </a:lnTo>
                <a:lnTo>
                  <a:pt x="493" y="893"/>
                </a:lnTo>
                <a:lnTo>
                  <a:pt x="491" y="894"/>
                </a:lnTo>
                <a:lnTo>
                  <a:pt x="486" y="895"/>
                </a:lnTo>
                <a:lnTo>
                  <a:pt x="482" y="896"/>
                </a:lnTo>
                <a:lnTo>
                  <a:pt x="470" y="896"/>
                </a:lnTo>
                <a:lnTo>
                  <a:pt x="455" y="895"/>
                </a:lnTo>
                <a:lnTo>
                  <a:pt x="428" y="893"/>
                </a:lnTo>
                <a:lnTo>
                  <a:pt x="417" y="892"/>
                </a:lnTo>
                <a:lnTo>
                  <a:pt x="414" y="889"/>
                </a:lnTo>
                <a:lnTo>
                  <a:pt x="406" y="888"/>
                </a:lnTo>
                <a:lnTo>
                  <a:pt x="395" y="887"/>
                </a:lnTo>
                <a:lnTo>
                  <a:pt x="383" y="886"/>
                </a:lnTo>
                <a:lnTo>
                  <a:pt x="357" y="886"/>
                </a:lnTo>
                <a:lnTo>
                  <a:pt x="340" y="886"/>
                </a:lnTo>
                <a:lnTo>
                  <a:pt x="329" y="885"/>
                </a:lnTo>
                <a:lnTo>
                  <a:pt x="319" y="883"/>
                </a:lnTo>
                <a:lnTo>
                  <a:pt x="309" y="881"/>
                </a:lnTo>
                <a:lnTo>
                  <a:pt x="299" y="877"/>
                </a:lnTo>
                <a:lnTo>
                  <a:pt x="289" y="875"/>
                </a:lnTo>
                <a:lnTo>
                  <a:pt x="278" y="872"/>
                </a:lnTo>
                <a:lnTo>
                  <a:pt x="268" y="869"/>
                </a:lnTo>
                <a:lnTo>
                  <a:pt x="258" y="869"/>
                </a:lnTo>
                <a:lnTo>
                  <a:pt x="254" y="860"/>
                </a:lnTo>
                <a:lnTo>
                  <a:pt x="252" y="853"/>
                </a:lnTo>
                <a:lnTo>
                  <a:pt x="249" y="852"/>
                </a:lnTo>
                <a:lnTo>
                  <a:pt x="245" y="847"/>
                </a:lnTo>
                <a:lnTo>
                  <a:pt x="244" y="845"/>
                </a:lnTo>
                <a:lnTo>
                  <a:pt x="242" y="844"/>
                </a:lnTo>
                <a:lnTo>
                  <a:pt x="239" y="843"/>
                </a:lnTo>
                <a:lnTo>
                  <a:pt x="235" y="842"/>
                </a:lnTo>
                <a:lnTo>
                  <a:pt x="233" y="825"/>
                </a:lnTo>
                <a:lnTo>
                  <a:pt x="230" y="809"/>
                </a:lnTo>
                <a:lnTo>
                  <a:pt x="224" y="804"/>
                </a:lnTo>
                <a:lnTo>
                  <a:pt x="219" y="798"/>
                </a:lnTo>
                <a:lnTo>
                  <a:pt x="219" y="781"/>
                </a:lnTo>
                <a:lnTo>
                  <a:pt x="216" y="781"/>
                </a:lnTo>
                <a:lnTo>
                  <a:pt x="214" y="779"/>
                </a:lnTo>
                <a:lnTo>
                  <a:pt x="212" y="777"/>
                </a:lnTo>
                <a:lnTo>
                  <a:pt x="209" y="773"/>
                </a:lnTo>
                <a:lnTo>
                  <a:pt x="202" y="766"/>
                </a:lnTo>
                <a:lnTo>
                  <a:pt x="196" y="756"/>
                </a:lnTo>
                <a:lnTo>
                  <a:pt x="190" y="744"/>
                </a:lnTo>
                <a:lnTo>
                  <a:pt x="185" y="735"/>
                </a:lnTo>
                <a:lnTo>
                  <a:pt x="182" y="727"/>
                </a:lnTo>
                <a:lnTo>
                  <a:pt x="181" y="721"/>
                </a:lnTo>
                <a:lnTo>
                  <a:pt x="175" y="719"/>
                </a:lnTo>
                <a:lnTo>
                  <a:pt x="169" y="715"/>
                </a:lnTo>
                <a:lnTo>
                  <a:pt x="169" y="693"/>
                </a:lnTo>
                <a:lnTo>
                  <a:pt x="167" y="693"/>
                </a:lnTo>
                <a:lnTo>
                  <a:pt x="166" y="690"/>
                </a:lnTo>
                <a:lnTo>
                  <a:pt x="165" y="686"/>
                </a:lnTo>
                <a:lnTo>
                  <a:pt x="163" y="682"/>
                </a:lnTo>
                <a:lnTo>
                  <a:pt x="161" y="670"/>
                </a:lnTo>
                <a:lnTo>
                  <a:pt x="158" y="655"/>
                </a:lnTo>
                <a:lnTo>
                  <a:pt x="155" y="641"/>
                </a:lnTo>
                <a:lnTo>
                  <a:pt x="152" y="628"/>
                </a:lnTo>
                <a:lnTo>
                  <a:pt x="149" y="624"/>
                </a:lnTo>
                <a:lnTo>
                  <a:pt x="147" y="621"/>
                </a:lnTo>
                <a:lnTo>
                  <a:pt x="145" y="617"/>
                </a:lnTo>
                <a:lnTo>
                  <a:pt x="143" y="617"/>
                </a:lnTo>
                <a:lnTo>
                  <a:pt x="143" y="606"/>
                </a:lnTo>
                <a:lnTo>
                  <a:pt x="140" y="605"/>
                </a:lnTo>
                <a:lnTo>
                  <a:pt x="138" y="604"/>
                </a:lnTo>
                <a:lnTo>
                  <a:pt x="136" y="602"/>
                </a:lnTo>
                <a:lnTo>
                  <a:pt x="135" y="599"/>
                </a:lnTo>
                <a:lnTo>
                  <a:pt x="133" y="594"/>
                </a:lnTo>
                <a:lnTo>
                  <a:pt x="132" y="589"/>
                </a:lnTo>
                <a:lnTo>
                  <a:pt x="127" y="588"/>
                </a:lnTo>
                <a:lnTo>
                  <a:pt x="123" y="586"/>
                </a:lnTo>
                <a:lnTo>
                  <a:pt x="119" y="583"/>
                </a:lnTo>
                <a:lnTo>
                  <a:pt x="115" y="578"/>
                </a:lnTo>
                <a:lnTo>
                  <a:pt x="115" y="567"/>
                </a:lnTo>
                <a:lnTo>
                  <a:pt x="109" y="565"/>
                </a:lnTo>
                <a:lnTo>
                  <a:pt x="104" y="561"/>
                </a:lnTo>
                <a:lnTo>
                  <a:pt x="104" y="540"/>
                </a:lnTo>
                <a:lnTo>
                  <a:pt x="109" y="535"/>
                </a:lnTo>
                <a:lnTo>
                  <a:pt x="115" y="531"/>
                </a:lnTo>
                <a:lnTo>
                  <a:pt x="120" y="529"/>
                </a:lnTo>
                <a:lnTo>
                  <a:pt x="120" y="518"/>
                </a:lnTo>
                <a:lnTo>
                  <a:pt x="132" y="518"/>
                </a:lnTo>
                <a:lnTo>
                  <a:pt x="137" y="504"/>
                </a:lnTo>
                <a:lnTo>
                  <a:pt x="143" y="490"/>
                </a:lnTo>
                <a:lnTo>
                  <a:pt x="146" y="490"/>
                </a:lnTo>
                <a:lnTo>
                  <a:pt x="149" y="487"/>
                </a:lnTo>
                <a:lnTo>
                  <a:pt x="153" y="483"/>
                </a:lnTo>
                <a:lnTo>
                  <a:pt x="153" y="480"/>
                </a:lnTo>
                <a:lnTo>
                  <a:pt x="158" y="477"/>
                </a:lnTo>
                <a:lnTo>
                  <a:pt x="164" y="474"/>
                </a:lnTo>
                <a:lnTo>
                  <a:pt x="164" y="463"/>
                </a:lnTo>
                <a:lnTo>
                  <a:pt x="166" y="462"/>
                </a:lnTo>
                <a:lnTo>
                  <a:pt x="167" y="460"/>
                </a:lnTo>
                <a:lnTo>
                  <a:pt x="168" y="458"/>
                </a:lnTo>
                <a:lnTo>
                  <a:pt x="169" y="454"/>
                </a:lnTo>
                <a:lnTo>
                  <a:pt x="169" y="446"/>
                </a:lnTo>
                <a:lnTo>
                  <a:pt x="169" y="441"/>
                </a:lnTo>
                <a:lnTo>
                  <a:pt x="164" y="435"/>
                </a:lnTo>
                <a:lnTo>
                  <a:pt x="154" y="435"/>
                </a:lnTo>
                <a:lnTo>
                  <a:pt x="142" y="433"/>
                </a:lnTo>
                <a:lnTo>
                  <a:pt x="129" y="431"/>
                </a:lnTo>
                <a:lnTo>
                  <a:pt x="117" y="427"/>
                </a:lnTo>
                <a:lnTo>
                  <a:pt x="104" y="424"/>
                </a:lnTo>
                <a:lnTo>
                  <a:pt x="91" y="422"/>
                </a:lnTo>
                <a:lnTo>
                  <a:pt x="78" y="420"/>
                </a:lnTo>
                <a:lnTo>
                  <a:pt x="66" y="419"/>
                </a:lnTo>
                <a:lnTo>
                  <a:pt x="62" y="401"/>
                </a:lnTo>
                <a:lnTo>
                  <a:pt x="60" y="386"/>
                </a:lnTo>
                <a:lnTo>
                  <a:pt x="49" y="386"/>
                </a:lnTo>
                <a:lnTo>
                  <a:pt x="41" y="378"/>
                </a:lnTo>
                <a:lnTo>
                  <a:pt x="32" y="369"/>
                </a:lnTo>
                <a:lnTo>
                  <a:pt x="21" y="369"/>
                </a:lnTo>
                <a:lnTo>
                  <a:pt x="15" y="364"/>
                </a:lnTo>
                <a:lnTo>
                  <a:pt x="11" y="358"/>
                </a:lnTo>
                <a:lnTo>
                  <a:pt x="5" y="353"/>
                </a:lnTo>
                <a:lnTo>
                  <a:pt x="0" y="347"/>
                </a:lnTo>
                <a:lnTo>
                  <a:pt x="0" y="330"/>
                </a:lnTo>
                <a:lnTo>
                  <a:pt x="2" y="312"/>
                </a:lnTo>
                <a:lnTo>
                  <a:pt x="4" y="296"/>
                </a:lnTo>
                <a:lnTo>
                  <a:pt x="5" y="281"/>
                </a:lnTo>
                <a:lnTo>
                  <a:pt x="6" y="281"/>
                </a:lnTo>
                <a:lnTo>
                  <a:pt x="8" y="280"/>
                </a:lnTo>
                <a:lnTo>
                  <a:pt x="9" y="278"/>
                </a:lnTo>
                <a:lnTo>
                  <a:pt x="10" y="276"/>
                </a:lnTo>
                <a:lnTo>
                  <a:pt x="10" y="270"/>
                </a:lnTo>
                <a:lnTo>
                  <a:pt x="11" y="266"/>
                </a:lnTo>
                <a:lnTo>
                  <a:pt x="12" y="265"/>
                </a:lnTo>
                <a:lnTo>
                  <a:pt x="13" y="262"/>
                </a:lnTo>
                <a:lnTo>
                  <a:pt x="14" y="258"/>
                </a:lnTo>
                <a:lnTo>
                  <a:pt x="15" y="253"/>
                </a:lnTo>
                <a:lnTo>
                  <a:pt x="15" y="244"/>
                </a:lnTo>
                <a:lnTo>
                  <a:pt x="15" y="238"/>
                </a:lnTo>
                <a:lnTo>
                  <a:pt x="18" y="237"/>
                </a:lnTo>
                <a:lnTo>
                  <a:pt x="20" y="234"/>
                </a:lnTo>
                <a:lnTo>
                  <a:pt x="21" y="231"/>
                </a:lnTo>
                <a:lnTo>
                  <a:pt x="23" y="227"/>
                </a:lnTo>
                <a:lnTo>
                  <a:pt x="25" y="214"/>
                </a:lnTo>
                <a:lnTo>
                  <a:pt x="28" y="200"/>
                </a:lnTo>
                <a:close/>
                <a:moveTo>
                  <a:pt x="594" y="962"/>
                </a:moveTo>
                <a:lnTo>
                  <a:pt x="587" y="962"/>
                </a:lnTo>
                <a:lnTo>
                  <a:pt x="584" y="962"/>
                </a:lnTo>
                <a:lnTo>
                  <a:pt x="587" y="962"/>
                </a:lnTo>
                <a:lnTo>
                  <a:pt x="594" y="9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81" name="Freeform 42">
            <a:extLst>
              <a:ext uri="{FF2B5EF4-FFF2-40B4-BE49-F238E27FC236}">
                <a16:creationId xmlns:a16="http://schemas.microsoft.com/office/drawing/2014/main" id="{101C153B-EDF4-4C82-8AB9-F6D262F58DF5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169150" y="3303588"/>
            <a:ext cx="4763" cy="4763"/>
          </a:xfrm>
          <a:custGeom>
            <a:avLst/>
            <a:gdLst/>
            <a:ahLst/>
            <a:cxnLst>
              <a:cxn ang="0">
                <a:pos x="10" y="0"/>
              </a:cxn>
              <a:cxn ang="0">
                <a:pos x="3" y="0"/>
              </a:cxn>
              <a:cxn ang="0">
                <a:pos x="0" y="0"/>
              </a:cxn>
              <a:cxn ang="0">
                <a:pos x="3" y="0"/>
              </a:cxn>
              <a:cxn ang="0">
                <a:pos x="10" y="0"/>
              </a:cxn>
            </a:cxnLst>
            <a:rect l="0" t="0" r="r" b="b"/>
            <a:pathLst>
              <a:path w="10">
                <a:moveTo>
                  <a:pt x="10" y="0"/>
                </a:moveTo>
                <a:lnTo>
                  <a:pt x="3" y="0"/>
                </a:lnTo>
                <a:lnTo>
                  <a:pt x="0" y="0"/>
                </a:lnTo>
                <a:lnTo>
                  <a:pt x="3" y="0"/>
                </a:lnTo>
                <a:lnTo>
                  <a:pt x="10" y="0"/>
                </a:lnTo>
              </a:path>
            </a:pathLst>
          </a:custGeom>
          <a:solidFill>
            <a:schemeClr val="bg1">
              <a:lumMod val="65000"/>
            </a:schemeClr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82" name="Freeform 43">
            <a:extLst>
              <a:ext uri="{FF2B5EF4-FFF2-40B4-BE49-F238E27FC236}">
                <a16:creationId xmlns:a16="http://schemas.microsoft.com/office/drawing/2014/main" id="{20CD181E-3243-4D98-AD8C-DFC31CFCD4C2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016750" y="2935288"/>
            <a:ext cx="257175" cy="247124"/>
          </a:xfrm>
          <a:custGeom>
            <a:avLst/>
            <a:gdLst/>
            <a:ahLst/>
            <a:cxnLst>
              <a:cxn ang="0">
                <a:pos x="516" y="365"/>
              </a:cxn>
              <a:cxn ang="0">
                <a:pos x="469" y="432"/>
              </a:cxn>
              <a:cxn ang="0">
                <a:pos x="446" y="459"/>
              </a:cxn>
              <a:cxn ang="0">
                <a:pos x="401" y="516"/>
              </a:cxn>
              <a:cxn ang="0">
                <a:pos x="341" y="564"/>
              </a:cxn>
              <a:cxn ang="0">
                <a:pos x="311" y="609"/>
              </a:cxn>
              <a:cxn ang="0">
                <a:pos x="268" y="637"/>
              </a:cxn>
              <a:cxn ang="0">
                <a:pos x="201" y="661"/>
              </a:cxn>
              <a:cxn ang="0">
                <a:pos x="150" y="690"/>
              </a:cxn>
              <a:cxn ang="0">
                <a:pos x="103" y="708"/>
              </a:cxn>
              <a:cxn ang="0">
                <a:pos x="73" y="721"/>
              </a:cxn>
              <a:cxn ang="0">
                <a:pos x="45" y="749"/>
              </a:cxn>
              <a:cxn ang="0">
                <a:pos x="27" y="799"/>
              </a:cxn>
              <a:cxn ang="0">
                <a:pos x="2" y="995"/>
              </a:cxn>
              <a:cxn ang="0">
                <a:pos x="7" y="1013"/>
              </a:cxn>
              <a:cxn ang="0">
                <a:pos x="95" y="1018"/>
              </a:cxn>
              <a:cxn ang="0">
                <a:pos x="128" y="1055"/>
              </a:cxn>
              <a:cxn ang="0">
                <a:pos x="159" y="1093"/>
              </a:cxn>
              <a:cxn ang="0">
                <a:pos x="229" y="1111"/>
              </a:cxn>
              <a:cxn ang="0">
                <a:pos x="283" y="1130"/>
              </a:cxn>
              <a:cxn ang="0">
                <a:pos x="349" y="1191"/>
              </a:cxn>
              <a:cxn ang="0">
                <a:pos x="388" y="1325"/>
              </a:cxn>
              <a:cxn ang="0">
                <a:pos x="399" y="1372"/>
              </a:cxn>
              <a:cxn ang="0">
                <a:pos x="419" y="1493"/>
              </a:cxn>
              <a:cxn ang="0">
                <a:pos x="524" y="1537"/>
              </a:cxn>
              <a:cxn ang="0">
                <a:pos x="617" y="1507"/>
              </a:cxn>
              <a:cxn ang="0">
                <a:pos x="603" y="1488"/>
              </a:cxn>
              <a:cxn ang="0">
                <a:pos x="554" y="1431"/>
              </a:cxn>
              <a:cxn ang="0">
                <a:pos x="542" y="1402"/>
              </a:cxn>
              <a:cxn ang="0">
                <a:pos x="534" y="1345"/>
              </a:cxn>
              <a:cxn ang="0">
                <a:pos x="508" y="1294"/>
              </a:cxn>
              <a:cxn ang="0">
                <a:pos x="480" y="1223"/>
              </a:cxn>
              <a:cxn ang="0">
                <a:pos x="488" y="1147"/>
              </a:cxn>
              <a:cxn ang="0">
                <a:pos x="591" y="1111"/>
              </a:cxn>
              <a:cxn ang="0">
                <a:pos x="656" y="1094"/>
              </a:cxn>
              <a:cxn ang="0">
                <a:pos x="852" y="947"/>
              </a:cxn>
              <a:cxn ang="0">
                <a:pos x="872" y="934"/>
              </a:cxn>
              <a:cxn ang="0">
                <a:pos x="888" y="924"/>
              </a:cxn>
              <a:cxn ang="0">
                <a:pos x="952" y="930"/>
              </a:cxn>
              <a:cxn ang="0">
                <a:pos x="1002" y="902"/>
              </a:cxn>
              <a:cxn ang="0">
                <a:pos x="1083" y="897"/>
              </a:cxn>
              <a:cxn ang="0">
                <a:pos x="1144" y="921"/>
              </a:cxn>
              <a:cxn ang="0">
                <a:pos x="1284" y="939"/>
              </a:cxn>
              <a:cxn ang="0">
                <a:pos x="1344" y="929"/>
              </a:cxn>
              <a:cxn ang="0">
                <a:pos x="1370" y="868"/>
              </a:cxn>
              <a:cxn ang="0">
                <a:pos x="1377" y="712"/>
              </a:cxn>
              <a:cxn ang="0">
                <a:pos x="1395" y="524"/>
              </a:cxn>
              <a:cxn ang="0">
                <a:pos x="1416" y="425"/>
              </a:cxn>
              <a:cxn ang="0">
                <a:pos x="1260" y="382"/>
              </a:cxn>
              <a:cxn ang="0">
                <a:pos x="1216" y="326"/>
              </a:cxn>
              <a:cxn ang="0">
                <a:pos x="1219" y="193"/>
              </a:cxn>
              <a:cxn ang="0">
                <a:pos x="1171" y="164"/>
              </a:cxn>
              <a:cxn ang="0">
                <a:pos x="1125" y="141"/>
              </a:cxn>
              <a:cxn ang="0">
                <a:pos x="1004" y="97"/>
              </a:cxn>
              <a:cxn ang="0">
                <a:pos x="984" y="35"/>
              </a:cxn>
              <a:cxn ang="0">
                <a:pos x="970" y="0"/>
              </a:cxn>
              <a:cxn ang="0">
                <a:pos x="937" y="46"/>
              </a:cxn>
              <a:cxn ang="0">
                <a:pos x="912" y="87"/>
              </a:cxn>
              <a:cxn ang="0">
                <a:pos x="886" y="161"/>
              </a:cxn>
              <a:cxn ang="0">
                <a:pos x="872" y="207"/>
              </a:cxn>
              <a:cxn ang="0">
                <a:pos x="829" y="232"/>
              </a:cxn>
              <a:cxn ang="0">
                <a:pos x="734" y="327"/>
              </a:cxn>
              <a:cxn ang="0">
                <a:pos x="619" y="314"/>
              </a:cxn>
            </a:cxnLst>
            <a:rect l="0" t="0" r="r" b="b"/>
            <a:pathLst>
              <a:path w="1416" h="1538">
                <a:moveTo>
                  <a:pt x="564" y="341"/>
                </a:moveTo>
                <a:lnTo>
                  <a:pt x="551" y="345"/>
                </a:lnTo>
                <a:lnTo>
                  <a:pt x="542" y="348"/>
                </a:lnTo>
                <a:lnTo>
                  <a:pt x="538" y="349"/>
                </a:lnTo>
                <a:lnTo>
                  <a:pt x="536" y="353"/>
                </a:lnTo>
                <a:lnTo>
                  <a:pt x="533" y="356"/>
                </a:lnTo>
                <a:lnTo>
                  <a:pt x="531" y="361"/>
                </a:lnTo>
                <a:lnTo>
                  <a:pt x="517" y="361"/>
                </a:lnTo>
                <a:lnTo>
                  <a:pt x="516" y="365"/>
                </a:lnTo>
                <a:lnTo>
                  <a:pt x="514" y="370"/>
                </a:lnTo>
                <a:lnTo>
                  <a:pt x="509" y="375"/>
                </a:lnTo>
                <a:lnTo>
                  <a:pt x="504" y="378"/>
                </a:lnTo>
                <a:lnTo>
                  <a:pt x="493" y="387"/>
                </a:lnTo>
                <a:lnTo>
                  <a:pt x="485" y="393"/>
                </a:lnTo>
                <a:lnTo>
                  <a:pt x="485" y="406"/>
                </a:lnTo>
                <a:lnTo>
                  <a:pt x="472" y="413"/>
                </a:lnTo>
                <a:lnTo>
                  <a:pt x="472" y="432"/>
                </a:lnTo>
                <a:lnTo>
                  <a:pt x="469" y="432"/>
                </a:lnTo>
                <a:lnTo>
                  <a:pt x="468" y="433"/>
                </a:lnTo>
                <a:lnTo>
                  <a:pt x="467" y="434"/>
                </a:lnTo>
                <a:lnTo>
                  <a:pt x="466" y="436"/>
                </a:lnTo>
                <a:lnTo>
                  <a:pt x="466" y="441"/>
                </a:lnTo>
                <a:lnTo>
                  <a:pt x="465" y="445"/>
                </a:lnTo>
                <a:lnTo>
                  <a:pt x="460" y="450"/>
                </a:lnTo>
                <a:lnTo>
                  <a:pt x="456" y="454"/>
                </a:lnTo>
                <a:lnTo>
                  <a:pt x="450" y="458"/>
                </a:lnTo>
                <a:lnTo>
                  <a:pt x="446" y="459"/>
                </a:lnTo>
                <a:lnTo>
                  <a:pt x="446" y="471"/>
                </a:lnTo>
                <a:lnTo>
                  <a:pt x="436" y="474"/>
                </a:lnTo>
                <a:lnTo>
                  <a:pt x="426" y="478"/>
                </a:lnTo>
                <a:lnTo>
                  <a:pt x="419" y="484"/>
                </a:lnTo>
                <a:lnTo>
                  <a:pt x="416" y="498"/>
                </a:lnTo>
                <a:lnTo>
                  <a:pt x="412" y="511"/>
                </a:lnTo>
                <a:lnTo>
                  <a:pt x="410" y="511"/>
                </a:lnTo>
                <a:lnTo>
                  <a:pt x="406" y="514"/>
                </a:lnTo>
                <a:lnTo>
                  <a:pt x="401" y="516"/>
                </a:lnTo>
                <a:lnTo>
                  <a:pt x="397" y="519"/>
                </a:lnTo>
                <a:lnTo>
                  <a:pt x="393" y="524"/>
                </a:lnTo>
                <a:lnTo>
                  <a:pt x="390" y="528"/>
                </a:lnTo>
                <a:lnTo>
                  <a:pt x="388" y="532"/>
                </a:lnTo>
                <a:lnTo>
                  <a:pt x="387" y="537"/>
                </a:lnTo>
                <a:lnTo>
                  <a:pt x="373" y="537"/>
                </a:lnTo>
                <a:lnTo>
                  <a:pt x="363" y="550"/>
                </a:lnTo>
                <a:lnTo>
                  <a:pt x="354" y="564"/>
                </a:lnTo>
                <a:lnTo>
                  <a:pt x="341" y="564"/>
                </a:lnTo>
                <a:lnTo>
                  <a:pt x="340" y="566"/>
                </a:lnTo>
                <a:lnTo>
                  <a:pt x="339" y="568"/>
                </a:lnTo>
                <a:lnTo>
                  <a:pt x="336" y="570"/>
                </a:lnTo>
                <a:lnTo>
                  <a:pt x="334" y="573"/>
                </a:lnTo>
                <a:lnTo>
                  <a:pt x="330" y="575"/>
                </a:lnTo>
                <a:lnTo>
                  <a:pt x="327" y="576"/>
                </a:lnTo>
                <a:lnTo>
                  <a:pt x="327" y="589"/>
                </a:lnTo>
                <a:lnTo>
                  <a:pt x="314" y="596"/>
                </a:lnTo>
                <a:lnTo>
                  <a:pt x="311" y="609"/>
                </a:lnTo>
                <a:lnTo>
                  <a:pt x="309" y="622"/>
                </a:lnTo>
                <a:lnTo>
                  <a:pt x="302" y="624"/>
                </a:lnTo>
                <a:lnTo>
                  <a:pt x="295" y="626"/>
                </a:lnTo>
                <a:lnTo>
                  <a:pt x="293" y="628"/>
                </a:lnTo>
                <a:lnTo>
                  <a:pt x="291" y="631"/>
                </a:lnTo>
                <a:lnTo>
                  <a:pt x="288" y="633"/>
                </a:lnTo>
                <a:lnTo>
                  <a:pt x="288" y="635"/>
                </a:lnTo>
                <a:lnTo>
                  <a:pt x="278" y="636"/>
                </a:lnTo>
                <a:lnTo>
                  <a:pt x="268" y="637"/>
                </a:lnTo>
                <a:lnTo>
                  <a:pt x="258" y="640"/>
                </a:lnTo>
                <a:lnTo>
                  <a:pt x="249" y="642"/>
                </a:lnTo>
                <a:lnTo>
                  <a:pt x="239" y="644"/>
                </a:lnTo>
                <a:lnTo>
                  <a:pt x="229" y="646"/>
                </a:lnTo>
                <a:lnTo>
                  <a:pt x="219" y="647"/>
                </a:lnTo>
                <a:lnTo>
                  <a:pt x="209" y="649"/>
                </a:lnTo>
                <a:lnTo>
                  <a:pt x="208" y="653"/>
                </a:lnTo>
                <a:lnTo>
                  <a:pt x="206" y="657"/>
                </a:lnTo>
                <a:lnTo>
                  <a:pt x="201" y="661"/>
                </a:lnTo>
                <a:lnTo>
                  <a:pt x="197" y="662"/>
                </a:lnTo>
                <a:lnTo>
                  <a:pt x="196" y="664"/>
                </a:lnTo>
                <a:lnTo>
                  <a:pt x="192" y="668"/>
                </a:lnTo>
                <a:lnTo>
                  <a:pt x="188" y="671"/>
                </a:lnTo>
                <a:lnTo>
                  <a:pt x="182" y="674"/>
                </a:lnTo>
                <a:lnTo>
                  <a:pt x="171" y="682"/>
                </a:lnTo>
                <a:lnTo>
                  <a:pt x="163" y="688"/>
                </a:lnTo>
                <a:lnTo>
                  <a:pt x="157" y="689"/>
                </a:lnTo>
                <a:lnTo>
                  <a:pt x="150" y="690"/>
                </a:lnTo>
                <a:lnTo>
                  <a:pt x="143" y="692"/>
                </a:lnTo>
                <a:lnTo>
                  <a:pt x="138" y="694"/>
                </a:lnTo>
                <a:lnTo>
                  <a:pt x="131" y="697"/>
                </a:lnTo>
                <a:lnTo>
                  <a:pt x="125" y="699"/>
                </a:lnTo>
                <a:lnTo>
                  <a:pt x="119" y="700"/>
                </a:lnTo>
                <a:lnTo>
                  <a:pt x="111" y="701"/>
                </a:lnTo>
                <a:lnTo>
                  <a:pt x="110" y="703"/>
                </a:lnTo>
                <a:lnTo>
                  <a:pt x="108" y="705"/>
                </a:lnTo>
                <a:lnTo>
                  <a:pt x="103" y="708"/>
                </a:lnTo>
                <a:lnTo>
                  <a:pt x="98" y="710"/>
                </a:lnTo>
                <a:lnTo>
                  <a:pt x="86" y="713"/>
                </a:lnTo>
                <a:lnTo>
                  <a:pt x="79" y="714"/>
                </a:lnTo>
                <a:lnTo>
                  <a:pt x="79" y="718"/>
                </a:lnTo>
                <a:lnTo>
                  <a:pt x="77" y="720"/>
                </a:lnTo>
                <a:lnTo>
                  <a:pt x="76" y="720"/>
                </a:lnTo>
                <a:lnTo>
                  <a:pt x="75" y="721"/>
                </a:lnTo>
                <a:lnTo>
                  <a:pt x="74" y="721"/>
                </a:lnTo>
                <a:lnTo>
                  <a:pt x="73" y="721"/>
                </a:lnTo>
                <a:lnTo>
                  <a:pt x="72" y="723"/>
                </a:lnTo>
                <a:lnTo>
                  <a:pt x="72" y="727"/>
                </a:lnTo>
                <a:lnTo>
                  <a:pt x="58" y="727"/>
                </a:lnTo>
                <a:lnTo>
                  <a:pt x="58" y="740"/>
                </a:lnTo>
                <a:lnTo>
                  <a:pt x="54" y="741"/>
                </a:lnTo>
                <a:lnTo>
                  <a:pt x="51" y="742"/>
                </a:lnTo>
                <a:lnTo>
                  <a:pt x="48" y="745"/>
                </a:lnTo>
                <a:lnTo>
                  <a:pt x="46" y="747"/>
                </a:lnTo>
                <a:lnTo>
                  <a:pt x="45" y="749"/>
                </a:lnTo>
                <a:lnTo>
                  <a:pt x="43" y="751"/>
                </a:lnTo>
                <a:lnTo>
                  <a:pt x="42" y="752"/>
                </a:lnTo>
                <a:lnTo>
                  <a:pt x="39" y="753"/>
                </a:lnTo>
                <a:lnTo>
                  <a:pt x="39" y="767"/>
                </a:lnTo>
                <a:lnTo>
                  <a:pt x="37" y="768"/>
                </a:lnTo>
                <a:lnTo>
                  <a:pt x="34" y="771"/>
                </a:lnTo>
                <a:lnTo>
                  <a:pt x="32" y="778"/>
                </a:lnTo>
                <a:lnTo>
                  <a:pt x="31" y="785"/>
                </a:lnTo>
                <a:lnTo>
                  <a:pt x="27" y="799"/>
                </a:lnTo>
                <a:lnTo>
                  <a:pt x="26" y="813"/>
                </a:lnTo>
                <a:lnTo>
                  <a:pt x="13" y="819"/>
                </a:lnTo>
                <a:lnTo>
                  <a:pt x="13" y="843"/>
                </a:lnTo>
                <a:lnTo>
                  <a:pt x="12" y="866"/>
                </a:lnTo>
                <a:lnTo>
                  <a:pt x="9" y="892"/>
                </a:lnTo>
                <a:lnTo>
                  <a:pt x="7" y="918"/>
                </a:lnTo>
                <a:lnTo>
                  <a:pt x="5" y="943"/>
                </a:lnTo>
                <a:lnTo>
                  <a:pt x="3" y="969"/>
                </a:lnTo>
                <a:lnTo>
                  <a:pt x="2" y="995"/>
                </a:lnTo>
                <a:lnTo>
                  <a:pt x="0" y="1020"/>
                </a:lnTo>
                <a:lnTo>
                  <a:pt x="2" y="1020"/>
                </a:lnTo>
                <a:lnTo>
                  <a:pt x="3" y="1020"/>
                </a:lnTo>
                <a:lnTo>
                  <a:pt x="2" y="1017"/>
                </a:lnTo>
                <a:lnTo>
                  <a:pt x="2" y="1016"/>
                </a:lnTo>
                <a:lnTo>
                  <a:pt x="3" y="1015"/>
                </a:lnTo>
                <a:lnTo>
                  <a:pt x="4" y="1015"/>
                </a:lnTo>
                <a:lnTo>
                  <a:pt x="5" y="1015"/>
                </a:lnTo>
                <a:lnTo>
                  <a:pt x="7" y="1013"/>
                </a:lnTo>
                <a:lnTo>
                  <a:pt x="8" y="1012"/>
                </a:lnTo>
                <a:lnTo>
                  <a:pt x="8" y="1009"/>
                </a:lnTo>
                <a:lnTo>
                  <a:pt x="27" y="1009"/>
                </a:lnTo>
                <a:lnTo>
                  <a:pt x="56" y="1010"/>
                </a:lnTo>
                <a:lnTo>
                  <a:pt x="72" y="1012"/>
                </a:lnTo>
                <a:lnTo>
                  <a:pt x="84" y="1013"/>
                </a:lnTo>
                <a:lnTo>
                  <a:pt x="90" y="1015"/>
                </a:lnTo>
                <a:lnTo>
                  <a:pt x="93" y="1017"/>
                </a:lnTo>
                <a:lnTo>
                  <a:pt x="95" y="1018"/>
                </a:lnTo>
                <a:lnTo>
                  <a:pt x="96" y="1020"/>
                </a:lnTo>
                <a:lnTo>
                  <a:pt x="113" y="1020"/>
                </a:lnTo>
                <a:lnTo>
                  <a:pt x="113" y="1025"/>
                </a:lnTo>
                <a:lnTo>
                  <a:pt x="113" y="1028"/>
                </a:lnTo>
                <a:lnTo>
                  <a:pt x="115" y="1030"/>
                </a:lnTo>
                <a:lnTo>
                  <a:pt x="119" y="1031"/>
                </a:lnTo>
                <a:lnTo>
                  <a:pt x="120" y="1039"/>
                </a:lnTo>
                <a:lnTo>
                  <a:pt x="124" y="1049"/>
                </a:lnTo>
                <a:lnTo>
                  <a:pt x="128" y="1055"/>
                </a:lnTo>
                <a:lnTo>
                  <a:pt x="130" y="1059"/>
                </a:lnTo>
                <a:lnTo>
                  <a:pt x="132" y="1063"/>
                </a:lnTo>
                <a:lnTo>
                  <a:pt x="134" y="1064"/>
                </a:lnTo>
                <a:lnTo>
                  <a:pt x="134" y="1075"/>
                </a:lnTo>
                <a:lnTo>
                  <a:pt x="140" y="1080"/>
                </a:lnTo>
                <a:lnTo>
                  <a:pt x="146" y="1086"/>
                </a:lnTo>
                <a:lnTo>
                  <a:pt x="157" y="1086"/>
                </a:lnTo>
                <a:lnTo>
                  <a:pt x="157" y="1089"/>
                </a:lnTo>
                <a:lnTo>
                  <a:pt x="159" y="1093"/>
                </a:lnTo>
                <a:lnTo>
                  <a:pt x="160" y="1095"/>
                </a:lnTo>
                <a:lnTo>
                  <a:pt x="162" y="1096"/>
                </a:lnTo>
                <a:lnTo>
                  <a:pt x="166" y="1099"/>
                </a:lnTo>
                <a:lnTo>
                  <a:pt x="168" y="1103"/>
                </a:lnTo>
                <a:lnTo>
                  <a:pt x="182" y="1104"/>
                </a:lnTo>
                <a:lnTo>
                  <a:pt x="198" y="1105"/>
                </a:lnTo>
                <a:lnTo>
                  <a:pt x="214" y="1107"/>
                </a:lnTo>
                <a:lnTo>
                  <a:pt x="228" y="1108"/>
                </a:lnTo>
                <a:lnTo>
                  <a:pt x="229" y="1111"/>
                </a:lnTo>
                <a:lnTo>
                  <a:pt x="231" y="1112"/>
                </a:lnTo>
                <a:lnTo>
                  <a:pt x="235" y="1114"/>
                </a:lnTo>
                <a:lnTo>
                  <a:pt x="239" y="1115"/>
                </a:lnTo>
                <a:lnTo>
                  <a:pt x="249" y="1118"/>
                </a:lnTo>
                <a:lnTo>
                  <a:pt x="256" y="1120"/>
                </a:lnTo>
                <a:lnTo>
                  <a:pt x="258" y="1121"/>
                </a:lnTo>
                <a:lnTo>
                  <a:pt x="265" y="1124"/>
                </a:lnTo>
                <a:lnTo>
                  <a:pt x="274" y="1128"/>
                </a:lnTo>
                <a:lnTo>
                  <a:pt x="283" y="1130"/>
                </a:lnTo>
                <a:lnTo>
                  <a:pt x="288" y="1141"/>
                </a:lnTo>
                <a:lnTo>
                  <a:pt x="292" y="1142"/>
                </a:lnTo>
                <a:lnTo>
                  <a:pt x="295" y="1143"/>
                </a:lnTo>
                <a:lnTo>
                  <a:pt x="300" y="1145"/>
                </a:lnTo>
                <a:lnTo>
                  <a:pt x="304" y="1149"/>
                </a:lnTo>
                <a:lnTo>
                  <a:pt x="313" y="1156"/>
                </a:lnTo>
                <a:lnTo>
                  <a:pt x="323" y="1165"/>
                </a:lnTo>
                <a:lnTo>
                  <a:pt x="340" y="1183"/>
                </a:lnTo>
                <a:lnTo>
                  <a:pt x="349" y="1191"/>
                </a:lnTo>
                <a:lnTo>
                  <a:pt x="377" y="1267"/>
                </a:lnTo>
                <a:lnTo>
                  <a:pt x="377" y="1276"/>
                </a:lnTo>
                <a:lnTo>
                  <a:pt x="377" y="1288"/>
                </a:lnTo>
                <a:lnTo>
                  <a:pt x="378" y="1295"/>
                </a:lnTo>
                <a:lnTo>
                  <a:pt x="379" y="1300"/>
                </a:lnTo>
                <a:lnTo>
                  <a:pt x="380" y="1305"/>
                </a:lnTo>
                <a:lnTo>
                  <a:pt x="382" y="1306"/>
                </a:lnTo>
                <a:lnTo>
                  <a:pt x="382" y="1323"/>
                </a:lnTo>
                <a:lnTo>
                  <a:pt x="388" y="1325"/>
                </a:lnTo>
                <a:lnTo>
                  <a:pt x="393" y="1328"/>
                </a:lnTo>
                <a:lnTo>
                  <a:pt x="393" y="1333"/>
                </a:lnTo>
                <a:lnTo>
                  <a:pt x="393" y="1338"/>
                </a:lnTo>
                <a:lnTo>
                  <a:pt x="394" y="1341"/>
                </a:lnTo>
                <a:lnTo>
                  <a:pt x="396" y="1343"/>
                </a:lnTo>
                <a:lnTo>
                  <a:pt x="397" y="1344"/>
                </a:lnTo>
                <a:lnTo>
                  <a:pt x="399" y="1344"/>
                </a:lnTo>
                <a:lnTo>
                  <a:pt x="399" y="1358"/>
                </a:lnTo>
                <a:lnTo>
                  <a:pt x="399" y="1372"/>
                </a:lnTo>
                <a:lnTo>
                  <a:pt x="409" y="1432"/>
                </a:lnTo>
                <a:lnTo>
                  <a:pt x="410" y="1438"/>
                </a:lnTo>
                <a:lnTo>
                  <a:pt x="412" y="1451"/>
                </a:lnTo>
                <a:lnTo>
                  <a:pt x="415" y="1459"/>
                </a:lnTo>
                <a:lnTo>
                  <a:pt x="417" y="1464"/>
                </a:lnTo>
                <a:lnTo>
                  <a:pt x="418" y="1469"/>
                </a:lnTo>
                <a:lnTo>
                  <a:pt x="420" y="1470"/>
                </a:lnTo>
                <a:lnTo>
                  <a:pt x="420" y="1480"/>
                </a:lnTo>
                <a:lnTo>
                  <a:pt x="419" y="1493"/>
                </a:lnTo>
                <a:lnTo>
                  <a:pt x="418" y="1509"/>
                </a:lnTo>
                <a:lnTo>
                  <a:pt x="416" y="1526"/>
                </a:lnTo>
                <a:lnTo>
                  <a:pt x="421" y="1530"/>
                </a:lnTo>
                <a:lnTo>
                  <a:pt x="424" y="1532"/>
                </a:lnTo>
                <a:lnTo>
                  <a:pt x="448" y="1534"/>
                </a:lnTo>
                <a:lnTo>
                  <a:pt x="473" y="1536"/>
                </a:lnTo>
                <a:lnTo>
                  <a:pt x="498" y="1538"/>
                </a:lnTo>
                <a:lnTo>
                  <a:pt x="522" y="1538"/>
                </a:lnTo>
                <a:lnTo>
                  <a:pt x="524" y="1537"/>
                </a:lnTo>
                <a:lnTo>
                  <a:pt x="531" y="1535"/>
                </a:lnTo>
                <a:lnTo>
                  <a:pt x="542" y="1534"/>
                </a:lnTo>
                <a:lnTo>
                  <a:pt x="556" y="1534"/>
                </a:lnTo>
                <a:lnTo>
                  <a:pt x="593" y="1534"/>
                </a:lnTo>
                <a:lnTo>
                  <a:pt x="637" y="1534"/>
                </a:lnTo>
                <a:lnTo>
                  <a:pt x="636" y="1534"/>
                </a:lnTo>
                <a:lnTo>
                  <a:pt x="629" y="1527"/>
                </a:lnTo>
                <a:lnTo>
                  <a:pt x="617" y="1520"/>
                </a:lnTo>
                <a:lnTo>
                  <a:pt x="617" y="1507"/>
                </a:lnTo>
                <a:lnTo>
                  <a:pt x="612" y="1507"/>
                </a:lnTo>
                <a:lnTo>
                  <a:pt x="610" y="1506"/>
                </a:lnTo>
                <a:lnTo>
                  <a:pt x="610" y="1505"/>
                </a:lnTo>
                <a:lnTo>
                  <a:pt x="610" y="1503"/>
                </a:lnTo>
                <a:lnTo>
                  <a:pt x="610" y="1502"/>
                </a:lnTo>
                <a:lnTo>
                  <a:pt x="609" y="1501"/>
                </a:lnTo>
                <a:lnTo>
                  <a:pt x="607" y="1501"/>
                </a:lnTo>
                <a:lnTo>
                  <a:pt x="603" y="1500"/>
                </a:lnTo>
                <a:lnTo>
                  <a:pt x="603" y="1488"/>
                </a:lnTo>
                <a:lnTo>
                  <a:pt x="599" y="1487"/>
                </a:lnTo>
                <a:lnTo>
                  <a:pt x="595" y="1484"/>
                </a:lnTo>
                <a:lnTo>
                  <a:pt x="591" y="1482"/>
                </a:lnTo>
                <a:lnTo>
                  <a:pt x="588" y="1478"/>
                </a:lnTo>
                <a:lnTo>
                  <a:pt x="580" y="1469"/>
                </a:lnTo>
                <a:lnTo>
                  <a:pt x="572" y="1458"/>
                </a:lnTo>
                <a:lnTo>
                  <a:pt x="565" y="1448"/>
                </a:lnTo>
                <a:lnTo>
                  <a:pt x="559" y="1438"/>
                </a:lnTo>
                <a:lnTo>
                  <a:pt x="554" y="1431"/>
                </a:lnTo>
                <a:lnTo>
                  <a:pt x="551" y="1429"/>
                </a:lnTo>
                <a:lnTo>
                  <a:pt x="551" y="1415"/>
                </a:lnTo>
                <a:lnTo>
                  <a:pt x="549" y="1415"/>
                </a:lnTo>
                <a:lnTo>
                  <a:pt x="546" y="1414"/>
                </a:lnTo>
                <a:lnTo>
                  <a:pt x="545" y="1413"/>
                </a:lnTo>
                <a:lnTo>
                  <a:pt x="545" y="1411"/>
                </a:lnTo>
                <a:lnTo>
                  <a:pt x="544" y="1407"/>
                </a:lnTo>
                <a:lnTo>
                  <a:pt x="544" y="1402"/>
                </a:lnTo>
                <a:lnTo>
                  <a:pt x="542" y="1402"/>
                </a:lnTo>
                <a:lnTo>
                  <a:pt x="540" y="1401"/>
                </a:lnTo>
                <a:lnTo>
                  <a:pt x="538" y="1399"/>
                </a:lnTo>
                <a:lnTo>
                  <a:pt x="537" y="1396"/>
                </a:lnTo>
                <a:lnTo>
                  <a:pt x="536" y="1390"/>
                </a:lnTo>
                <a:lnTo>
                  <a:pt x="536" y="1382"/>
                </a:lnTo>
                <a:lnTo>
                  <a:pt x="536" y="1366"/>
                </a:lnTo>
                <a:lnTo>
                  <a:pt x="537" y="1356"/>
                </a:lnTo>
                <a:lnTo>
                  <a:pt x="536" y="1352"/>
                </a:lnTo>
                <a:lnTo>
                  <a:pt x="534" y="1345"/>
                </a:lnTo>
                <a:lnTo>
                  <a:pt x="531" y="1339"/>
                </a:lnTo>
                <a:lnTo>
                  <a:pt x="527" y="1333"/>
                </a:lnTo>
                <a:lnTo>
                  <a:pt x="524" y="1326"/>
                </a:lnTo>
                <a:lnTo>
                  <a:pt x="521" y="1318"/>
                </a:lnTo>
                <a:lnTo>
                  <a:pt x="518" y="1311"/>
                </a:lnTo>
                <a:lnTo>
                  <a:pt x="517" y="1304"/>
                </a:lnTo>
                <a:lnTo>
                  <a:pt x="515" y="1303"/>
                </a:lnTo>
                <a:lnTo>
                  <a:pt x="512" y="1299"/>
                </a:lnTo>
                <a:lnTo>
                  <a:pt x="508" y="1294"/>
                </a:lnTo>
                <a:lnTo>
                  <a:pt x="505" y="1287"/>
                </a:lnTo>
                <a:lnTo>
                  <a:pt x="501" y="1274"/>
                </a:lnTo>
                <a:lnTo>
                  <a:pt x="498" y="1265"/>
                </a:lnTo>
                <a:lnTo>
                  <a:pt x="495" y="1263"/>
                </a:lnTo>
                <a:lnTo>
                  <a:pt x="492" y="1261"/>
                </a:lnTo>
                <a:lnTo>
                  <a:pt x="489" y="1257"/>
                </a:lnTo>
                <a:lnTo>
                  <a:pt x="487" y="1252"/>
                </a:lnTo>
                <a:lnTo>
                  <a:pt x="483" y="1239"/>
                </a:lnTo>
                <a:lnTo>
                  <a:pt x="480" y="1223"/>
                </a:lnTo>
                <a:lnTo>
                  <a:pt x="478" y="1190"/>
                </a:lnTo>
                <a:lnTo>
                  <a:pt x="478" y="1166"/>
                </a:lnTo>
                <a:lnTo>
                  <a:pt x="483" y="1165"/>
                </a:lnTo>
                <a:lnTo>
                  <a:pt x="484" y="1163"/>
                </a:lnTo>
                <a:lnTo>
                  <a:pt x="485" y="1160"/>
                </a:lnTo>
                <a:lnTo>
                  <a:pt x="485" y="1156"/>
                </a:lnTo>
                <a:lnTo>
                  <a:pt x="485" y="1153"/>
                </a:lnTo>
                <a:lnTo>
                  <a:pt x="486" y="1150"/>
                </a:lnTo>
                <a:lnTo>
                  <a:pt x="488" y="1147"/>
                </a:lnTo>
                <a:lnTo>
                  <a:pt x="492" y="1146"/>
                </a:lnTo>
                <a:lnTo>
                  <a:pt x="492" y="1127"/>
                </a:lnTo>
                <a:lnTo>
                  <a:pt x="498" y="1121"/>
                </a:lnTo>
                <a:lnTo>
                  <a:pt x="505" y="1114"/>
                </a:lnTo>
                <a:lnTo>
                  <a:pt x="525" y="1114"/>
                </a:lnTo>
                <a:lnTo>
                  <a:pt x="547" y="1114"/>
                </a:lnTo>
                <a:lnTo>
                  <a:pt x="569" y="1114"/>
                </a:lnTo>
                <a:lnTo>
                  <a:pt x="590" y="1114"/>
                </a:lnTo>
                <a:lnTo>
                  <a:pt x="591" y="1111"/>
                </a:lnTo>
                <a:lnTo>
                  <a:pt x="593" y="1108"/>
                </a:lnTo>
                <a:lnTo>
                  <a:pt x="597" y="1107"/>
                </a:lnTo>
                <a:lnTo>
                  <a:pt x="600" y="1107"/>
                </a:lnTo>
                <a:lnTo>
                  <a:pt x="603" y="1107"/>
                </a:lnTo>
                <a:lnTo>
                  <a:pt x="607" y="1106"/>
                </a:lnTo>
                <a:lnTo>
                  <a:pt x="609" y="1105"/>
                </a:lnTo>
                <a:lnTo>
                  <a:pt x="610" y="1101"/>
                </a:lnTo>
                <a:lnTo>
                  <a:pt x="642" y="1101"/>
                </a:lnTo>
                <a:lnTo>
                  <a:pt x="656" y="1094"/>
                </a:lnTo>
                <a:lnTo>
                  <a:pt x="677" y="1079"/>
                </a:lnTo>
                <a:lnTo>
                  <a:pt x="725" y="1045"/>
                </a:lnTo>
                <a:lnTo>
                  <a:pt x="774" y="1011"/>
                </a:lnTo>
                <a:lnTo>
                  <a:pt x="800" y="996"/>
                </a:lnTo>
                <a:lnTo>
                  <a:pt x="813" y="980"/>
                </a:lnTo>
                <a:lnTo>
                  <a:pt x="825" y="963"/>
                </a:lnTo>
                <a:lnTo>
                  <a:pt x="839" y="957"/>
                </a:lnTo>
                <a:lnTo>
                  <a:pt x="852" y="950"/>
                </a:lnTo>
                <a:lnTo>
                  <a:pt x="852" y="947"/>
                </a:lnTo>
                <a:lnTo>
                  <a:pt x="853" y="944"/>
                </a:lnTo>
                <a:lnTo>
                  <a:pt x="854" y="943"/>
                </a:lnTo>
                <a:lnTo>
                  <a:pt x="856" y="943"/>
                </a:lnTo>
                <a:lnTo>
                  <a:pt x="857" y="943"/>
                </a:lnTo>
                <a:lnTo>
                  <a:pt x="858" y="943"/>
                </a:lnTo>
                <a:lnTo>
                  <a:pt x="859" y="941"/>
                </a:lnTo>
                <a:lnTo>
                  <a:pt x="859" y="936"/>
                </a:lnTo>
                <a:lnTo>
                  <a:pt x="872" y="936"/>
                </a:lnTo>
                <a:lnTo>
                  <a:pt x="872" y="934"/>
                </a:lnTo>
                <a:lnTo>
                  <a:pt x="873" y="933"/>
                </a:lnTo>
                <a:lnTo>
                  <a:pt x="874" y="932"/>
                </a:lnTo>
                <a:lnTo>
                  <a:pt x="876" y="931"/>
                </a:lnTo>
                <a:lnTo>
                  <a:pt x="880" y="931"/>
                </a:lnTo>
                <a:lnTo>
                  <a:pt x="885" y="930"/>
                </a:lnTo>
                <a:lnTo>
                  <a:pt x="886" y="926"/>
                </a:lnTo>
                <a:lnTo>
                  <a:pt x="886" y="924"/>
                </a:lnTo>
                <a:lnTo>
                  <a:pt x="887" y="924"/>
                </a:lnTo>
                <a:lnTo>
                  <a:pt x="888" y="924"/>
                </a:lnTo>
                <a:lnTo>
                  <a:pt x="889" y="924"/>
                </a:lnTo>
                <a:lnTo>
                  <a:pt x="890" y="923"/>
                </a:lnTo>
                <a:lnTo>
                  <a:pt x="891" y="921"/>
                </a:lnTo>
                <a:lnTo>
                  <a:pt x="891" y="918"/>
                </a:lnTo>
                <a:lnTo>
                  <a:pt x="907" y="919"/>
                </a:lnTo>
                <a:lnTo>
                  <a:pt x="929" y="922"/>
                </a:lnTo>
                <a:lnTo>
                  <a:pt x="939" y="925"/>
                </a:lnTo>
                <a:lnTo>
                  <a:pt x="948" y="929"/>
                </a:lnTo>
                <a:lnTo>
                  <a:pt x="952" y="930"/>
                </a:lnTo>
                <a:lnTo>
                  <a:pt x="955" y="932"/>
                </a:lnTo>
                <a:lnTo>
                  <a:pt x="956" y="934"/>
                </a:lnTo>
                <a:lnTo>
                  <a:pt x="957" y="936"/>
                </a:lnTo>
                <a:lnTo>
                  <a:pt x="970" y="936"/>
                </a:lnTo>
                <a:lnTo>
                  <a:pt x="979" y="924"/>
                </a:lnTo>
                <a:lnTo>
                  <a:pt x="989" y="911"/>
                </a:lnTo>
                <a:lnTo>
                  <a:pt x="995" y="910"/>
                </a:lnTo>
                <a:lnTo>
                  <a:pt x="998" y="906"/>
                </a:lnTo>
                <a:lnTo>
                  <a:pt x="1002" y="902"/>
                </a:lnTo>
                <a:lnTo>
                  <a:pt x="1003" y="897"/>
                </a:lnTo>
                <a:lnTo>
                  <a:pt x="1016" y="897"/>
                </a:lnTo>
                <a:lnTo>
                  <a:pt x="1017" y="895"/>
                </a:lnTo>
                <a:lnTo>
                  <a:pt x="1020" y="894"/>
                </a:lnTo>
                <a:lnTo>
                  <a:pt x="1025" y="893"/>
                </a:lnTo>
                <a:lnTo>
                  <a:pt x="1031" y="892"/>
                </a:lnTo>
                <a:lnTo>
                  <a:pt x="1048" y="893"/>
                </a:lnTo>
                <a:lnTo>
                  <a:pt x="1065" y="894"/>
                </a:lnTo>
                <a:lnTo>
                  <a:pt x="1083" y="897"/>
                </a:lnTo>
                <a:lnTo>
                  <a:pt x="1099" y="901"/>
                </a:lnTo>
                <a:lnTo>
                  <a:pt x="1106" y="903"/>
                </a:lnTo>
                <a:lnTo>
                  <a:pt x="1110" y="906"/>
                </a:lnTo>
                <a:lnTo>
                  <a:pt x="1113" y="909"/>
                </a:lnTo>
                <a:lnTo>
                  <a:pt x="1114" y="911"/>
                </a:lnTo>
                <a:lnTo>
                  <a:pt x="1133" y="911"/>
                </a:lnTo>
                <a:lnTo>
                  <a:pt x="1137" y="914"/>
                </a:lnTo>
                <a:lnTo>
                  <a:pt x="1140" y="918"/>
                </a:lnTo>
                <a:lnTo>
                  <a:pt x="1144" y="921"/>
                </a:lnTo>
                <a:lnTo>
                  <a:pt x="1148" y="923"/>
                </a:lnTo>
                <a:lnTo>
                  <a:pt x="1158" y="928"/>
                </a:lnTo>
                <a:lnTo>
                  <a:pt x="1169" y="931"/>
                </a:lnTo>
                <a:lnTo>
                  <a:pt x="1181" y="934"/>
                </a:lnTo>
                <a:lnTo>
                  <a:pt x="1196" y="936"/>
                </a:lnTo>
                <a:lnTo>
                  <a:pt x="1211" y="938"/>
                </a:lnTo>
                <a:lnTo>
                  <a:pt x="1225" y="939"/>
                </a:lnTo>
                <a:lnTo>
                  <a:pt x="1255" y="939"/>
                </a:lnTo>
                <a:lnTo>
                  <a:pt x="1284" y="939"/>
                </a:lnTo>
                <a:lnTo>
                  <a:pt x="1310" y="938"/>
                </a:lnTo>
                <a:lnTo>
                  <a:pt x="1331" y="936"/>
                </a:lnTo>
                <a:lnTo>
                  <a:pt x="1331" y="934"/>
                </a:lnTo>
                <a:lnTo>
                  <a:pt x="1332" y="933"/>
                </a:lnTo>
                <a:lnTo>
                  <a:pt x="1333" y="932"/>
                </a:lnTo>
                <a:lnTo>
                  <a:pt x="1334" y="931"/>
                </a:lnTo>
                <a:lnTo>
                  <a:pt x="1339" y="931"/>
                </a:lnTo>
                <a:lnTo>
                  <a:pt x="1343" y="930"/>
                </a:lnTo>
                <a:lnTo>
                  <a:pt x="1344" y="929"/>
                </a:lnTo>
                <a:lnTo>
                  <a:pt x="1344" y="926"/>
                </a:lnTo>
                <a:lnTo>
                  <a:pt x="1346" y="925"/>
                </a:lnTo>
                <a:lnTo>
                  <a:pt x="1348" y="924"/>
                </a:lnTo>
                <a:lnTo>
                  <a:pt x="1352" y="924"/>
                </a:lnTo>
                <a:lnTo>
                  <a:pt x="1357" y="924"/>
                </a:lnTo>
                <a:lnTo>
                  <a:pt x="1363" y="918"/>
                </a:lnTo>
                <a:lnTo>
                  <a:pt x="1370" y="911"/>
                </a:lnTo>
                <a:lnTo>
                  <a:pt x="1370" y="891"/>
                </a:lnTo>
                <a:lnTo>
                  <a:pt x="1370" y="868"/>
                </a:lnTo>
                <a:lnTo>
                  <a:pt x="1370" y="845"/>
                </a:lnTo>
                <a:lnTo>
                  <a:pt x="1370" y="822"/>
                </a:lnTo>
                <a:lnTo>
                  <a:pt x="1370" y="797"/>
                </a:lnTo>
                <a:lnTo>
                  <a:pt x="1370" y="774"/>
                </a:lnTo>
                <a:lnTo>
                  <a:pt x="1370" y="750"/>
                </a:lnTo>
                <a:lnTo>
                  <a:pt x="1370" y="727"/>
                </a:lnTo>
                <a:lnTo>
                  <a:pt x="1372" y="726"/>
                </a:lnTo>
                <a:lnTo>
                  <a:pt x="1375" y="720"/>
                </a:lnTo>
                <a:lnTo>
                  <a:pt x="1377" y="712"/>
                </a:lnTo>
                <a:lnTo>
                  <a:pt x="1379" y="701"/>
                </a:lnTo>
                <a:lnTo>
                  <a:pt x="1382" y="673"/>
                </a:lnTo>
                <a:lnTo>
                  <a:pt x="1385" y="641"/>
                </a:lnTo>
                <a:lnTo>
                  <a:pt x="1387" y="607"/>
                </a:lnTo>
                <a:lnTo>
                  <a:pt x="1388" y="575"/>
                </a:lnTo>
                <a:lnTo>
                  <a:pt x="1389" y="548"/>
                </a:lnTo>
                <a:lnTo>
                  <a:pt x="1389" y="530"/>
                </a:lnTo>
                <a:lnTo>
                  <a:pt x="1392" y="529"/>
                </a:lnTo>
                <a:lnTo>
                  <a:pt x="1395" y="524"/>
                </a:lnTo>
                <a:lnTo>
                  <a:pt x="1397" y="516"/>
                </a:lnTo>
                <a:lnTo>
                  <a:pt x="1399" y="507"/>
                </a:lnTo>
                <a:lnTo>
                  <a:pt x="1401" y="489"/>
                </a:lnTo>
                <a:lnTo>
                  <a:pt x="1403" y="478"/>
                </a:lnTo>
                <a:lnTo>
                  <a:pt x="1416" y="466"/>
                </a:lnTo>
                <a:lnTo>
                  <a:pt x="1416" y="457"/>
                </a:lnTo>
                <a:lnTo>
                  <a:pt x="1416" y="445"/>
                </a:lnTo>
                <a:lnTo>
                  <a:pt x="1416" y="433"/>
                </a:lnTo>
                <a:lnTo>
                  <a:pt x="1416" y="425"/>
                </a:lnTo>
                <a:lnTo>
                  <a:pt x="1409" y="419"/>
                </a:lnTo>
                <a:lnTo>
                  <a:pt x="1403" y="413"/>
                </a:lnTo>
                <a:lnTo>
                  <a:pt x="1378" y="410"/>
                </a:lnTo>
                <a:lnTo>
                  <a:pt x="1328" y="401"/>
                </a:lnTo>
                <a:lnTo>
                  <a:pt x="1302" y="396"/>
                </a:lnTo>
                <a:lnTo>
                  <a:pt x="1280" y="391"/>
                </a:lnTo>
                <a:lnTo>
                  <a:pt x="1271" y="387"/>
                </a:lnTo>
                <a:lnTo>
                  <a:pt x="1264" y="385"/>
                </a:lnTo>
                <a:lnTo>
                  <a:pt x="1260" y="382"/>
                </a:lnTo>
                <a:lnTo>
                  <a:pt x="1259" y="380"/>
                </a:lnTo>
                <a:lnTo>
                  <a:pt x="1250" y="375"/>
                </a:lnTo>
                <a:lnTo>
                  <a:pt x="1242" y="370"/>
                </a:lnTo>
                <a:lnTo>
                  <a:pt x="1235" y="363"/>
                </a:lnTo>
                <a:lnTo>
                  <a:pt x="1229" y="356"/>
                </a:lnTo>
                <a:lnTo>
                  <a:pt x="1225" y="349"/>
                </a:lnTo>
                <a:lnTo>
                  <a:pt x="1221" y="343"/>
                </a:lnTo>
                <a:lnTo>
                  <a:pt x="1218" y="335"/>
                </a:lnTo>
                <a:lnTo>
                  <a:pt x="1216" y="326"/>
                </a:lnTo>
                <a:lnTo>
                  <a:pt x="1213" y="309"/>
                </a:lnTo>
                <a:lnTo>
                  <a:pt x="1213" y="290"/>
                </a:lnTo>
                <a:lnTo>
                  <a:pt x="1213" y="270"/>
                </a:lnTo>
                <a:lnTo>
                  <a:pt x="1213" y="249"/>
                </a:lnTo>
                <a:lnTo>
                  <a:pt x="1215" y="246"/>
                </a:lnTo>
                <a:lnTo>
                  <a:pt x="1216" y="239"/>
                </a:lnTo>
                <a:lnTo>
                  <a:pt x="1217" y="229"/>
                </a:lnTo>
                <a:lnTo>
                  <a:pt x="1218" y="218"/>
                </a:lnTo>
                <a:lnTo>
                  <a:pt x="1219" y="193"/>
                </a:lnTo>
                <a:lnTo>
                  <a:pt x="1219" y="176"/>
                </a:lnTo>
                <a:lnTo>
                  <a:pt x="1213" y="170"/>
                </a:lnTo>
                <a:lnTo>
                  <a:pt x="1205" y="170"/>
                </a:lnTo>
                <a:lnTo>
                  <a:pt x="1193" y="170"/>
                </a:lnTo>
                <a:lnTo>
                  <a:pt x="1181" y="170"/>
                </a:lnTo>
                <a:lnTo>
                  <a:pt x="1174" y="170"/>
                </a:lnTo>
                <a:lnTo>
                  <a:pt x="1173" y="166"/>
                </a:lnTo>
                <a:lnTo>
                  <a:pt x="1173" y="164"/>
                </a:lnTo>
                <a:lnTo>
                  <a:pt x="1171" y="164"/>
                </a:lnTo>
                <a:lnTo>
                  <a:pt x="1170" y="163"/>
                </a:lnTo>
                <a:lnTo>
                  <a:pt x="1169" y="163"/>
                </a:lnTo>
                <a:lnTo>
                  <a:pt x="1168" y="163"/>
                </a:lnTo>
                <a:lnTo>
                  <a:pt x="1167" y="161"/>
                </a:lnTo>
                <a:lnTo>
                  <a:pt x="1167" y="157"/>
                </a:lnTo>
                <a:lnTo>
                  <a:pt x="1150" y="154"/>
                </a:lnTo>
                <a:lnTo>
                  <a:pt x="1133" y="151"/>
                </a:lnTo>
                <a:lnTo>
                  <a:pt x="1129" y="145"/>
                </a:lnTo>
                <a:lnTo>
                  <a:pt x="1125" y="141"/>
                </a:lnTo>
                <a:lnTo>
                  <a:pt x="1122" y="135"/>
                </a:lnTo>
                <a:lnTo>
                  <a:pt x="1121" y="131"/>
                </a:lnTo>
                <a:lnTo>
                  <a:pt x="1099" y="130"/>
                </a:lnTo>
                <a:lnTo>
                  <a:pt x="1074" y="127"/>
                </a:lnTo>
                <a:lnTo>
                  <a:pt x="1048" y="125"/>
                </a:lnTo>
                <a:lnTo>
                  <a:pt x="1023" y="124"/>
                </a:lnTo>
                <a:lnTo>
                  <a:pt x="1015" y="116"/>
                </a:lnTo>
                <a:lnTo>
                  <a:pt x="1010" y="107"/>
                </a:lnTo>
                <a:lnTo>
                  <a:pt x="1004" y="97"/>
                </a:lnTo>
                <a:lnTo>
                  <a:pt x="998" y="86"/>
                </a:lnTo>
                <a:lnTo>
                  <a:pt x="995" y="75"/>
                </a:lnTo>
                <a:lnTo>
                  <a:pt x="992" y="64"/>
                </a:lnTo>
                <a:lnTo>
                  <a:pt x="991" y="51"/>
                </a:lnTo>
                <a:lnTo>
                  <a:pt x="989" y="39"/>
                </a:lnTo>
                <a:lnTo>
                  <a:pt x="987" y="39"/>
                </a:lnTo>
                <a:lnTo>
                  <a:pt x="986" y="38"/>
                </a:lnTo>
                <a:lnTo>
                  <a:pt x="985" y="37"/>
                </a:lnTo>
                <a:lnTo>
                  <a:pt x="984" y="35"/>
                </a:lnTo>
                <a:lnTo>
                  <a:pt x="983" y="30"/>
                </a:lnTo>
                <a:lnTo>
                  <a:pt x="983" y="26"/>
                </a:lnTo>
                <a:lnTo>
                  <a:pt x="981" y="26"/>
                </a:lnTo>
                <a:lnTo>
                  <a:pt x="979" y="24"/>
                </a:lnTo>
                <a:lnTo>
                  <a:pt x="978" y="21"/>
                </a:lnTo>
                <a:lnTo>
                  <a:pt x="977" y="18"/>
                </a:lnTo>
                <a:lnTo>
                  <a:pt x="977" y="12"/>
                </a:lnTo>
                <a:lnTo>
                  <a:pt x="976" y="6"/>
                </a:lnTo>
                <a:lnTo>
                  <a:pt x="970" y="0"/>
                </a:lnTo>
                <a:lnTo>
                  <a:pt x="957" y="0"/>
                </a:lnTo>
                <a:lnTo>
                  <a:pt x="954" y="9"/>
                </a:lnTo>
                <a:lnTo>
                  <a:pt x="950" y="19"/>
                </a:lnTo>
                <a:lnTo>
                  <a:pt x="948" y="20"/>
                </a:lnTo>
                <a:lnTo>
                  <a:pt x="946" y="22"/>
                </a:lnTo>
                <a:lnTo>
                  <a:pt x="944" y="26"/>
                </a:lnTo>
                <a:lnTo>
                  <a:pt x="941" y="30"/>
                </a:lnTo>
                <a:lnTo>
                  <a:pt x="938" y="39"/>
                </a:lnTo>
                <a:lnTo>
                  <a:pt x="937" y="46"/>
                </a:lnTo>
                <a:lnTo>
                  <a:pt x="933" y="50"/>
                </a:lnTo>
                <a:lnTo>
                  <a:pt x="928" y="56"/>
                </a:lnTo>
                <a:lnTo>
                  <a:pt x="927" y="59"/>
                </a:lnTo>
                <a:lnTo>
                  <a:pt x="926" y="63"/>
                </a:lnTo>
                <a:lnTo>
                  <a:pt x="925" y="67"/>
                </a:lnTo>
                <a:lnTo>
                  <a:pt x="925" y="72"/>
                </a:lnTo>
                <a:lnTo>
                  <a:pt x="918" y="85"/>
                </a:lnTo>
                <a:lnTo>
                  <a:pt x="915" y="86"/>
                </a:lnTo>
                <a:lnTo>
                  <a:pt x="912" y="87"/>
                </a:lnTo>
                <a:lnTo>
                  <a:pt x="910" y="91"/>
                </a:lnTo>
                <a:lnTo>
                  <a:pt x="908" y="94"/>
                </a:lnTo>
                <a:lnTo>
                  <a:pt x="904" y="104"/>
                </a:lnTo>
                <a:lnTo>
                  <a:pt x="899" y="116"/>
                </a:lnTo>
                <a:lnTo>
                  <a:pt x="893" y="141"/>
                </a:lnTo>
                <a:lnTo>
                  <a:pt x="891" y="157"/>
                </a:lnTo>
                <a:lnTo>
                  <a:pt x="889" y="157"/>
                </a:lnTo>
                <a:lnTo>
                  <a:pt x="887" y="159"/>
                </a:lnTo>
                <a:lnTo>
                  <a:pt x="886" y="161"/>
                </a:lnTo>
                <a:lnTo>
                  <a:pt x="883" y="163"/>
                </a:lnTo>
                <a:lnTo>
                  <a:pt x="881" y="170"/>
                </a:lnTo>
                <a:lnTo>
                  <a:pt x="880" y="178"/>
                </a:lnTo>
                <a:lnTo>
                  <a:pt x="879" y="193"/>
                </a:lnTo>
                <a:lnTo>
                  <a:pt x="878" y="203"/>
                </a:lnTo>
                <a:lnTo>
                  <a:pt x="874" y="203"/>
                </a:lnTo>
                <a:lnTo>
                  <a:pt x="872" y="204"/>
                </a:lnTo>
                <a:lnTo>
                  <a:pt x="872" y="205"/>
                </a:lnTo>
                <a:lnTo>
                  <a:pt x="872" y="207"/>
                </a:lnTo>
                <a:lnTo>
                  <a:pt x="871" y="208"/>
                </a:lnTo>
                <a:lnTo>
                  <a:pt x="871" y="209"/>
                </a:lnTo>
                <a:lnTo>
                  <a:pt x="869" y="209"/>
                </a:lnTo>
                <a:lnTo>
                  <a:pt x="866" y="210"/>
                </a:lnTo>
                <a:lnTo>
                  <a:pt x="859" y="222"/>
                </a:lnTo>
                <a:lnTo>
                  <a:pt x="851" y="223"/>
                </a:lnTo>
                <a:lnTo>
                  <a:pt x="844" y="226"/>
                </a:lnTo>
                <a:lnTo>
                  <a:pt x="837" y="229"/>
                </a:lnTo>
                <a:lnTo>
                  <a:pt x="829" y="232"/>
                </a:lnTo>
                <a:lnTo>
                  <a:pt x="822" y="236"/>
                </a:lnTo>
                <a:lnTo>
                  <a:pt x="814" y="239"/>
                </a:lnTo>
                <a:lnTo>
                  <a:pt x="808" y="241"/>
                </a:lnTo>
                <a:lnTo>
                  <a:pt x="800" y="242"/>
                </a:lnTo>
                <a:lnTo>
                  <a:pt x="761" y="281"/>
                </a:lnTo>
                <a:lnTo>
                  <a:pt x="757" y="298"/>
                </a:lnTo>
                <a:lnTo>
                  <a:pt x="754" y="314"/>
                </a:lnTo>
                <a:lnTo>
                  <a:pt x="747" y="327"/>
                </a:lnTo>
                <a:lnTo>
                  <a:pt x="734" y="327"/>
                </a:lnTo>
                <a:lnTo>
                  <a:pt x="733" y="328"/>
                </a:lnTo>
                <a:lnTo>
                  <a:pt x="730" y="328"/>
                </a:lnTo>
                <a:lnTo>
                  <a:pt x="726" y="328"/>
                </a:lnTo>
                <a:lnTo>
                  <a:pt x="719" y="327"/>
                </a:lnTo>
                <a:lnTo>
                  <a:pt x="705" y="324"/>
                </a:lnTo>
                <a:lnTo>
                  <a:pt x="687" y="320"/>
                </a:lnTo>
                <a:lnTo>
                  <a:pt x="651" y="311"/>
                </a:lnTo>
                <a:lnTo>
                  <a:pt x="629" y="308"/>
                </a:lnTo>
                <a:lnTo>
                  <a:pt x="619" y="314"/>
                </a:lnTo>
                <a:lnTo>
                  <a:pt x="603" y="320"/>
                </a:lnTo>
                <a:lnTo>
                  <a:pt x="603" y="334"/>
                </a:lnTo>
                <a:lnTo>
                  <a:pt x="590" y="334"/>
                </a:lnTo>
                <a:lnTo>
                  <a:pt x="583" y="341"/>
                </a:lnTo>
                <a:lnTo>
                  <a:pt x="564" y="34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83" name="Freeform 44">
            <a:extLst>
              <a:ext uri="{FF2B5EF4-FFF2-40B4-BE49-F238E27FC236}">
                <a16:creationId xmlns:a16="http://schemas.microsoft.com/office/drawing/2014/main" id="{EC783DA2-81BD-48E4-BFB3-EFFB7C9EF3E9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089775" y="2867025"/>
            <a:ext cx="325817" cy="176213"/>
          </a:xfrm>
          <a:custGeom>
            <a:avLst/>
            <a:gdLst/>
            <a:ahLst/>
            <a:cxnLst>
              <a:cxn ang="0">
                <a:pos x="223" y="715"/>
              </a:cxn>
              <a:cxn ang="0">
                <a:pos x="198" y="674"/>
              </a:cxn>
              <a:cxn ang="0">
                <a:pos x="172" y="627"/>
              </a:cxn>
              <a:cxn ang="0">
                <a:pos x="129" y="536"/>
              </a:cxn>
              <a:cxn ang="0">
                <a:pos x="107" y="482"/>
              </a:cxn>
              <a:cxn ang="0">
                <a:pos x="73" y="431"/>
              </a:cxn>
              <a:cxn ang="0">
                <a:pos x="12" y="347"/>
              </a:cxn>
              <a:cxn ang="0">
                <a:pos x="6" y="254"/>
              </a:cxn>
              <a:cxn ang="0">
                <a:pos x="33" y="226"/>
              </a:cxn>
              <a:cxn ang="0">
                <a:pos x="76" y="209"/>
              </a:cxn>
              <a:cxn ang="0">
                <a:pos x="251" y="193"/>
              </a:cxn>
              <a:cxn ang="0">
                <a:pos x="339" y="173"/>
              </a:cxn>
              <a:cxn ang="0">
                <a:pos x="408" y="147"/>
              </a:cxn>
              <a:cxn ang="0">
                <a:pos x="530" y="154"/>
              </a:cxn>
              <a:cxn ang="0">
                <a:pos x="674" y="160"/>
              </a:cxn>
              <a:cxn ang="0">
                <a:pos x="869" y="132"/>
              </a:cxn>
              <a:cxn ang="0">
                <a:pos x="1123" y="94"/>
              </a:cxn>
              <a:cxn ang="0">
                <a:pos x="1374" y="65"/>
              </a:cxn>
              <a:cxn ang="0">
                <a:pos x="1530" y="39"/>
              </a:cxn>
              <a:cxn ang="0">
                <a:pos x="1619" y="11"/>
              </a:cxn>
              <a:cxn ang="0">
                <a:pos x="1789" y="14"/>
              </a:cxn>
              <a:cxn ang="0">
                <a:pos x="1794" y="68"/>
              </a:cxn>
              <a:cxn ang="0">
                <a:pos x="1774" y="120"/>
              </a:cxn>
              <a:cxn ang="0">
                <a:pos x="1763" y="142"/>
              </a:cxn>
              <a:cxn ang="0">
                <a:pos x="1705" y="305"/>
              </a:cxn>
              <a:cxn ang="0">
                <a:pos x="1648" y="347"/>
              </a:cxn>
              <a:cxn ang="0">
                <a:pos x="1611" y="378"/>
              </a:cxn>
              <a:cxn ang="0">
                <a:pos x="1582" y="448"/>
              </a:cxn>
              <a:cxn ang="0">
                <a:pos x="1619" y="532"/>
              </a:cxn>
              <a:cxn ang="0">
                <a:pos x="1650" y="609"/>
              </a:cxn>
              <a:cxn ang="0">
                <a:pos x="1646" y="681"/>
              </a:cxn>
              <a:cxn ang="0">
                <a:pos x="1627" y="708"/>
              </a:cxn>
              <a:cxn ang="0">
                <a:pos x="1618" y="745"/>
              </a:cxn>
              <a:cxn ang="0">
                <a:pos x="1598" y="876"/>
              </a:cxn>
              <a:cxn ang="0">
                <a:pos x="1550" y="891"/>
              </a:cxn>
              <a:cxn ang="0">
                <a:pos x="1391" y="885"/>
              </a:cxn>
              <a:cxn ang="0">
                <a:pos x="1312" y="916"/>
              </a:cxn>
              <a:cxn ang="0">
                <a:pos x="1247" y="969"/>
              </a:cxn>
              <a:cxn ang="0">
                <a:pos x="1220" y="1010"/>
              </a:cxn>
              <a:cxn ang="0">
                <a:pos x="1166" y="1053"/>
              </a:cxn>
              <a:cxn ang="0">
                <a:pos x="1141" y="1071"/>
              </a:cxn>
              <a:cxn ang="0">
                <a:pos x="1110" y="1084"/>
              </a:cxn>
              <a:cxn ang="0">
                <a:pos x="1091" y="1034"/>
              </a:cxn>
              <a:cxn ang="0">
                <a:pos x="1115" y="938"/>
              </a:cxn>
              <a:cxn ang="0">
                <a:pos x="963" y="890"/>
              </a:cxn>
              <a:cxn ang="0">
                <a:pos x="917" y="840"/>
              </a:cxn>
              <a:cxn ang="0">
                <a:pos x="917" y="723"/>
              </a:cxn>
              <a:cxn ang="0">
                <a:pos x="872" y="669"/>
              </a:cxn>
              <a:cxn ang="0">
                <a:pos x="828" y="650"/>
              </a:cxn>
              <a:cxn ang="0">
                <a:pos x="709" y="612"/>
              </a:cxn>
              <a:cxn ang="0">
                <a:pos x="684" y="542"/>
              </a:cxn>
              <a:cxn ang="0">
                <a:pos x="675" y="511"/>
              </a:cxn>
              <a:cxn ang="0">
                <a:pos x="637" y="544"/>
              </a:cxn>
              <a:cxn ang="0">
                <a:pos x="614" y="591"/>
              </a:cxn>
              <a:cxn ang="0">
                <a:pos x="586" y="664"/>
              </a:cxn>
              <a:cxn ang="0">
                <a:pos x="571" y="710"/>
              </a:cxn>
              <a:cxn ang="0">
                <a:pos x="536" y="734"/>
              </a:cxn>
              <a:cxn ang="0">
                <a:pos x="446" y="832"/>
              </a:cxn>
              <a:cxn ang="0">
                <a:pos x="328" y="813"/>
              </a:cxn>
            </a:cxnLst>
            <a:rect l="0" t="0" r="r" b="b"/>
            <a:pathLst>
              <a:path w="1797" h="1094">
                <a:moveTo>
                  <a:pt x="263" y="846"/>
                </a:moveTo>
                <a:lnTo>
                  <a:pt x="263" y="825"/>
                </a:lnTo>
                <a:lnTo>
                  <a:pt x="263" y="805"/>
                </a:lnTo>
                <a:lnTo>
                  <a:pt x="263" y="786"/>
                </a:lnTo>
                <a:lnTo>
                  <a:pt x="263" y="766"/>
                </a:lnTo>
                <a:lnTo>
                  <a:pt x="250" y="754"/>
                </a:lnTo>
                <a:lnTo>
                  <a:pt x="250" y="741"/>
                </a:lnTo>
                <a:lnTo>
                  <a:pt x="236" y="727"/>
                </a:lnTo>
                <a:lnTo>
                  <a:pt x="223" y="715"/>
                </a:lnTo>
                <a:lnTo>
                  <a:pt x="223" y="707"/>
                </a:lnTo>
                <a:lnTo>
                  <a:pt x="221" y="702"/>
                </a:lnTo>
                <a:lnTo>
                  <a:pt x="217" y="697"/>
                </a:lnTo>
                <a:lnTo>
                  <a:pt x="213" y="693"/>
                </a:lnTo>
                <a:lnTo>
                  <a:pt x="210" y="688"/>
                </a:lnTo>
                <a:lnTo>
                  <a:pt x="206" y="684"/>
                </a:lnTo>
                <a:lnTo>
                  <a:pt x="204" y="679"/>
                </a:lnTo>
                <a:lnTo>
                  <a:pt x="204" y="675"/>
                </a:lnTo>
                <a:lnTo>
                  <a:pt x="198" y="674"/>
                </a:lnTo>
                <a:lnTo>
                  <a:pt x="194" y="671"/>
                </a:lnTo>
                <a:lnTo>
                  <a:pt x="188" y="667"/>
                </a:lnTo>
                <a:lnTo>
                  <a:pt x="184" y="662"/>
                </a:lnTo>
                <a:lnTo>
                  <a:pt x="184" y="649"/>
                </a:lnTo>
                <a:lnTo>
                  <a:pt x="179" y="644"/>
                </a:lnTo>
                <a:lnTo>
                  <a:pt x="175" y="638"/>
                </a:lnTo>
                <a:lnTo>
                  <a:pt x="173" y="635"/>
                </a:lnTo>
                <a:lnTo>
                  <a:pt x="172" y="631"/>
                </a:lnTo>
                <a:lnTo>
                  <a:pt x="172" y="627"/>
                </a:lnTo>
                <a:lnTo>
                  <a:pt x="171" y="622"/>
                </a:lnTo>
                <a:lnTo>
                  <a:pt x="164" y="622"/>
                </a:lnTo>
                <a:lnTo>
                  <a:pt x="159" y="621"/>
                </a:lnTo>
                <a:lnTo>
                  <a:pt x="158" y="617"/>
                </a:lnTo>
                <a:lnTo>
                  <a:pt x="158" y="610"/>
                </a:lnTo>
                <a:lnTo>
                  <a:pt x="145" y="603"/>
                </a:lnTo>
                <a:lnTo>
                  <a:pt x="141" y="583"/>
                </a:lnTo>
                <a:lnTo>
                  <a:pt x="134" y="552"/>
                </a:lnTo>
                <a:lnTo>
                  <a:pt x="129" y="536"/>
                </a:lnTo>
                <a:lnTo>
                  <a:pt x="125" y="524"/>
                </a:lnTo>
                <a:lnTo>
                  <a:pt x="121" y="515"/>
                </a:lnTo>
                <a:lnTo>
                  <a:pt x="118" y="511"/>
                </a:lnTo>
                <a:lnTo>
                  <a:pt x="118" y="506"/>
                </a:lnTo>
                <a:lnTo>
                  <a:pt x="116" y="502"/>
                </a:lnTo>
                <a:lnTo>
                  <a:pt x="115" y="496"/>
                </a:lnTo>
                <a:lnTo>
                  <a:pt x="111" y="492"/>
                </a:lnTo>
                <a:lnTo>
                  <a:pt x="109" y="486"/>
                </a:lnTo>
                <a:lnTo>
                  <a:pt x="107" y="482"/>
                </a:lnTo>
                <a:lnTo>
                  <a:pt x="106" y="477"/>
                </a:lnTo>
                <a:lnTo>
                  <a:pt x="106" y="472"/>
                </a:lnTo>
                <a:lnTo>
                  <a:pt x="102" y="471"/>
                </a:lnTo>
                <a:lnTo>
                  <a:pt x="98" y="466"/>
                </a:lnTo>
                <a:lnTo>
                  <a:pt x="92" y="460"/>
                </a:lnTo>
                <a:lnTo>
                  <a:pt x="87" y="454"/>
                </a:lnTo>
                <a:lnTo>
                  <a:pt x="81" y="446"/>
                </a:lnTo>
                <a:lnTo>
                  <a:pt x="77" y="439"/>
                </a:lnTo>
                <a:lnTo>
                  <a:pt x="73" y="431"/>
                </a:lnTo>
                <a:lnTo>
                  <a:pt x="72" y="426"/>
                </a:lnTo>
                <a:lnTo>
                  <a:pt x="59" y="419"/>
                </a:lnTo>
                <a:lnTo>
                  <a:pt x="53" y="407"/>
                </a:lnTo>
                <a:lnTo>
                  <a:pt x="47" y="394"/>
                </a:lnTo>
                <a:lnTo>
                  <a:pt x="33" y="387"/>
                </a:lnTo>
                <a:lnTo>
                  <a:pt x="26" y="370"/>
                </a:lnTo>
                <a:lnTo>
                  <a:pt x="20" y="354"/>
                </a:lnTo>
                <a:lnTo>
                  <a:pt x="15" y="351"/>
                </a:lnTo>
                <a:lnTo>
                  <a:pt x="12" y="347"/>
                </a:lnTo>
                <a:lnTo>
                  <a:pt x="9" y="342"/>
                </a:lnTo>
                <a:lnTo>
                  <a:pt x="6" y="337"/>
                </a:lnTo>
                <a:lnTo>
                  <a:pt x="2" y="324"/>
                </a:lnTo>
                <a:lnTo>
                  <a:pt x="1" y="310"/>
                </a:lnTo>
                <a:lnTo>
                  <a:pt x="0" y="280"/>
                </a:lnTo>
                <a:lnTo>
                  <a:pt x="1" y="255"/>
                </a:lnTo>
                <a:lnTo>
                  <a:pt x="4" y="255"/>
                </a:lnTo>
                <a:lnTo>
                  <a:pt x="6" y="255"/>
                </a:lnTo>
                <a:lnTo>
                  <a:pt x="6" y="254"/>
                </a:lnTo>
                <a:lnTo>
                  <a:pt x="8" y="253"/>
                </a:lnTo>
                <a:lnTo>
                  <a:pt x="8" y="251"/>
                </a:lnTo>
                <a:lnTo>
                  <a:pt x="8" y="250"/>
                </a:lnTo>
                <a:lnTo>
                  <a:pt x="10" y="250"/>
                </a:lnTo>
                <a:lnTo>
                  <a:pt x="13" y="250"/>
                </a:lnTo>
                <a:lnTo>
                  <a:pt x="13" y="236"/>
                </a:lnTo>
                <a:lnTo>
                  <a:pt x="26" y="236"/>
                </a:lnTo>
                <a:lnTo>
                  <a:pt x="33" y="229"/>
                </a:lnTo>
                <a:lnTo>
                  <a:pt x="33" y="226"/>
                </a:lnTo>
                <a:lnTo>
                  <a:pt x="34" y="224"/>
                </a:lnTo>
                <a:lnTo>
                  <a:pt x="35" y="223"/>
                </a:lnTo>
                <a:lnTo>
                  <a:pt x="37" y="223"/>
                </a:lnTo>
                <a:lnTo>
                  <a:pt x="38" y="223"/>
                </a:lnTo>
                <a:lnTo>
                  <a:pt x="39" y="222"/>
                </a:lnTo>
                <a:lnTo>
                  <a:pt x="40" y="221"/>
                </a:lnTo>
                <a:lnTo>
                  <a:pt x="40" y="216"/>
                </a:lnTo>
                <a:lnTo>
                  <a:pt x="53" y="209"/>
                </a:lnTo>
                <a:lnTo>
                  <a:pt x="76" y="209"/>
                </a:lnTo>
                <a:lnTo>
                  <a:pt x="98" y="208"/>
                </a:lnTo>
                <a:lnTo>
                  <a:pt x="121" y="206"/>
                </a:lnTo>
                <a:lnTo>
                  <a:pt x="146" y="203"/>
                </a:lnTo>
                <a:lnTo>
                  <a:pt x="169" y="200"/>
                </a:lnTo>
                <a:lnTo>
                  <a:pt x="194" y="198"/>
                </a:lnTo>
                <a:lnTo>
                  <a:pt x="219" y="197"/>
                </a:lnTo>
                <a:lnTo>
                  <a:pt x="243" y="197"/>
                </a:lnTo>
                <a:lnTo>
                  <a:pt x="246" y="195"/>
                </a:lnTo>
                <a:lnTo>
                  <a:pt x="251" y="193"/>
                </a:lnTo>
                <a:lnTo>
                  <a:pt x="256" y="191"/>
                </a:lnTo>
                <a:lnTo>
                  <a:pt x="263" y="190"/>
                </a:lnTo>
                <a:lnTo>
                  <a:pt x="277" y="187"/>
                </a:lnTo>
                <a:lnTo>
                  <a:pt x="289" y="184"/>
                </a:lnTo>
                <a:lnTo>
                  <a:pt x="321" y="184"/>
                </a:lnTo>
                <a:lnTo>
                  <a:pt x="325" y="179"/>
                </a:lnTo>
                <a:lnTo>
                  <a:pt x="329" y="176"/>
                </a:lnTo>
                <a:lnTo>
                  <a:pt x="333" y="174"/>
                </a:lnTo>
                <a:lnTo>
                  <a:pt x="339" y="173"/>
                </a:lnTo>
                <a:lnTo>
                  <a:pt x="350" y="170"/>
                </a:lnTo>
                <a:lnTo>
                  <a:pt x="361" y="170"/>
                </a:lnTo>
                <a:lnTo>
                  <a:pt x="370" y="167"/>
                </a:lnTo>
                <a:lnTo>
                  <a:pt x="380" y="164"/>
                </a:lnTo>
                <a:lnTo>
                  <a:pt x="387" y="150"/>
                </a:lnTo>
                <a:lnTo>
                  <a:pt x="397" y="150"/>
                </a:lnTo>
                <a:lnTo>
                  <a:pt x="407" y="150"/>
                </a:lnTo>
                <a:lnTo>
                  <a:pt x="407" y="148"/>
                </a:lnTo>
                <a:lnTo>
                  <a:pt x="408" y="147"/>
                </a:lnTo>
                <a:lnTo>
                  <a:pt x="409" y="145"/>
                </a:lnTo>
                <a:lnTo>
                  <a:pt x="413" y="144"/>
                </a:lnTo>
                <a:lnTo>
                  <a:pt x="418" y="141"/>
                </a:lnTo>
                <a:lnTo>
                  <a:pt x="426" y="140"/>
                </a:lnTo>
                <a:lnTo>
                  <a:pt x="446" y="139"/>
                </a:lnTo>
                <a:lnTo>
                  <a:pt x="470" y="141"/>
                </a:lnTo>
                <a:lnTo>
                  <a:pt x="493" y="146"/>
                </a:lnTo>
                <a:lnTo>
                  <a:pt x="514" y="150"/>
                </a:lnTo>
                <a:lnTo>
                  <a:pt x="530" y="154"/>
                </a:lnTo>
                <a:lnTo>
                  <a:pt x="538" y="157"/>
                </a:lnTo>
                <a:lnTo>
                  <a:pt x="556" y="158"/>
                </a:lnTo>
                <a:lnTo>
                  <a:pt x="577" y="160"/>
                </a:lnTo>
                <a:lnTo>
                  <a:pt x="600" y="161"/>
                </a:lnTo>
                <a:lnTo>
                  <a:pt x="626" y="164"/>
                </a:lnTo>
                <a:lnTo>
                  <a:pt x="638" y="164"/>
                </a:lnTo>
                <a:lnTo>
                  <a:pt x="651" y="162"/>
                </a:lnTo>
                <a:lnTo>
                  <a:pt x="662" y="161"/>
                </a:lnTo>
                <a:lnTo>
                  <a:pt x="674" y="160"/>
                </a:lnTo>
                <a:lnTo>
                  <a:pt x="684" y="158"/>
                </a:lnTo>
                <a:lnTo>
                  <a:pt x="693" y="155"/>
                </a:lnTo>
                <a:lnTo>
                  <a:pt x="702" y="150"/>
                </a:lnTo>
                <a:lnTo>
                  <a:pt x="709" y="145"/>
                </a:lnTo>
                <a:lnTo>
                  <a:pt x="741" y="145"/>
                </a:lnTo>
                <a:lnTo>
                  <a:pt x="754" y="131"/>
                </a:lnTo>
                <a:lnTo>
                  <a:pt x="793" y="131"/>
                </a:lnTo>
                <a:lnTo>
                  <a:pt x="831" y="131"/>
                </a:lnTo>
                <a:lnTo>
                  <a:pt x="869" y="132"/>
                </a:lnTo>
                <a:lnTo>
                  <a:pt x="906" y="131"/>
                </a:lnTo>
                <a:lnTo>
                  <a:pt x="943" y="129"/>
                </a:lnTo>
                <a:lnTo>
                  <a:pt x="979" y="126"/>
                </a:lnTo>
                <a:lnTo>
                  <a:pt x="997" y="123"/>
                </a:lnTo>
                <a:lnTo>
                  <a:pt x="1014" y="120"/>
                </a:lnTo>
                <a:lnTo>
                  <a:pt x="1032" y="116"/>
                </a:lnTo>
                <a:lnTo>
                  <a:pt x="1049" y="111"/>
                </a:lnTo>
                <a:lnTo>
                  <a:pt x="1085" y="102"/>
                </a:lnTo>
                <a:lnTo>
                  <a:pt x="1123" y="94"/>
                </a:lnTo>
                <a:lnTo>
                  <a:pt x="1162" y="88"/>
                </a:lnTo>
                <a:lnTo>
                  <a:pt x="1202" y="82"/>
                </a:lnTo>
                <a:lnTo>
                  <a:pt x="1242" y="78"/>
                </a:lnTo>
                <a:lnTo>
                  <a:pt x="1283" y="74"/>
                </a:lnTo>
                <a:lnTo>
                  <a:pt x="1324" y="73"/>
                </a:lnTo>
                <a:lnTo>
                  <a:pt x="1364" y="72"/>
                </a:lnTo>
                <a:lnTo>
                  <a:pt x="1365" y="70"/>
                </a:lnTo>
                <a:lnTo>
                  <a:pt x="1368" y="68"/>
                </a:lnTo>
                <a:lnTo>
                  <a:pt x="1374" y="65"/>
                </a:lnTo>
                <a:lnTo>
                  <a:pt x="1381" y="63"/>
                </a:lnTo>
                <a:lnTo>
                  <a:pt x="1397" y="60"/>
                </a:lnTo>
                <a:lnTo>
                  <a:pt x="1419" y="58"/>
                </a:lnTo>
                <a:lnTo>
                  <a:pt x="1458" y="54"/>
                </a:lnTo>
                <a:lnTo>
                  <a:pt x="1482" y="52"/>
                </a:lnTo>
                <a:lnTo>
                  <a:pt x="1488" y="50"/>
                </a:lnTo>
                <a:lnTo>
                  <a:pt x="1499" y="46"/>
                </a:lnTo>
                <a:lnTo>
                  <a:pt x="1513" y="43"/>
                </a:lnTo>
                <a:lnTo>
                  <a:pt x="1530" y="39"/>
                </a:lnTo>
                <a:lnTo>
                  <a:pt x="1548" y="34"/>
                </a:lnTo>
                <a:lnTo>
                  <a:pt x="1566" y="30"/>
                </a:lnTo>
                <a:lnTo>
                  <a:pt x="1582" y="24"/>
                </a:lnTo>
                <a:lnTo>
                  <a:pt x="1594" y="20"/>
                </a:lnTo>
                <a:lnTo>
                  <a:pt x="1613" y="20"/>
                </a:lnTo>
                <a:lnTo>
                  <a:pt x="1614" y="17"/>
                </a:lnTo>
                <a:lnTo>
                  <a:pt x="1615" y="15"/>
                </a:lnTo>
                <a:lnTo>
                  <a:pt x="1617" y="13"/>
                </a:lnTo>
                <a:lnTo>
                  <a:pt x="1619" y="11"/>
                </a:lnTo>
                <a:lnTo>
                  <a:pt x="1624" y="7"/>
                </a:lnTo>
                <a:lnTo>
                  <a:pt x="1626" y="6"/>
                </a:lnTo>
                <a:lnTo>
                  <a:pt x="1662" y="5"/>
                </a:lnTo>
                <a:lnTo>
                  <a:pt x="1699" y="3"/>
                </a:lnTo>
                <a:lnTo>
                  <a:pt x="1738" y="1"/>
                </a:lnTo>
                <a:lnTo>
                  <a:pt x="1777" y="0"/>
                </a:lnTo>
                <a:lnTo>
                  <a:pt x="1784" y="13"/>
                </a:lnTo>
                <a:lnTo>
                  <a:pt x="1787" y="13"/>
                </a:lnTo>
                <a:lnTo>
                  <a:pt x="1789" y="14"/>
                </a:lnTo>
                <a:lnTo>
                  <a:pt x="1790" y="15"/>
                </a:lnTo>
                <a:lnTo>
                  <a:pt x="1790" y="16"/>
                </a:lnTo>
                <a:lnTo>
                  <a:pt x="1790" y="17"/>
                </a:lnTo>
                <a:lnTo>
                  <a:pt x="1791" y="19"/>
                </a:lnTo>
                <a:lnTo>
                  <a:pt x="1793" y="20"/>
                </a:lnTo>
                <a:lnTo>
                  <a:pt x="1797" y="20"/>
                </a:lnTo>
                <a:lnTo>
                  <a:pt x="1796" y="35"/>
                </a:lnTo>
                <a:lnTo>
                  <a:pt x="1795" y="58"/>
                </a:lnTo>
                <a:lnTo>
                  <a:pt x="1794" y="68"/>
                </a:lnTo>
                <a:lnTo>
                  <a:pt x="1791" y="77"/>
                </a:lnTo>
                <a:lnTo>
                  <a:pt x="1789" y="80"/>
                </a:lnTo>
                <a:lnTo>
                  <a:pt x="1788" y="83"/>
                </a:lnTo>
                <a:lnTo>
                  <a:pt x="1786" y="84"/>
                </a:lnTo>
                <a:lnTo>
                  <a:pt x="1784" y="85"/>
                </a:lnTo>
                <a:lnTo>
                  <a:pt x="1780" y="101"/>
                </a:lnTo>
                <a:lnTo>
                  <a:pt x="1777" y="118"/>
                </a:lnTo>
                <a:lnTo>
                  <a:pt x="1775" y="119"/>
                </a:lnTo>
                <a:lnTo>
                  <a:pt x="1774" y="120"/>
                </a:lnTo>
                <a:lnTo>
                  <a:pt x="1772" y="122"/>
                </a:lnTo>
                <a:lnTo>
                  <a:pt x="1771" y="126"/>
                </a:lnTo>
                <a:lnTo>
                  <a:pt x="1770" y="132"/>
                </a:lnTo>
                <a:lnTo>
                  <a:pt x="1770" y="138"/>
                </a:lnTo>
                <a:lnTo>
                  <a:pt x="1767" y="138"/>
                </a:lnTo>
                <a:lnTo>
                  <a:pt x="1765" y="139"/>
                </a:lnTo>
                <a:lnTo>
                  <a:pt x="1763" y="140"/>
                </a:lnTo>
                <a:lnTo>
                  <a:pt x="1763" y="141"/>
                </a:lnTo>
                <a:lnTo>
                  <a:pt x="1763" y="142"/>
                </a:lnTo>
                <a:lnTo>
                  <a:pt x="1763" y="144"/>
                </a:lnTo>
                <a:lnTo>
                  <a:pt x="1761" y="144"/>
                </a:lnTo>
                <a:lnTo>
                  <a:pt x="1757" y="145"/>
                </a:lnTo>
                <a:lnTo>
                  <a:pt x="1757" y="269"/>
                </a:lnTo>
                <a:lnTo>
                  <a:pt x="1751" y="275"/>
                </a:lnTo>
                <a:lnTo>
                  <a:pt x="1746" y="277"/>
                </a:lnTo>
                <a:lnTo>
                  <a:pt x="1734" y="284"/>
                </a:lnTo>
                <a:lnTo>
                  <a:pt x="1721" y="294"/>
                </a:lnTo>
                <a:lnTo>
                  <a:pt x="1705" y="305"/>
                </a:lnTo>
                <a:lnTo>
                  <a:pt x="1691" y="318"/>
                </a:lnTo>
                <a:lnTo>
                  <a:pt x="1678" y="328"/>
                </a:lnTo>
                <a:lnTo>
                  <a:pt x="1669" y="337"/>
                </a:lnTo>
                <a:lnTo>
                  <a:pt x="1665" y="341"/>
                </a:lnTo>
                <a:lnTo>
                  <a:pt x="1661" y="341"/>
                </a:lnTo>
                <a:lnTo>
                  <a:pt x="1656" y="342"/>
                </a:lnTo>
                <a:lnTo>
                  <a:pt x="1653" y="343"/>
                </a:lnTo>
                <a:lnTo>
                  <a:pt x="1651" y="344"/>
                </a:lnTo>
                <a:lnTo>
                  <a:pt x="1648" y="347"/>
                </a:lnTo>
                <a:lnTo>
                  <a:pt x="1647" y="349"/>
                </a:lnTo>
                <a:lnTo>
                  <a:pt x="1646" y="351"/>
                </a:lnTo>
                <a:lnTo>
                  <a:pt x="1646" y="354"/>
                </a:lnTo>
                <a:lnTo>
                  <a:pt x="1636" y="357"/>
                </a:lnTo>
                <a:lnTo>
                  <a:pt x="1626" y="360"/>
                </a:lnTo>
                <a:lnTo>
                  <a:pt x="1619" y="373"/>
                </a:lnTo>
                <a:lnTo>
                  <a:pt x="1617" y="375"/>
                </a:lnTo>
                <a:lnTo>
                  <a:pt x="1614" y="376"/>
                </a:lnTo>
                <a:lnTo>
                  <a:pt x="1611" y="378"/>
                </a:lnTo>
                <a:lnTo>
                  <a:pt x="1607" y="381"/>
                </a:lnTo>
                <a:lnTo>
                  <a:pt x="1605" y="385"/>
                </a:lnTo>
                <a:lnTo>
                  <a:pt x="1602" y="388"/>
                </a:lnTo>
                <a:lnTo>
                  <a:pt x="1600" y="390"/>
                </a:lnTo>
                <a:lnTo>
                  <a:pt x="1599" y="394"/>
                </a:lnTo>
                <a:lnTo>
                  <a:pt x="1587" y="400"/>
                </a:lnTo>
                <a:lnTo>
                  <a:pt x="1586" y="412"/>
                </a:lnTo>
                <a:lnTo>
                  <a:pt x="1584" y="430"/>
                </a:lnTo>
                <a:lnTo>
                  <a:pt x="1582" y="448"/>
                </a:lnTo>
                <a:lnTo>
                  <a:pt x="1580" y="465"/>
                </a:lnTo>
                <a:lnTo>
                  <a:pt x="1580" y="469"/>
                </a:lnTo>
                <a:lnTo>
                  <a:pt x="1583" y="474"/>
                </a:lnTo>
                <a:lnTo>
                  <a:pt x="1585" y="478"/>
                </a:lnTo>
                <a:lnTo>
                  <a:pt x="1587" y="484"/>
                </a:lnTo>
                <a:lnTo>
                  <a:pt x="1595" y="496"/>
                </a:lnTo>
                <a:lnTo>
                  <a:pt x="1603" y="508"/>
                </a:lnTo>
                <a:lnTo>
                  <a:pt x="1612" y="520"/>
                </a:lnTo>
                <a:lnTo>
                  <a:pt x="1619" y="532"/>
                </a:lnTo>
                <a:lnTo>
                  <a:pt x="1622" y="537"/>
                </a:lnTo>
                <a:lnTo>
                  <a:pt x="1624" y="542"/>
                </a:lnTo>
                <a:lnTo>
                  <a:pt x="1626" y="546"/>
                </a:lnTo>
                <a:lnTo>
                  <a:pt x="1626" y="551"/>
                </a:lnTo>
                <a:lnTo>
                  <a:pt x="1636" y="561"/>
                </a:lnTo>
                <a:lnTo>
                  <a:pt x="1646" y="570"/>
                </a:lnTo>
                <a:lnTo>
                  <a:pt x="1646" y="583"/>
                </a:lnTo>
                <a:lnTo>
                  <a:pt x="1647" y="596"/>
                </a:lnTo>
                <a:lnTo>
                  <a:pt x="1650" y="609"/>
                </a:lnTo>
                <a:lnTo>
                  <a:pt x="1652" y="622"/>
                </a:lnTo>
                <a:lnTo>
                  <a:pt x="1655" y="636"/>
                </a:lnTo>
                <a:lnTo>
                  <a:pt x="1656" y="649"/>
                </a:lnTo>
                <a:lnTo>
                  <a:pt x="1659" y="662"/>
                </a:lnTo>
                <a:lnTo>
                  <a:pt x="1659" y="675"/>
                </a:lnTo>
                <a:lnTo>
                  <a:pt x="1654" y="676"/>
                </a:lnTo>
                <a:lnTo>
                  <a:pt x="1651" y="677"/>
                </a:lnTo>
                <a:lnTo>
                  <a:pt x="1648" y="679"/>
                </a:lnTo>
                <a:lnTo>
                  <a:pt x="1646" y="681"/>
                </a:lnTo>
                <a:lnTo>
                  <a:pt x="1645" y="684"/>
                </a:lnTo>
                <a:lnTo>
                  <a:pt x="1643" y="686"/>
                </a:lnTo>
                <a:lnTo>
                  <a:pt x="1642" y="688"/>
                </a:lnTo>
                <a:lnTo>
                  <a:pt x="1640" y="688"/>
                </a:lnTo>
                <a:lnTo>
                  <a:pt x="1640" y="702"/>
                </a:lnTo>
                <a:lnTo>
                  <a:pt x="1635" y="702"/>
                </a:lnTo>
                <a:lnTo>
                  <a:pt x="1632" y="704"/>
                </a:lnTo>
                <a:lnTo>
                  <a:pt x="1630" y="706"/>
                </a:lnTo>
                <a:lnTo>
                  <a:pt x="1627" y="708"/>
                </a:lnTo>
                <a:lnTo>
                  <a:pt x="1625" y="710"/>
                </a:lnTo>
                <a:lnTo>
                  <a:pt x="1624" y="713"/>
                </a:lnTo>
                <a:lnTo>
                  <a:pt x="1622" y="714"/>
                </a:lnTo>
                <a:lnTo>
                  <a:pt x="1619" y="715"/>
                </a:lnTo>
                <a:lnTo>
                  <a:pt x="1619" y="727"/>
                </a:lnTo>
                <a:lnTo>
                  <a:pt x="1618" y="728"/>
                </a:lnTo>
                <a:lnTo>
                  <a:pt x="1618" y="733"/>
                </a:lnTo>
                <a:lnTo>
                  <a:pt x="1617" y="738"/>
                </a:lnTo>
                <a:lnTo>
                  <a:pt x="1618" y="745"/>
                </a:lnTo>
                <a:lnTo>
                  <a:pt x="1618" y="764"/>
                </a:lnTo>
                <a:lnTo>
                  <a:pt x="1621" y="785"/>
                </a:lnTo>
                <a:lnTo>
                  <a:pt x="1624" y="830"/>
                </a:lnTo>
                <a:lnTo>
                  <a:pt x="1626" y="859"/>
                </a:lnTo>
                <a:lnTo>
                  <a:pt x="1619" y="866"/>
                </a:lnTo>
                <a:lnTo>
                  <a:pt x="1613" y="871"/>
                </a:lnTo>
                <a:lnTo>
                  <a:pt x="1599" y="871"/>
                </a:lnTo>
                <a:lnTo>
                  <a:pt x="1599" y="873"/>
                </a:lnTo>
                <a:lnTo>
                  <a:pt x="1598" y="876"/>
                </a:lnTo>
                <a:lnTo>
                  <a:pt x="1597" y="877"/>
                </a:lnTo>
                <a:lnTo>
                  <a:pt x="1596" y="878"/>
                </a:lnTo>
                <a:lnTo>
                  <a:pt x="1592" y="878"/>
                </a:lnTo>
                <a:lnTo>
                  <a:pt x="1587" y="878"/>
                </a:lnTo>
                <a:lnTo>
                  <a:pt x="1586" y="881"/>
                </a:lnTo>
                <a:lnTo>
                  <a:pt x="1582" y="885"/>
                </a:lnTo>
                <a:lnTo>
                  <a:pt x="1576" y="887"/>
                </a:lnTo>
                <a:lnTo>
                  <a:pt x="1569" y="889"/>
                </a:lnTo>
                <a:lnTo>
                  <a:pt x="1550" y="891"/>
                </a:lnTo>
                <a:lnTo>
                  <a:pt x="1529" y="892"/>
                </a:lnTo>
                <a:lnTo>
                  <a:pt x="1484" y="892"/>
                </a:lnTo>
                <a:lnTo>
                  <a:pt x="1455" y="891"/>
                </a:lnTo>
                <a:lnTo>
                  <a:pt x="1453" y="889"/>
                </a:lnTo>
                <a:lnTo>
                  <a:pt x="1446" y="888"/>
                </a:lnTo>
                <a:lnTo>
                  <a:pt x="1436" y="887"/>
                </a:lnTo>
                <a:lnTo>
                  <a:pt x="1425" y="886"/>
                </a:lnTo>
                <a:lnTo>
                  <a:pt x="1403" y="885"/>
                </a:lnTo>
                <a:lnTo>
                  <a:pt x="1391" y="885"/>
                </a:lnTo>
                <a:lnTo>
                  <a:pt x="1390" y="887"/>
                </a:lnTo>
                <a:lnTo>
                  <a:pt x="1386" y="889"/>
                </a:lnTo>
                <a:lnTo>
                  <a:pt x="1382" y="890"/>
                </a:lnTo>
                <a:lnTo>
                  <a:pt x="1376" y="890"/>
                </a:lnTo>
                <a:lnTo>
                  <a:pt x="1365" y="891"/>
                </a:lnTo>
                <a:lnTo>
                  <a:pt x="1357" y="891"/>
                </a:lnTo>
                <a:lnTo>
                  <a:pt x="1345" y="899"/>
                </a:lnTo>
                <a:lnTo>
                  <a:pt x="1324" y="910"/>
                </a:lnTo>
                <a:lnTo>
                  <a:pt x="1312" y="916"/>
                </a:lnTo>
                <a:lnTo>
                  <a:pt x="1301" y="920"/>
                </a:lnTo>
                <a:lnTo>
                  <a:pt x="1292" y="923"/>
                </a:lnTo>
                <a:lnTo>
                  <a:pt x="1286" y="924"/>
                </a:lnTo>
                <a:lnTo>
                  <a:pt x="1279" y="937"/>
                </a:lnTo>
                <a:lnTo>
                  <a:pt x="1266" y="937"/>
                </a:lnTo>
                <a:lnTo>
                  <a:pt x="1259" y="944"/>
                </a:lnTo>
                <a:lnTo>
                  <a:pt x="1252" y="950"/>
                </a:lnTo>
                <a:lnTo>
                  <a:pt x="1252" y="964"/>
                </a:lnTo>
                <a:lnTo>
                  <a:pt x="1247" y="969"/>
                </a:lnTo>
                <a:lnTo>
                  <a:pt x="1240" y="976"/>
                </a:lnTo>
                <a:lnTo>
                  <a:pt x="1235" y="984"/>
                </a:lnTo>
                <a:lnTo>
                  <a:pt x="1233" y="989"/>
                </a:lnTo>
                <a:lnTo>
                  <a:pt x="1230" y="991"/>
                </a:lnTo>
                <a:lnTo>
                  <a:pt x="1228" y="992"/>
                </a:lnTo>
                <a:lnTo>
                  <a:pt x="1225" y="994"/>
                </a:lnTo>
                <a:lnTo>
                  <a:pt x="1224" y="997"/>
                </a:lnTo>
                <a:lnTo>
                  <a:pt x="1221" y="1004"/>
                </a:lnTo>
                <a:lnTo>
                  <a:pt x="1220" y="1010"/>
                </a:lnTo>
                <a:lnTo>
                  <a:pt x="1206" y="1016"/>
                </a:lnTo>
                <a:lnTo>
                  <a:pt x="1203" y="1025"/>
                </a:lnTo>
                <a:lnTo>
                  <a:pt x="1200" y="1035"/>
                </a:lnTo>
                <a:lnTo>
                  <a:pt x="1195" y="1036"/>
                </a:lnTo>
                <a:lnTo>
                  <a:pt x="1190" y="1040"/>
                </a:lnTo>
                <a:lnTo>
                  <a:pt x="1185" y="1044"/>
                </a:lnTo>
                <a:lnTo>
                  <a:pt x="1181" y="1049"/>
                </a:lnTo>
                <a:lnTo>
                  <a:pt x="1167" y="1049"/>
                </a:lnTo>
                <a:lnTo>
                  <a:pt x="1166" y="1053"/>
                </a:lnTo>
                <a:lnTo>
                  <a:pt x="1165" y="1056"/>
                </a:lnTo>
                <a:lnTo>
                  <a:pt x="1163" y="1059"/>
                </a:lnTo>
                <a:lnTo>
                  <a:pt x="1161" y="1061"/>
                </a:lnTo>
                <a:lnTo>
                  <a:pt x="1158" y="1063"/>
                </a:lnTo>
                <a:lnTo>
                  <a:pt x="1156" y="1064"/>
                </a:lnTo>
                <a:lnTo>
                  <a:pt x="1155" y="1066"/>
                </a:lnTo>
                <a:lnTo>
                  <a:pt x="1154" y="1069"/>
                </a:lnTo>
                <a:lnTo>
                  <a:pt x="1141" y="1069"/>
                </a:lnTo>
                <a:lnTo>
                  <a:pt x="1141" y="1071"/>
                </a:lnTo>
                <a:lnTo>
                  <a:pt x="1138" y="1072"/>
                </a:lnTo>
                <a:lnTo>
                  <a:pt x="1136" y="1073"/>
                </a:lnTo>
                <a:lnTo>
                  <a:pt x="1134" y="1074"/>
                </a:lnTo>
                <a:lnTo>
                  <a:pt x="1127" y="1074"/>
                </a:lnTo>
                <a:lnTo>
                  <a:pt x="1122" y="1075"/>
                </a:lnTo>
                <a:lnTo>
                  <a:pt x="1120" y="1078"/>
                </a:lnTo>
                <a:lnTo>
                  <a:pt x="1118" y="1080"/>
                </a:lnTo>
                <a:lnTo>
                  <a:pt x="1115" y="1082"/>
                </a:lnTo>
                <a:lnTo>
                  <a:pt x="1110" y="1084"/>
                </a:lnTo>
                <a:lnTo>
                  <a:pt x="1102" y="1087"/>
                </a:lnTo>
                <a:lnTo>
                  <a:pt x="1095" y="1088"/>
                </a:lnTo>
                <a:lnTo>
                  <a:pt x="1091" y="1091"/>
                </a:lnTo>
                <a:lnTo>
                  <a:pt x="1087" y="1094"/>
                </a:lnTo>
                <a:lnTo>
                  <a:pt x="1087" y="1075"/>
                </a:lnTo>
                <a:lnTo>
                  <a:pt x="1088" y="1059"/>
                </a:lnTo>
                <a:lnTo>
                  <a:pt x="1088" y="1045"/>
                </a:lnTo>
                <a:lnTo>
                  <a:pt x="1088" y="1035"/>
                </a:lnTo>
                <a:lnTo>
                  <a:pt x="1091" y="1034"/>
                </a:lnTo>
                <a:lnTo>
                  <a:pt x="1094" y="1029"/>
                </a:lnTo>
                <a:lnTo>
                  <a:pt x="1096" y="1021"/>
                </a:lnTo>
                <a:lnTo>
                  <a:pt x="1098" y="1012"/>
                </a:lnTo>
                <a:lnTo>
                  <a:pt x="1100" y="994"/>
                </a:lnTo>
                <a:lnTo>
                  <a:pt x="1102" y="983"/>
                </a:lnTo>
                <a:lnTo>
                  <a:pt x="1115" y="971"/>
                </a:lnTo>
                <a:lnTo>
                  <a:pt x="1115" y="962"/>
                </a:lnTo>
                <a:lnTo>
                  <a:pt x="1115" y="950"/>
                </a:lnTo>
                <a:lnTo>
                  <a:pt x="1115" y="938"/>
                </a:lnTo>
                <a:lnTo>
                  <a:pt x="1115" y="930"/>
                </a:lnTo>
                <a:lnTo>
                  <a:pt x="1108" y="924"/>
                </a:lnTo>
                <a:lnTo>
                  <a:pt x="1102" y="918"/>
                </a:lnTo>
                <a:lnTo>
                  <a:pt x="1077" y="915"/>
                </a:lnTo>
                <a:lnTo>
                  <a:pt x="1027" y="906"/>
                </a:lnTo>
                <a:lnTo>
                  <a:pt x="1001" y="901"/>
                </a:lnTo>
                <a:lnTo>
                  <a:pt x="979" y="896"/>
                </a:lnTo>
                <a:lnTo>
                  <a:pt x="970" y="892"/>
                </a:lnTo>
                <a:lnTo>
                  <a:pt x="963" y="890"/>
                </a:lnTo>
                <a:lnTo>
                  <a:pt x="959" y="887"/>
                </a:lnTo>
                <a:lnTo>
                  <a:pt x="958" y="885"/>
                </a:lnTo>
                <a:lnTo>
                  <a:pt x="949" y="880"/>
                </a:lnTo>
                <a:lnTo>
                  <a:pt x="941" y="875"/>
                </a:lnTo>
                <a:lnTo>
                  <a:pt x="934" y="868"/>
                </a:lnTo>
                <a:lnTo>
                  <a:pt x="928" y="861"/>
                </a:lnTo>
                <a:lnTo>
                  <a:pt x="924" y="854"/>
                </a:lnTo>
                <a:lnTo>
                  <a:pt x="920" y="848"/>
                </a:lnTo>
                <a:lnTo>
                  <a:pt x="917" y="840"/>
                </a:lnTo>
                <a:lnTo>
                  <a:pt x="915" y="831"/>
                </a:lnTo>
                <a:lnTo>
                  <a:pt x="912" y="814"/>
                </a:lnTo>
                <a:lnTo>
                  <a:pt x="912" y="795"/>
                </a:lnTo>
                <a:lnTo>
                  <a:pt x="912" y="775"/>
                </a:lnTo>
                <a:lnTo>
                  <a:pt x="912" y="754"/>
                </a:lnTo>
                <a:lnTo>
                  <a:pt x="914" y="751"/>
                </a:lnTo>
                <a:lnTo>
                  <a:pt x="915" y="744"/>
                </a:lnTo>
                <a:lnTo>
                  <a:pt x="916" y="734"/>
                </a:lnTo>
                <a:lnTo>
                  <a:pt x="917" y="723"/>
                </a:lnTo>
                <a:lnTo>
                  <a:pt x="918" y="698"/>
                </a:lnTo>
                <a:lnTo>
                  <a:pt x="918" y="681"/>
                </a:lnTo>
                <a:lnTo>
                  <a:pt x="912" y="675"/>
                </a:lnTo>
                <a:lnTo>
                  <a:pt x="904" y="675"/>
                </a:lnTo>
                <a:lnTo>
                  <a:pt x="892" y="675"/>
                </a:lnTo>
                <a:lnTo>
                  <a:pt x="880" y="675"/>
                </a:lnTo>
                <a:lnTo>
                  <a:pt x="873" y="675"/>
                </a:lnTo>
                <a:lnTo>
                  <a:pt x="872" y="671"/>
                </a:lnTo>
                <a:lnTo>
                  <a:pt x="872" y="669"/>
                </a:lnTo>
                <a:lnTo>
                  <a:pt x="870" y="669"/>
                </a:lnTo>
                <a:lnTo>
                  <a:pt x="869" y="668"/>
                </a:lnTo>
                <a:lnTo>
                  <a:pt x="868" y="668"/>
                </a:lnTo>
                <a:lnTo>
                  <a:pt x="867" y="668"/>
                </a:lnTo>
                <a:lnTo>
                  <a:pt x="866" y="666"/>
                </a:lnTo>
                <a:lnTo>
                  <a:pt x="866" y="662"/>
                </a:lnTo>
                <a:lnTo>
                  <a:pt x="849" y="659"/>
                </a:lnTo>
                <a:lnTo>
                  <a:pt x="832" y="656"/>
                </a:lnTo>
                <a:lnTo>
                  <a:pt x="828" y="650"/>
                </a:lnTo>
                <a:lnTo>
                  <a:pt x="824" y="646"/>
                </a:lnTo>
                <a:lnTo>
                  <a:pt x="821" y="640"/>
                </a:lnTo>
                <a:lnTo>
                  <a:pt x="820" y="636"/>
                </a:lnTo>
                <a:lnTo>
                  <a:pt x="798" y="635"/>
                </a:lnTo>
                <a:lnTo>
                  <a:pt x="773" y="632"/>
                </a:lnTo>
                <a:lnTo>
                  <a:pt x="747" y="630"/>
                </a:lnTo>
                <a:lnTo>
                  <a:pt x="722" y="629"/>
                </a:lnTo>
                <a:lnTo>
                  <a:pt x="714" y="621"/>
                </a:lnTo>
                <a:lnTo>
                  <a:pt x="709" y="612"/>
                </a:lnTo>
                <a:lnTo>
                  <a:pt x="703" y="602"/>
                </a:lnTo>
                <a:lnTo>
                  <a:pt x="697" y="591"/>
                </a:lnTo>
                <a:lnTo>
                  <a:pt x="694" y="580"/>
                </a:lnTo>
                <a:lnTo>
                  <a:pt x="691" y="569"/>
                </a:lnTo>
                <a:lnTo>
                  <a:pt x="690" y="556"/>
                </a:lnTo>
                <a:lnTo>
                  <a:pt x="688" y="544"/>
                </a:lnTo>
                <a:lnTo>
                  <a:pt x="686" y="544"/>
                </a:lnTo>
                <a:lnTo>
                  <a:pt x="685" y="543"/>
                </a:lnTo>
                <a:lnTo>
                  <a:pt x="684" y="542"/>
                </a:lnTo>
                <a:lnTo>
                  <a:pt x="683" y="540"/>
                </a:lnTo>
                <a:lnTo>
                  <a:pt x="682" y="535"/>
                </a:lnTo>
                <a:lnTo>
                  <a:pt x="682" y="531"/>
                </a:lnTo>
                <a:lnTo>
                  <a:pt x="680" y="531"/>
                </a:lnTo>
                <a:lnTo>
                  <a:pt x="678" y="529"/>
                </a:lnTo>
                <a:lnTo>
                  <a:pt x="677" y="526"/>
                </a:lnTo>
                <a:lnTo>
                  <a:pt x="676" y="523"/>
                </a:lnTo>
                <a:lnTo>
                  <a:pt x="676" y="517"/>
                </a:lnTo>
                <a:lnTo>
                  <a:pt x="675" y="511"/>
                </a:lnTo>
                <a:lnTo>
                  <a:pt x="669" y="505"/>
                </a:lnTo>
                <a:lnTo>
                  <a:pt x="656" y="505"/>
                </a:lnTo>
                <a:lnTo>
                  <a:pt x="653" y="514"/>
                </a:lnTo>
                <a:lnTo>
                  <a:pt x="649" y="524"/>
                </a:lnTo>
                <a:lnTo>
                  <a:pt x="647" y="525"/>
                </a:lnTo>
                <a:lnTo>
                  <a:pt x="645" y="527"/>
                </a:lnTo>
                <a:lnTo>
                  <a:pt x="643" y="531"/>
                </a:lnTo>
                <a:lnTo>
                  <a:pt x="640" y="535"/>
                </a:lnTo>
                <a:lnTo>
                  <a:pt x="637" y="544"/>
                </a:lnTo>
                <a:lnTo>
                  <a:pt x="636" y="551"/>
                </a:lnTo>
                <a:lnTo>
                  <a:pt x="632" y="555"/>
                </a:lnTo>
                <a:lnTo>
                  <a:pt x="627" y="561"/>
                </a:lnTo>
                <a:lnTo>
                  <a:pt x="626" y="564"/>
                </a:lnTo>
                <a:lnTo>
                  <a:pt x="625" y="568"/>
                </a:lnTo>
                <a:lnTo>
                  <a:pt x="624" y="572"/>
                </a:lnTo>
                <a:lnTo>
                  <a:pt x="624" y="577"/>
                </a:lnTo>
                <a:lnTo>
                  <a:pt x="617" y="590"/>
                </a:lnTo>
                <a:lnTo>
                  <a:pt x="614" y="591"/>
                </a:lnTo>
                <a:lnTo>
                  <a:pt x="611" y="592"/>
                </a:lnTo>
                <a:lnTo>
                  <a:pt x="609" y="596"/>
                </a:lnTo>
                <a:lnTo>
                  <a:pt x="607" y="599"/>
                </a:lnTo>
                <a:lnTo>
                  <a:pt x="603" y="609"/>
                </a:lnTo>
                <a:lnTo>
                  <a:pt x="598" y="621"/>
                </a:lnTo>
                <a:lnTo>
                  <a:pt x="592" y="646"/>
                </a:lnTo>
                <a:lnTo>
                  <a:pt x="590" y="662"/>
                </a:lnTo>
                <a:lnTo>
                  <a:pt x="588" y="662"/>
                </a:lnTo>
                <a:lnTo>
                  <a:pt x="586" y="664"/>
                </a:lnTo>
                <a:lnTo>
                  <a:pt x="585" y="666"/>
                </a:lnTo>
                <a:lnTo>
                  <a:pt x="582" y="668"/>
                </a:lnTo>
                <a:lnTo>
                  <a:pt x="580" y="675"/>
                </a:lnTo>
                <a:lnTo>
                  <a:pt x="579" y="683"/>
                </a:lnTo>
                <a:lnTo>
                  <a:pt x="578" y="698"/>
                </a:lnTo>
                <a:lnTo>
                  <a:pt x="577" y="708"/>
                </a:lnTo>
                <a:lnTo>
                  <a:pt x="573" y="708"/>
                </a:lnTo>
                <a:lnTo>
                  <a:pt x="571" y="709"/>
                </a:lnTo>
                <a:lnTo>
                  <a:pt x="571" y="710"/>
                </a:lnTo>
                <a:lnTo>
                  <a:pt x="571" y="712"/>
                </a:lnTo>
                <a:lnTo>
                  <a:pt x="570" y="713"/>
                </a:lnTo>
                <a:lnTo>
                  <a:pt x="570" y="714"/>
                </a:lnTo>
                <a:lnTo>
                  <a:pt x="568" y="714"/>
                </a:lnTo>
                <a:lnTo>
                  <a:pt x="565" y="715"/>
                </a:lnTo>
                <a:lnTo>
                  <a:pt x="558" y="727"/>
                </a:lnTo>
                <a:lnTo>
                  <a:pt x="550" y="728"/>
                </a:lnTo>
                <a:lnTo>
                  <a:pt x="543" y="731"/>
                </a:lnTo>
                <a:lnTo>
                  <a:pt x="536" y="734"/>
                </a:lnTo>
                <a:lnTo>
                  <a:pt x="528" y="737"/>
                </a:lnTo>
                <a:lnTo>
                  <a:pt x="521" y="741"/>
                </a:lnTo>
                <a:lnTo>
                  <a:pt x="513" y="744"/>
                </a:lnTo>
                <a:lnTo>
                  <a:pt x="507" y="746"/>
                </a:lnTo>
                <a:lnTo>
                  <a:pt x="499" y="747"/>
                </a:lnTo>
                <a:lnTo>
                  <a:pt x="460" y="786"/>
                </a:lnTo>
                <a:lnTo>
                  <a:pt x="456" y="803"/>
                </a:lnTo>
                <a:lnTo>
                  <a:pt x="453" y="819"/>
                </a:lnTo>
                <a:lnTo>
                  <a:pt x="446" y="832"/>
                </a:lnTo>
                <a:lnTo>
                  <a:pt x="433" y="832"/>
                </a:lnTo>
                <a:lnTo>
                  <a:pt x="432" y="833"/>
                </a:lnTo>
                <a:lnTo>
                  <a:pt x="429" y="833"/>
                </a:lnTo>
                <a:lnTo>
                  <a:pt x="425" y="833"/>
                </a:lnTo>
                <a:lnTo>
                  <a:pt x="418" y="832"/>
                </a:lnTo>
                <a:lnTo>
                  <a:pt x="404" y="829"/>
                </a:lnTo>
                <a:lnTo>
                  <a:pt x="386" y="825"/>
                </a:lnTo>
                <a:lnTo>
                  <a:pt x="350" y="816"/>
                </a:lnTo>
                <a:lnTo>
                  <a:pt x="328" y="813"/>
                </a:lnTo>
                <a:lnTo>
                  <a:pt x="318" y="819"/>
                </a:lnTo>
                <a:lnTo>
                  <a:pt x="302" y="825"/>
                </a:lnTo>
                <a:lnTo>
                  <a:pt x="302" y="839"/>
                </a:lnTo>
                <a:lnTo>
                  <a:pt x="289" y="839"/>
                </a:lnTo>
                <a:lnTo>
                  <a:pt x="282" y="846"/>
                </a:lnTo>
                <a:lnTo>
                  <a:pt x="263" y="84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84" name="Freeform 45">
            <a:extLst>
              <a:ext uri="{FF2B5EF4-FFF2-40B4-BE49-F238E27FC236}">
                <a16:creationId xmlns:a16="http://schemas.microsoft.com/office/drawing/2014/main" id="{ACB546F4-1492-465B-B914-964B80F1AD86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094538" y="2978150"/>
            <a:ext cx="408082" cy="306388"/>
          </a:xfrm>
          <a:custGeom>
            <a:avLst/>
            <a:gdLst/>
            <a:ahLst/>
            <a:cxnLst>
              <a:cxn ang="0">
                <a:pos x="1743" y="1"/>
              </a:cxn>
              <a:cxn ang="0">
                <a:pos x="1699" y="96"/>
              </a:cxn>
              <a:cxn ang="0">
                <a:pos x="1679" y="303"/>
              </a:cxn>
              <a:cxn ang="0">
                <a:pos x="1714" y="384"/>
              </a:cxn>
              <a:cxn ang="0">
                <a:pos x="1745" y="511"/>
              </a:cxn>
              <a:cxn ang="0">
                <a:pos x="1829" y="600"/>
              </a:cxn>
              <a:cxn ang="0">
                <a:pos x="1876" y="650"/>
              </a:cxn>
              <a:cxn ang="0">
                <a:pos x="1966" y="702"/>
              </a:cxn>
              <a:cxn ang="0">
                <a:pos x="2079" y="755"/>
              </a:cxn>
              <a:cxn ang="0">
                <a:pos x="2193" y="989"/>
              </a:cxn>
              <a:cxn ang="0">
                <a:pos x="2246" y="1071"/>
              </a:cxn>
              <a:cxn ang="0">
                <a:pos x="2129" y="1224"/>
              </a:cxn>
              <a:cxn ang="0">
                <a:pos x="2087" y="1335"/>
              </a:cxn>
              <a:cxn ang="0">
                <a:pos x="2036" y="1405"/>
              </a:cxn>
              <a:cxn ang="0">
                <a:pos x="1994" y="1486"/>
              </a:cxn>
              <a:cxn ang="0">
                <a:pos x="1953" y="1570"/>
              </a:cxn>
              <a:cxn ang="0">
                <a:pos x="1892" y="1637"/>
              </a:cxn>
              <a:cxn ang="0">
                <a:pos x="1824" y="1723"/>
              </a:cxn>
              <a:cxn ang="0">
                <a:pos x="1778" y="1778"/>
              </a:cxn>
              <a:cxn ang="0">
                <a:pos x="1714" y="1835"/>
              </a:cxn>
              <a:cxn ang="0">
                <a:pos x="1647" y="1906"/>
              </a:cxn>
              <a:cxn ang="0">
                <a:pos x="1502" y="1881"/>
              </a:cxn>
              <a:cxn ang="0">
                <a:pos x="1486" y="1762"/>
              </a:cxn>
              <a:cxn ang="0">
                <a:pos x="1517" y="1646"/>
              </a:cxn>
              <a:cxn ang="0">
                <a:pos x="1464" y="1546"/>
              </a:cxn>
              <a:cxn ang="0">
                <a:pos x="1401" y="1506"/>
              </a:cxn>
              <a:cxn ang="0">
                <a:pos x="1316" y="1455"/>
              </a:cxn>
              <a:cxn ang="0">
                <a:pos x="1266" y="1419"/>
              </a:cxn>
              <a:cxn ang="0">
                <a:pos x="1230" y="1394"/>
              </a:cxn>
              <a:cxn ang="0">
                <a:pos x="1201" y="1369"/>
              </a:cxn>
              <a:cxn ang="0">
                <a:pos x="1153" y="1297"/>
              </a:cxn>
              <a:cxn ang="0">
                <a:pos x="983" y="1262"/>
              </a:cxn>
              <a:cxn ang="0">
                <a:pos x="939" y="1230"/>
              </a:cxn>
              <a:cxn ang="0">
                <a:pos x="907" y="1210"/>
              </a:cxn>
              <a:cxn ang="0">
                <a:pos x="864" y="1192"/>
              </a:cxn>
              <a:cxn ang="0">
                <a:pos x="787" y="1171"/>
              </a:cxn>
              <a:cxn ang="0">
                <a:pos x="570" y="1173"/>
              </a:cxn>
              <a:cxn ang="0">
                <a:pos x="530" y="1225"/>
              </a:cxn>
              <a:cxn ang="0">
                <a:pos x="494" y="1291"/>
              </a:cxn>
              <a:cxn ang="0">
                <a:pos x="391" y="1333"/>
              </a:cxn>
              <a:cxn ang="0">
                <a:pos x="335" y="1350"/>
              </a:cxn>
              <a:cxn ang="0">
                <a:pos x="274" y="1375"/>
              </a:cxn>
              <a:cxn ang="0">
                <a:pos x="129" y="1338"/>
              </a:cxn>
              <a:cxn ang="0">
                <a:pos x="68" y="1251"/>
              </a:cxn>
              <a:cxn ang="0">
                <a:pos x="53" y="1176"/>
              </a:cxn>
              <a:cxn ang="0">
                <a:pos x="9" y="1089"/>
              </a:cxn>
              <a:cxn ang="0">
                <a:pos x="27" y="951"/>
              </a:cxn>
              <a:cxn ang="0">
                <a:pos x="199" y="916"/>
              </a:cxn>
              <a:cxn ang="0">
                <a:pos x="381" y="773"/>
              </a:cxn>
              <a:cxn ang="0">
                <a:pos x="413" y="755"/>
              </a:cxn>
              <a:cxn ang="0">
                <a:pos x="525" y="734"/>
              </a:cxn>
              <a:cxn ang="0">
                <a:pos x="659" y="751"/>
              </a:cxn>
              <a:cxn ang="0">
                <a:pos x="854" y="770"/>
              </a:cxn>
              <a:cxn ang="0">
                <a:pos x="892" y="682"/>
              </a:cxn>
              <a:cxn ang="0">
                <a:pos x="918" y="420"/>
              </a:cxn>
              <a:cxn ang="0">
                <a:pos x="979" y="396"/>
              </a:cxn>
              <a:cxn ang="0">
                <a:pos x="1044" y="336"/>
              </a:cxn>
              <a:cxn ang="0">
                <a:pos x="1115" y="255"/>
              </a:cxn>
              <a:cxn ang="0">
                <a:pos x="1269" y="220"/>
              </a:cxn>
              <a:cxn ang="0">
                <a:pos x="1422" y="205"/>
              </a:cxn>
              <a:cxn ang="0">
                <a:pos x="1447" y="45"/>
              </a:cxn>
            </a:cxnLst>
            <a:rect l="0" t="0" r="r" b="b"/>
            <a:pathLst>
              <a:path w="2248" h="1913">
                <a:moveTo>
                  <a:pt x="1469" y="15"/>
                </a:moveTo>
                <a:lnTo>
                  <a:pt x="1473" y="13"/>
                </a:lnTo>
                <a:lnTo>
                  <a:pt x="1475" y="13"/>
                </a:lnTo>
                <a:lnTo>
                  <a:pt x="1478" y="11"/>
                </a:lnTo>
                <a:lnTo>
                  <a:pt x="1485" y="10"/>
                </a:lnTo>
                <a:lnTo>
                  <a:pt x="1494" y="9"/>
                </a:lnTo>
                <a:lnTo>
                  <a:pt x="1506" y="8"/>
                </a:lnTo>
                <a:lnTo>
                  <a:pt x="1528" y="7"/>
                </a:lnTo>
                <a:lnTo>
                  <a:pt x="1541" y="7"/>
                </a:lnTo>
                <a:lnTo>
                  <a:pt x="1551" y="5"/>
                </a:lnTo>
                <a:lnTo>
                  <a:pt x="1576" y="3"/>
                </a:lnTo>
                <a:lnTo>
                  <a:pt x="1613" y="2"/>
                </a:lnTo>
                <a:lnTo>
                  <a:pt x="1657" y="1"/>
                </a:lnTo>
                <a:lnTo>
                  <a:pt x="1701" y="1"/>
                </a:lnTo>
                <a:lnTo>
                  <a:pt x="1743" y="1"/>
                </a:lnTo>
                <a:lnTo>
                  <a:pt x="1776" y="0"/>
                </a:lnTo>
                <a:lnTo>
                  <a:pt x="1796" y="0"/>
                </a:lnTo>
                <a:lnTo>
                  <a:pt x="1796" y="20"/>
                </a:lnTo>
                <a:lnTo>
                  <a:pt x="1790" y="27"/>
                </a:lnTo>
                <a:lnTo>
                  <a:pt x="1777" y="27"/>
                </a:lnTo>
                <a:lnTo>
                  <a:pt x="1767" y="40"/>
                </a:lnTo>
                <a:lnTo>
                  <a:pt x="1757" y="53"/>
                </a:lnTo>
                <a:lnTo>
                  <a:pt x="1744" y="53"/>
                </a:lnTo>
                <a:lnTo>
                  <a:pt x="1744" y="57"/>
                </a:lnTo>
                <a:lnTo>
                  <a:pt x="1742" y="60"/>
                </a:lnTo>
                <a:lnTo>
                  <a:pt x="1738" y="64"/>
                </a:lnTo>
                <a:lnTo>
                  <a:pt x="1734" y="68"/>
                </a:lnTo>
                <a:lnTo>
                  <a:pt x="1724" y="76"/>
                </a:lnTo>
                <a:lnTo>
                  <a:pt x="1712" y="86"/>
                </a:lnTo>
                <a:lnTo>
                  <a:pt x="1699" y="96"/>
                </a:lnTo>
                <a:lnTo>
                  <a:pt x="1689" y="108"/>
                </a:lnTo>
                <a:lnTo>
                  <a:pt x="1685" y="115"/>
                </a:lnTo>
                <a:lnTo>
                  <a:pt x="1681" y="122"/>
                </a:lnTo>
                <a:lnTo>
                  <a:pt x="1679" y="130"/>
                </a:lnTo>
                <a:lnTo>
                  <a:pt x="1679" y="138"/>
                </a:lnTo>
                <a:lnTo>
                  <a:pt x="1678" y="173"/>
                </a:lnTo>
                <a:lnTo>
                  <a:pt x="1676" y="210"/>
                </a:lnTo>
                <a:lnTo>
                  <a:pt x="1674" y="247"/>
                </a:lnTo>
                <a:lnTo>
                  <a:pt x="1672" y="282"/>
                </a:lnTo>
                <a:lnTo>
                  <a:pt x="1675" y="282"/>
                </a:lnTo>
                <a:lnTo>
                  <a:pt x="1676" y="285"/>
                </a:lnTo>
                <a:lnTo>
                  <a:pt x="1677" y="287"/>
                </a:lnTo>
                <a:lnTo>
                  <a:pt x="1678" y="290"/>
                </a:lnTo>
                <a:lnTo>
                  <a:pt x="1678" y="296"/>
                </a:lnTo>
                <a:lnTo>
                  <a:pt x="1679" y="303"/>
                </a:lnTo>
                <a:lnTo>
                  <a:pt x="1680" y="303"/>
                </a:lnTo>
                <a:lnTo>
                  <a:pt x="1682" y="304"/>
                </a:lnTo>
                <a:lnTo>
                  <a:pt x="1684" y="307"/>
                </a:lnTo>
                <a:lnTo>
                  <a:pt x="1685" y="309"/>
                </a:lnTo>
                <a:lnTo>
                  <a:pt x="1685" y="316"/>
                </a:lnTo>
                <a:lnTo>
                  <a:pt x="1685" y="321"/>
                </a:lnTo>
                <a:lnTo>
                  <a:pt x="1688" y="324"/>
                </a:lnTo>
                <a:lnTo>
                  <a:pt x="1693" y="329"/>
                </a:lnTo>
                <a:lnTo>
                  <a:pt x="1696" y="337"/>
                </a:lnTo>
                <a:lnTo>
                  <a:pt x="1700" y="346"/>
                </a:lnTo>
                <a:lnTo>
                  <a:pt x="1705" y="356"/>
                </a:lnTo>
                <a:lnTo>
                  <a:pt x="1708" y="366"/>
                </a:lnTo>
                <a:lnTo>
                  <a:pt x="1710" y="374"/>
                </a:lnTo>
                <a:lnTo>
                  <a:pt x="1712" y="381"/>
                </a:lnTo>
                <a:lnTo>
                  <a:pt x="1714" y="384"/>
                </a:lnTo>
                <a:lnTo>
                  <a:pt x="1715" y="392"/>
                </a:lnTo>
                <a:lnTo>
                  <a:pt x="1716" y="404"/>
                </a:lnTo>
                <a:lnTo>
                  <a:pt x="1717" y="419"/>
                </a:lnTo>
                <a:lnTo>
                  <a:pt x="1718" y="446"/>
                </a:lnTo>
                <a:lnTo>
                  <a:pt x="1718" y="465"/>
                </a:lnTo>
                <a:lnTo>
                  <a:pt x="1720" y="467"/>
                </a:lnTo>
                <a:lnTo>
                  <a:pt x="1723" y="469"/>
                </a:lnTo>
                <a:lnTo>
                  <a:pt x="1725" y="472"/>
                </a:lnTo>
                <a:lnTo>
                  <a:pt x="1727" y="477"/>
                </a:lnTo>
                <a:lnTo>
                  <a:pt x="1729" y="486"/>
                </a:lnTo>
                <a:lnTo>
                  <a:pt x="1730" y="492"/>
                </a:lnTo>
                <a:lnTo>
                  <a:pt x="1734" y="493"/>
                </a:lnTo>
                <a:lnTo>
                  <a:pt x="1737" y="498"/>
                </a:lnTo>
                <a:lnTo>
                  <a:pt x="1741" y="505"/>
                </a:lnTo>
                <a:lnTo>
                  <a:pt x="1745" y="511"/>
                </a:lnTo>
                <a:lnTo>
                  <a:pt x="1749" y="519"/>
                </a:lnTo>
                <a:lnTo>
                  <a:pt x="1754" y="526"/>
                </a:lnTo>
                <a:lnTo>
                  <a:pt x="1756" y="528"/>
                </a:lnTo>
                <a:lnTo>
                  <a:pt x="1758" y="530"/>
                </a:lnTo>
                <a:lnTo>
                  <a:pt x="1762" y="531"/>
                </a:lnTo>
                <a:lnTo>
                  <a:pt x="1764" y="531"/>
                </a:lnTo>
                <a:lnTo>
                  <a:pt x="1764" y="545"/>
                </a:lnTo>
                <a:lnTo>
                  <a:pt x="1767" y="546"/>
                </a:lnTo>
                <a:lnTo>
                  <a:pt x="1773" y="550"/>
                </a:lnTo>
                <a:lnTo>
                  <a:pt x="1780" y="557"/>
                </a:lnTo>
                <a:lnTo>
                  <a:pt x="1786" y="564"/>
                </a:lnTo>
                <a:lnTo>
                  <a:pt x="1797" y="578"/>
                </a:lnTo>
                <a:lnTo>
                  <a:pt x="1803" y="584"/>
                </a:lnTo>
                <a:lnTo>
                  <a:pt x="1813" y="590"/>
                </a:lnTo>
                <a:lnTo>
                  <a:pt x="1829" y="600"/>
                </a:lnTo>
                <a:lnTo>
                  <a:pt x="1837" y="605"/>
                </a:lnTo>
                <a:lnTo>
                  <a:pt x="1843" y="609"/>
                </a:lnTo>
                <a:lnTo>
                  <a:pt x="1848" y="614"/>
                </a:lnTo>
                <a:lnTo>
                  <a:pt x="1849" y="616"/>
                </a:lnTo>
                <a:lnTo>
                  <a:pt x="1862" y="616"/>
                </a:lnTo>
                <a:lnTo>
                  <a:pt x="1862" y="630"/>
                </a:lnTo>
                <a:lnTo>
                  <a:pt x="1866" y="630"/>
                </a:lnTo>
                <a:lnTo>
                  <a:pt x="1868" y="631"/>
                </a:lnTo>
                <a:lnTo>
                  <a:pt x="1869" y="632"/>
                </a:lnTo>
                <a:lnTo>
                  <a:pt x="1869" y="633"/>
                </a:lnTo>
                <a:lnTo>
                  <a:pt x="1869" y="634"/>
                </a:lnTo>
                <a:lnTo>
                  <a:pt x="1870" y="635"/>
                </a:lnTo>
                <a:lnTo>
                  <a:pt x="1871" y="636"/>
                </a:lnTo>
                <a:lnTo>
                  <a:pt x="1876" y="636"/>
                </a:lnTo>
                <a:lnTo>
                  <a:pt x="1876" y="650"/>
                </a:lnTo>
                <a:lnTo>
                  <a:pt x="1880" y="650"/>
                </a:lnTo>
                <a:lnTo>
                  <a:pt x="1885" y="652"/>
                </a:lnTo>
                <a:lnTo>
                  <a:pt x="1888" y="654"/>
                </a:lnTo>
                <a:lnTo>
                  <a:pt x="1891" y="657"/>
                </a:lnTo>
                <a:lnTo>
                  <a:pt x="1898" y="666"/>
                </a:lnTo>
                <a:lnTo>
                  <a:pt x="1905" y="675"/>
                </a:lnTo>
                <a:lnTo>
                  <a:pt x="1909" y="681"/>
                </a:lnTo>
                <a:lnTo>
                  <a:pt x="1912" y="685"/>
                </a:lnTo>
                <a:lnTo>
                  <a:pt x="1918" y="690"/>
                </a:lnTo>
                <a:lnTo>
                  <a:pt x="1924" y="693"/>
                </a:lnTo>
                <a:lnTo>
                  <a:pt x="1929" y="696"/>
                </a:lnTo>
                <a:lnTo>
                  <a:pt x="1937" y="700"/>
                </a:lnTo>
                <a:lnTo>
                  <a:pt x="1945" y="701"/>
                </a:lnTo>
                <a:lnTo>
                  <a:pt x="1954" y="702"/>
                </a:lnTo>
                <a:lnTo>
                  <a:pt x="1966" y="702"/>
                </a:lnTo>
                <a:lnTo>
                  <a:pt x="1979" y="704"/>
                </a:lnTo>
                <a:lnTo>
                  <a:pt x="1993" y="707"/>
                </a:lnTo>
                <a:lnTo>
                  <a:pt x="2006" y="709"/>
                </a:lnTo>
                <a:lnTo>
                  <a:pt x="2020" y="711"/>
                </a:lnTo>
                <a:lnTo>
                  <a:pt x="2033" y="713"/>
                </a:lnTo>
                <a:lnTo>
                  <a:pt x="2046" y="714"/>
                </a:lnTo>
                <a:lnTo>
                  <a:pt x="2059" y="715"/>
                </a:lnTo>
                <a:lnTo>
                  <a:pt x="2072" y="728"/>
                </a:lnTo>
                <a:lnTo>
                  <a:pt x="2072" y="741"/>
                </a:lnTo>
                <a:lnTo>
                  <a:pt x="2074" y="741"/>
                </a:lnTo>
                <a:lnTo>
                  <a:pt x="2075" y="742"/>
                </a:lnTo>
                <a:lnTo>
                  <a:pt x="2077" y="743"/>
                </a:lnTo>
                <a:lnTo>
                  <a:pt x="2078" y="746"/>
                </a:lnTo>
                <a:lnTo>
                  <a:pt x="2079" y="749"/>
                </a:lnTo>
                <a:lnTo>
                  <a:pt x="2079" y="755"/>
                </a:lnTo>
                <a:lnTo>
                  <a:pt x="2082" y="760"/>
                </a:lnTo>
                <a:lnTo>
                  <a:pt x="2089" y="777"/>
                </a:lnTo>
                <a:lnTo>
                  <a:pt x="2096" y="800"/>
                </a:lnTo>
                <a:lnTo>
                  <a:pt x="2103" y="826"/>
                </a:lnTo>
                <a:lnTo>
                  <a:pt x="2118" y="876"/>
                </a:lnTo>
                <a:lnTo>
                  <a:pt x="2125" y="898"/>
                </a:lnTo>
                <a:lnTo>
                  <a:pt x="2129" y="902"/>
                </a:lnTo>
                <a:lnTo>
                  <a:pt x="2136" y="913"/>
                </a:lnTo>
                <a:lnTo>
                  <a:pt x="2145" y="928"/>
                </a:lnTo>
                <a:lnTo>
                  <a:pt x="2156" y="944"/>
                </a:lnTo>
                <a:lnTo>
                  <a:pt x="2167" y="961"/>
                </a:lnTo>
                <a:lnTo>
                  <a:pt x="2178" y="975"/>
                </a:lnTo>
                <a:lnTo>
                  <a:pt x="2183" y="982"/>
                </a:lnTo>
                <a:lnTo>
                  <a:pt x="2188" y="987"/>
                </a:lnTo>
                <a:lnTo>
                  <a:pt x="2193" y="989"/>
                </a:lnTo>
                <a:lnTo>
                  <a:pt x="2196" y="990"/>
                </a:lnTo>
                <a:lnTo>
                  <a:pt x="2196" y="1003"/>
                </a:lnTo>
                <a:lnTo>
                  <a:pt x="2199" y="1003"/>
                </a:lnTo>
                <a:lnTo>
                  <a:pt x="2202" y="1006"/>
                </a:lnTo>
                <a:lnTo>
                  <a:pt x="2205" y="1008"/>
                </a:lnTo>
                <a:lnTo>
                  <a:pt x="2208" y="1011"/>
                </a:lnTo>
                <a:lnTo>
                  <a:pt x="2215" y="1020"/>
                </a:lnTo>
                <a:lnTo>
                  <a:pt x="2222" y="1029"/>
                </a:lnTo>
                <a:lnTo>
                  <a:pt x="2228" y="1039"/>
                </a:lnTo>
                <a:lnTo>
                  <a:pt x="2234" y="1048"/>
                </a:lnTo>
                <a:lnTo>
                  <a:pt x="2240" y="1054"/>
                </a:lnTo>
                <a:lnTo>
                  <a:pt x="2243" y="1056"/>
                </a:lnTo>
                <a:lnTo>
                  <a:pt x="2243" y="1069"/>
                </a:lnTo>
                <a:lnTo>
                  <a:pt x="2244" y="1069"/>
                </a:lnTo>
                <a:lnTo>
                  <a:pt x="2246" y="1071"/>
                </a:lnTo>
                <a:lnTo>
                  <a:pt x="2247" y="1076"/>
                </a:lnTo>
                <a:lnTo>
                  <a:pt x="2248" y="1079"/>
                </a:lnTo>
                <a:lnTo>
                  <a:pt x="2248" y="1088"/>
                </a:lnTo>
                <a:lnTo>
                  <a:pt x="2248" y="1095"/>
                </a:lnTo>
                <a:lnTo>
                  <a:pt x="2243" y="1096"/>
                </a:lnTo>
                <a:lnTo>
                  <a:pt x="2237" y="1100"/>
                </a:lnTo>
                <a:lnTo>
                  <a:pt x="2229" y="1107"/>
                </a:lnTo>
                <a:lnTo>
                  <a:pt x="2222" y="1115"/>
                </a:lnTo>
                <a:lnTo>
                  <a:pt x="2203" y="1136"/>
                </a:lnTo>
                <a:lnTo>
                  <a:pt x="2184" y="1161"/>
                </a:lnTo>
                <a:lnTo>
                  <a:pt x="2166" y="1184"/>
                </a:lnTo>
                <a:lnTo>
                  <a:pt x="2148" y="1205"/>
                </a:lnTo>
                <a:lnTo>
                  <a:pt x="2141" y="1214"/>
                </a:lnTo>
                <a:lnTo>
                  <a:pt x="2135" y="1221"/>
                </a:lnTo>
                <a:lnTo>
                  <a:pt x="2129" y="1224"/>
                </a:lnTo>
                <a:lnTo>
                  <a:pt x="2125" y="1227"/>
                </a:lnTo>
                <a:lnTo>
                  <a:pt x="2125" y="1239"/>
                </a:lnTo>
                <a:lnTo>
                  <a:pt x="2114" y="1246"/>
                </a:lnTo>
                <a:lnTo>
                  <a:pt x="2104" y="1252"/>
                </a:lnTo>
                <a:lnTo>
                  <a:pt x="2104" y="1266"/>
                </a:lnTo>
                <a:lnTo>
                  <a:pt x="2102" y="1266"/>
                </a:lnTo>
                <a:lnTo>
                  <a:pt x="2101" y="1268"/>
                </a:lnTo>
                <a:lnTo>
                  <a:pt x="2099" y="1270"/>
                </a:lnTo>
                <a:lnTo>
                  <a:pt x="2098" y="1272"/>
                </a:lnTo>
                <a:lnTo>
                  <a:pt x="2096" y="1275"/>
                </a:lnTo>
                <a:lnTo>
                  <a:pt x="2092" y="1277"/>
                </a:lnTo>
                <a:lnTo>
                  <a:pt x="2089" y="1278"/>
                </a:lnTo>
                <a:lnTo>
                  <a:pt x="2085" y="1279"/>
                </a:lnTo>
                <a:lnTo>
                  <a:pt x="2085" y="1307"/>
                </a:lnTo>
                <a:lnTo>
                  <a:pt x="2087" y="1335"/>
                </a:lnTo>
                <a:lnTo>
                  <a:pt x="2089" y="1362"/>
                </a:lnTo>
                <a:lnTo>
                  <a:pt x="2092" y="1390"/>
                </a:lnTo>
                <a:lnTo>
                  <a:pt x="2087" y="1390"/>
                </a:lnTo>
                <a:lnTo>
                  <a:pt x="2081" y="1390"/>
                </a:lnTo>
                <a:lnTo>
                  <a:pt x="2081" y="1391"/>
                </a:lnTo>
                <a:lnTo>
                  <a:pt x="2079" y="1392"/>
                </a:lnTo>
                <a:lnTo>
                  <a:pt x="2077" y="1393"/>
                </a:lnTo>
                <a:lnTo>
                  <a:pt x="2073" y="1394"/>
                </a:lnTo>
                <a:lnTo>
                  <a:pt x="2065" y="1396"/>
                </a:lnTo>
                <a:lnTo>
                  <a:pt x="2058" y="1398"/>
                </a:lnTo>
                <a:lnTo>
                  <a:pt x="2052" y="1398"/>
                </a:lnTo>
                <a:lnTo>
                  <a:pt x="2048" y="1400"/>
                </a:lnTo>
                <a:lnTo>
                  <a:pt x="2043" y="1401"/>
                </a:lnTo>
                <a:lnTo>
                  <a:pt x="2040" y="1403"/>
                </a:lnTo>
                <a:lnTo>
                  <a:pt x="2036" y="1405"/>
                </a:lnTo>
                <a:lnTo>
                  <a:pt x="2034" y="1409"/>
                </a:lnTo>
                <a:lnTo>
                  <a:pt x="2033" y="1413"/>
                </a:lnTo>
                <a:lnTo>
                  <a:pt x="2033" y="1419"/>
                </a:lnTo>
                <a:lnTo>
                  <a:pt x="2029" y="1423"/>
                </a:lnTo>
                <a:lnTo>
                  <a:pt x="2023" y="1425"/>
                </a:lnTo>
                <a:lnTo>
                  <a:pt x="2018" y="1428"/>
                </a:lnTo>
                <a:lnTo>
                  <a:pt x="2017" y="1432"/>
                </a:lnTo>
                <a:lnTo>
                  <a:pt x="2015" y="1435"/>
                </a:lnTo>
                <a:lnTo>
                  <a:pt x="2012" y="1439"/>
                </a:lnTo>
                <a:lnTo>
                  <a:pt x="2008" y="1442"/>
                </a:lnTo>
                <a:lnTo>
                  <a:pt x="2008" y="1457"/>
                </a:lnTo>
                <a:lnTo>
                  <a:pt x="2004" y="1459"/>
                </a:lnTo>
                <a:lnTo>
                  <a:pt x="2000" y="1462"/>
                </a:lnTo>
                <a:lnTo>
                  <a:pt x="1996" y="1473"/>
                </a:lnTo>
                <a:lnTo>
                  <a:pt x="1994" y="1486"/>
                </a:lnTo>
                <a:lnTo>
                  <a:pt x="1975" y="1510"/>
                </a:lnTo>
                <a:lnTo>
                  <a:pt x="1975" y="1525"/>
                </a:lnTo>
                <a:lnTo>
                  <a:pt x="1970" y="1527"/>
                </a:lnTo>
                <a:lnTo>
                  <a:pt x="1965" y="1529"/>
                </a:lnTo>
                <a:lnTo>
                  <a:pt x="1965" y="1544"/>
                </a:lnTo>
                <a:lnTo>
                  <a:pt x="1964" y="1545"/>
                </a:lnTo>
                <a:lnTo>
                  <a:pt x="1963" y="1546"/>
                </a:lnTo>
                <a:lnTo>
                  <a:pt x="1962" y="1547"/>
                </a:lnTo>
                <a:lnTo>
                  <a:pt x="1960" y="1549"/>
                </a:lnTo>
                <a:lnTo>
                  <a:pt x="1960" y="1554"/>
                </a:lnTo>
                <a:lnTo>
                  <a:pt x="1960" y="1558"/>
                </a:lnTo>
                <a:lnTo>
                  <a:pt x="1957" y="1559"/>
                </a:lnTo>
                <a:lnTo>
                  <a:pt x="1955" y="1563"/>
                </a:lnTo>
                <a:lnTo>
                  <a:pt x="1954" y="1566"/>
                </a:lnTo>
                <a:lnTo>
                  <a:pt x="1953" y="1570"/>
                </a:lnTo>
                <a:lnTo>
                  <a:pt x="1950" y="1575"/>
                </a:lnTo>
                <a:lnTo>
                  <a:pt x="1948" y="1579"/>
                </a:lnTo>
                <a:lnTo>
                  <a:pt x="1946" y="1582"/>
                </a:lnTo>
                <a:lnTo>
                  <a:pt x="1941" y="1583"/>
                </a:lnTo>
                <a:lnTo>
                  <a:pt x="1936" y="1587"/>
                </a:lnTo>
                <a:lnTo>
                  <a:pt x="1935" y="1593"/>
                </a:lnTo>
                <a:lnTo>
                  <a:pt x="1930" y="1599"/>
                </a:lnTo>
                <a:lnTo>
                  <a:pt x="1926" y="1605"/>
                </a:lnTo>
                <a:lnTo>
                  <a:pt x="1921" y="1607"/>
                </a:lnTo>
                <a:lnTo>
                  <a:pt x="1921" y="1616"/>
                </a:lnTo>
                <a:lnTo>
                  <a:pt x="1917" y="1622"/>
                </a:lnTo>
                <a:lnTo>
                  <a:pt x="1911" y="1626"/>
                </a:lnTo>
                <a:lnTo>
                  <a:pt x="1902" y="1626"/>
                </a:lnTo>
                <a:lnTo>
                  <a:pt x="1899" y="1632"/>
                </a:lnTo>
                <a:lnTo>
                  <a:pt x="1892" y="1637"/>
                </a:lnTo>
                <a:lnTo>
                  <a:pt x="1883" y="1643"/>
                </a:lnTo>
                <a:lnTo>
                  <a:pt x="1878" y="1645"/>
                </a:lnTo>
                <a:lnTo>
                  <a:pt x="1877" y="1650"/>
                </a:lnTo>
                <a:lnTo>
                  <a:pt x="1872" y="1655"/>
                </a:lnTo>
                <a:lnTo>
                  <a:pt x="1868" y="1661"/>
                </a:lnTo>
                <a:lnTo>
                  <a:pt x="1863" y="1665"/>
                </a:lnTo>
                <a:lnTo>
                  <a:pt x="1863" y="1674"/>
                </a:lnTo>
                <a:lnTo>
                  <a:pt x="1858" y="1680"/>
                </a:lnTo>
                <a:lnTo>
                  <a:pt x="1849" y="1684"/>
                </a:lnTo>
                <a:lnTo>
                  <a:pt x="1849" y="1694"/>
                </a:lnTo>
                <a:lnTo>
                  <a:pt x="1844" y="1698"/>
                </a:lnTo>
                <a:lnTo>
                  <a:pt x="1838" y="1704"/>
                </a:lnTo>
                <a:lnTo>
                  <a:pt x="1832" y="1712"/>
                </a:lnTo>
                <a:lnTo>
                  <a:pt x="1830" y="1718"/>
                </a:lnTo>
                <a:lnTo>
                  <a:pt x="1824" y="1723"/>
                </a:lnTo>
                <a:lnTo>
                  <a:pt x="1815" y="1728"/>
                </a:lnTo>
                <a:lnTo>
                  <a:pt x="1813" y="1733"/>
                </a:lnTo>
                <a:lnTo>
                  <a:pt x="1808" y="1742"/>
                </a:lnTo>
                <a:lnTo>
                  <a:pt x="1801" y="1749"/>
                </a:lnTo>
                <a:lnTo>
                  <a:pt x="1795" y="1752"/>
                </a:lnTo>
                <a:lnTo>
                  <a:pt x="1795" y="1757"/>
                </a:lnTo>
                <a:lnTo>
                  <a:pt x="1792" y="1761"/>
                </a:lnTo>
                <a:lnTo>
                  <a:pt x="1790" y="1763"/>
                </a:lnTo>
                <a:lnTo>
                  <a:pt x="1787" y="1765"/>
                </a:lnTo>
                <a:lnTo>
                  <a:pt x="1784" y="1766"/>
                </a:lnTo>
                <a:lnTo>
                  <a:pt x="1781" y="1767"/>
                </a:lnTo>
                <a:lnTo>
                  <a:pt x="1781" y="1772"/>
                </a:lnTo>
                <a:lnTo>
                  <a:pt x="1781" y="1776"/>
                </a:lnTo>
                <a:lnTo>
                  <a:pt x="1780" y="1777"/>
                </a:lnTo>
                <a:lnTo>
                  <a:pt x="1778" y="1778"/>
                </a:lnTo>
                <a:lnTo>
                  <a:pt x="1777" y="1777"/>
                </a:lnTo>
                <a:lnTo>
                  <a:pt x="1777" y="1778"/>
                </a:lnTo>
                <a:lnTo>
                  <a:pt x="1776" y="1779"/>
                </a:lnTo>
                <a:lnTo>
                  <a:pt x="1776" y="1781"/>
                </a:lnTo>
                <a:lnTo>
                  <a:pt x="1772" y="1784"/>
                </a:lnTo>
                <a:lnTo>
                  <a:pt x="1767" y="1789"/>
                </a:lnTo>
                <a:lnTo>
                  <a:pt x="1763" y="1796"/>
                </a:lnTo>
                <a:lnTo>
                  <a:pt x="1762" y="1800"/>
                </a:lnTo>
                <a:lnTo>
                  <a:pt x="1757" y="1802"/>
                </a:lnTo>
                <a:lnTo>
                  <a:pt x="1752" y="1806"/>
                </a:lnTo>
                <a:lnTo>
                  <a:pt x="1743" y="1815"/>
                </a:lnTo>
                <a:lnTo>
                  <a:pt x="1733" y="1825"/>
                </a:lnTo>
                <a:lnTo>
                  <a:pt x="1723" y="1825"/>
                </a:lnTo>
                <a:lnTo>
                  <a:pt x="1723" y="1835"/>
                </a:lnTo>
                <a:lnTo>
                  <a:pt x="1714" y="1835"/>
                </a:lnTo>
                <a:lnTo>
                  <a:pt x="1712" y="1838"/>
                </a:lnTo>
                <a:lnTo>
                  <a:pt x="1708" y="1842"/>
                </a:lnTo>
                <a:lnTo>
                  <a:pt x="1704" y="1843"/>
                </a:lnTo>
                <a:lnTo>
                  <a:pt x="1699" y="1844"/>
                </a:lnTo>
                <a:lnTo>
                  <a:pt x="1698" y="1847"/>
                </a:lnTo>
                <a:lnTo>
                  <a:pt x="1696" y="1850"/>
                </a:lnTo>
                <a:lnTo>
                  <a:pt x="1693" y="1853"/>
                </a:lnTo>
                <a:lnTo>
                  <a:pt x="1689" y="1854"/>
                </a:lnTo>
                <a:lnTo>
                  <a:pt x="1675" y="1868"/>
                </a:lnTo>
                <a:lnTo>
                  <a:pt x="1675" y="1878"/>
                </a:lnTo>
                <a:lnTo>
                  <a:pt x="1675" y="1890"/>
                </a:lnTo>
                <a:lnTo>
                  <a:pt x="1674" y="1901"/>
                </a:lnTo>
                <a:lnTo>
                  <a:pt x="1674" y="1913"/>
                </a:lnTo>
                <a:lnTo>
                  <a:pt x="1659" y="1909"/>
                </a:lnTo>
                <a:lnTo>
                  <a:pt x="1647" y="1906"/>
                </a:lnTo>
                <a:lnTo>
                  <a:pt x="1623" y="1904"/>
                </a:lnTo>
                <a:lnTo>
                  <a:pt x="1584" y="1901"/>
                </a:lnTo>
                <a:lnTo>
                  <a:pt x="1564" y="1898"/>
                </a:lnTo>
                <a:lnTo>
                  <a:pt x="1547" y="1895"/>
                </a:lnTo>
                <a:lnTo>
                  <a:pt x="1541" y="1894"/>
                </a:lnTo>
                <a:lnTo>
                  <a:pt x="1535" y="1892"/>
                </a:lnTo>
                <a:lnTo>
                  <a:pt x="1532" y="1890"/>
                </a:lnTo>
                <a:lnTo>
                  <a:pt x="1531" y="1887"/>
                </a:lnTo>
                <a:lnTo>
                  <a:pt x="1506" y="1887"/>
                </a:lnTo>
                <a:lnTo>
                  <a:pt x="1506" y="1884"/>
                </a:lnTo>
                <a:lnTo>
                  <a:pt x="1505" y="1882"/>
                </a:lnTo>
                <a:lnTo>
                  <a:pt x="1505" y="1882"/>
                </a:lnTo>
                <a:lnTo>
                  <a:pt x="1504" y="1882"/>
                </a:lnTo>
                <a:lnTo>
                  <a:pt x="1503" y="1882"/>
                </a:lnTo>
                <a:lnTo>
                  <a:pt x="1502" y="1881"/>
                </a:lnTo>
                <a:lnTo>
                  <a:pt x="1501" y="1878"/>
                </a:lnTo>
                <a:lnTo>
                  <a:pt x="1501" y="1875"/>
                </a:lnTo>
                <a:lnTo>
                  <a:pt x="1488" y="1875"/>
                </a:lnTo>
                <a:lnTo>
                  <a:pt x="1488" y="1863"/>
                </a:lnTo>
                <a:lnTo>
                  <a:pt x="1485" y="1863"/>
                </a:lnTo>
                <a:lnTo>
                  <a:pt x="1483" y="1862"/>
                </a:lnTo>
                <a:lnTo>
                  <a:pt x="1483" y="1862"/>
                </a:lnTo>
                <a:lnTo>
                  <a:pt x="1482" y="1861"/>
                </a:lnTo>
                <a:lnTo>
                  <a:pt x="1482" y="1859"/>
                </a:lnTo>
                <a:lnTo>
                  <a:pt x="1482" y="1858"/>
                </a:lnTo>
                <a:lnTo>
                  <a:pt x="1479" y="1857"/>
                </a:lnTo>
                <a:lnTo>
                  <a:pt x="1476" y="1857"/>
                </a:lnTo>
                <a:lnTo>
                  <a:pt x="1478" y="1827"/>
                </a:lnTo>
                <a:lnTo>
                  <a:pt x="1482" y="1794"/>
                </a:lnTo>
                <a:lnTo>
                  <a:pt x="1486" y="1762"/>
                </a:lnTo>
                <a:lnTo>
                  <a:pt x="1488" y="1736"/>
                </a:lnTo>
                <a:lnTo>
                  <a:pt x="1492" y="1734"/>
                </a:lnTo>
                <a:lnTo>
                  <a:pt x="1495" y="1733"/>
                </a:lnTo>
                <a:lnTo>
                  <a:pt x="1497" y="1731"/>
                </a:lnTo>
                <a:lnTo>
                  <a:pt x="1499" y="1729"/>
                </a:lnTo>
                <a:lnTo>
                  <a:pt x="1503" y="1724"/>
                </a:lnTo>
                <a:lnTo>
                  <a:pt x="1506" y="1723"/>
                </a:lnTo>
                <a:lnTo>
                  <a:pt x="1506" y="1711"/>
                </a:lnTo>
                <a:lnTo>
                  <a:pt x="1511" y="1710"/>
                </a:lnTo>
                <a:lnTo>
                  <a:pt x="1515" y="1707"/>
                </a:lnTo>
                <a:lnTo>
                  <a:pt x="1521" y="1703"/>
                </a:lnTo>
                <a:lnTo>
                  <a:pt x="1525" y="1699"/>
                </a:lnTo>
                <a:lnTo>
                  <a:pt x="1525" y="1650"/>
                </a:lnTo>
                <a:lnTo>
                  <a:pt x="1521" y="1648"/>
                </a:lnTo>
                <a:lnTo>
                  <a:pt x="1517" y="1646"/>
                </a:lnTo>
                <a:lnTo>
                  <a:pt x="1515" y="1642"/>
                </a:lnTo>
                <a:lnTo>
                  <a:pt x="1513" y="1637"/>
                </a:lnTo>
                <a:lnTo>
                  <a:pt x="1512" y="1633"/>
                </a:lnTo>
                <a:lnTo>
                  <a:pt x="1511" y="1630"/>
                </a:lnTo>
                <a:lnTo>
                  <a:pt x="1508" y="1626"/>
                </a:lnTo>
                <a:lnTo>
                  <a:pt x="1506" y="1625"/>
                </a:lnTo>
                <a:lnTo>
                  <a:pt x="1506" y="1607"/>
                </a:lnTo>
                <a:lnTo>
                  <a:pt x="1497" y="1598"/>
                </a:lnTo>
                <a:lnTo>
                  <a:pt x="1488" y="1589"/>
                </a:lnTo>
                <a:lnTo>
                  <a:pt x="1482" y="1574"/>
                </a:lnTo>
                <a:lnTo>
                  <a:pt x="1476" y="1558"/>
                </a:lnTo>
                <a:lnTo>
                  <a:pt x="1471" y="1557"/>
                </a:lnTo>
                <a:lnTo>
                  <a:pt x="1467" y="1555"/>
                </a:lnTo>
                <a:lnTo>
                  <a:pt x="1465" y="1550"/>
                </a:lnTo>
                <a:lnTo>
                  <a:pt x="1464" y="1546"/>
                </a:lnTo>
                <a:lnTo>
                  <a:pt x="1458" y="1540"/>
                </a:lnTo>
                <a:lnTo>
                  <a:pt x="1448" y="1537"/>
                </a:lnTo>
                <a:lnTo>
                  <a:pt x="1439" y="1534"/>
                </a:lnTo>
                <a:lnTo>
                  <a:pt x="1434" y="1522"/>
                </a:lnTo>
                <a:lnTo>
                  <a:pt x="1421" y="1522"/>
                </a:lnTo>
                <a:lnTo>
                  <a:pt x="1421" y="1518"/>
                </a:lnTo>
                <a:lnTo>
                  <a:pt x="1420" y="1517"/>
                </a:lnTo>
                <a:lnTo>
                  <a:pt x="1419" y="1516"/>
                </a:lnTo>
                <a:lnTo>
                  <a:pt x="1418" y="1516"/>
                </a:lnTo>
                <a:lnTo>
                  <a:pt x="1417" y="1516"/>
                </a:lnTo>
                <a:lnTo>
                  <a:pt x="1416" y="1515"/>
                </a:lnTo>
                <a:lnTo>
                  <a:pt x="1416" y="1513"/>
                </a:lnTo>
                <a:lnTo>
                  <a:pt x="1415" y="1510"/>
                </a:lnTo>
                <a:lnTo>
                  <a:pt x="1402" y="1510"/>
                </a:lnTo>
                <a:lnTo>
                  <a:pt x="1401" y="1506"/>
                </a:lnTo>
                <a:lnTo>
                  <a:pt x="1398" y="1501"/>
                </a:lnTo>
                <a:lnTo>
                  <a:pt x="1392" y="1497"/>
                </a:lnTo>
                <a:lnTo>
                  <a:pt x="1386" y="1493"/>
                </a:lnTo>
                <a:lnTo>
                  <a:pt x="1379" y="1490"/>
                </a:lnTo>
                <a:lnTo>
                  <a:pt x="1372" y="1488"/>
                </a:lnTo>
                <a:lnTo>
                  <a:pt x="1365" y="1486"/>
                </a:lnTo>
                <a:lnTo>
                  <a:pt x="1360" y="1486"/>
                </a:lnTo>
                <a:lnTo>
                  <a:pt x="1359" y="1482"/>
                </a:lnTo>
                <a:lnTo>
                  <a:pt x="1354" y="1479"/>
                </a:lnTo>
                <a:lnTo>
                  <a:pt x="1349" y="1474"/>
                </a:lnTo>
                <a:lnTo>
                  <a:pt x="1341" y="1471"/>
                </a:lnTo>
                <a:lnTo>
                  <a:pt x="1326" y="1464"/>
                </a:lnTo>
                <a:lnTo>
                  <a:pt x="1317" y="1461"/>
                </a:lnTo>
                <a:lnTo>
                  <a:pt x="1317" y="1458"/>
                </a:lnTo>
                <a:lnTo>
                  <a:pt x="1316" y="1455"/>
                </a:lnTo>
                <a:lnTo>
                  <a:pt x="1315" y="1455"/>
                </a:lnTo>
                <a:lnTo>
                  <a:pt x="1314" y="1454"/>
                </a:lnTo>
                <a:lnTo>
                  <a:pt x="1313" y="1454"/>
                </a:lnTo>
                <a:lnTo>
                  <a:pt x="1312" y="1454"/>
                </a:lnTo>
                <a:lnTo>
                  <a:pt x="1312" y="1452"/>
                </a:lnTo>
                <a:lnTo>
                  <a:pt x="1312" y="1449"/>
                </a:lnTo>
                <a:lnTo>
                  <a:pt x="1305" y="1443"/>
                </a:lnTo>
                <a:lnTo>
                  <a:pt x="1293" y="1443"/>
                </a:lnTo>
                <a:lnTo>
                  <a:pt x="1287" y="1433"/>
                </a:lnTo>
                <a:lnTo>
                  <a:pt x="1281" y="1424"/>
                </a:lnTo>
                <a:lnTo>
                  <a:pt x="1268" y="1424"/>
                </a:lnTo>
                <a:lnTo>
                  <a:pt x="1268" y="1421"/>
                </a:lnTo>
                <a:lnTo>
                  <a:pt x="1267" y="1419"/>
                </a:lnTo>
                <a:lnTo>
                  <a:pt x="1267" y="1419"/>
                </a:lnTo>
                <a:lnTo>
                  <a:pt x="1266" y="1419"/>
                </a:lnTo>
                <a:lnTo>
                  <a:pt x="1265" y="1419"/>
                </a:lnTo>
                <a:lnTo>
                  <a:pt x="1264" y="1417"/>
                </a:lnTo>
                <a:lnTo>
                  <a:pt x="1263" y="1415"/>
                </a:lnTo>
                <a:lnTo>
                  <a:pt x="1263" y="1412"/>
                </a:lnTo>
                <a:lnTo>
                  <a:pt x="1256" y="1406"/>
                </a:lnTo>
                <a:lnTo>
                  <a:pt x="1252" y="1406"/>
                </a:lnTo>
                <a:lnTo>
                  <a:pt x="1248" y="1405"/>
                </a:lnTo>
                <a:lnTo>
                  <a:pt x="1246" y="1404"/>
                </a:lnTo>
                <a:lnTo>
                  <a:pt x="1245" y="1403"/>
                </a:lnTo>
                <a:lnTo>
                  <a:pt x="1245" y="1402"/>
                </a:lnTo>
                <a:lnTo>
                  <a:pt x="1244" y="1400"/>
                </a:lnTo>
                <a:lnTo>
                  <a:pt x="1233" y="1400"/>
                </a:lnTo>
                <a:lnTo>
                  <a:pt x="1231" y="1396"/>
                </a:lnTo>
                <a:lnTo>
                  <a:pt x="1231" y="1395"/>
                </a:lnTo>
                <a:lnTo>
                  <a:pt x="1230" y="1394"/>
                </a:lnTo>
                <a:lnTo>
                  <a:pt x="1229" y="1394"/>
                </a:lnTo>
                <a:lnTo>
                  <a:pt x="1228" y="1394"/>
                </a:lnTo>
                <a:lnTo>
                  <a:pt x="1227" y="1393"/>
                </a:lnTo>
                <a:lnTo>
                  <a:pt x="1226" y="1392"/>
                </a:lnTo>
                <a:lnTo>
                  <a:pt x="1226" y="1387"/>
                </a:lnTo>
                <a:lnTo>
                  <a:pt x="1214" y="1387"/>
                </a:lnTo>
                <a:lnTo>
                  <a:pt x="1214" y="1384"/>
                </a:lnTo>
                <a:lnTo>
                  <a:pt x="1213" y="1383"/>
                </a:lnTo>
                <a:lnTo>
                  <a:pt x="1211" y="1382"/>
                </a:lnTo>
                <a:lnTo>
                  <a:pt x="1210" y="1382"/>
                </a:lnTo>
                <a:lnTo>
                  <a:pt x="1209" y="1382"/>
                </a:lnTo>
                <a:lnTo>
                  <a:pt x="1209" y="1381"/>
                </a:lnTo>
                <a:lnTo>
                  <a:pt x="1208" y="1380"/>
                </a:lnTo>
                <a:lnTo>
                  <a:pt x="1208" y="1375"/>
                </a:lnTo>
                <a:lnTo>
                  <a:pt x="1201" y="1369"/>
                </a:lnTo>
                <a:lnTo>
                  <a:pt x="1189" y="1364"/>
                </a:lnTo>
                <a:lnTo>
                  <a:pt x="1188" y="1358"/>
                </a:lnTo>
                <a:lnTo>
                  <a:pt x="1186" y="1352"/>
                </a:lnTo>
                <a:lnTo>
                  <a:pt x="1183" y="1349"/>
                </a:lnTo>
                <a:lnTo>
                  <a:pt x="1181" y="1347"/>
                </a:lnTo>
                <a:lnTo>
                  <a:pt x="1179" y="1346"/>
                </a:lnTo>
                <a:lnTo>
                  <a:pt x="1177" y="1345"/>
                </a:lnTo>
                <a:lnTo>
                  <a:pt x="1176" y="1336"/>
                </a:lnTo>
                <a:lnTo>
                  <a:pt x="1171" y="1327"/>
                </a:lnTo>
                <a:lnTo>
                  <a:pt x="1167" y="1318"/>
                </a:lnTo>
                <a:lnTo>
                  <a:pt x="1165" y="1308"/>
                </a:lnTo>
                <a:lnTo>
                  <a:pt x="1163" y="1307"/>
                </a:lnTo>
                <a:lnTo>
                  <a:pt x="1159" y="1305"/>
                </a:lnTo>
                <a:lnTo>
                  <a:pt x="1154" y="1301"/>
                </a:lnTo>
                <a:lnTo>
                  <a:pt x="1153" y="1297"/>
                </a:lnTo>
                <a:lnTo>
                  <a:pt x="1124" y="1296"/>
                </a:lnTo>
                <a:lnTo>
                  <a:pt x="1095" y="1295"/>
                </a:lnTo>
                <a:lnTo>
                  <a:pt x="1082" y="1294"/>
                </a:lnTo>
                <a:lnTo>
                  <a:pt x="1069" y="1291"/>
                </a:lnTo>
                <a:lnTo>
                  <a:pt x="1055" y="1288"/>
                </a:lnTo>
                <a:lnTo>
                  <a:pt x="1043" y="1285"/>
                </a:lnTo>
                <a:lnTo>
                  <a:pt x="1018" y="1285"/>
                </a:lnTo>
                <a:lnTo>
                  <a:pt x="1009" y="1281"/>
                </a:lnTo>
                <a:lnTo>
                  <a:pt x="1000" y="1278"/>
                </a:lnTo>
                <a:lnTo>
                  <a:pt x="995" y="1266"/>
                </a:lnTo>
                <a:lnTo>
                  <a:pt x="990" y="1266"/>
                </a:lnTo>
                <a:lnTo>
                  <a:pt x="986" y="1266"/>
                </a:lnTo>
                <a:lnTo>
                  <a:pt x="985" y="1265"/>
                </a:lnTo>
                <a:lnTo>
                  <a:pt x="984" y="1263"/>
                </a:lnTo>
                <a:lnTo>
                  <a:pt x="983" y="1262"/>
                </a:lnTo>
                <a:lnTo>
                  <a:pt x="983" y="1260"/>
                </a:lnTo>
                <a:lnTo>
                  <a:pt x="970" y="1260"/>
                </a:lnTo>
                <a:lnTo>
                  <a:pt x="970" y="1257"/>
                </a:lnTo>
                <a:lnTo>
                  <a:pt x="969" y="1255"/>
                </a:lnTo>
                <a:lnTo>
                  <a:pt x="968" y="1253"/>
                </a:lnTo>
                <a:lnTo>
                  <a:pt x="967" y="1253"/>
                </a:lnTo>
                <a:lnTo>
                  <a:pt x="966" y="1253"/>
                </a:lnTo>
                <a:lnTo>
                  <a:pt x="965" y="1253"/>
                </a:lnTo>
                <a:lnTo>
                  <a:pt x="965" y="1251"/>
                </a:lnTo>
                <a:lnTo>
                  <a:pt x="964" y="1248"/>
                </a:lnTo>
                <a:lnTo>
                  <a:pt x="958" y="1241"/>
                </a:lnTo>
                <a:lnTo>
                  <a:pt x="949" y="1239"/>
                </a:lnTo>
                <a:lnTo>
                  <a:pt x="939" y="1236"/>
                </a:lnTo>
                <a:lnTo>
                  <a:pt x="939" y="1232"/>
                </a:lnTo>
                <a:lnTo>
                  <a:pt x="939" y="1230"/>
                </a:lnTo>
                <a:lnTo>
                  <a:pt x="938" y="1230"/>
                </a:lnTo>
                <a:lnTo>
                  <a:pt x="937" y="1229"/>
                </a:lnTo>
                <a:lnTo>
                  <a:pt x="936" y="1229"/>
                </a:lnTo>
                <a:lnTo>
                  <a:pt x="935" y="1229"/>
                </a:lnTo>
                <a:lnTo>
                  <a:pt x="933" y="1227"/>
                </a:lnTo>
                <a:lnTo>
                  <a:pt x="933" y="1223"/>
                </a:lnTo>
                <a:lnTo>
                  <a:pt x="928" y="1218"/>
                </a:lnTo>
                <a:lnTo>
                  <a:pt x="923" y="1217"/>
                </a:lnTo>
                <a:lnTo>
                  <a:pt x="919" y="1217"/>
                </a:lnTo>
                <a:lnTo>
                  <a:pt x="918" y="1215"/>
                </a:lnTo>
                <a:lnTo>
                  <a:pt x="917" y="1214"/>
                </a:lnTo>
                <a:lnTo>
                  <a:pt x="916" y="1213"/>
                </a:lnTo>
                <a:lnTo>
                  <a:pt x="916" y="1211"/>
                </a:lnTo>
                <a:lnTo>
                  <a:pt x="911" y="1211"/>
                </a:lnTo>
                <a:lnTo>
                  <a:pt x="907" y="1210"/>
                </a:lnTo>
                <a:lnTo>
                  <a:pt x="906" y="1210"/>
                </a:lnTo>
                <a:lnTo>
                  <a:pt x="904" y="1209"/>
                </a:lnTo>
                <a:lnTo>
                  <a:pt x="903" y="1207"/>
                </a:lnTo>
                <a:lnTo>
                  <a:pt x="903" y="1205"/>
                </a:lnTo>
                <a:lnTo>
                  <a:pt x="884" y="1205"/>
                </a:lnTo>
                <a:lnTo>
                  <a:pt x="884" y="1201"/>
                </a:lnTo>
                <a:lnTo>
                  <a:pt x="883" y="1200"/>
                </a:lnTo>
                <a:lnTo>
                  <a:pt x="881" y="1199"/>
                </a:lnTo>
                <a:lnTo>
                  <a:pt x="879" y="1199"/>
                </a:lnTo>
                <a:lnTo>
                  <a:pt x="877" y="1199"/>
                </a:lnTo>
                <a:lnTo>
                  <a:pt x="874" y="1198"/>
                </a:lnTo>
                <a:lnTo>
                  <a:pt x="873" y="1196"/>
                </a:lnTo>
                <a:lnTo>
                  <a:pt x="872" y="1193"/>
                </a:lnTo>
                <a:lnTo>
                  <a:pt x="868" y="1193"/>
                </a:lnTo>
                <a:lnTo>
                  <a:pt x="864" y="1192"/>
                </a:lnTo>
                <a:lnTo>
                  <a:pt x="862" y="1191"/>
                </a:lnTo>
                <a:lnTo>
                  <a:pt x="861" y="1190"/>
                </a:lnTo>
                <a:lnTo>
                  <a:pt x="861" y="1189"/>
                </a:lnTo>
                <a:lnTo>
                  <a:pt x="860" y="1186"/>
                </a:lnTo>
                <a:lnTo>
                  <a:pt x="845" y="1185"/>
                </a:lnTo>
                <a:lnTo>
                  <a:pt x="825" y="1183"/>
                </a:lnTo>
                <a:lnTo>
                  <a:pt x="815" y="1181"/>
                </a:lnTo>
                <a:lnTo>
                  <a:pt x="807" y="1179"/>
                </a:lnTo>
                <a:lnTo>
                  <a:pt x="802" y="1176"/>
                </a:lnTo>
                <a:lnTo>
                  <a:pt x="799" y="1174"/>
                </a:lnTo>
                <a:lnTo>
                  <a:pt x="795" y="1174"/>
                </a:lnTo>
                <a:lnTo>
                  <a:pt x="791" y="1174"/>
                </a:lnTo>
                <a:lnTo>
                  <a:pt x="789" y="1173"/>
                </a:lnTo>
                <a:lnTo>
                  <a:pt x="788" y="1172"/>
                </a:lnTo>
                <a:lnTo>
                  <a:pt x="787" y="1171"/>
                </a:lnTo>
                <a:lnTo>
                  <a:pt x="787" y="1169"/>
                </a:lnTo>
                <a:lnTo>
                  <a:pt x="778" y="1167"/>
                </a:lnTo>
                <a:lnTo>
                  <a:pt x="758" y="1166"/>
                </a:lnTo>
                <a:lnTo>
                  <a:pt x="730" y="1165"/>
                </a:lnTo>
                <a:lnTo>
                  <a:pt x="699" y="1164"/>
                </a:lnTo>
                <a:lnTo>
                  <a:pt x="669" y="1163"/>
                </a:lnTo>
                <a:lnTo>
                  <a:pt x="642" y="1163"/>
                </a:lnTo>
                <a:lnTo>
                  <a:pt x="632" y="1164"/>
                </a:lnTo>
                <a:lnTo>
                  <a:pt x="623" y="1165"/>
                </a:lnTo>
                <a:lnTo>
                  <a:pt x="619" y="1166"/>
                </a:lnTo>
                <a:lnTo>
                  <a:pt x="616" y="1169"/>
                </a:lnTo>
                <a:lnTo>
                  <a:pt x="574" y="1169"/>
                </a:lnTo>
                <a:lnTo>
                  <a:pt x="573" y="1171"/>
                </a:lnTo>
                <a:lnTo>
                  <a:pt x="572" y="1172"/>
                </a:lnTo>
                <a:lnTo>
                  <a:pt x="570" y="1173"/>
                </a:lnTo>
                <a:lnTo>
                  <a:pt x="567" y="1174"/>
                </a:lnTo>
                <a:lnTo>
                  <a:pt x="561" y="1174"/>
                </a:lnTo>
                <a:lnTo>
                  <a:pt x="555" y="1174"/>
                </a:lnTo>
                <a:lnTo>
                  <a:pt x="555" y="1178"/>
                </a:lnTo>
                <a:lnTo>
                  <a:pt x="555" y="1180"/>
                </a:lnTo>
                <a:lnTo>
                  <a:pt x="554" y="1181"/>
                </a:lnTo>
                <a:lnTo>
                  <a:pt x="553" y="1181"/>
                </a:lnTo>
                <a:lnTo>
                  <a:pt x="552" y="1181"/>
                </a:lnTo>
                <a:lnTo>
                  <a:pt x="551" y="1181"/>
                </a:lnTo>
                <a:lnTo>
                  <a:pt x="549" y="1183"/>
                </a:lnTo>
                <a:lnTo>
                  <a:pt x="549" y="1186"/>
                </a:lnTo>
                <a:lnTo>
                  <a:pt x="544" y="1193"/>
                </a:lnTo>
                <a:lnTo>
                  <a:pt x="532" y="1193"/>
                </a:lnTo>
                <a:lnTo>
                  <a:pt x="532" y="1205"/>
                </a:lnTo>
                <a:lnTo>
                  <a:pt x="530" y="1225"/>
                </a:lnTo>
                <a:lnTo>
                  <a:pt x="529" y="1236"/>
                </a:lnTo>
                <a:lnTo>
                  <a:pt x="528" y="1246"/>
                </a:lnTo>
                <a:lnTo>
                  <a:pt x="527" y="1251"/>
                </a:lnTo>
                <a:lnTo>
                  <a:pt x="525" y="1253"/>
                </a:lnTo>
                <a:lnTo>
                  <a:pt x="525" y="1262"/>
                </a:lnTo>
                <a:lnTo>
                  <a:pt x="525" y="1272"/>
                </a:lnTo>
                <a:lnTo>
                  <a:pt x="519" y="1278"/>
                </a:lnTo>
                <a:lnTo>
                  <a:pt x="513" y="1285"/>
                </a:lnTo>
                <a:lnTo>
                  <a:pt x="508" y="1285"/>
                </a:lnTo>
                <a:lnTo>
                  <a:pt x="505" y="1285"/>
                </a:lnTo>
                <a:lnTo>
                  <a:pt x="503" y="1286"/>
                </a:lnTo>
                <a:lnTo>
                  <a:pt x="501" y="1287"/>
                </a:lnTo>
                <a:lnTo>
                  <a:pt x="501" y="1288"/>
                </a:lnTo>
                <a:lnTo>
                  <a:pt x="500" y="1290"/>
                </a:lnTo>
                <a:lnTo>
                  <a:pt x="494" y="1291"/>
                </a:lnTo>
                <a:lnTo>
                  <a:pt x="484" y="1294"/>
                </a:lnTo>
                <a:lnTo>
                  <a:pt x="478" y="1296"/>
                </a:lnTo>
                <a:lnTo>
                  <a:pt x="475" y="1298"/>
                </a:lnTo>
                <a:lnTo>
                  <a:pt x="471" y="1300"/>
                </a:lnTo>
                <a:lnTo>
                  <a:pt x="470" y="1303"/>
                </a:lnTo>
                <a:lnTo>
                  <a:pt x="459" y="1306"/>
                </a:lnTo>
                <a:lnTo>
                  <a:pt x="440" y="1315"/>
                </a:lnTo>
                <a:lnTo>
                  <a:pt x="423" y="1323"/>
                </a:lnTo>
                <a:lnTo>
                  <a:pt x="415" y="1327"/>
                </a:lnTo>
                <a:lnTo>
                  <a:pt x="409" y="1327"/>
                </a:lnTo>
                <a:lnTo>
                  <a:pt x="401" y="1327"/>
                </a:lnTo>
                <a:lnTo>
                  <a:pt x="398" y="1328"/>
                </a:lnTo>
                <a:lnTo>
                  <a:pt x="394" y="1329"/>
                </a:lnTo>
                <a:lnTo>
                  <a:pt x="392" y="1330"/>
                </a:lnTo>
                <a:lnTo>
                  <a:pt x="391" y="1333"/>
                </a:lnTo>
                <a:lnTo>
                  <a:pt x="383" y="1333"/>
                </a:lnTo>
                <a:lnTo>
                  <a:pt x="373" y="1334"/>
                </a:lnTo>
                <a:lnTo>
                  <a:pt x="369" y="1335"/>
                </a:lnTo>
                <a:lnTo>
                  <a:pt x="364" y="1336"/>
                </a:lnTo>
                <a:lnTo>
                  <a:pt x="362" y="1337"/>
                </a:lnTo>
                <a:lnTo>
                  <a:pt x="361" y="1339"/>
                </a:lnTo>
                <a:lnTo>
                  <a:pt x="356" y="1339"/>
                </a:lnTo>
                <a:lnTo>
                  <a:pt x="352" y="1339"/>
                </a:lnTo>
                <a:lnTo>
                  <a:pt x="351" y="1340"/>
                </a:lnTo>
                <a:lnTo>
                  <a:pt x="350" y="1342"/>
                </a:lnTo>
                <a:lnTo>
                  <a:pt x="348" y="1343"/>
                </a:lnTo>
                <a:lnTo>
                  <a:pt x="348" y="1345"/>
                </a:lnTo>
                <a:lnTo>
                  <a:pt x="336" y="1345"/>
                </a:lnTo>
                <a:lnTo>
                  <a:pt x="336" y="1348"/>
                </a:lnTo>
                <a:lnTo>
                  <a:pt x="335" y="1350"/>
                </a:lnTo>
                <a:lnTo>
                  <a:pt x="334" y="1352"/>
                </a:lnTo>
                <a:lnTo>
                  <a:pt x="333" y="1352"/>
                </a:lnTo>
                <a:lnTo>
                  <a:pt x="332" y="1352"/>
                </a:lnTo>
                <a:lnTo>
                  <a:pt x="331" y="1352"/>
                </a:lnTo>
                <a:lnTo>
                  <a:pt x="331" y="1354"/>
                </a:lnTo>
                <a:lnTo>
                  <a:pt x="330" y="1357"/>
                </a:lnTo>
                <a:lnTo>
                  <a:pt x="324" y="1364"/>
                </a:lnTo>
                <a:lnTo>
                  <a:pt x="318" y="1369"/>
                </a:lnTo>
                <a:lnTo>
                  <a:pt x="312" y="1369"/>
                </a:lnTo>
                <a:lnTo>
                  <a:pt x="304" y="1371"/>
                </a:lnTo>
                <a:lnTo>
                  <a:pt x="299" y="1371"/>
                </a:lnTo>
                <a:lnTo>
                  <a:pt x="296" y="1372"/>
                </a:lnTo>
                <a:lnTo>
                  <a:pt x="294" y="1374"/>
                </a:lnTo>
                <a:lnTo>
                  <a:pt x="294" y="1375"/>
                </a:lnTo>
                <a:lnTo>
                  <a:pt x="274" y="1375"/>
                </a:lnTo>
                <a:lnTo>
                  <a:pt x="242" y="1374"/>
                </a:lnTo>
                <a:lnTo>
                  <a:pt x="202" y="1373"/>
                </a:lnTo>
                <a:lnTo>
                  <a:pt x="159" y="1371"/>
                </a:lnTo>
                <a:lnTo>
                  <a:pt x="159" y="1371"/>
                </a:lnTo>
                <a:lnTo>
                  <a:pt x="158" y="1371"/>
                </a:lnTo>
                <a:lnTo>
                  <a:pt x="151" y="1364"/>
                </a:lnTo>
                <a:lnTo>
                  <a:pt x="139" y="1357"/>
                </a:lnTo>
                <a:lnTo>
                  <a:pt x="139" y="1344"/>
                </a:lnTo>
                <a:lnTo>
                  <a:pt x="134" y="1344"/>
                </a:lnTo>
                <a:lnTo>
                  <a:pt x="132" y="1343"/>
                </a:lnTo>
                <a:lnTo>
                  <a:pt x="132" y="1342"/>
                </a:lnTo>
                <a:lnTo>
                  <a:pt x="132" y="1340"/>
                </a:lnTo>
                <a:lnTo>
                  <a:pt x="132" y="1339"/>
                </a:lnTo>
                <a:lnTo>
                  <a:pt x="131" y="1338"/>
                </a:lnTo>
                <a:lnTo>
                  <a:pt x="129" y="1338"/>
                </a:lnTo>
                <a:lnTo>
                  <a:pt x="125" y="1337"/>
                </a:lnTo>
                <a:lnTo>
                  <a:pt x="125" y="1325"/>
                </a:lnTo>
                <a:lnTo>
                  <a:pt x="121" y="1324"/>
                </a:lnTo>
                <a:lnTo>
                  <a:pt x="117" y="1321"/>
                </a:lnTo>
                <a:lnTo>
                  <a:pt x="113" y="1319"/>
                </a:lnTo>
                <a:lnTo>
                  <a:pt x="110" y="1315"/>
                </a:lnTo>
                <a:lnTo>
                  <a:pt x="102" y="1306"/>
                </a:lnTo>
                <a:lnTo>
                  <a:pt x="94" y="1295"/>
                </a:lnTo>
                <a:lnTo>
                  <a:pt x="87" y="1285"/>
                </a:lnTo>
                <a:lnTo>
                  <a:pt x="81" y="1275"/>
                </a:lnTo>
                <a:lnTo>
                  <a:pt x="76" y="1268"/>
                </a:lnTo>
                <a:lnTo>
                  <a:pt x="73" y="1266"/>
                </a:lnTo>
                <a:lnTo>
                  <a:pt x="73" y="1252"/>
                </a:lnTo>
                <a:lnTo>
                  <a:pt x="71" y="1252"/>
                </a:lnTo>
                <a:lnTo>
                  <a:pt x="68" y="1251"/>
                </a:lnTo>
                <a:lnTo>
                  <a:pt x="67" y="1250"/>
                </a:lnTo>
                <a:lnTo>
                  <a:pt x="67" y="1248"/>
                </a:lnTo>
                <a:lnTo>
                  <a:pt x="66" y="1244"/>
                </a:lnTo>
                <a:lnTo>
                  <a:pt x="66" y="1239"/>
                </a:lnTo>
                <a:lnTo>
                  <a:pt x="64" y="1239"/>
                </a:lnTo>
                <a:lnTo>
                  <a:pt x="62" y="1238"/>
                </a:lnTo>
                <a:lnTo>
                  <a:pt x="60" y="1236"/>
                </a:lnTo>
                <a:lnTo>
                  <a:pt x="59" y="1233"/>
                </a:lnTo>
                <a:lnTo>
                  <a:pt x="58" y="1227"/>
                </a:lnTo>
                <a:lnTo>
                  <a:pt x="58" y="1219"/>
                </a:lnTo>
                <a:lnTo>
                  <a:pt x="58" y="1203"/>
                </a:lnTo>
                <a:lnTo>
                  <a:pt x="59" y="1193"/>
                </a:lnTo>
                <a:lnTo>
                  <a:pt x="58" y="1189"/>
                </a:lnTo>
                <a:lnTo>
                  <a:pt x="56" y="1182"/>
                </a:lnTo>
                <a:lnTo>
                  <a:pt x="53" y="1176"/>
                </a:lnTo>
                <a:lnTo>
                  <a:pt x="49" y="1170"/>
                </a:lnTo>
                <a:lnTo>
                  <a:pt x="46" y="1163"/>
                </a:lnTo>
                <a:lnTo>
                  <a:pt x="43" y="1155"/>
                </a:lnTo>
                <a:lnTo>
                  <a:pt x="40" y="1148"/>
                </a:lnTo>
                <a:lnTo>
                  <a:pt x="39" y="1141"/>
                </a:lnTo>
                <a:lnTo>
                  <a:pt x="37" y="1140"/>
                </a:lnTo>
                <a:lnTo>
                  <a:pt x="34" y="1136"/>
                </a:lnTo>
                <a:lnTo>
                  <a:pt x="30" y="1131"/>
                </a:lnTo>
                <a:lnTo>
                  <a:pt x="27" y="1124"/>
                </a:lnTo>
                <a:lnTo>
                  <a:pt x="23" y="1111"/>
                </a:lnTo>
                <a:lnTo>
                  <a:pt x="20" y="1102"/>
                </a:lnTo>
                <a:lnTo>
                  <a:pt x="17" y="1100"/>
                </a:lnTo>
                <a:lnTo>
                  <a:pt x="14" y="1098"/>
                </a:lnTo>
                <a:lnTo>
                  <a:pt x="11" y="1094"/>
                </a:lnTo>
                <a:lnTo>
                  <a:pt x="9" y="1089"/>
                </a:lnTo>
                <a:lnTo>
                  <a:pt x="5" y="1076"/>
                </a:lnTo>
                <a:lnTo>
                  <a:pt x="2" y="1060"/>
                </a:lnTo>
                <a:lnTo>
                  <a:pt x="0" y="1027"/>
                </a:lnTo>
                <a:lnTo>
                  <a:pt x="0" y="1003"/>
                </a:lnTo>
                <a:lnTo>
                  <a:pt x="5" y="1002"/>
                </a:lnTo>
                <a:lnTo>
                  <a:pt x="6" y="1000"/>
                </a:lnTo>
                <a:lnTo>
                  <a:pt x="7" y="997"/>
                </a:lnTo>
                <a:lnTo>
                  <a:pt x="7" y="993"/>
                </a:lnTo>
                <a:lnTo>
                  <a:pt x="7" y="990"/>
                </a:lnTo>
                <a:lnTo>
                  <a:pt x="8" y="987"/>
                </a:lnTo>
                <a:lnTo>
                  <a:pt x="10" y="984"/>
                </a:lnTo>
                <a:lnTo>
                  <a:pt x="14" y="983"/>
                </a:lnTo>
                <a:lnTo>
                  <a:pt x="14" y="964"/>
                </a:lnTo>
                <a:lnTo>
                  <a:pt x="20" y="958"/>
                </a:lnTo>
                <a:lnTo>
                  <a:pt x="27" y="951"/>
                </a:lnTo>
                <a:lnTo>
                  <a:pt x="47" y="951"/>
                </a:lnTo>
                <a:lnTo>
                  <a:pt x="69" y="951"/>
                </a:lnTo>
                <a:lnTo>
                  <a:pt x="91" y="951"/>
                </a:lnTo>
                <a:lnTo>
                  <a:pt x="112" y="951"/>
                </a:lnTo>
                <a:lnTo>
                  <a:pt x="113" y="948"/>
                </a:lnTo>
                <a:lnTo>
                  <a:pt x="115" y="945"/>
                </a:lnTo>
                <a:lnTo>
                  <a:pt x="119" y="944"/>
                </a:lnTo>
                <a:lnTo>
                  <a:pt x="122" y="944"/>
                </a:lnTo>
                <a:lnTo>
                  <a:pt x="125" y="944"/>
                </a:lnTo>
                <a:lnTo>
                  <a:pt x="129" y="943"/>
                </a:lnTo>
                <a:lnTo>
                  <a:pt x="131" y="942"/>
                </a:lnTo>
                <a:lnTo>
                  <a:pt x="132" y="938"/>
                </a:lnTo>
                <a:lnTo>
                  <a:pt x="164" y="938"/>
                </a:lnTo>
                <a:lnTo>
                  <a:pt x="178" y="931"/>
                </a:lnTo>
                <a:lnTo>
                  <a:pt x="199" y="916"/>
                </a:lnTo>
                <a:lnTo>
                  <a:pt x="247" y="882"/>
                </a:lnTo>
                <a:lnTo>
                  <a:pt x="296" y="848"/>
                </a:lnTo>
                <a:lnTo>
                  <a:pt x="322" y="833"/>
                </a:lnTo>
                <a:lnTo>
                  <a:pt x="335" y="817"/>
                </a:lnTo>
                <a:lnTo>
                  <a:pt x="347" y="800"/>
                </a:lnTo>
                <a:lnTo>
                  <a:pt x="361" y="794"/>
                </a:lnTo>
                <a:lnTo>
                  <a:pt x="374" y="787"/>
                </a:lnTo>
                <a:lnTo>
                  <a:pt x="374" y="784"/>
                </a:lnTo>
                <a:lnTo>
                  <a:pt x="375" y="781"/>
                </a:lnTo>
                <a:lnTo>
                  <a:pt x="376" y="780"/>
                </a:lnTo>
                <a:lnTo>
                  <a:pt x="378" y="780"/>
                </a:lnTo>
                <a:lnTo>
                  <a:pt x="379" y="780"/>
                </a:lnTo>
                <a:lnTo>
                  <a:pt x="380" y="780"/>
                </a:lnTo>
                <a:lnTo>
                  <a:pt x="381" y="778"/>
                </a:lnTo>
                <a:lnTo>
                  <a:pt x="381" y="773"/>
                </a:lnTo>
                <a:lnTo>
                  <a:pt x="394" y="773"/>
                </a:lnTo>
                <a:lnTo>
                  <a:pt x="394" y="771"/>
                </a:lnTo>
                <a:lnTo>
                  <a:pt x="395" y="770"/>
                </a:lnTo>
                <a:lnTo>
                  <a:pt x="396" y="769"/>
                </a:lnTo>
                <a:lnTo>
                  <a:pt x="398" y="768"/>
                </a:lnTo>
                <a:lnTo>
                  <a:pt x="402" y="768"/>
                </a:lnTo>
                <a:lnTo>
                  <a:pt x="407" y="767"/>
                </a:lnTo>
                <a:lnTo>
                  <a:pt x="408" y="763"/>
                </a:lnTo>
                <a:lnTo>
                  <a:pt x="408" y="761"/>
                </a:lnTo>
                <a:lnTo>
                  <a:pt x="409" y="761"/>
                </a:lnTo>
                <a:lnTo>
                  <a:pt x="410" y="761"/>
                </a:lnTo>
                <a:lnTo>
                  <a:pt x="411" y="761"/>
                </a:lnTo>
                <a:lnTo>
                  <a:pt x="412" y="760"/>
                </a:lnTo>
                <a:lnTo>
                  <a:pt x="413" y="758"/>
                </a:lnTo>
                <a:lnTo>
                  <a:pt x="413" y="755"/>
                </a:lnTo>
                <a:lnTo>
                  <a:pt x="429" y="756"/>
                </a:lnTo>
                <a:lnTo>
                  <a:pt x="451" y="759"/>
                </a:lnTo>
                <a:lnTo>
                  <a:pt x="461" y="762"/>
                </a:lnTo>
                <a:lnTo>
                  <a:pt x="470" y="766"/>
                </a:lnTo>
                <a:lnTo>
                  <a:pt x="474" y="767"/>
                </a:lnTo>
                <a:lnTo>
                  <a:pt x="477" y="769"/>
                </a:lnTo>
                <a:lnTo>
                  <a:pt x="478" y="771"/>
                </a:lnTo>
                <a:lnTo>
                  <a:pt x="479" y="773"/>
                </a:lnTo>
                <a:lnTo>
                  <a:pt x="492" y="773"/>
                </a:lnTo>
                <a:lnTo>
                  <a:pt x="501" y="761"/>
                </a:lnTo>
                <a:lnTo>
                  <a:pt x="511" y="748"/>
                </a:lnTo>
                <a:lnTo>
                  <a:pt x="517" y="747"/>
                </a:lnTo>
                <a:lnTo>
                  <a:pt x="520" y="743"/>
                </a:lnTo>
                <a:lnTo>
                  <a:pt x="524" y="739"/>
                </a:lnTo>
                <a:lnTo>
                  <a:pt x="525" y="734"/>
                </a:lnTo>
                <a:lnTo>
                  <a:pt x="538" y="734"/>
                </a:lnTo>
                <a:lnTo>
                  <a:pt x="539" y="732"/>
                </a:lnTo>
                <a:lnTo>
                  <a:pt x="542" y="731"/>
                </a:lnTo>
                <a:lnTo>
                  <a:pt x="547" y="730"/>
                </a:lnTo>
                <a:lnTo>
                  <a:pt x="553" y="729"/>
                </a:lnTo>
                <a:lnTo>
                  <a:pt x="570" y="730"/>
                </a:lnTo>
                <a:lnTo>
                  <a:pt x="587" y="731"/>
                </a:lnTo>
                <a:lnTo>
                  <a:pt x="605" y="734"/>
                </a:lnTo>
                <a:lnTo>
                  <a:pt x="621" y="738"/>
                </a:lnTo>
                <a:lnTo>
                  <a:pt x="628" y="740"/>
                </a:lnTo>
                <a:lnTo>
                  <a:pt x="632" y="743"/>
                </a:lnTo>
                <a:lnTo>
                  <a:pt x="635" y="746"/>
                </a:lnTo>
                <a:lnTo>
                  <a:pt x="636" y="748"/>
                </a:lnTo>
                <a:lnTo>
                  <a:pt x="655" y="748"/>
                </a:lnTo>
                <a:lnTo>
                  <a:pt x="659" y="751"/>
                </a:lnTo>
                <a:lnTo>
                  <a:pt x="662" y="755"/>
                </a:lnTo>
                <a:lnTo>
                  <a:pt x="666" y="758"/>
                </a:lnTo>
                <a:lnTo>
                  <a:pt x="670" y="760"/>
                </a:lnTo>
                <a:lnTo>
                  <a:pt x="680" y="765"/>
                </a:lnTo>
                <a:lnTo>
                  <a:pt x="691" y="768"/>
                </a:lnTo>
                <a:lnTo>
                  <a:pt x="703" y="771"/>
                </a:lnTo>
                <a:lnTo>
                  <a:pt x="718" y="773"/>
                </a:lnTo>
                <a:lnTo>
                  <a:pt x="733" y="775"/>
                </a:lnTo>
                <a:lnTo>
                  <a:pt x="747" y="776"/>
                </a:lnTo>
                <a:lnTo>
                  <a:pt x="777" y="776"/>
                </a:lnTo>
                <a:lnTo>
                  <a:pt x="806" y="776"/>
                </a:lnTo>
                <a:lnTo>
                  <a:pt x="832" y="775"/>
                </a:lnTo>
                <a:lnTo>
                  <a:pt x="853" y="773"/>
                </a:lnTo>
                <a:lnTo>
                  <a:pt x="853" y="771"/>
                </a:lnTo>
                <a:lnTo>
                  <a:pt x="854" y="770"/>
                </a:lnTo>
                <a:lnTo>
                  <a:pt x="855" y="769"/>
                </a:lnTo>
                <a:lnTo>
                  <a:pt x="856" y="768"/>
                </a:lnTo>
                <a:lnTo>
                  <a:pt x="861" y="768"/>
                </a:lnTo>
                <a:lnTo>
                  <a:pt x="865" y="767"/>
                </a:lnTo>
                <a:lnTo>
                  <a:pt x="866" y="766"/>
                </a:lnTo>
                <a:lnTo>
                  <a:pt x="866" y="763"/>
                </a:lnTo>
                <a:lnTo>
                  <a:pt x="868" y="762"/>
                </a:lnTo>
                <a:lnTo>
                  <a:pt x="870" y="761"/>
                </a:lnTo>
                <a:lnTo>
                  <a:pt x="874" y="761"/>
                </a:lnTo>
                <a:lnTo>
                  <a:pt x="879" y="761"/>
                </a:lnTo>
                <a:lnTo>
                  <a:pt x="885" y="755"/>
                </a:lnTo>
                <a:lnTo>
                  <a:pt x="892" y="748"/>
                </a:lnTo>
                <a:lnTo>
                  <a:pt x="892" y="728"/>
                </a:lnTo>
                <a:lnTo>
                  <a:pt x="892" y="705"/>
                </a:lnTo>
                <a:lnTo>
                  <a:pt x="892" y="682"/>
                </a:lnTo>
                <a:lnTo>
                  <a:pt x="892" y="659"/>
                </a:lnTo>
                <a:lnTo>
                  <a:pt x="892" y="634"/>
                </a:lnTo>
                <a:lnTo>
                  <a:pt x="892" y="611"/>
                </a:lnTo>
                <a:lnTo>
                  <a:pt x="892" y="587"/>
                </a:lnTo>
                <a:lnTo>
                  <a:pt x="892" y="564"/>
                </a:lnTo>
                <a:lnTo>
                  <a:pt x="893" y="564"/>
                </a:lnTo>
                <a:lnTo>
                  <a:pt x="895" y="560"/>
                </a:lnTo>
                <a:lnTo>
                  <a:pt x="897" y="557"/>
                </a:lnTo>
                <a:lnTo>
                  <a:pt x="898" y="551"/>
                </a:lnTo>
                <a:lnTo>
                  <a:pt x="901" y="536"/>
                </a:lnTo>
                <a:lnTo>
                  <a:pt x="903" y="518"/>
                </a:lnTo>
                <a:lnTo>
                  <a:pt x="907" y="473"/>
                </a:lnTo>
                <a:lnTo>
                  <a:pt x="910" y="426"/>
                </a:lnTo>
                <a:lnTo>
                  <a:pt x="914" y="423"/>
                </a:lnTo>
                <a:lnTo>
                  <a:pt x="918" y="420"/>
                </a:lnTo>
                <a:lnTo>
                  <a:pt x="925" y="419"/>
                </a:lnTo>
                <a:lnTo>
                  <a:pt x="933" y="416"/>
                </a:lnTo>
                <a:lnTo>
                  <a:pt x="938" y="414"/>
                </a:lnTo>
                <a:lnTo>
                  <a:pt x="941" y="412"/>
                </a:lnTo>
                <a:lnTo>
                  <a:pt x="943" y="410"/>
                </a:lnTo>
                <a:lnTo>
                  <a:pt x="945" y="407"/>
                </a:lnTo>
                <a:lnTo>
                  <a:pt x="950" y="406"/>
                </a:lnTo>
                <a:lnTo>
                  <a:pt x="957" y="406"/>
                </a:lnTo>
                <a:lnTo>
                  <a:pt x="959" y="405"/>
                </a:lnTo>
                <a:lnTo>
                  <a:pt x="961" y="404"/>
                </a:lnTo>
                <a:lnTo>
                  <a:pt x="964" y="403"/>
                </a:lnTo>
                <a:lnTo>
                  <a:pt x="964" y="401"/>
                </a:lnTo>
                <a:lnTo>
                  <a:pt x="977" y="401"/>
                </a:lnTo>
                <a:lnTo>
                  <a:pt x="978" y="398"/>
                </a:lnTo>
                <a:lnTo>
                  <a:pt x="979" y="396"/>
                </a:lnTo>
                <a:lnTo>
                  <a:pt x="981" y="395"/>
                </a:lnTo>
                <a:lnTo>
                  <a:pt x="984" y="393"/>
                </a:lnTo>
                <a:lnTo>
                  <a:pt x="986" y="391"/>
                </a:lnTo>
                <a:lnTo>
                  <a:pt x="988" y="388"/>
                </a:lnTo>
                <a:lnTo>
                  <a:pt x="989" y="385"/>
                </a:lnTo>
                <a:lnTo>
                  <a:pt x="990" y="381"/>
                </a:lnTo>
                <a:lnTo>
                  <a:pt x="1004" y="381"/>
                </a:lnTo>
                <a:lnTo>
                  <a:pt x="1008" y="376"/>
                </a:lnTo>
                <a:lnTo>
                  <a:pt x="1013" y="372"/>
                </a:lnTo>
                <a:lnTo>
                  <a:pt x="1018" y="368"/>
                </a:lnTo>
                <a:lnTo>
                  <a:pt x="1023" y="367"/>
                </a:lnTo>
                <a:lnTo>
                  <a:pt x="1026" y="357"/>
                </a:lnTo>
                <a:lnTo>
                  <a:pt x="1029" y="348"/>
                </a:lnTo>
                <a:lnTo>
                  <a:pt x="1043" y="342"/>
                </a:lnTo>
                <a:lnTo>
                  <a:pt x="1044" y="336"/>
                </a:lnTo>
                <a:lnTo>
                  <a:pt x="1047" y="329"/>
                </a:lnTo>
                <a:lnTo>
                  <a:pt x="1048" y="326"/>
                </a:lnTo>
                <a:lnTo>
                  <a:pt x="1051" y="324"/>
                </a:lnTo>
                <a:lnTo>
                  <a:pt x="1053" y="323"/>
                </a:lnTo>
                <a:lnTo>
                  <a:pt x="1056" y="321"/>
                </a:lnTo>
                <a:lnTo>
                  <a:pt x="1058" y="316"/>
                </a:lnTo>
                <a:lnTo>
                  <a:pt x="1063" y="308"/>
                </a:lnTo>
                <a:lnTo>
                  <a:pt x="1070" y="301"/>
                </a:lnTo>
                <a:lnTo>
                  <a:pt x="1075" y="296"/>
                </a:lnTo>
                <a:lnTo>
                  <a:pt x="1075" y="282"/>
                </a:lnTo>
                <a:lnTo>
                  <a:pt x="1082" y="276"/>
                </a:lnTo>
                <a:lnTo>
                  <a:pt x="1089" y="269"/>
                </a:lnTo>
                <a:lnTo>
                  <a:pt x="1102" y="269"/>
                </a:lnTo>
                <a:lnTo>
                  <a:pt x="1109" y="256"/>
                </a:lnTo>
                <a:lnTo>
                  <a:pt x="1115" y="255"/>
                </a:lnTo>
                <a:lnTo>
                  <a:pt x="1124" y="252"/>
                </a:lnTo>
                <a:lnTo>
                  <a:pt x="1135" y="248"/>
                </a:lnTo>
                <a:lnTo>
                  <a:pt x="1147" y="242"/>
                </a:lnTo>
                <a:lnTo>
                  <a:pt x="1168" y="231"/>
                </a:lnTo>
                <a:lnTo>
                  <a:pt x="1180" y="223"/>
                </a:lnTo>
                <a:lnTo>
                  <a:pt x="1188" y="223"/>
                </a:lnTo>
                <a:lnTo>
                  <a:pt x="1199" y="222"/>
                </a:lnTo>
                <a:lnTo>
                  <a:pt x="1205" y="222"/>
                </a:lnTo>
                <a:lnTo>
                  <a:pt x="1209" y="221"/>
                </a:lnTo>
                <a:lnTo>
                  <a:pt x="1213" y="219"/>
                </a:lnTo>
                <a:lnTo>
                  <a:pt x="1214" y="217"/>
                </a:lnTo>
                <a:lnTo>
                  <a:pt x="1226" y="217"/>
                </a:lnTo>
                <a:lnTo>
                  <a:pt x="1248" y="218"/>
                </a:lnTo>
                <a:lnTo>
                  <a:pt x="1259" y="219"/>
                </a:lnTo>
                <a:lnTo>
                  <a:pt x="1269" y="220"/>
                </a:lnTo>
                <a:lnTo>
                  <a:pt x="1276" y="221"/>
                </a:lnTo>
                <a:lnTo>
                  <a:pt x="1278" y="223"/>
                </a:lnTo>
                <a:lnTo>
                  <a:pt x="1307" y="224"/>
                </a:lnTo>
                <a:lnTo>
                  <a:pt x="1352" y="224"/>
                </a:lnTo>
                <a:lnTo>
                  <a:pt x="1373" y="223"/>
                </a:lnTo>
                <a:lnTo>
                  <a:pt x="1392" y="221"/>
                </a:lnTo>
                <a:lnTo>
                  <a:pt x="1399" y="219"/>
                </a:lnTo>
                <a:lnTo>
                  <a:pt x="1405" y="217"/>
                </a:lnTo>
                <a:lnTo>
                  <a:pt x="1409" y="213"/>
                </a:lnTo>
                <a:lnTo>
                  <a:pt x="1410" y="210"/>
                </a:lnTo>
                <a:lnTo>
                  <a:pt x="1415" y="210"/>
                </a:lnTo>
                <a:lnTo>
                  <a:pt x="1419" y="210"/>
                </a:lnTo>
                <a:lnTo>
                  <a:pt x="1420" y="209"/>
                </a:lnTo>
                <a:lnTo>
                  <a:pt x="1421" y="208"/>
                </a:lnTo>
                <a:lnTo>
                  <a:pt x="1422" y="205"/>
                </a:lnTo>
                <a:lnTo>
                  <a:pt x="1422" y="203"/>
                </a:lnTo>
                <a:lnTo>
                  <a:pt x="1436" y="203"/>
                </a:lnTo>
                <a:lnTo>
                  <a:pt x="1442" y="198"/>
                </a:lnTo>
                <a:lnTo>
                  <a:pt x="1449" y="191"/>
                </a:lnTo>
                <a:lnTo>
                  <a:pt x="1447" y="162"/>
                </a:lnTo>
                <a:lnTo>
                  <a:pt x="1444" y="117"/>
                </a:lnTo>
                <a:lnTo>
                  <a:pt x="1441" y="96"/>
                </a:lnTo>
                <a:lnTo>
                  <a:pt x="1441" y="77"/>
                </a:lnTo>
                <a:lnTo>
                  <a:pt x="1440" y="70"/>
                </a:lnTo>
                <a:lnTo>
                  <a:pt x="1441" y="65"/>
                </a:lnTo>
                <a:lnTo>
                  <a:pt x="1441" y="60"/>
                </a:lnTo>
                <a:lnTo>
                  <a:pt x="1442" y="59"/>
                </a:lnTo>
                <a:lnTo>
                  <a:pt x="1442" y="47"/>
                </a:lnTo>
                <a:lnTo>
                  <a:pt x="1445" y="46"/>
                </a:lnTo>
                <a:lnTo>
                  <a:pt x="1447" y="45"/>
                </a:lnTo>
                <a:lnTo>
                  <a:pt x="1448" y="42"/>
                </a:lnTo>
                <a:lnTo>
                  <a:pt x="1450" y="40"/>
                </a:lnTo>
                <a:lnTo>
                  <a:pt x="1453" y="38"/>
                </a:lnTo>
                <a:lnTo>
                  <a:pt x="1455" y="36"/>
                </a:lnTo>
                <a:lnTo>
                  <a:pt x="1458" y="34"/>
                </a:lnTo>
                <a:lnTo>
                  <a:pt x="1463" y="34"/>
                </a:lnTo>
                <a:lnTo>
                  <a:pt x="1463" y="20"/>
                </a:lnTo>
                <a:lnTo>
                  <a:pt x="1466" y="19"/>
                </a:lnTo>
                <a:lnTo>
                  <a:pt x="1469" y="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85" name="Freeform 46">
            <a:extLst>
              <a:ext uri="{FF2B5EF4-FFF2-40B4-BE49-F238E27FC236}">
                <a16:creationId xmlns:a16="http://schemas.microsoft.com/office/drawing/2014/main" id="{D9621F58-FB9A-4AA5-A98D-150D8DF12A0A}"/>
              </a:ext>
            </a:extLst>
          </p:cNvPr>
          <p:cNvSpPr>
            <a:spLocks noChangeAspect="1" noEditPoints="1"/>
          </p:cNvSpPr>
          <p:nvPr/>
        </p:nvSpPr>
        <p:spPr bwMode="gray">
          <a:xfrm rot="355651">
            <a:off x="7469188" y="3071813"/>
            <a:ext cx="197965" cy="242888"/>
          </a:xfrm>
          <a:custGeom>
            <a:avLst/>
            <a:gdLst/>
            <a:ahLst/>
            <a:cxnLst>
              <a:cxn ang="0">
                <a:pos x="829" y="52"/>
              </a:cxn>
              <a:cxn ang="0">
                <a:pos x="813" y="35"/>
              </a:cxn>
              <a:cxn ang="0">
                <a:pos x="782" y="0"/>
              </a:cxn>
              <a:cxn ang="0">
                <a:pos x="687" y="46"/>
              </a:cxn>
              <a:cxn ang="0">
                <a:pos x="665" y="77"/>
              </a:cxn>
              <a:cxn ang="0">
                <a:pos x="640" y="103"/>
              </a:cxn>
              <a:cxn ang="0">
                <a:pos x="604" y="134"/>
              </a:cxn>
              <a:cxn ang="0">
                <a:pos x="592" y="222"/>
              </a:cxn>
              <a:cxn ang="0">
                <a:pos x="578" y="242"/>
              </a:cxn>
              <a:cxn ang="0">
                <a:pos x="505" y="300"/>
              </a:cxn>
              <a:cxn ang="0">
                <a:pos x="489" y="340"/>
              </a:cxn>
              <a:cxn ang="0">
                <a:pos x="417" y="395"/>
              </a:cxn>
              <a:cxn ang="0">
                <a:pos x="395" y="420"/>
              </a:cxn>
              <a:cxn ang="0">
                <a:pos x="340" y="455"/>
              </a:cxn>
              <a:cxn ang="0">
                <a:pos x="310" y="521"/>
              </a:cxn>
              <a:cxn ang="0">
                <a:pos x="261" y="569"/>
              </a:cxn>
              <a:cxn ang="0">
                <a:pos x="213" y="614"/>
              </a:cxn>
              <a:cxn ang="0">
                <a:pos x="187" y="629"/>
              </a:cxn>
              <a:cxn ang="0">
                <a:pos x="158" y="662"/>
              </a:cxn>
              <a:cxn ang="0">
                <a:pos x="144" y="713"/>
              </a:cxn>
              <a:cxn ang="0">
                <a:pos x="40" y="845"/>
              </a:cxn>
              <a:cxn ang="0">
                <a:pos x="4" y="884"/>
              </a:cxn>
              <a:cxn ang="0">
                <a:pos x="65" y="1007"/>
              </a:cxn>
              <a:cxn ang="0">
                <a:pos x="189" y="1011"/>
              </a:cxn>
              <a:cxn ang="0">
                <a:pos x="216" y="1037"/>
              </a:cxn>
              <a:cxn ang="0">
                <a:pos x="257" y="1077"/>
              </a:cxn>
              <a:cxn ang="0">
                <a:pos x="418" y="1052"/>
              </a:cxn>
              <a:cxn ang="0">
                <a:pos x="456" y="1054"/>
              </a:cxn>
              <a:cxn ang="0">
                <a:pos x="473" y="1102"/>
              </a:cxn>
              <a:cxn ang="0">
                <a:pos x="493" y="1179"/>
              </a:cxn>
              <a:cxn ang="0">
                <a:pos x="503" y="1203"/>
              </a:cxn>
              <a:cxn ang="0">
                <a:pos x="534" y="1251"/>
              </a:cxn>
              <a:cxn ang="0">
                <a:pos x="543" y="1280"/>
              </a:cxn>
              <a:cxn ang="0">
                <a:pos x="593" y="1323"/>
              </a:cxn>
              <a:cxn ang="0">
                <a:pos x="633" y="1365"/>
              </a:cxn>
              <a:cxn ang="0">
                <a:pos x="708" y="1412"/>
              </a:cxn>
              <a:cxn ang="0">
                <a:pos x="748" y="1425"/>
              </a:cxn>
              <a:cxn ang="0">
                <a:pos x="790" y="1455"/>
              </a:cxn>
              <a:cxn ang="0">
                <a:pos x="858" y="1487"/>
              </a:cxn>
              <a:cxn ang="0">
                <a:pos x="986" y="1509"/>
              </a:cxn>
              <a:cxn ang="0">
                <a:pos x="1079" y="1480"/>
              </a:cxn>
              <a:cxn ang="0">
                <a:pos x="1035" y="1373"/>
              </a:cxn>
              <a:cxn ang="0">
                <a:pos x="1021" y="1342"/>
              </a:cxn>
              <a:cxn ang="0">
                <a:pos x="1007" y="1320"/>
              </a:cxn>
              <a:cxn ang="0">
                <a:pos x="940" y="1246"/>
              </a:cxn>
              <a:cxn ang="0">
                <a:pos x="929" y="1154"/>
              </a:cxn>
              <a:cxn ang="0">
                <a:pos x="902" y="1114"/>
              </a:cxn>
              <a:cxn ang="0">
                <a:pos x="838" y="1084"/>
              </a:cxn>
              <a:cxn ang="0">
                <a:pos x="822" y="1012"/>
              </a:cxn>
              <a:cxn ang="0">
                <a:pos x="880" y="952"/>
              </a:cxn>
              <a:cxn ang="0">
                <a:pos x="877" y="877"/>
              </a:cxn>
              <a:cxn ang="0">
                <a:pos x="861" y="815"/>
              </a:cxn>
              <a:cxn ang="0">
                <a:pos x="857" y="721"/>
              </a:cxn>
              <a:cxn ang="0">
                <a:pos x="919" y="642"/>
              </a:cxn>
              <a:cxn ang="0">
                <a:pos x="966" y="606"/>
              </a:cxn>
              <a:cxn ang="0">
                <a:pos x="1007" y="570"/>
              </a:cxn>
              <a:cxn ang="0">
                <a:pos x="1025" y="451"/>
              </a:cxn>
              <a:cxn ang="0">
                <a:pos x="1011" y="291"/>
              </a:cxn>
              <a:cxn ang="0">
                <a:pos x="1025" y="240"/>
              </a:cxn>
              <a:cxn ang="0">
                <a:pos x="1038" y="165"/>
              </a:cxn>
              <a:cxn ang="0">
                <a:pos x="1042" y="79"/>
              </a:cxn>
            </a:cxnLst>
            <a:rect l="0" t="0" r="r" b="b"/>
            <a:pathLst>
              <a:path w="1115" h="1510">
                <a:moveTo>
                  <a:pt x="1043" y="79"/>
                </a:moveTo>
                <a:lnTo>
                  <a:pt x="1016" y="78"/>
                </a:lnTo>
                <a:lnTo>
                  <a:pt x="988" y="76"/>
                </a:lnTo>
                <a:lnTo>
                  <a:pt x="962" y="73"/>
                </a:lnTo>
                <a:lnTo>
                  <a:pt x="940" y="71"/>
                </a:lnTo>
                <a:lnTo>
                  <a:pt x="838" y="71"/>
                </a:lnTo>
                <a:lnTo>
                  <a:pt x="838" y="56"/>
                </a:lnTo>
                <a:lnTo>
                  <a:pt x="834" y="56"/>
                </a:lnTo>
                <a:lnTo>
                  <a:pt x="831" y="55"/>
                </a:lnTo>
                <a:lnTo>
                  <a:pt x="829" y="52"/>
                </a:lnTo>
                <a:lnTo>
                  <a:pt x="827" y="51"/>
                </a:lnTo>
                <a:lnTo>
                  <a:pt x="824" y="48"/>
                </a:lnTo>
                <a:lnTo>
                  <a:pt x="823" y="46"/>
                </a:lnTo>
                <a:lnTo>
                  <a:pt x="822" y="42"/>
                </a:lnTo>
                <a:lnTo>
                  <a:pt x="822" y="40"/>
                </a:lnTo>
                <a:lnTo>
                  <a:pt x="816" y="40"/>
                </a:lnTo>
                <a:lnTo>
                  <a:pt x="814" y="39"/>
                </a:lnTo>
                <a:lnTo>
                  <a:pt x="814" y="38"/>
                </a:lnTo>
                <a:lnTo>
                  <a:pt x="813" y="36"/>
                </a:lnTo>
                <a:lnTo>
                  <a:pt x="813" y="35"/>
                </a:lnTo>
                <a:lnTo>
                  <a:pt x="813" y="34"/>
                </a:lnTo>
                <a:lnTo>
                  <a:pt x="810" y="32"/>
                </a:lnTo>
                <a:lnTo>
                  <a:pt x="805" y="32"/>
                </a:lnTo>
                <a:lnTo>
                  <a:pt x="805" y="17"/>
                </a:lnTo>
                <a:lnTo>
                  <a:pt x="799" y="15"/>
                </a:lnTo>
                <a:lnTo>
                  <a:pt x="791" y="11"/>
                </a:lnTo>
                <a:lnTo>
                  <a:pt x="787" y="9"/>
                </a:lnTo>
                <a:lnTo>
                  <a:pt x="784" y="7"/>
                </a:lnTo>
                <a:lnTo>
                  <a:pt x="783" y="3"/>
                </a:lnTo>
                <a:lnTo>
                  <a:pt x="782" y="0"/>
                </a:lnTo>
                <a:lnTo>
                  <a:pt x="718" y="0"/>
                </a:lnTo>
                <a:lnTo>
                  <a:pt x="710" y="8"/>
                </a:lnTo>
                <a:lnTo>
                  <a:pt x="703" y="17"/>
                </a:lnTo>
                <a:lnTo>
                  <a:pt x="695" y="25"/>
                </a:lnTo>
                <a:lnTo>
                  <a:pt x="695" y="40"/>
                </a:lnTo>
                <a:lnTo>
                  <a:pt x="690" y="40"/>
                </a:lnTo>
                <a:lnTo>
                  <a:pt x="688" y="41"/>
                </a:lnTo>
                <a:lnTo>
                  <a:pt x="687" y="42"/>
                </a:lnTo>
                <a:lnTo>
                  <a:pt x="687" y="44"/>
                </a:lnTo>
                <a:lnTo>
                  <a:pt x="687" y="46"/>
                </a:lnTo>
                <a:lnTo>
                  <a:pt x="686" y="47"/>
                </a:lnTo>
                <a:lnTo>
                  <a:pt x="684" y="48"/>
                </a:lnTo>
                <a:lnTo>
                  <a:pt x="679" y="48"/>
                </a:lnTo>
                <a:lnTo>
                  <a:pt x="679" y="64"/>
                </a:lnTo>
                <a:lnTo>
                  <a:pt x="677" y="65"/>
                </a:lnTo>
                <a:lnTo>
                  <a:pt x="675" y="66"/>
                </a:lnTo>
                <a:lnTo>
                  <a:pt x="672" y="69"/>
                </a:lnTo>
                <a:lnTo>
                  <a:pt x="670" y="71"/>
                </a:lnTo>
                <a:lnTo>
                  <a:pt x="668" y="75"/>
                </a:lnTo>
                <a:lnTo>
                  <a:pt x="665" y="77"/>
                </a:lnTo>
                <a:lnTo>
                  <a:pt x="661" y="79"/>
                </a:lnTo>
                <a:lnTo>
                  <a:pt x="656" y="79"/>
                </a:lnTo>
                <a:lnTo>
                  <a:pt x="655" y="85"/>
                </a:lnTo>
                <a:lnTo>
                  <a:pt x="654" y="89"/>
                </a:lnTo>
                <a:lnTo>
                  <a:pt x="650" y="92"/>
                </a:lnTo>
                <a:lnTo>
                  <a:pt x="648" y="94"/>
                </a:lnTo>
                <a:lnTo>
                  <a:pt x="645" y="96"/>
                </a:lnTo>
                <a:lnTo>
                  <a:pt x="642" y="98"/>
                </a:lnTo>
                <a:lnTo>
                  <a:pt x="640" y="100"/>
                </a:lnTo>
                <a:lnTo>
                  <a:pt x="640" y="103"/>
                </a:lnTo>
                <a:lnTo>
                  <a:pt x="624" y="103"/>
                </a:lnTo>
                <a:lnTo>
                  <a:pt x="616" y="112"/>
                </a:lnTo>
                <a:lnTo>
                  <a:pt x="616" y="127"/>
                </a:lnTo>
                <a:lnTo>
                  <a:pt x="611" y="127"/>
                </a:lnTo>
                <a:lnTo>
                  <a:pt x="609" y="128"/>
                </a:lnTo>
                <a:lnTo>
                  <a:pt x="608" y="129"/>
                </a:lnTo>
                <a:lnTo>
                  <a:pt x="608" y="131"/>
                </a:lnTo>
                <a:lnTo>
                  <a:pt x="608" y="133"/>
                </a:lnTo>
                <a:lnTo>
                  <a:pt x="607" y="134"/>
                </a:lnTo>
                <a:lnTo>
                  <a:pt x="604" y="134"/>
                </a:lnTo>
                <a:lnTo>
                  <a:pt x="600" y="135"/>
                </a:lnTo>
                <a:lnTo>
                  <a:pt x="600" y="166"/>
                </a:lnTo>
                <a:lnTo>
                  <a:pt x="599" y="167"/>
                </a:lnTo>
                <a:lnTo>
                  <a:pt x="598" y="169"/>
                </a:lnTo>
                <a:lnTo>
                  <a:pt x="597" y="171"/>
                </a:lnTo>
                <a:lnTo>
                  <a:pt x="595" y="174"/>
                </a:lnTo>
                <a:lnTo>
                  <a:pt x="594" y="182"/>
                </a:lnTo>
                <a:lnTo>
                  <a:pt x="593" y="191"/>
                </a:lnTo>
                <a:lnTo>
                  <a:pt x="592" y="210"/>
                </a:lnTo>
                <a:lnTo>
                  <a:pt x="592" y="222"/>
                </a:lnTo>
                <a:lnTo>
                  <a:pt x="590" y="222"/>
                </a:lnTo>
                <a:lnTo>
                  <a:pt x="588" y="223"/>
                </a:lnTo>
                <a:lnTo>
                  <a:pt x="587" y="224"/>
                </a:lnTo>
                <a:lnTo>
                  <a:pt x="585" y="227"/>
                </a:lnTo>
                <a:lnTo>
                  <a:pt x="584" y="232"/>
                </a:lnTo>
                <a:lnTo>
                  <a:pt x="584" y="238"/>
                </a:lnTo>
                <a:lnTo>
                  <a:pt x="582" y="238"/>
                </a:lnTo>
                <a:lnTo>
                  <a:pt x="580" y="239"/>
                </a:lnTo>
                <a:lnTo>
                  <a:pt x="579" y="240"/>
                </a:lnTo>
                <a:lnTo>
                  <a:pt x="578" y="242"/>
                </a:lnTo>
                <a:lnTo>
                  <a:pt x="576" y="248"/>
                </a:lnTo>
                <a:lnTo>
                  <a:pt x="576" y="253"/>
                </a:lnTo>
                <a:lnTo>
                  <a:pt x="561" y="253"/>
                </a:lnTo>
                <a:lnTo>
                  <a:pt x="553" y="261"/>
                </a:lnTo>
                <a:lnTo>
                  <a:pt x="545" y="269"/>
                </a:lnTo>
                <a:lnTo>
                  <a:pt x="545" y="285"/>
                </a:lnTo>
                <a:lnTo>
                  <a:pt x="533" y="285"/>
                </a:lnTo>
                <a:lnTo>
                  <a:pt x="521" y="285"/>
                </a:lnTo>
                <a:lnTo>
                  <a:pt x="513" y="292"/>
                </a:lnTo>
                <a:lnTo>
                  <a:pt x="505" y="300"/>
                </a:lnTo>
                <a:lnTo>
                  <a:pt x="505" y="313"/>
                </a:lnTo>
                <a:lnTo>
                  <a:pt x="505" y="325"/>
                </a:lnTo>
                <a:lnTo>
                  <a:pt x="503" y="325"/>
                </a:lnTo>
                <a:lnTo>
                  <a:pt x="499" y="326"/>
                </a:lnTo>
                <a:lnTo>
                  <a:pt x="497" y="327"/>
                </a:lnTo>
                <a:lnTo>
                  <a:pt x="495" y="329"/>
                </a:lnTo>
                <a:lnTo>
                  <a:pt x="493" y="331"/>
                </a:lnTo>
                <a:lnTo>
                  <a:pt x="491" y="335"/>
                </a:lnTo>
                <a:lnTo>
                  <a:pt x="489" y="337"/>
                </a:lnTo>
                <a:lnTo>
                  <a:pt x="489" y="340"/>
                </a:lnTo>
                <a:lnTo>
                  <a:pt x="482" y="348"/>
                </a:lnTo>
                <a:lnTo>
                  <a:pt x="469" y="353"/>
                </a:lnTo>
                <a:lnTo>
                  <a:pt x="458" y="356"/>
                </a:lnTo>
                <a:lnTo>
                  <a:pt x="450" y="364"/>
                </a:lnTo>
                <a:lnTo>
                  <a:pt x="448" y="367"/>
                </a:lnTo>
                <a:lnTo>
                  <a:pt x="444" y="373"/>
                </a:lnTo>
                <a:lnTo>
                  <a:pt x="437" y="378"/>
                </a:lnTo>
                <a:lnTo>
                  <a:pt x="430" y="384"/>
                </a:lnTo>
                <a:lnTo>
                  <a:pt x="422" y="390"/>
                </a:lnTo>
                <a:lnTo>
                  <a:pt x="417" y="395"/>
                </a:lnTo>
                <a:lnTo>
                  <a:pt x="412" y="400"/>
                </a:lnTo>
                <a:lnTo>
                  <a:pt x="410" y="404"/>
                </a:lnTo>
                <a:lnTo>
                  <a:pt x="408" y="404"/>
                </a:lnTo>
                <a:lnTo>
                  <a:pt x="405" y="405"/>
                </a:lnTo>
                <a:lnTo>
                  <a:pt x="402" y="406"/>
                </a:lnTo>
                <a:lnTo>
                  <a:pt x="400" y="409"/>
                </a:lnTo>
                <a:lnTo>
                  <a:pt x="398" y="411"/>
                </a:lnTo>
                <a:lnTo>
                  <a:pt x="396" y="414"/>
                </a:lnTo>
                <a:lnTo>
                  <a:pt x="395" y="416"/>
                </a:lnTo>
                <a:lnTo>
                  <a:pt x="395" y="420"/>
                </a:lnTo>
                <a:lnTo>
                  <a:pt x="379" y="420"/>
                </a:lnTo>
                <a:lnTo>
                  <a:pt x="371" y="435"/>
                </a:lnTo>
                <a:lnTo>
                  <a:pt x="355" y="443"/>
                </a:lnTo>
                <a:lnTo>
                  <a:pt x="352" y="443"/>
                </a:lnTo>
                <a:lnTo>
                  <a:pt x="350" y="444"/>
                </a:lnTo>
                <a:lnTo>
                  <a:pt x="347" y="446"/>
                </a:lnTo>
                <a:lnTo>
                  <a:pt x="344" y="448"/>
                </a:lnTo>
                <a:lnTo>
                  <a:pt x="342" y="451"/>
                </a:lnTo>
                <a:lnTo>
                  <a:pt x="341" y="453"/>
                </a:lnTo>
                <a:lnTo>
                  <a:pt x="340" y="455"/>
                </a:lnTo>
                <a:lnTo>
                  <a:pt x="340" y="459"/>
                </a:lnTo>
                <a:lnTo>
                  <a:pt x="336" y="460"/>
                </a:lnTo>
                <a:lnTo>
                  <a:pt x="333" y="464"/>
                </a:lnTo>
                <a:lnTo>
                  <a:pt x="331" y="469"/>
                </a:lnTo>
                <a:lnTo>
                  <a:pt x="329" y="475"/>
                </a:lnTo>
                <a:lnTo>
                  <a:pt x="325" y="489"/>
                </a:lnTo>
                <a:lnTo>
                  <a:pt x="323" y="499"/>
                </a:lnTo>
                <a:lnTo>
                  <a:pt x="321" y="502"/>
                </a:lnTo>
                <a:lnTo>
                  <a:pt x="315" y="511"/>
                </a:lnTo>
                <a:lnTo>
                  <a:pt x="310" y="521"/>
                </a:lnTo>
                <a:lnTo>
                  <a:pt x="307" y="530"/>
                </a:lnTo>
                <a:lnTo>
                  <a:pt x="304" y="531"/>
                </a:lnTo>
                <a:lnTo>
                  <a:pt x="300" y="535"/>
                </a:lnTo>
                <a:lnTo>
                  <a:pt x="294" y="540"/>
                </a:lnTo>
                <a:lnTo>
                  <a:pt x="288" y="546"/>
                </a:lnTo>
                <a:lnTo>
                  <a:pt x="282" y="551"/>
                </a:lnTo>
                <a:lnTo>
                  <a:pt x="276" y="557"/>
                </a:lnTo>
                <a:lnTo>
                  <a:pt x="272" y="560"/>
                </a:lnTo>
                <a:lnTo>
                  <a:pt x="268" y="561"/>
                </a:lnTo>
                <a:lnTo>
                  <a:pt x="261" y="569"/>
                </a:lnTo>
                <a:lnTo>
                  <a:pt x="253" y="577"/>
                </a:lnTo>
                <a:lnTo>
                  <a:pt x="251" y="581"/>
                </a:lnTo>
                <a:lnTo>
                  <a:pt x="247" y="586"/>
                </a:lnTo>
                <a:lnTo>
                  <a:pt x="242" y="590"/>
                </a:lnTo>
                <a:lnTo>
                  <a:pt x="236" y="596"/>
                </a:lnTo>
                <a:lnTo>
                  <a:pt x="229" y="602"/>
                </a:lnTo>
                <a:lnTo>
                  <a:pt x="223" y="605"/>
                </a:lnTo>
                <a:lnTo>
                  <a:pt x="217" y="608"/>
                </a:lnTo>
                <a:lnTo>
                  <a:pt x="213" y="609"/>
                </a:lnTo>
                <a:lnTo>
                  <a:pt x="213" y="614"/>
                </a:lnTo>
                <a:lnTo>
                  <a:pt x="211" y="616"/>
                </a:lnTo>
                <a:lnTo>
                  <a:pt x="210" y="617"/>
                </a:lnTo>
                <a:lnTo>
                  <a:pt x="209" y="617"/>
                </a:lnTo>
                <a:lnTo>
                  <a:pt x="207" y="617"/>
                </a:lnTo>
                <a:lnTo>
                  <a:pt x="206" y="618"/>
                </a:lnTo>
                <a:lnTo>
                  <a:pt x="205" y="621"/>
                </a:lnTo>
                <a:lnTo>
                  <a:pt x="205" y="625"/>
                </a:lnTo>
                <a:lnTo>
                  <a:pt x="189" y="625"/>
                </a:lnTo>
                <a:lnTo>
                  <a:pt x="188" y="627"/>
                </a:lnTo>
                <a:lnTo>
                  <a:pt x="187" y="629"/>
                </a:lnTo>
                <a:lnTo>
                  <a:pt x="185" y="632"/>
                </a:lnTo>
                <a:lnTo>
                  <a:pt x="181" y="634"/>
                </a:lnTo>
                <a:lnTo>
                  <a:pt x="178" y="636"/>
                </a:lnTo>
                <a:lnTo>
                  <a:pt x="176" y="640"/>
                </a:lnTo>
                <a:lnTo>
                  <a:pt x="173" y="643"/>
                </a:lnTo>
                <a:lnTo>
                  <a:pt x="173" y="648"/>
                </a:lnTo>
                <a:lnTo>
                  <a:pt x="162" y="651"/>
                </a:lnTo>
                <a:lnTo>
                  <a:pt x="150" y="655"/>
                </a:lnTo>
                <a:lnTo>
                  <a:pt x="155" y="660"/>
                </a:lnTo>
                <a:lnTo>
                  <a:pt x="158" y="662"/>
                </a:lnTo>
                <a:lnTo>
                  <a:pt x="158" y="675"/>
                </a:lnTo>
                <a:lnTo>
                  <a:pt x="159" y="675"/>
                </a:lnTo>
                <a:lnTo>
                  <a:pt x="161" y="677"/>
                </a:lnTo>
                <a:lnTo>
                  <a:pt x="162" y="682"/>
                </a:lnTo>
                <a:lnTo>
                  <a:pt x="163" y="685"/>
                </a:lnTo>
                <a:lnTo>
                  <a:pt x="163" y="694"/>
                </a:lnTo>
                <a:lnTo>
                  <a:pt x="163" y="701"/>
                </a:lnTo>
                <a:lnTo>
                  <a:pt x="158" y="702"/>
                </a:lnTo>
                <a:lnTo>
                  <a:pt x="152" y="706"/>
                </a:lnTo>
                <a:lnTo>
                  <a:pt x="144" y="713"/>
                </a:lnTo>
                <a:lnTo>
                  <a:pt x="137" y="721"/>
                </a:lnTo>
                <a:lnTo>
                  <a:pt x="118" y="742"/>
                </a:lnTo>
                <a:lnTo>
                  <a:pt x="99" y="767"/>
                </a:lnTo>
                <a:lnTo>
                  <a:pt x="81" y="790"/>
                </a:lnTo>
                <a:lnTo>
                  <a:pt x="63" y="811"/>
                </a:lnTo>
                <a:lnTo>
                  <a:pt x="56" y="820"/>
                </a:lnTo>
                <a:lnTo>
                  <a:pt x="50" y="827"/>
                </a:lnTo>
                <a:lnTo>
                  <a:pt x="44" y="830"/>
                </a:lnTo>
                <a:lnTo>
                  <a:pt x="40" y="833"/>
                </a:lnTo>
                <a:lnTo>
                  <a:pt x="40" y="845"/>
                </a:lnTo>
                <a:lnTo>
                  <a:pt x="29" y="852"/>
                </a:lnTo>
                <a:lnTo>
                  <a:pt x="19" y="858"/>
                </a:lnTo>
                <a:lnTo>
                  <a:pt x="19" y="872"/>
                </a:lnTo>
                <a:lnTo>
                  <a:pt x="17" y="872"/>
                </a:lnTo>
                <a:lnTo>
                  <a:pt x="16" y="874"/>
                </a:lnTo>
                <a:lnTo>
                  <a:pt x="14" y="876"/>
                </a:lnTo>
                <a:lnTo>
                  <a:pt x="13" y="878"/>
                </a:lnTo>
                <a:lnTo>
                  <a:pt x="11" y="881"/>
                </a:lnTo>
                <a:lnTo>
                  <a:pt x="7" y="883"/>
                </a:lnTo>
                <a:lnTo>
                  <a:pt x="4" y="884"/>
                </a:lnTo>
                <a:lnTo>
                  <a:pt x="0" y="885"/>
                </a:lnTo>
                <a:lnTo>
                  <a:pt x="0" y="913"/>
                </a:lnTo>
                <a:lnTo>
                  <a:pt x="2" y="941"/>
                </a:lnTo>
                <a:lnTo>
                  <a:pt x="4" y="968"/>
                </a:lnTo>
                <a:lnTo>
                  <a:pt x="7" y="996"/>
                </a:lnTo>
                <a:lnTo>
                  <a:pt x="25" y="997"/>
                </a:lnTo>
                <a:lnTo>
                  <a:pt x="43" y="1000"/>
                </a:lnTo>
                <a:lnTo>
                  <a:pt x="52" y="1002"/>
                </a:lnTo>
                <a:lnTo>
                  <a:pt x="59" y="1004"/>
                </a:lnTo>
                <a:lnTo>
                  <a:pt x="65" y="1007"/>
                </a:lnTo>
                <a:lnTo>
                  <a:pt x="69" y="1010"/>
                </a:lnTo>
                <a:lnTo>
                  <a:pt x="83" y="1010"/>
                </a:lnTo>
                <a:lnTo>
                  <a:pt x="101" y="1012"/>
                </a:lnTo>
                <a:lnTo>
                  <a:pt x="120" y="1013"/>
                </a:lnTo>
                <a:lnTo>
                  <a:pt x="137" y="1015"/>
                </a:lnTo>
                <a:lnTo>
                  <a:pt x="146" y="1013"/>
                </a:lnTo>
                <a:lnTo>
                  <a:pt x="166" y="1011"/>
                </a:lnTo>
                <a:lnTo>
                  <a:pt x="177" y="1010"/>
                </a:lnTo>
                <a:lnTo>
                  <a:pt x="186" y="1010"/>
                </a:lnTo>
                <a:lnTo>
                  <a:pt x="189" y="1011"/>
                </a:lnTo>
                <a:lnTo>
                  <a:pt x="192" y="1011"/>
                </a:lnTo>
                <a:lnTo>
                  <a:pt x="194" y="1012"/>
                </a:lnTo>
                <a:lnTo>
                  <a:pt x="195" y="1015"/>
                </a:lnTo>
                <a:lnTo>
                  <a:pt x="205" y="1015"/>
                </a:lnTo>
                <a:lnTo>
                  <a:pt x="209" y="1019"/>
                </a:lnTo>
                <a:lnTo>
                  <a:pt x="214" y="1025"/>
                </a:lnTo>
                <a:lnTo>
                  <a:pt x="214" y="1028"/>
                </a:lnTo>
                <a:lnTo>
                  <a:pt x="215" y="1034"/>
                </a:lnTo>
                <a:lnTo>
                  <a:pt x="215" y="1036"/>
                </a:lnTo>
                <a:lnTo>
                  <a:pt x="216" y="1037"/>
                </a:lnTo>
                <a:lnTo>
                  <a:pt x="217" y="1038"/>
                </a:lnTo>
                <a:lnTo>
                  <a:pt x="219" y="1039"/>
                </a:lnTo>
                <a:lnTo>
                  <a:pt x="219" y="1046"/>
                </a:lnTo>
                <a:lnTo>
                  <a:pt x="219" y="1054"/>
                </a:lnTo>
                <a:lnTo>
                  <a:pt x="228" y="1054"/>
                </a:lnTo>
                <a:lnTo>
                  <a:pt x="248" y="1073"/>
                </a:lnTo>
                <a:lnTo>
                  <a:pt x="252" y="1073"/>
                </a:lnTo>
                <a:lnTo>
                  <a:pt x="255" y="1073"/>
                </a:lnTo>
                <a:lnTo>
                  <a:pt x="257" y="1075"/>
                </a:lnTo>
                <a:lnTo>
                  <a:pt x="257" y="1077"/>
                </a:lnTo>
                <a:lnTo>
                  <a:pt x="374" y="1073"/>
                </a:lnTo>
                <a:lnTo>
                  <a:pt x="374" y="1070"/>
                </a:lnTo>
                <a:lnTo>
                  <a:pt x="376" y="1068"/>
                </a:lnTo>
                <a:lnTo>
                  <a:pt x="379" y="1066"/>
                </a:lnTo>
                <a:lnTo>
                  <a:pt x="381" y="1065"/>
                </a:lnTo>
                <a:lnTo>
                  <a:pt x="389" y="1063"/>
                </a:lnTo>
                <a:lnTo>
                  <a:pt x="398" y="1060"/>
                </a:lnTo>
                <a:lnTo>
                  <a:pt x="407" y="1057"/>
                </a:lnTo>
                <a:lnTo>
                  <a:pt x="415" y="1054"/>
                </a:lnTo>
                <a:lnTo>
                  <a:pt x="418" y="1052"/>
                </a:lnTo>
                <a:lnTo>
                  <a:pt x="420" y="1049"/>
                </a:lnTo>
                <a:lnTo>
                  <a:pt x="421" y="1047"/>
                </a:lnTo>
                <a:lnTo>
                  <a:pt x="422" y="1044"/>
                </a:lnTo>
                <a:lnTo>
                  <a:pt x="427" y="1042"/>
                </a:lnTo>
                <a:lnTo>
                  <a:pt x="431" y="1040"/>
                </a:lnTo>
                <a:lnTo>
                  <a:pt x="435" y="1037"/>
                </a:lnTo>
                <a:lnTo>
                  <a:pt x="437" y="1034"/>
                </a:lnTo>
                <a:lnTo>
                  <a:pt x="447" y="1034"/>
                </a:lnTo>
                <a:lnTo>
                  <a:pt x="447" y="1044"/>
                </a:lnTo>
                <a:lnTo>
                  <a:pt x="456" y="1054"/>
                </a:lnTo>
                <a:lnTo>
                  <a:pt x="456" y="1068"/>
                </a:lnTo>
                <a:lnTo>
                  <a:pt x="458" y="1068"/>
                </a:lnTo>
                <a:lnTo>
                  <a:pt x="459" y="1070"/>
                </a:lnTo>
                <a:lnTo>
                  <a:pt x="462" y="1074"/>
                </a:lnTo>
                <a:lnTo>
                  <a:pt x="463" y="1078"/>
                </a:lnTo>
                <a:lnTo>
                  <a:pt x="465" y="1086"/>
                </a:lnTo>
                <a:lnTo>
                  <a:pt x="466" y="1092"/>
                </a:lnTo>
                <a:lnTo>
                  <a:pt x="469" y="1093"/>
                </a:lnTo>
                <a:lnTo>
                  <a:pt x="472" y="1096"/>
                </a:lnTo>
                <a:lnTo>
                  <a:pt x="473" y="1102"/>
                </a:lnTo>
                <a:lnTo>
                  <a:pt x="475" y="1107"/>
                </a:lnTo>
                <a:lnTo>
                  <a:pt x="475" y="1121"/>
                </a:lnTo>
                <a:lnTo>
                  <a:pt x="476" y="1131"/>
                </a:lnTo>
                <a:lnTo>
                  <a:pt x="480" y="1143"/>
                </a:lnTo>
                <a:lnTo>
                  <a:pt x="485" y="1155"/>
                </a:lnTo>
                <a:lnTo>
                  <a:pt x="486" y="1161"/>
                </a:lnTo>
                <a:lnTo>
                  <a:pt x="488" y="1169"/>
                </a:lnTo>
                <a:lnTo>
                  <a:pt x="489" y="1173"/>
                </a:lnTo>
                <a:lnTo>
                  <a:pt x="492" y="1176"/>
                </a:lnTo>
                <a:lnTo>
                  <a:pt x="493" y="1179"/>
                </a:lnTo>
                <a:lnTo>
                  <a:pt x="495" y="1179"/>
                </a:lnTo>
                <a:lnTo>
                  <a:pt x="495" y="1183"/>
                </a:lnTo>
                <a:lnTo>
                  <a:pt x="496" y="1185"/>
                </a:lnTo>
                <a:lnTo>
                  <a:pt x="497" y="1188"/>
                </a:lnTo>
                <a:lnTo>
                  <a:pt x="499" y="1189"/>
                </a:lnTo>
                <a:lnTo>
                  <a:pt x="499" y="1193"/>
                </a:lnTo>
                <a:lnTo>
                  <a:pt x="501" y="1198"/>
                </a:lnTo>
                <a:lnTo>
                  <a:pt x="501" y="1200"/>
                </a:lnTo>
                <a:lnTo>
                  <a:pt x="502" y="1202"/>
                </a:lnTo>
                <a:lnTo>
                  <a:pt x="503" y="1203"/>
                </a:lnTo>
                <a:lnTo>
                  <a:pt x="505" y="1203"/>
                </a:lnTo>
                <a:lnTo>
                  <a:pt x="505" y="1211"/>
                </a:lnTo>
                <a:lnTo>
                  <a:pt x="505" y="1218"/>
                </a:lnTo>
                <a:lnTo>
                  <a:pt x="514" y="1222"/>
                </a:lnTo>
                <a:lnTo>
                  <a:pt x="514" y="1232"/>
                </a:lnTo>
                <a:lnTo>
                  <a:pt x="520" y="1234"/>
                </a:lnTo>
                <a:lnTo>
                  <a:pt x="524" y="1237"/>
                </a:lnTo>
                <a:lnTo>
                  <a:pt x="524" y="1247"/>
                </a:lnTo>
                <a:lnTo>
                  <a:pt x="534" y="1247"/>
                </a:lnTo>
                <a:lnTo>
                  <a:pt x="534" y="1251"/>
                </a:lnTo>
                <a:lnTo>
                  <a:pt x="534" y="1256"/>
                </a:lnTo>
                <a:lnTo>
                  <a:pt x="535" y="1258"/>
                </a:lnTo>
                <a:lnTo>
                  <a:pt x="535" y="1260"/>
                </a:lnTo>
                <a:lnTo>
                  <a:pt x="537" y="1261"/>
                </a:lnTo>
                <a:lnTo>
                  <a:pt x="539" y="1261"/>
                </a:lnTo>
                <a:lnTo>
                  <a:pt x="539" y="1265"/>
                </a:lnTo>
                <a:lnTo>
                  <a:pt x="540" y="1268"/>
                </a:lnTo>
                <a:lnTo>
                  <a:pt x="541" y="1270"/>
                </a:lnTo>
                <a:lnTo>
                  <a:pt x="543" y="1271"/>
                </a:lnTo>
                <a:lnTo>
                  <a:pt x="543" y="1280"/>
                </a:lnTo>
                <a:lnTo>
                  <a:pt x="552" y="1286"/>
                </a:lnTo>
                <a:lnTo>
                  <a:pt x="558" y="1290"/>
                </a:lnTo>
                <a:lnTo>
                  <a:pt x="565" y="1301"/>
                </a:lnTo>
                <a:lnTo>
                  <a:pt x="572" y="1309"/>
                </a:lnTo>
                <a:lnTo>
                  <a:pt x="576" y="1310"/>
                </a:lnTo>
                <a:lnTo>
                  <a:pt x="579" y="1313"/>
                </a:lnTo>
                <a:lnTo>
                  <a:pt x="581" y="1316"/>
                </a:lnTo>
                <a:lnTo>
                  <a:pt x="582" y="1319"/>
                </a:lnTo>
                <a:lnTo>
                  <a:pt x="592" y="1319"/>
                </a:lnTo>
                <a:lnTo>
                  <a:pt x="593" y="1323"/>
                </a:lnTo>
                <a:lnTo>
                  <a:pt x="598" y="1326"/>
                </a:lnTo>
                <a:lnTo>
                  <a:pt x="602" y="1328"/>
                </a:lnTo>
                <a:lnTo>
                  <a:pt x="607" y="1329"/>
                </a:lnTo>
                <a:lnTo>
                  <a:pt x="611" y="1334"/>
                </a:lnTo>
                <a:lnTo>
                  <a:pt x="613" y="1342"/>
                </a:lnTo>
                <a:lnTo>
                  <a:pt x="616" y="1348"/>
                </a:lnTo>
                <a:lnTo>
                  <a:pt x="621" y="1350"/>
                </a:lnTo>
                <a:lnTo>
                  <a:pt x="626" y="1353"/>
                </a:lnTo>
                <a:lnTo>
                  <a:pt x="628" y="1358"/>
                </a:lnTo>
                <a:lnTo>
                  <a:pt x="633" y="1365"/>
                </a:lnTo>
                <a:lnTo>
                  <a:pt x="640" y="1371"/>
                </a:lnTo>
                <a:lnTo>
                  <a:pt x="645" y="1373"/>
                </a:lnTo>
                <a:lnTo>
                  <a:pt x="655" y="1383"/>
                </a:lnTo>
                <a:lnTo>
                  <a:pt x="665" y="1392"/>
                </a:lnTo>
                <a:lnTo>
                  <a:pt x="674" y="1392"/>
                </a:lnTo>
                <a:lnTo>
                  <a:pt x="677" y="1396"/>
                </a:lnTo>
                <a:lnTo>
                  <a:pt x="679" y="1402"/>
                </a:lnTo>
                <a:lnTo>
                  <a:pt x="694" y="1402"/>
                </a:lnTo>
                <a:lnTo>
                  <a:pt x="700" y="1406"/>
                </a:lnTo>
                <a:lnTo>
                  <a:pt x="708" y="1412"/>
                </a:lnTo>
                <a:lnTo>
                  <a:pt x="713" y="1412"/>
                </a:lnTo>
                <a:lnTo>
                  <a:pt x="719" y="1414"/>
                </a:lnTo>
                <a:lnTo>
                  <a:pt x="723" y="1416"/>
                </a:lnTo>
                <a:lnTo>
                  <a:pt x="725" y="1417"/>
                </a:lnTo>
                <a:lnTo>
                  <a:pt x="727" y="1420"/>
                </a:lnTo>
                <a:lnTo>
                  <a:pt x="727" y="1421"/>
                </a:lnTo>
                <a:lnTo>
                  <a:pt x="742" y="1421"/>
                </a:lnTo>
                <a:lnTo>
                  <a:pt x="743" y="1424"/>
                </a:lnTo>
                <a:lnTo>
                  <a:pt x="745" y="1425"/>
                </a:lnTo>
                <a:lnTo>
                  <a:pt x="748" y="1425"/>
                </a:lnTo>
                <a:lnTo>
                  <a:pt x="752" y="1426"/>
                </a:lnTo>
                <a:lnTo>
                  <a:pt x="756" y="1435"/>
                </a:lnTo>
                <a:lnTo>
                  <a:pt x="766" y="1435"/>
                </a:lnTo>
                <a:lnTo>
                  <a:pt x="767" y="1439"/>
                </a:lnTo>
                <a:lnTo>
                  <a:pt x="772" y="1442"/>
                </a:lnTo>
                <a:lnTo>
                  <a:pt x="776" y="1444"/>
                </a:lnTo>
                <a:lnTo>
                  <a:pt x="781" y="1445"/>
                </a:lnTo>
                <a:lnTo>
                  <a:pt x="781" y="1455"/>
                </a:lnTo>
                <a:lnTo>
                  <a:pt x="785" y="1455"/>
                </a:lnTo>
                <a:lnTo>
                  <a:pt x="790" y="1455"/>
                </a:lnTo>
                <a:lnTo>
                  <a:pt x="792" y="1456"/>
                </a:lnTo>
                <a:lnTo>
                  <a:pt x="793" y="1456"/>
                </a:lnTo>
                <a:lnTo>
                  <a:pt x="794" y="1458"/>
                </a:lnTo>
                <a:lnTo>
                  <a:pt x="795" y="1460"/>
                </a:lnTo>
                <a:lnTo>
                  <a:pt x="801" y="1461"/>
                </a:lnTo>
                <a:lnTo>
                  <a:pt x="811" y="1464"/>
                </a:lnTo>
                <a:lnTo>
                  <a:pt x="822" y="1469"/>
                </a:lnTo>
                <a:lnTo>
                  <a:pt x="835" y="1474"/>
                </a:lnTo>
                <a:lnTo>
                  <a:pt x="848" y="1481"/>
                </a:lnTo>
                <a:lnTo>
                  <a:pt x="858" y="1487"/>
                </a:lnTo>
                <a:lnTo>
                  <a:pt x="864" y="1491"/>
                </a:lnTo>
                <a:lnTo>
                  <a:pt x="868" y="1493"/>
                </a:lnTo>
                <a:lnTo>
                  <a:pt x="878" y="1494"/>
                </a:lnTo>
                <a:lnTo>
                  <a:pt x="887" y="1496"/>
                </a:lnTo>
                <a:lnTo>
                  <a:pt x="896" y="1498"/>
                </a:lnTo>
                <a:lnTo>
                  <a:pt x="907" y="1499"/>
                </a:lnTo>
                <a:lnTo>
                  <a:pt x="911" y="1508"/>
                </a:lnTo>
                <a:lnTo>
                  <a:pt x="931" y="1509"/>
                </a:lnTo>
                <a:lnTo>
                  <a:pt x="968" y="1510"/>
                </a:lnTo>
                <a:lnTo>
                  <a:pt x="986" y="1509"/>
                </a:lnTo>
                <a:lnTo>
                  <a:pt x="1003" y="1506"/>
                </a:lnTo>
                <a:lnTo>
                  <a:pt x="1008" y="1504"/>
                </a:lnTo>
                <a:lnTo>
                  <a:pt x="1014" y="1501"/>
                </a:lnTo>
                <a:lnTo>
                  <a:pt x="1016" y="1498"/>
                </a:lnTo>
                <a:lnTo>
                  <a:pt x="1017" y="1493"/>
                </a:lnTo>
                <a:lnTo>
                  <a:pt x="1032" y="1492"/>
                </a:lnTo>
                <a:lnTo>
                  <a:pt x="1048" y="1489"/>
                </a:lnTo>
                <a:lnTo>
                  <a:pt x="1064" y="1486"/>
                </a:lnTo>
                <a:lnTo>
                  <a:pt x="1081" y="1481"/>
                </a:lnTo>
                <a:lnTo>
                  <a:pt x="1079" y="1480"/>
                </a:lnTo>
                <a:lnTo>
                  <a:pt x="1075" y="1479"/>
                </a:lnTo>
                <a:lnTo>
                  <a:pt x="1071" y="1479"/>
                </a:lnTo>
                <a:lnTo>
                  <a:pt x="1067" y="1479"/>
                </a:lnTo>
                <a:lnTo>
                  <a:pt x="1059" y="1470"/>
                </a:lnTo>
                <a:lnTo>
                  <a:pt x="1051" y="1462"/>
                </a:lnTo>
                <a:lnTo>
                  <a:pt x="1049" y="1441"/>
                </a:lnTo>
                <a:lnTo>
                  <a:pt x="1043" y="1414"/>
                </a:lnTo>
                <a:lnTo>
                  <a:pt x="1040" y="1400"/>
                </a:lnTo>
                <a:lnTo>
                  <a:pt x="1038" y="1386"/>
                </a:lnTo>
                <a:lnTo>
                  <a:pt x="1035" y="1373"/>
                </a:lnTo>
                <a:lnTo>
                  <a:pt x="1035" y="1359"/>
                </a:lnTo>
                <a:lnTo>
                  <a:pt x="1032" y="1359"/>
                </a:lnTo>
                <a:lnTo>
                  <a:pt x="1031" y="1358"/>
                </a:lnTo>
                <a:lnTo>
                  <a:pt x="1029" y="1357"/>
                </a:lnTo>
                <a:lnTo>
                  <a:pt x="1029" y="1355"/>
                </a:lnTo>
                <a:lnTo>
                  <a:pt x="1027" y="1349"/>
                </a:lnTo>
                <a:lnTo>
                  <a:pt x="1027" y="1344"/>
                </a:lnTo>
                <a:lnTo>
                  <a:pt x="1024" y="1344"/>
                </a:lnTo>
                <a:lnTo>
                  <a:pt x="1023" y="1343"/>
                </a:lnTo>
                <a:lnTo>
                  <a:pt x="1021" y="1342"/>
                </a:lnTo>
                <a:lnTo>
                  <a:pt x="1020" y="1339"/>
                </a:lnTo>
                <a:lnTo>
                  <a:pt x="1020" y="1334"/>
                </a:lnTo>
                <a:lnTo>
                  <a:pt x="1020" y="1328"/>
                </a:lnTo>
                <a:lnTo>
                  <a:pt x="1014" y="1328"/>
                </a:lnTo>
                <a:lnTo>
                  <a:pt x="1012" y="1327"/>
                </a:lnTo>
                <a:lnTo>
                  <a:pt x="1012" y="1326"/>
                </a:lnTo>
                <a:lnTo>
                  <a:pt x="1011" y="1325"/>
                </a:lnTo>
                <a:lnTo>
                  <a:pt x="1011" y="1323"/>
                </a:lnTo>
                <a:lnTo>
                  <a:pt x="1011" y="1321"/>
                </a:lnTo>
                <a:lnTo>
                  <a:pt x="1007" y="1320"/>
                </a:lnTo>
                <a:lnTo>
                  <a:pt x="1003" y="1320"/>
                </a:lnTo>
                <a:lnTo>
                  <a:pt x="1003" y="1305"/>
                </a:lnTo>
                <a:lnTo>
                  <a:pt x="995" y="1297"/>
                </a:lnTo>
                <a:lnTo>
                  <a:pt x="987" y="1289"/>
                </a:lnTo>
                <a:lnTo>
                  <a:pt x="979" y="1281"/>
                </a:lnTo>
                <a:lnTo>
                  <a:pt x="964" y="1281"/>
                </a:lnTo>
                <a:lnTo>
                  <a:pt x="956" y="1272"/>
                </a:lnTo>
                <a:lnTo>
                  <a:pt x="948" y="1265"/>
                </a:lnTo>
                <a:lnTo>
                  <a:pt x="940" y="1257"/>
                </a:lnTo>
                <a:lnTo>
                  <a:pt x="940" y="1246"/>
                </a:lnTo>
                <a:lnTo>
                  <a:pt x="940" y="1233"/>
                </a:lnTo>
                <a:lnTo>
                  <a:pt x="938" y="1232"/>
                </a:lnTo>
                <a:lnTo>
                  <a:pt x="937" y="1230"/>
                </a:lnTo>
                <a:lnTo>
                  <a:pt x="936" y="1227"/>
                </a:lnTo>
                <a:lnTo>
                  <a:pt x="936" y="1222"/>
                </a:lnTo>
                <a:lnTo>
                  <a:pt x="934" y="1211"/>
                </a:lnTo>
                <a:lnTo>
                  <a:pt x="934" y="1196"/>
                </a:lnTo>
                <a:lnTo>
                  <a:pt x="933" y="1170"/>
                </a:lnTo>
                <a:lnTo>
                  <a:pt x="933" y="1154"/>
                </a:lnTo>
                <a:lnTo>
                  <a:pt x="929" y="1154"/>
                </a:lnTo>
                <a:lnTo>
                  <a:pt x="926" y="1152"/>
                </a:lnTo>
                <a:lnTo>
                  <a:pt x="924" y="1148"/>
                </a:lnTo>
                <a:lnTo>
                  <a:pt x="921" y="1145"/>
                </a:lnTo>
                <a:lnTo>
                  <a:pt x="918" y="1137"/>
                </a:lnTo>
                <a:lnTo>
                  <a:pt x="917" y="1131"/>
                </a:lnTo>
                <a:lnTo>
                  <a:pt x="914" y="1129"/>
                </a:lnTo>
                <a:lnTo>
                  <a:pt x="910" y="1128"/>
                </a:lnTo>
                <a:lnTo>
                  <a:pt x="908" y="1125"/>
                </a:lnTo>
                <a:lnTo>
                  <a:pt x="906" y="1122"/>
                </a:lnTo>
                <a:lnTo>
                  <a:pt x="902" y="1114"/>
                </a:lnTo>
                <a:lnTo>
                  <a:pt x="900" y="1107"/>
                </a:lnTo>
                <a:lnTo>
                  <a:pt x="885" y="1107"/>
                </a:lnTo>
                <a:lnTo>
                  <a:pt x="883" y="1104"/>
                </a:lnTo>
                <a:lnTo>
                  <a:pt x="881" y="1103"/>
                </a:lnTo>
                <a:lnTo>
                  <a:pt x="877" y="1100"/>
                </a:lnTo>
                <a:lnTo>
                  <a:pt x="872" y="1100"/>
                </a:lnTo>
                <a:lnTo>
                  <a:pt x="861" y="1099"/>
                </a:lnTo>
                <a:lnTo>
                  <a:pt x="853" y="1099"/>
                </a:lnTo>
                <a:lnTo>
                  <a:pt x="846" y="1092"/>
                </a:lnTo>
                <a:lnTo>
                  <a:pt x="838" y="1084"/>
                </a:lnTo>
                <a:lnTo>
                  <a:pt x="838" y="1067"/>
                </a:lnTo>
                <a:lnTo>
                  <a:pt x="833" y="1067"/>
                </a:lnTo>
                <a:lnTo>
                  <a:pt x="830" y="1066"/>
                </a:lnTo>
                <a:lnTo>
                  <a:pt x="830" y="1065"/>
                </a:lnTo>
                <a:lnTo>
                  <a:pt x="830" y="1064"/>
                </a:lnTo>
                <a:lnTo>
                  <a:pt x="829" y="1063"/>
                </a:lnTo>
                <a:lnTo>
                  <a:pt x="829" y="1060"/>
                </a:lnTo>
                <a:lnTo>
                  <a:pt x="827" y="1060"/>
                </a:lnTo>
                <a:lnTo>
                  <a:pt x="822" y="1059"/>
                </a:lnTo>
                <a:lnTo>
                  <a:pt x="822" y="1012"/>
                </a:lnTo>
                <a:lnTo>
                  <a:pt x="830" y="1004"/>
                </a:lnTo>
                <a:lnTo>
                  <a:pt x="846" y="1004"/>
                </a:lnTo>
                <a:lnTo>
                  <a:pt x="853" y="997"/>
                </a:lnTo>
                <a:lnTo>
                  <a:pt x="861" y="989"/>
                </a:lnTo>
                <a:lnTo>
                  <a:pt x="869" y="980"/>
                </a:lnTo>
                <a:lnTo>
                  <a:pt x="877" y="972"/>
                </a:lnTo>
                <a:lnTo>
                  <a:pt x="877" y="956"/>
                </a:lnTo>
                <a:lnTo>
                  <a:pt x="878" y="956"/>
                </a:lnTo>
                <a:lnTo>
                  <a:pt x="879" y="954"/>
                </a:lnTo>
                <a:lnTo>
                  <a:pt x="880" y="952"/>
                </a:lnTo>
                <a:lnTo>
                  <a:pt x="881" y="948"/>
                </a:lnTo>
                <a:lnTo>
                  <a:pt x="882" y="939"/>
                </a:lnTo>
                <a:lnTo>
                  <a:pt x="883" y="929"/>
                </a:lnTo>
                <a:lnTo>
                  <a:pt x="885" y="906"/>
                </a:lnTo>
                <a:lnTo>
                  <a:pt x="885" y="894"/>
                </a:lnTo>
                <a:lnTo>
                  <a:pt x="882" y="893"/>
                </a:lnTo>
                <a:lnTo>
                  <a:pt x="880" y="891"/>
                </a:lnTo>
                <a:lnTo>
                  <a:pt x="879" y="888"/>
                </a:lnTo>
                <a:lnTo>
                  <a:pt x="878" y="885"/>
                </a:lnTo>
                <a:lnTo>
                  <a:pt x="877" y="877"/>
                </a:lnTo>
                <a:lnTo>
                  <a:pt x="877" y="869"/>
                </a:lnTo>
                <a:lnTo>
                  <a:pt x="872" y="869"/>
                </a:lnTo>
                <a:lnTo>
                  <a:pt x="870" y="868"/>
                </a:lnTo>
                <a:lnTo>
                  <a:pt x="869" y="867"/>
                </a:lnTo>
                <a:lnTo>
                  <a:pt x="869" y="866"/>
                </a:lnTo>
                <a:lnTo>
                  <a:pt x="869" y="865"/>
                </a:lnTo>
                <a:lnTo>
                  <a:pt x="868" y="863"/>
                </a:lnTo>
                <a:lnTo>
                  <a:pt x="866" y="863"/>
                </a:lnTo>
                <a:lnTo>
                  <a:pt x="861" y="862"/>
                </a:lnTo>
                <a:lnTo>
                  <a:pt x="861" y="815"/>
                </a:lnTo>
                <a:lnTo>
                  <a:pt x="860" y="814"/>
                </a:lnTo>
                <a:lnTo>
                  <a:pt x="859" y="813"/>
                </a:lnTo>
                <a:lnTo>
                  <a:pt x="858" y="810"/>
                </a:lnTo>
                <a:lnTo>
                  <a:pt x="857" y="807"/>
                </a:lnTo>
                <a:lnTo>
                  <a:pt x="856" y="799"/>
                </a:lnTo>
                <a:lnTo>
                  <a:pt x="854" y="790"/>
                </a:lnTo>
                <a:lnTo>
                  <a:pt x="853" y="771"/>
                </a:lnTo>
                <a:lnTo>
                  <a:pt x="853" y="759"/>
                </a:lnTo>
                <a:lnTo>
                  <a:pt x="854" y="740"/>
                </a:lnTo>
                <a:lnTo>
                  <a:pt x="857" y="721"/>
                </a:lnTo>
                <a:lnTo>
                  <a:pt x="860" y="702"/>
                </a:lnTo>
                <a:lnTo>
                  <a:pt x="861" y="688"/>
                </a:lnTo>
                <a:lnTo>
                  <a:pt x="869" y="680"/>
                </a:lnTo>
                <a:lnTo>
                  <a:pt x="877" y="672"/>
                </a:lnTo>
                <a:lnTo>
                  <a:pt x="885" y="664"/>
                </a:lnTo>
                <a:lnTo>
                  <a:pt x="892" y="656"/>
                </a:lnTo>
                <a:lnTo>
                  <a:pt x="900" y="648"/>
                </a:lnTo>
                <a:lnTo>
                  <a:pt x="908" y="647"/>
                </a:lnTo>
                <a:lnTo>
                  <a:pt x="916" y="644"/>
                </a:lnTo>
                <a:lnTo>
                  <a:pt x="919" y="642"/>
                </a:lnTo>
                <a:lnTo>
                  <a:pt x="921" y="638"/>
                </a:lnTo>
                <a:lnTo>
                  <a:pt x="924" y="636"/>
                </a:lnTo>
                <a:lnTo>
                  <a:pt x="925" y="633"/>
                </a:lnTo>
                <a:lnTo>
                  <a:pt x="940" y="633"/>
                </a:lnTo>
                <a:lnTo>
                  <a:pt x="948" y="625"/>
                </a:lnTo>
                <a:lnTo>
                  <a:pt x="949" y="622"/>
                </a:lnTo>
                <a:lnTo>
                  <a:pt x="952" y="618"/>
                </a:lnTo>
                <a:lnTo>
                  <a:pt x="956" y="614"/>
                </a:lnTo>
                <a:lnTo>
                  <a:pt x="960" y="611"/>
                </a:lnTo>
                <a:lnTo>
                  <a:pt x="966" y="606"/>
                </a:lnTo>
                <a:lnTo>
                  <a:pt x="972" y="604"/>
                </a:lnTo>
                <a:lnTo>
                  <a:pt x="976" y="602"/>
                </a:lnTo>
                <a:lnTo>
                  <a:pt x="979" y="602"/>
                </a:lnTo>
                <a:lnTo>
                  <a:pt x="981" y="597"/>
                </a:lnTo>
                <a:lnTo>
                  <a:pt x="984" y="593"/>
                </a:lnTo>
                <a:lnTo>
                  <a:pt x="987" y="588"/>
                </a:lnTo>
                <a:lnTo>
                  <a:pt x="993" y="583"/>
                </a:lnTo>
                <a:lnTo>
                  <a:pt x="997" y="577"/>
                </a:lnTo>
                <a:lnTo>
                  <a:pt x="1003" y="574"/>
                </a:lnTo>
                <a:lnTo>
                  <a:pt x="1007" y="570"/>
                </a:lnTo>
                <a:lnTo>
                  <a:pt x="1011" y="569"/>
                </a:lnTo>
                <a:lnTo>
                  <a:pt x="1012" y="557"/>
                </a:lnTo>
                <a:lnTo>
                  <a:pt x="1014" y="544"/>
                </a:lnTo>
                <a:lnTo>
                  <a:pt x="1016" y="529"/>
                </a:lnTo>
                <a:lnTo>
                  <a:pt x="1020" y="513"/>
                </a:lnTo>
                <a:lnTo>
                  <a:pt x="1022" y="498"/>
                </a:lnTo>
                <a:lnTo>
                  <a:pt x="1024" y="482"/>
                </a:lnTo>
                <a:lnTo>
                  <a:pt x="1026" y="467"/>
                </a:lnTo>
                <a:lnTo>
                  <a:pt x="1027" y="451"/>
                </a:lnTo>
                <a:lnTo>
                  <a:pt x="1025" y="451"/>
                </a:lnTo>
                <a:lnTo>
                  <a:pt x="1024" y="450"/>
                </a:lnTo>
                <a:lnTo>
                  <a:pt x="1023" y="448"/>
                </a:lnTo>
                <a:lnTo>
                  <a:pt x="1022" y="444"/>
                </a:lnTo>
                <a:lnTo>
                  <a:pt x="1020" y="436"/>
                </a:lnTo>
                <a:lnTo>
                  <a:pt x="1017" y="427"/>
                </a:lnTo>
                <a:lnTo>
                  <a:pt x="1015" y="402"/>
                </a:lnTo>
                <a:lnTo>
                  <a:pt x="1013" y="373"/>
                </a:lnTo>
                <a:lnTo>
                  <a:pt x="1012" y="343"/>
                </a:lnTo>
                <a:lnTo>
                  <a:pt x="1012" y="315"/>
                </a:lnTo>
                <a:lnTo>
                  <a:pt x="1011" y="291"/>
                </a:lnTo>
                <a:lnTo>
                  <a:pt x="1011" y="277"/>
                </a:lnTo>
                <a:lnTo>
                  <a:pt x="1014" y="277"/>
                </a:lnTo>
                <a:lnTo>
                  <a:pt x="1016" y="275"/>
                </a:lnTo>
                <a:lnTo>
                  <a:pt x="1017" y="271"/>
                </a:lnTo>
                <a:lnTo>
                  <a:pt x="1019" y="268"/>
                </a:lnTo>
                <a:lnTo>
                  <a:pt x="1019" y="260"/>
                </a:lnTo>
                <a:lnTo>
                  <a:pt x="1020" y="253"/>
                </a:lnTo>
                <a:lnTo>
                  <a:pt x="1022" y="251"/>
                </a:lnTo>
                <a:lnTo>
                  <a:pt x="1024" y="247"/>
                </a:lnTo>
                <a:lnTo>
                  <a:pt x="1025" y="240"/>
                </a:lnTo>
                <a:lnTo>
                  <a:pt x="1026" y="232"/>
                </a:lnTo>
                <a:lnTo>
                  <a:pt x="1027" y="217"/>
                </a:lnTo>
                <a:lnTo>
                  <a:pt x="1027" y="206"/>
                </a:lnTo>
                <a:lnTo>
                  <a:pt x="1030" y="204"/>
                </a:lnTo>
                <a:lnTo>
                  <a:pt x="1032" y="201"/>
                </a:lnTo>
                <a:lnTo>
                  <a:pt x="1033" y="195"/>
                </a:lnTo>
                <a:lnTo>
                  <a:pt x="1034" y="189"/>
                </a:lnTo>
                <a:lnTo>
                  <a:pt x="1035" y="176"/>
                </a:lnTo>
                <a:lnTo>
                  <a:pt x="1035" y="166"/>
                </a:lnTo>
                <a:lnTo>
                  <a:pt x="1038" y="165"/>
                </a:lnTo>
                <a:lnTo>
                  <a:pt x="1040" y="162"/>
                </a:lnTo>
                <a:lnTo>
                  <a:pt x="1041" y="157"/>
                </a:lnTo>
                <a:lnTo>
                  <a:pt x="1042" y="152"/>
                </a:lnTo>
                <a:lnTo>
                  <a:pt x="1042" y="137"/>
                </a:lnTo>
                <a:lnTo>
                  <a:pt x="1042" y="121"/>
                </a:lnTo>
                <a:lnTo>
                  <a:pt x="1041" y="104"/>
                </a:lnTo>
                <a:lnTo>
                  <a:pt x="1041" y="89"/>
                </a:lnTo>
                <a:lnTo>
                  <a:pt x="1041" y="85"/>
                </a:lnTo>
                <a:lnTo>
                  <a:pt x="1041" y="81"/>
                </a:lnTo>
                <a:lnTo>
                  <a:pt x="1042" y="79"/>
                </a:lnTo>
                <a:lnTo>
                  <a:pt x="1043" y="79"/>
                </a:lnTo>
                <a:close/>
                <a:moveTo>
                  <a:pt x="1113" y="1498"/>
                </a:moveTo>
                <a:lnTo>
                  <a:pt x="1115" y="1494"/>
                </a:lnTo>
                <a:lnTo>
                  <a:pt x="1109" y="1489"/>
                </a:lnTo>
                <a:lnTo>
                  <a:pt x="1111" y="1493"/>
                </a:lnTo>
                <a:lnTo>
                  <a:pt x="1113" y="14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86" name="Freeform 47">
            <a:extLst>
              <a:ext uri="{FF2B5EF4-FFF2-40B4-BE49-F238E27FC236}">
                <a16:creationId xmlns:a16="http://schemas.microsoft.com/office/drawing/2014/main" id="{E72D0CD8-3123-4D19-9781-0467E195173E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654925" y="3321050"/>
            <a:ext cx="4205" cy="3175"/>
          </a:xfrm>
          <a:custGeom>
            <a:avLst/>
            <a:gdLst/>
            <a:ahLst/>
            <a:cxnLst>
              <a:cxn ang="0">
                <a:pos x="4" y="9"/>
              </a:cxn>
              <a:cxn ang="0">
                <a:pos x="6" y="5"/>
              </a:cxn>
              <a:cxn ang="0">
                <a:pos x="0" y="0"/>
              </a:cxn>
              <a:cxn ang="0">
                <a:pos x="2" y="4"/>
              </a:cxn>
              <a:cxn ang="0">
                <a:pos x="4" y="9"/>
              </a:cxn>
            </a:cxnLst>
            <a:rect l="0" t="0" r="r" b="b"/>
            <a:pathLst>
              <a:path w="6" h="9">
                <a:moveTo>
                  <a:pt x="4" y="9"/>
                </a:moveTo>
                <a:lnTo>
                  <a:pt x="6" y="5"/>
                </a:lnTo>
                <a:lnTo>
                  <a:pt x="0" y="0"/>
                </a:lnTo>
                <a:lnTo>
                  <a:pt x="2" y="4"/>
                </a:lnTo>
                <a:lnTo>
                  <a:pt x="4" y="9"/>
                </a:lnTo>
              </a:path>
            </a:pathLst>
          </a:custGeom>
          <a:solidFill>
            <a:schemeClr val="bg1">
              <a:lumMod val="65000"/>
            </a:schemeClr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87" name="Freeform 48">
            <a:extLst>
              <a:ext uri="{FF2B5EF4-FFF2-40B4-BE49-F238E27FC236}">
                <a16:creationId xmlns:a16="http://schemas.microsoft.com/office/drawing/2014/main" id="{CC2AE7EE-E473-4E59-8F9D-455329B22A78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404100" y="3003550"/>
            <a:ext cx="263288" cy="169863"/>
          </a:xfrm>
          <a:custGeom>
            <a:avLst/>
            <a:gdLst/>
            <a:ahLst/>
            <a:cxnLst>
              <a:cxn ang="0">
                <a:pos x="215" y="40"/>
              </a:cxn>
              <a:cxn ang="0">
                <a:pos x="346" y="27"/>
              </a:cxn>
              <a:cxn ang="0">
                <a:pos x="420" y="9"/>
              </a:cxn>
              <a:cxn ang="0">
                <a:pos x="580" y="0"/>
              </a:cxn>
              <a:cxn ang="0">
                <a:pos x="616" y="14"/>
              </a:cxn>
              <a:cxn ang="0">
                <a:pos x="713" y="56"/>
              </a:cxn>
              <a:cxn ang="0">
                <a:pos x="745" y="79"/>
              </a:cxn>
              <a:cxn ang="0">
                <a:pos x="768" y="95"/>
              </a:cxn>
              <a:cxn ang="0">
                <a:pos x="808" y="119"/>
              </a:cxn>
              <a:cxn ang="0">
                <a:pos x="895" y="119"/>
              </a:cxn>
              <a:cxn ang="0">
                <a:pos x="972" y="66"/>
              </a:cxn>
              <a:cxn ang="0">
                <a:pos x="1005" y="56"/>
              </a:cxn>
              <a:cxn ang="0">
                <a:pos x="1082" y="27"/>
              </a:cxn>
              <a:cxn ang="0">
                <a:pos x="1176" y="10"/>
              </a:cxn>
              <a:cxn ang="0">
                <a:pos x="1247" y="58"/>
              </a:cxn>
              <a:cxn ang="0">
                <a:pos x="1259" y="89"/>
              </a:cxn>
              <a:cxn ang="0">
                <a:pos x="1339" y="140"/>
              </a:cxn>
              <a:cxn ang="0">
                <a:pos x="1384" y="159"/>
              </a:cxn>
              <a:cxn ang="0">
                <a:pos x="1439" y="215"/>
              </a:cxn>
              <a:cxn ang="0">
                <a:pos x="1455" y="264"/>
              </a:cxn>
              <a:cxn ang="0">
                <a:pos x="1461" y="431"/>
              </a:cxn>
              <a:cxn ang="0">
                <a:pos x="1423" y="465"/>
              </a:cxn>
              <a:cxn ang="0">
                <a:pos x="1240" y="438"/>
              </a:cxn>
              <a:cxn ang="0">
                <a:pos x="1226" y="422"/>
              </a:cxn>
              <a:cxn ang="0">
                <a:pos x="1196" y="390"/>
              </a:cxn>
              <a:cxn ang="0">
                <a:pos x="1100" y="429"/>
              </a:cxn>
              <a:cxn ang="0">
                <a:pos x="1085" y="456"/>
              </a:cxn>
              <a:cxn ang="0">
                <a:pos x="1061" y="481"/>
              </a:cxn>
              <a:cxn ang="0">
                <a:pos x="1022" y="515"/>
              </a:cxn>
              <a:cxn ang="0">
                <a:pos x="1011" y="556"/>
              </a:cxn>
              <a:cxn ang="0">
                <a:pos x="1000" y="611"/>
              </a:cxn>
              <a:cxn ang="0">
                <a:pos x="989" y="640"/>
              </a:cxn>
              <a:cxn ang="0">
                <a:pos x="918" y="700"/>
              </a:cxn>
              <a:cxn ang="0">
                <a:pos x="902" y="727"/>
              </a:cxn>
              <a:cxn ang="0">
                <a:pos x="835" y="777"/>
              </a:cxn>
              <a:cxn ang="0">
                <a:pos x="809" y="801"/>
              </a:cxn>
              <a:cxn ang="0">
                <a:pos x="757" y="835"/>
              </a:cxn>
              <a:cxn ang="0">
                <a:pos x="738" y="876"/>
              </a:cxn>
              <a:cxn ang="0">
                <a:pos x="701" y="933"/>
              </a:cxn>
              <a:cxn ang="0">
                <a:pos x="655" y="977"/>
              </a:cxn>
              <a:cxn ang="0">
                <a:pos x="622" y="1004"/>
              </a:cxn>
              <a:cxn ang="0">
                <a:pos x="594" y="1021"/>
              </a:cxn>
              <a:cxn ang="0">
                <a:pos x="561" y="1038"/>
              </a:cxn>
              <a:cxn ang="0">
                <a:pos x="521" y="982"/>
              </a:cxn>
              <a:cxn ang="0">
                <a:pos x="453" y="891"/>
              </a:cxn>
              <a:cxn ang="0">
                <a:pos x="405" y="736"/>
              </a:cxn>
              <a:cxn ang="0">
                <a:pos x="334" y="702"/>
              </a:cxn>
              <a:cxn ang="0">
                <a:pos x="246" y="683"/>
              </a:cxn>
              <a:cxn ang="0">
                <a:pos x="204" y="643"/>
              </a:cxn>
              <a:cxn ang="0">
                <a:pos x="190" y="623"/>
              </a:cxn>
              <a:cxn ang="0">
                <a:pos x="125" y="571"/>
              </a:cxn>
              <a:cxn ang="0">
                <a:pos x="84" y="521"/>
              </a:cxn>
              <a:cxn ang="0">
                <a:pos x="55" y="470"/>
              </a:cxn>
              <a:cxn ang="0">
                <a:pos x="42" y="377"/>
              </a:cxn>
              <a:cxn ang="0">
                <a:pos x="13" y="314"/>
              </a:cxn>
              <a:cxn ang="0">
                <a:pos x="5" y="280"/>
              </a:cxn>
              <a:cxn ang="0">
                <a:pos x="9" y="115"/>
              </a:cxn>
              <a:cxn ang="0">
                <a:pos x="72" y="50"/>
              </a:cxn>
            </a:cxnLst>
            <a:rect l="0" t="0" r="r" b="b"/>
            <a:pathLst>
              <a:path w="1464" h="1048">
                <a:moveTo>
                  <a:pt x="104" y="23"/>
                </a:moveTo>
                <a:lnTo>
                  <a:pt x="146" y="24"/>
                </a:lnTo>
                <a:lnTo>
                  <a:pt x="181" y="28"/>
                </a:lnTo>
                <a:lnTo>
                  <a:pt x="195" y="30"/>
                </a:lnTo>
                <a:lnTo>
                  <a:pt x="206" y="32"/>
                </a:lnTo>
                <a:lnTo>
                  <a:pt x="209" y="34"/>
                </a:lnTo>
                <a:lnTo>
                  <a:pt x="213" y="35"/>
                </a:lnTo>
                <a:lnTo>
                  <a:pt x="215" y="38"/>
                </a:lnTo>
                <a:lnTo>
                  <a:pt x="215" y="40"/>
                </a:lnTo>
                <a:lnTo>
                  <a:pt x="317" y="40"/>
                </a:lnTo>
                <a:lnTo>
                  <a:pt x="319" y="38"/>
                </a:lnTo>
                <a:lnTo>
                  <a:pt x="320" y="35"/>
                </a:lnTo>
                <a:lnTo>
                  <a:pt x="323" y="33"/>
                </a:lnTo>
                <a:lnTo>
                  <a:pt x="326" y="33"/>
                </a:lnTo>
                <a:lnTo>
                  <a:pt x="334" y="32"/>
                </a:lnTo>
                <a:lnTo>
                  <a:pt x="341" y="32"/>
                </a:lnTo>
                <a:lnTo>
                  <a:pt x="343" y="29"/>
                </a:lnTo>
                <a:lnTo>
                  <a:pt x="346" y="27"/>
                </a:lnTo>
                <a:lnTo>
                  <a:pt x="351" y="25"/>
                </a:lnTo>
                <a:lnTo>
                  <a:pt x="358" y="23"/>
                </a:lnTo>
                <a:lnTo>
                  <a:pt x="363" y="21"/>
                </a:lnTo>
                <a:lnTo>
                  <a:pt x="368" y="18"/>
                </a:lnTo>
                <a:lnTo>
                  <a:pt x="370" y="15"/>
                </a:lnTo>
                <a:lnTo>
                  <a:pt x="371" y="13"/>
                </a:lnTo>
                <a:lnTo>
                  <a:pt x="372" y="11"/>
                </a:lnTo>
                <a:lnTo>
                  <a:pt x="373" y="9"/>
                </a:lnTo>
                <a:lnTo>
                  <a:pt x="420" y="9"/>
                </a:lnTo>
                <a:lnTo>
                  <a:pt x="422" y="6"/>
                </a:lnTo>
                <a:lnTo>
                  <a:pt x="427" y="5"/>
                </a:lnTo>
                <a:lnTo>
                  <a:pt x="435" y="4"/>
                </a:lnTo>
                <a:lnTo>
                  <a:pt x="445" y="3"/>
                </a:lnTo>
                <a:lnTo>
                  <a:pt x="469" y="2"/>
                </a:lnTo>
                <a:lnTo>
                  <a:pt x="498" y="1"/>
                </a:lnTo>
                <a:lnTo>
                  <a:pt x="528" y="1"/>
                </a:lnTo>
                <a:lnTo>
                  <a:pt x="557" y="1"/>
                </a:lnTo>
                <a:lnTo>
                  <a:pt x="580" y="0"/>
                </a:lnTo>
                <a:lnTo>
                  <a:pt x="594" y="0"/>
                </a:lnTo>
                <a:lnTo>
                  <a:pt x="594" y="3"/>
                </a:lnTo>
                <a:lnTo>
                  <a:pt x="595" y="5"/>
                </a:lnTo>
                <a:lnTo>
                  <a:pt x="598" y="6"/>
                </a:lnTo>
                <a:lnTo>
                  <a:pt x="599" y="8"/>
                </a:lnTo>
                <a:lnTo>
                  <a:pt x="604" y="8"/>
                </a:lnTo>
                <a:lnTo>
                  <a:pt x="610" y="9"/>
                </a:lnTo>
                <a:lnTo>
                  <a:pt x="611" y="11"/>
                </a:lnTo>
                <a:lnTo>
                  <a:pt x="616" y="14"/>
                </a:lnTo>
                <a:lnTo>
                  <a:pt x="620" y="16"/>
                </a:lnTo>
                <a:lnTo>
                  <a:pt x="627" y="19"/>
                </a:lnTo>
                <a:lnTo>
                  <a:pt x="640" y="22"/>
                </a:lnTo>
                <a:lnTo>
                  <a:pt x="650" y="24"/>
                </a:lnTo>
                <a:lnTo>
                  <a:pt x="656" y="28"/>
                </a:lnTo>
                <a:lnTo>
                  <a:pt x="670" y="37"/>
                </a:lnTo>
                <a:lnTo>
                  <a:pt x="686" y="48"/>
                </a:lnTo>
                <a:lnTo>
                  <a:pt x="697" y="56"/>
                </a:lnTo>
                <a:lnTo>
                  <a:pt x="713" y="56"/>
                </a:lnTo>
                <a:lnTo>
                  <a:pt x="714" y="58"/>
                </a:lnTo>
                <a:lnTo>
                  <a:pt x="715" y="60"/>
                </a:lnTo>
                <a:lnTo>
                  <a:pt x="718" y="62"/>
                </a:lnTo>
                <a:lnTo>
                  <a:pt x="720" y="64"/>
                </a:lnTo>
                <a:lnTo>
                  <a:pt x="724" y="67"/>
                </a:lnTo>
                <a:lnTo>
                  <a:pt x="726" y="70"/>
                </a:lnTo>
                <a:lnTo>
                  <a:pt x="728" y="75"/>
                </a:lnTo>
                <a:lnTo>
                  <a:pt x="728" y="79"/>
                </a:lnTo>
                <a:lnTo>
                  <a:pt x="745" y="79"/>
                </a:lnTo>
                <a:lnTo>
                  <a:pt x="745" y="83"/>
                </a:lnTo>
                <a:lnTo>
                  <a:pt x="746" y="86"/>
                </a:lnTo>
                <a:lnTo>
                  <a:pt x="747" y="87"/>
                </a:lnTo>
                <a:lnTo>
                  <a:pt x="748" y="87"/>
                </a:lnTo>
                <a:lnTo>
                  <a:pt x="749" y="87"/>
                </a:lnTo>
                <a:lnTo>
                  <a:pt x="751" y="88"/>
                </a:lnTo>
                <a:lnTo>
                  <a:pt x="752" y="90"/>
                </a:lnTo>
                <a:lnTo>
                  <a:pt x="753" y="95"/>
                </a:lnTo>
                <a:lnTo>
                  <a:pt x="768" y="95"/>
                </a:lnTo>
                <a:lnTo>
                  <a:pt x="768" y="98"/>
                </a:lnTo>
                <a:lnTo>
                  <a:pt x="770" y="100"/>
                </a:lnTo>
                <a:lnTo>
                  <a:pt x="771" y="101"/>
                </a:lnTo>
                <a:lnTo>
                  <a:pt x="773" y="102"/>
                </a:lnTo>
                <a:lnTo>
                  <a:pt x="779" y="102"/>
                </a:lnTo>
                <a:lnTo>
                  <a:pt x="784" y="102"/>
                </a:lnTo>
                <a:lnTo>
                  <a:pt x="784" y="119"/>
                </a:lnTo>
                <a:lnTo>
                  <a:pt x="796" y="119"/>
                </a:lnTo>
                <a:lnTo>
                  <a:pt x="808" y="119"/>
                </a:lnTo>
                <a:lnTo>
                  <a:pt x="809" y="120"/>
                </a:lnTo>
                <a:lnTo>
                  <a:pt x="811" y="121"/>
                </a:lnTo>
                <a:lnTo>
                  <a:pt x="813" y="123"/>
                </a:lnTo>
                <a:lnTo>
                  <a:pt x="818" y="124"/>
                </a:lnTo>
                <a:lnTo>
                  <a:pt x="829" y="125"/>
                </a:lnTo>
                <a:lnTo>
                  <a:pt x="841" y="126"/>
                </a:lnTo>
                <a:lnTo>
                  <a:pt x="868" y="127"/>
                </a:lnTo>
                <a:lnTo>
                  <a:pt x="887" y="127"/>
                </a:lnTo>
                <a:lnTo>
                  <a:pt x="895" y="119"/>
                </a:lnTo>
                <a:lnTo>
                  <a:pt x="895" y="102"/>
                </a:lnTo>
                <a:lnTo>
                  <a:pt x="910" y="99"/>
                </a:lnTo>
                <a:lnTo>
                  <a:pt x="926" y="95"/>
                </a:lnTo>
                <a:lnTo>
                  <a:pt x="934" y="79"/>
                </a:lnTo>
                <a:lnTo>
                  <a:pt x="950" y="76"/>
                </a:lnTo>
                <a:lnTo>
                  <a:pt x="966" y="71"/>
                </a:lnTo>
                <a:lnTo>
                  <a:pt x="966" y="69"/>
                </a:lnTo>
                <a:lnTo>
                  <a:pt x="968" y="67"/>
                </a:lnTo>
                <a:lnTo>
                  <a:pt x="972" y="66"/>
                </a:lnTo>
                <a:lnTo>
                  <a:pt x="975" y="64"/>
                </a:lnTo>
                <a:lnTo>
                  <a:pt x="983" y="63"/>
                </a:lnTo>
                <a:lnTo>
                  <a:pt x="989" y="63"/>
                </a:lnTo>
                <a:lnTo>
                  <a:pt x="989" y="61"/>
                </a:lnTo>
                <a:lnTo>
                  <a:pt x="991" y="59"/>
                </a:lnTo>
                <a:lnTo>
                  <a:pt x="993" y="58"/>
                </a:lnTo>
                <a:lnTo>
                  <a:pt x="994" y="57"/>
                </a:lnTo>
                <a:lnTo>
                  <a:pt x="1000" y="56"/>
                </a:lnTo>
                <a:lnTo>
                  <a:pt x="1005" y="56"/>
                </a:lnTo>
                <a:lnTo>
                  <a:pt x="1021" y="40"/>
                </a:lnTo>
                <a:lnTo>
                  <a:pt x="1033" y="39"/>
                </a:lnTo>
                <a:lnTo>
                  <a:pt x="1045" y="35"/>
                </a:lnTo>
                <a:lnTo>
                  <a:pt x="1056" y="33"/>
                </a:lnTo>
                <a:lnTo>
                  <a:pt x="1069" y="32"/>
                </a:lnTo>
                <a:lnTo>
                  <a:pt x="1070" y="30"/>
                </a:lnTo>
                <a:lnTo>
                  <a:pt x="1072" y="29"/>
                </a:lnTo>
                <a:lnTo>
                  <a:pt x="1077" y="28"/>
                </a:lnTo>
                <a:lnTo>
                  <a:pt x="1082" y="27"/>
                </a:lnTo>
                <a:lnTo>
                  <a:pt x="1096" y="23"/>
                </a:lnTo>
                <a:lnTo>
                  <a:pt x="1112" y="21"/>
                </a:lnTo>
                <a:lnTo>
                  <a:pt x="1142" y="18"/>
                </a:lnTo>
                <a:lnTo>
                  <a:pt x="1156" y="16"/>
                </a:lnTo>
                <a:lnTo>
                  <a:pt x="1156" y="14"/>
                </a:lnTo>
                <a:lnTo>
                  <a:pt x="1158" y="13"/>
                </a:lnTo>
                <a:lnTo>
                  <a:pt x="1161" y="12"/>
                </a:lnTo>
                <a:lnTo>
                  <a:pt x="1166" y="12"/>
                </a:lnTo>
                <a:lnTo>
                  <a:pt x="1176" y="10"/>
                </a:lnTo>
                <a:lnTo>
                  <a:pt x="1188" y="9"/>
                </a:lnTo>
                <a:lnTo>
                  <a:pt x="1212" y="9"/>
                </a:lnTo>
                <a:lnTo>
                  <a:pt x="1226" y="9"/>
                </a:lnTo>
                <a:lnTo>
                  <a:pt x="1226" y="24"/>
                </a:lnTo>
                <a:lnTo>
                  <a:pt x="1243" y="32"/>
                </a:lnTo>
                <a:lnTo>
                  <a:pt x="1243" y="43"/>
                </a:lnTo>
                <a:lnTo>
                  <a:pt x="1243" y="56"/>
                </a:lnTo>
                <a:lnTo>
                  <a:pt x="1245" y="57"/>
                </a:lnTo>
                <a:lnTo>
                  <a:pt x="1247" y="58"/>
                </a:lnTo>
                <a:lnTo>
                  <a:pt x="1248" y="61"/>
                </a:lnTo>
                <a:lnTo>
                  <a:pt x="1250" y="64"/>
                </a:lnTo>
                <a:lnTo>
                  <a:pt x="1251" y="72"/>
                </a:lnTo>
                <a:lnTo>
                  <a:pt x="1251" y="79"/>
                </a:lnTo>
                <a:lnTo>
                  <a:pt x="1253" y="80"/>
                </a:lnTo>
                <a:lnTo>
                  <a:pt x="1255" y="80"/>
                </a:lnTo>
                <a:lnTo>
                  <a:pt x="1256" y="82"/>
                </a:lnTo>
                <a:lnTo>
                  <a:pt x="1257" y="85"/>
                </a:lnTo>
                <a:lnTo>
                  <a:pt x="1259" y="89"/>
                </a:lnTo>
                <a:lnTo>
                  <a:pt x="1259" y="95"/>
                </a:lnTo>
                <a:lnTo>
                  <a:pt x="1274" y="95"/>
                </a:lnTo>
                <a:lnTo>
                  <a:pt x="1282" y="102"/>
                </a:lnTo>
                <a:lnTo>
                  <a:pt x="1282" y="119"/>
                </a:lnTo>
                <a:lnTo>
                  <a:pt x="1292" y="120"/>
                </a:lnTo>
                <a:lnTo>
                  <a:pt x="1302" y="124"/>
                </a:lnTo>
                <a:lnTo>
                  <a:pt x="1314" y="129"/>
                </a:lnTo>
                <a:lnTo>
                  <a:pt x="1327" y="135"/>
                </a:lnTo>
                <a:lnTo>
                  <a:pt x="1339" y="140"/>
                </a:lnTo>
                <a:lnTo>
                  <a:pt x="1352" y="146"/>
                </a:lnTo>
                <a:lnTo>
                  <a:pt x="1365" y="149"/>
                </a:lnTo>
                <a:lnTo>
                  <a:pt x="1377" y="150"/>
                </a:lnTo>
                <a:lnTo>
                  <a:pt x="1377" y="155"/>
                </a:lnTo>
                <a:lnTo>
                  <a:pt x="1378" y="157"/>
                </a:lnTo>
                <a:lnTo>
                  <a:pt x="1379" y="158"/>
                </a:lnTo>
                <a:lnTo>
                  <a:pt x="1381" y="158"/>
                </a:lnTo>
                <a:lnTo>
                  <a:pt x="1382" y="158"/>
                </a:lnTo>
                <a:lnTo>
                  <a:pt x="1384" y="159"/>
                </a:lnTo>
                <a:lnTo>
                  <a:pt x="1385" y="162"/>
                </a:lnTo>
                <a:lnTo>
                  <a:pt x="1385" y="166"/>
                </a:lnTo>
                <a:lnTo>
                  <a:pt x="1400" y="166"/>
                </a:lnTo>
                <a:lnTo>
                  <a:pt x="1413" y="178"/>
                </a:lnTo>
                <a:lnTo>
                  <a:pt x="1424" y="189"/>
                </a:lnTo>
                <a:lnTo>
                  <a:pt x="1424" y="206"/>
                </a:lnTo>
                <a:lnTo>
                  <a:pt x="1433" y="214"/>
                </a:lnTo>
                <a:lnTo>
                  <a:pt x="1437" y="214"/>
                </a:lnTo>
                <a:lnTo>
                  <a:pt x="1439" y="215"/>
                </a:lnTo>
                <a:lnTo>
                  <a:pt x="1440" y="216"/>
                </a:lnTo>
                <a:lnTo>
                  <a:pt x="1440" y="217"/>
                </a:lnTo>
                <a:lnTo>
                  <a:pt x="1440" y="219"/>
                </a:lnTo>
                <a:lnTo>
                  <a:pt x="1442" y="221"/>
                </a:lnTo>
                <a:lnTo>
                  <a:pt x="1444" y="221"/>
                </a:lnTo>
                <a:lnTo>
                  <a:pt x="1448" y="222"/>
                </a:lnTo>
                <a:lnTo>
                  <a:pt x="1449" y="234"/>
                </a:lnTo>
                <a:lnTo>
                  <a:pt x="1452" y="249"/>
                </a:lnTo>
                <a:lnTo>
                  <a:pt x="1455" y="264"/>
                </a:lnTo>
                <a:lnTo>
                  <a:pt x="1456" y="277"/>
                </a:lnTo>
                <a:lnTo>
                  <a:pt x="1457" y="279"/>
                </a:lnTo>
                <a:lnTo>
                  <a:pt x="1458" y="284"/>
                </a:lnTo>
                <a:lnTo>
                  <a:pt x="1461" y="293"/>
                </a:lnTo>
                <a:lnTo>
                  <a:pt x="1462" y="306"/>
                </a:lnTo>
                <a:lnTo>
                  <a:pt x="1463" y="335"/>
                </a:lnTo>
                <a:lnTo>
                  <a:pt x="1464" y="368"/>
                </a:lnTo>
                <a:lnTo>
                  <a:pt x="1463" y="402"/>
                </a:lnTo>
                <a:lnTo>
                  <a:pt x="1461" y="431"/>
                </a:lnTo>
                <a:lnTo>
                  <a:pt x="1458" y="442"/>
                </a:lnTo>
                <a:lnTo>
                  <a:pt x="1455" y="451"/>
                </a:lnTo>
                <a:lnTo>
                  <a:pt x="1454" y="454"/>
                </a:lnTo>
                <a:lnTo>
                  <a:pt x="1452" y="456"/>
                </a:lnTo>
                <a:lnTo>
                  <a:pt x="1451" y="458"/>
                </a:lnTo>
                <a:lnTo>
                  <a:pt x="1448" y="458"/>
                </a:lnTo>
                <a:lnTo>
                  <a:pt x="1448" y="463"/>
                </a:lnTo>
                <a:lnTo>
                  <a:pt x="1447" y="466"/>
                </a:lnTo>
                <a:lnTo>
                  <a:pt x="1423" y="465"/>
                </a:lnTo>
                <a:lnTo>
                  <a:pt x="1397" y="462"/>
                </a:lnTo>
                <a:lnTo>
                  <a:pt x="1372" y="460"/>
                </a:lnTo>
                <a:lnTo>
                  <a:pt x="1353" y="458"/>
                </a:lnTo>
                <a:lnTo>
                  <a:pt x="1251" y="458"/>
                </a:lnTo>
                <a:lnTo>
                  <a:pt x="1251" y="443"/>
                </a:lnTo>
                <a:lnTo>
                  <a:pt x="1247" y="443"/>
                </a:lnTo>
                <a:lnTo>
                  <a:pt x="1244" y="442"/>
                </a:lnTo>
                <a:lnTo>
                  <a:pt x="1242" y="439"/>
                </a:lnTo>
                <a:lnTo>
                  <a:pt x="1240" y="438"/>
                </a:lnTo>
                <a:lnTo>
                  <a:pt x="1237" y="435"/>
                </a:lnTo>
                <a:lnTo>
                  <a:pt x="1236" y="433"/>
                </a:lnTo>
                <a:lnTo>
                  <a:pt x="1235" y="429"/>
                </a:lnTo>
                <a:lnTo>
                  <a:pt x="1235" y="427"/>
                </a:lnTo>
                <a:lnTo>
                  <a:pt x="1229" y="427"/>
                </a:lnTo>
                <a:lnTo>
                  <a:pt x="1227" y="426"/>
                </a:lnTo>
                <a:lnTo>
                  <a:pt x="1227" y="425"/>
                </a:lnTo>
                <a:lnTo>
                  <a:pt x="1226" y="423"/>
                </a:lnTo>
                <a:lnTo>
                  <a:pt x="1226" y="422"/>
                </a:lnTo>
                <a:lnTo>
                  <a:pt x="1226" y="421"/>
                </a:lnTo>
                <a:lnTo>
                  <a:pt x="1223" y="419"/>
                </a:lnTo>
                <a:lnTo>
                  <a:pt x="1218" y="419"/>
                </a:lnTo>
                <a:lnTo>
                  <a:pt x="1218" y="404"/>
                </a:lnTo>
                <a:lnTo>
                  <a:pt x="1212" y="402"/>
                </a:lnTo>
                <a:lnTo>
                  <a:pt x="1204" y="398"/>
                </a:lnTo>
                <a:lnTo>
                  <a:pt x="1200" y="396"/>
                </a:lnTo>
                <a:lnTo>
                  <a:pt x="1197" y="394"/>
                </a:lnTo>
                <a:lnTo>
                  <a:pt x="1196" y="390"/>
                </a:lnTo>
                <a:lnTo>
                  <a:pt x="1195" y="387"/>
                </a:lnTo>
                <a:lnTo>
                  <a:pt x="1131" y="387"/>
                </a:lnTo>
                <a:lnTo>
                  <a:pt x="1123" y="395"/>
                </a:lnTo>
                <a:lnTo>
                  <a:pt x="1116" y="404"/>
                </a:lnTo>
                <a:lnTo>
                  <a:pt x="1108" y="412"/>
                </a:lnTo>
                <a:lnTo>
                  <a:pt x="1108" y="427"/>
                </a:lnTo>
                <a:lnTo>
                  <a:pt x="1103" y="427"/>
                </a:lnTo>
                <a:lnTo>
                  <a:pt x="1101" y="428"/>
                </a:lnTo>
                <a:lnTo>
                  <a:pt x="1100" y="429"/>
                </a:lnTo>
                <a:lnTo>
                  <a:pt x="1100" y="431"/>
                </a:lnTo>
                <a:lnTo>
                  <a:pt x="1100" y="433"/>
                </a:lnTo>
                <a:lnTo>
                  <a:pt x="1099" y="434"/>
                </a:lnTo>
                <a:lnTo>
                  <a:pt x="1097" y="435"/>
                </a:lnTo>
                <a:lnTo>
                  <a:pt x="1092" y="435"/>
                </a:lnTo>
                <a:lnTo>
                  <a:pt x="1092" y="451"/>
                </a:lnTo>
                <a:lnTo>
                  <a:pt x="1090" y="452"/>
                </a:lnTo>
                <a:lnTo>
                  <a:pt x="1088" y="453"/>
                </a:lnTo>
                <a:lnTo>
                  <a:pt x="1085" y="456"/>
                </a:lnTo>
                <a:lnTo>
                  <a:pt x="1083" y="458"/>
                </a:lnTo>
                <a:lnTo>
                  <a:pt x="1081" y="462"/>
                </a:lnTo>
                <a:lnTo>
                  <a:pt x="1078" y="464"/>
                </a:lnTo>
                <a:lnTo>
                  <a:pt x="1074" y="466"/>
                </a:lnTo>
                <a:lnTo>
                  <a:pt x="1069" y="466"/>
                </a:lnTo>
                <a:lnTo>
                  <a:pt x="1068" y="472"/>
                </a:lnTo>
                <a:lnTo>
                  <a:pt x="1067" y="476"/>
                </a:lnTo>
                <a:lnTo>
                  <a:pt x="1063" y="479"/>
                </a:lnTo>
                <a:lnTo>
                  <a:pt x="1061" y="481"/>
                </a:lnTo>
                <a:lnTo>
                  <a:pt x="1058" y="483"/>
                </a:lnTo>
                <a:lnTo>
                  <a:pt x="1055" y="485"/>
                </a:lnTo>
                <a:lnTo>
                  <a:pt x="1053" y="487"/>
                </a:lnTo>
                <a:lnTo>
                  <a:pt x="1053" y="490"/>
                </a:lnTo>
                <a:lnTo>
                  <a:pt x="1037" y="490"/>
                </a:lnTo>
                <a:lnTo>
                  <a:pt x="1029" y="499"/>
                </a:lnTo>
                <a:lnTo>
                  <a:pt x="1029" y="514"/>
                </a:lnTo>
                <a:lnTo>
                  <a:pt x="1024" y="514"/>
                </a:lnTo>
                <a:lnTo>
                  <a:pt x="1022" y="515"/>
                </a:lnTo>
                <a:lnTo>
                  <a:pt x="1021" y="516"/>
                </a:lnTo>
                <a:lnTo>
                  <a:pt x="1021" y="518"/>
                </a:lnTo>
                <a:lnTo>
                  <a:pt x="1021" y="520"/>
                </a:lnTo>
                <a:lnTo>
                  <a:pt x="1020" y="521"/>
                </a:lnTo>
                <a:lnTo>
                  <a:pt x="1017" y="521"/>
                </a:lnTo>
                <a:lnTo>
                  <a:pt x="1013" y="522"/>
                </a:lnTo>
                <a:lnTo>
                  <a:pt x="1013" y="553"/>
                </a:lnTo>
                <a:lnTo>
                  <a:pt x="1012" y="554"/>
                </a:lnTo>
                <a:lnTo>
                  <a:pt x="1011" y="556"/>
                </a:lnTo>
                <a:lnTo>
                  <a:pt x="1010" y="558"/>
                </a:lnTo>
                <a:lnTo>
                  <a:pt x="1008" y="561"/>
                </a:lnTo>
                <a:lnTo>
                  <a:pt x="1007" y="569"/>
                </a:lnTo>
                <a:lnTo>
                  <a:pt x="1006" y="578"/>
                </a:lnTo>
                <a:lnTo>
                  <a:pt x="1005" y="597"/>
                </a:lnTo>
                <a:lnTo>
                  <a:pt x="1005" y="609"/>
                </a:lnTo>
                <a:lnTo>
                  <a:pt x="1003" y="609"/>
                </a:lnTo>
                <a:lnTo>
                  <a:pt x="1001" y="610"/>
                </a:lnTo>
                <a:lnTo>
                  <a:pt x="1000" y="611"/>
                </a:lnTo>
                <a:lnTo>
                  <a:pt x="998" y="614"/>
                </a:lnTo>
                <a:lnTo>
                  <a:pt x="997" y="619"/>
                </a:lnTo>
                <a:lnTo>
                  <a:pt x="997" y="625"/>
                </a:lnTo>
                <a:lnTo>
                  <a:pt x="995" y="625"/>
                </a:lnTo>
                <a:lnTo>
                  <a:pt x="993" y="626"/>
                </a:lnTo>
                <a:lnTo>
                  <a:pt x="992" y="627"/>
                </a:lnTo>
                <a:lnTo>
                  <a:pt x="991" y="629"/>
                </a:lnTo>
                <a:lnTo>
                  <a:pt x="989" y="635"/>
                </a:lnTo>
                <a:lnTo>
                  <a:pt x="989" y="640"/>
                </a:lnTo>
                <a:lnTo>
                  <a:pt x="974" y="640"/>
                </a:lnTo>
                <a:lnTo>
                  <a:pt x="966" y="648"/>
                </a:lnTo>
                <a:lnTo>
                  <a:pt x="958" y="656"/>
                </a:lnTo>
                <a:lnTo>
                  <a:pt x="958" y="672"/>
                </a:lnTo>
                <a:lnTo>
                  <a:pt x="946" y="672"/>
                </a:lnTo>
                <a:lnTo>
                  <a:pt x="934" y="672"/>
                </a:lnTo>
                <a:lnTo>
                  <a:pt x="926" y="679"/>
                </a:lnTo>
                <a:lnTo>
                  <a:pt x="918" y="687"/>
                </a:lnTo>
                <a:lnTo>
                  <a:pt x="918" y="700"/>
                </a:lnTo>
                <a:lnTo>
                  <a:pt x="918" y="712"/>
                </a:lnTo>
                <a:lnTo>
                  <a:pt x="916" y="712"/>
                </a:lnTo>
                <a:lnTo>
                  <a:pt x="912" y="713"/>
                </a:lnTo>
                <a:lnTo>
                  <a:pt x="910" y="714"/>
                </a:lnTo>
                <a:lnTo>
                  <a:pt x="908" y="716"/>
                </a:lnTo>
                <a:lnTo>
                  <a:pt x="906" y="718"/>
                </a:lnTo>
                <a:lnTo>
                  <a:pt x="904" y="722"/>
                </a:lnTo>
                <a:lnTo>
                  <a:pt x="902" y="724"/>
                </a:lnTo>
                <a:lnTo>
                  <a:pt x="902" y="727"/>
                </a:lnTo>
                <a:lnTo>
                  <a:pt x="895" y="735"/>
                </a:lnTo>
                <a:lnTo>
                  <a:pt x="882" y="740"/>
                </a:lnTo>
                <a:lnTo>
                  <a:pt x="871" y="743"/>
                </a:lnTo>
                <a:lnTo>
                  <a:pt x="863" y="751"/>
                </a:lnTo>
                <a:lnTo>
                  <a:pt x="861" y="754"/>
                </a:lnTo>
                <a:lnTo>
                  <a:pt x="857" y="760"/>
                </a:lnTo>
                <a:lnTo>
                  <a:pt x="850" y="765"/>
                </a:lnTo>
                <a:lnTo>
                  <a:pt x="843" y="771"/>
                </a:lnTo>
                <a:lnTo>
                  <a:pt x="835" y="777"/>
                </a:lnTo>
                <a:lnTo>
                  <a:pt x="830" y="782"/>
                </a:lnTo>
                <a:lnTo>
                  <a:pt x="825" y="787"/>
                </a:lnTo>
                <a:lnTo>
                  <a:pt x="823" y="791"/>
                </a:lnTo>
                <a:lnTo>
                  <a:pt x="821" y="791"/>
                </a:lnTo>
                <a:lnTo>
                  <a:pt x="818" y="792"/>
                </a:lnTo>
                <a:lnTo>
                  <a:pt x="815" y="793"/>
                </a:lnTo>
                <a:lnTo>
                  <a:pt x="813" y="796"/>
                </a:lnTo>
                <a:lnTo>
                  <a:pt x="811" y="798"/>
                </a:lnTo>
                <a:lnTo>
                  <a:pt x="809" y="801"/>
                </a:lnTo>
                <a:lnTo>
                  <a:pt x="808" y="803"/>
                </a:lnTo>
                <a:lnTo>
                  <a:pt x="808" y="807"/>
                </a:lnTo>
                <a:lnTo>
                  <a:pt x="792" y="807"/>
                </a:lnTo>
                <a:lnTo>
                  <a:pt x="784" y="822"/>
                </a:lnTo>
                <a:lnTo>
                  <a:pt x="768" y="830"/>
                </a:lnTo>
                <a:lnTo>
                  <a:pt x="765" y="830"/>
                </a:lnTo>
                <a:lnTo>
                  <a:pt x="763" y="831"/>
                </a:lnTo>
                <a:lnTo>
                  <a:pt x="760" y="833"/>
                </a:lnTo>
                <a:lnTo>
                  <a:pt x="757" y="835"/>
                </a:lnTo>
                <a:lnTo>
                  <a:pt x="755" y="838"/>
                </a:lnTo>
                <a:lnTo>
                  <a:pt x="754" y="840"/>
                </a:lnTo>
                <a:lnTo>
                  <a:pt x="753" y="842"/>
                </a:lnTo>
                <a:lnTo>
                  <a:pt x="753" y="846"/>
                </a:lnTo>
                <a:lnTo>
                  <a:pt x="749" y="847"/>
                </a:lnTo>
                <a:lnTo>
                  <a:pt x="746" y="851"/>
                </a:lnTo>
                <a:lnTo>
                  <a:pt x="744" y="856"/>
                </a:lnTo>
                <a:lnTo>
                  <a:pt x="742" y="862"/>
                </a:lnTo>
                <a:lnTo>
                  <a:pt x="738" y="876"/>
                </a:lnTo>
                <a:lnTo>
                  <a:pt x="736" y="886"/>
                </a:lnTo>
                <a:lnTo>
                  <a:pt x="734" y="889"/>
                </a:lnTo>
                <a:lnTo>
                  <a:pt x="728" y="898"/>
                </a:lnTo>
                <a:lnTo>
                  <a:pt x="723" y="908"/>
                </a:lnTo>
                <a:lnTo>
                  <a:pt x="720" y="917"/>
                </a:lnTo>
                <a:lnTo>
                  <a:pt x="717" y="918"/>
                </a:lnTo>
                <a:lnTo>
                  <a:pt x="713" y="922"/>
                </a:lnTo>
                <a:lnTo>
                  <a:pt x="707" y="927"/>
                </a:lnTo>
                <a:lnTo>
                  <a:pt x="701" y="933"/>
                </a:lnTo>
                <a:lnTo>
                  <a:pt x="695" y="938"/>
                </a:lnTo>
                <a:lnTo>
                  <a:pt x="689" y="944"/>
                </a:lnTo>
                <a:lnTo>
                  <a:pt x="685" y="947"/>
                </a:lnTo>
                <a:lnTo>
                  <a:pt x="681" y="948"/>
                </a:lnTo>
                <a:lnTo>
                  <a:pt x="674" y="956"/>
                </a:lnTo>
                <a:lnTo>
                  <a:pt x="666" y="964"/>
                </a:lnTo>
                <a:lnTo>
                  <a:pt x="664" y="968"/>
                </a:lnTo>
                <a:lnTo>
                  <a:pt x="660" y="973"/>
                </a:lnTo>
                <a:lnTo>
                  <a:pt x="655" y="977"/>
                </a:lnTo>
                <a:lnTo>
                  <a:pt x="649" y="983"/>
                </a:lnTo>
                <a:lnTo>
                  <a:pt x="642" y="989"/>
                </a:lnTo>
                <a:lnTo>
                  <a:pt x="636" y="992"/>
                </a:lnTo>
                <a:lnTo>
                  <a:pt x="630" y="995"/>
                </a:lnTo>
                <a:lnTo>
                  <a:pt x="626" y="996"/>
                </a:lnTo>
                <a:lnTo>
                  <a:pt x="626" y="1001"/>
                </a:lnTo>
                <a:lnTo>
                  <a:pt x="624" y="1003"/>
                </a:lnTo>
                <a:lnTo>
                  <a:pt x="623" y="1004"/>
                </a:lnTo>
                <a:lnTo>
                  <a:pt x="622" y="1004"/>
                </a:lnTo>
                <a:lnTo>
                  <a:pt x="620" y="1004"/>
                </a:lnTo>
                <a:lnTo>
                  <a:pt x="619" y="1005"/>
                </a:lnTo>
                <a:lnTo>
                  <a:pt x="618" y="1008"/>
                </a:lnTo>
                <a:lnTo>
                  <a:pt x="618" y="1012"/>
                </a:lnTo>
                <a:lnTo>
                  <a:pt x="602" y="1012"/>
                </a:lnTo>
                <a:lnTo>
                  <a:pt x="601" y="1014"/>
                </a:lnTo>
                <a:lnTo>
                  <a:pt x="600" y="1016"/>
                </a:lnTo>
                <a:lnTo>
                  <a:pt x="598" y="1019"/>
                </a:lnTo>
                <a:lnTo>
                  <a:pt x="594" y="1021"/>
                </a:lnTo>
                <a:lnTo>
                  <a:pt x="591" y="1023"/>
                </a:lnTo>
                <a:lnTo>
                  <a:pt x="589" y="1027"/>
                </a:lnTo>
                <a:lnTo>
                  <a:pt x="586" y="1030"/>
                </a:lnTo>
                <a:lnTo>
                  <a:pt x="586" y="1035"/>
                </a:lnTo>
                <a:lnTo>
                  <a:pt x="575" y="1038"/>
                </a:lnTo>
                <a:lnTo>
                  <a:pt x="563" y="1042"/>
                </a:lnTo>
                <a:lnTo>
                  <a:pt x="566" y="1046"/>
                </a:lnTo>
                <a:lnTo>
                  <a:pt x="569" y="1048"/>
                </a:lnTo>
                <a:lnTo>
                  <a:pt x="561" y="1038"/>
                </a:lnTo>
                <a:lnTo>
                  <a:pt x="549" y="1020"/>
                </a:lnTo>
                <a:lnTo>
                  <a:pt x="542" y="1011"/>
                </a:lnTo>
                <a:lnTo>
                  <a:pt x="535" y="1004"/>
                </a:lnTo>
                <a:lnTo>
                  <a:pt x="533" y="1001"/>
                </a:lnTo>
                <a:lnTo>
                  <a:pt x="530" y="999"/>
                </a:lnTo>
                <a:lnTo>
                  <a:pt x="527" y="996"/>
                </a:lnTo>
                <a:lnTo>
                  <a:pt x="524" y="996"/>
                </a:lnTo>
                <a:lnTo>
                  <a:pt x="524" y="983"/>
                </a:lnTo>
                <a:lnTo>
                  <a:pt x="521" y="982"/>
                </a:lnTo>
                <a:lnTo>
                  <a:pt x="516" y="980"/>
                </a:lnTo>
                <a:lnTo>
                  <a:pt x="511" y="975"/>
                </a:lnTo>
                <a:lnTo>
                  <a:pt x="506" y="968"/>
                </a:lnTo>
                <a:lnTo>
                  <a:pt x="495" y="954"/>
                </a:lnTo>
                <a:lnTo>
                  <a:pt x="484" y="937"/>
                </a:lnTo>
                <a:lnTo>
                  <a:pt x="473" y="921"/>
                </a:lnTo>
                <a:lnTo>
                  <a:pt x="464" y="906"/>
                </a:lnTo>
                <a:lnTo>
                  <a:pt x="457" y="895"/>
                </a:lnTo>
                <a:lnTo>
                  <a:pt x="453" y="891"/>
                </a:lnTo>
                <a:lnTo>
                  <a:pt x="446" y="869"/>
                </a:lnTo>
                <a:lnTo>
                  <a:pt x="431" y="819"/>
                </a:lnTo>
                <a:lnTo>
                  <a:pt x="424" y="793"/>
                </a:lnTo>
                <a:lnTo>
                  <a:pt x="417" y="770"/>
                </a:lnTo>
                <a:lnTo>
                  <a:pt x="410" y="753"/>
                </a:lnTo>
                <a:lnTo>
                  <a:pt x="407" y="748"/>
                </a:lnTo>
                <a:lnTo>
                  <a:pt x="407" y="742"/>
                </a:lnTo>
                <a:lnTo>
                  <a:pt x="406" y="739"/>
                </a:lnTo>
                <a:lnTo>
                  <a:pt x="405" y="736"/>
                </a:lnTo>
                <a:lnTo>
                  <a:pt x="403" y="735"/>
                </a:lnTo>
                <a:lnTo>
                  <a:pt x="402" y="734"/>
                </a:lnTo>
                <a:lnTo>
                  <a:pt x="400" y="734"/>
                </a:lnTo>
                <a:lnTo>
                  <a:pt x="400" y="721"/>
                </a:lnTo>
                <a:lnTo>
                  <a:pt x="387" y="708"/>
                </a:lnTo>
                <a:lnTo>
                  <a:pt x="374" y="707"/>
                </a:lnTo>
                <a:lnTo>
                  <a:pt x="361" y="706"/>
                </a:lnTo>
                <a:lnTo>
                  <a:pt x="348" y="704"/>
                </a:lnTo>
                <a:lnTo>
                  <a:pt x="334" y="702"/>
                </a:lnTo>
                <a:lnTo>
                  <a:pt x="321" y="700"/>
                </a:lnTo>
                <a:lnTo>
                  <a:pt x="307" y="697"/>
                </a:lnTo>
                <a:lnTo>
                  <a:pt x="294" y="695"/>
                </a:lnTo>
                <a:lnTo>
                  <a:pt x="282" y="695"/>
                </a:lnTo>
                <a:lnTo>
                  <a:pt x="273" y="694"/>
                </a:lnTo>
                <a:lnTo>
                  <a:pt x="265" y="693"/>
                </a:lnTo>
                <a:lnTo>
                  <a:pt x="257" y="689"/>
                </a:lnTo>
                <a:lnTo>
                  <a:pt x="252" y="686"/>
                </a:lnTo>
                <a:lnTo>
                  <a:pt x="246" y="683"/>
                </a:lnTo>
                <a:lnTo>
                  <a:pt x="240" y="678"/>
                </a:lnTo>
                <a:lnTo>
                  <a:pt x="237" y="674"/>
                </a:lnTo>
                <a:lnTo>
                  <a:pt x="233" y="668"/>
                </a:lnTo>
                <a:lnTo>
                  <a:pt x="226" y="659"/>
                </a:lnTo>
                <a:lnTo>
                  <a:pt x="219" y="650"/>
                </a:lnTo>
                <a:lnTo>
                  <a:pt x="216" y="647"/>
                </a:lnTo>
                <a:lnTo>
                  <a:pt x="213" y="645"/>
                </a:lnTo>
                <a:lnTo>
                  <a:pt x="208" y="643"/>
                </a:lnTo>
                <a:lnTo>
                  <a:pt x="204" y="643"/>
                </a:lnTo>
                <a:lnTo>
                  <a:pt x="204" y="629"/>
                </a:lnTo>
                <a:lnTo>
                  <a:pt x="199" y="629"/>
                </a:lnTo>
                <a:lnTo>
                  <a:pt x="198" y="628"/>
                </a:lnTo>
                <a:lnTo>
                  <a:pt x="197" y="627"/>
                </a:lnTo>
                <a:lnTo>
                  <a:pt x="197" y="626"/>
                </a:lnTo>
                <a:lnTo>
                  <a:pt x="197" y="625"/>
                </a:lnTo>
                <a:lnTo>
                  <a:pt x="196" y="624"/>
                </a:lnTo>
                <a:lnTo>
                  <a:pt x="194" y="623"/>
                </a:lnTo>
                <a:lnTo>
                  <a:pt x="190" y="623"/>
                </a:lnTo>
                <a:lnTo>
                  <a:pt x="190" y="609"/>
                </a:lnTo>
                <a:lnTo>
                  <a:pt x="177" y="609"/>
                </a:lnTo>
                <a:lnTo>
                  <a:pt x="176" y="607"/>
                </a:lnTo>
                <a:lnTo>
                  <a:pt x="171" y="602"/>
                </a:lnTo>
                <a:lnTo>
                  <a:pt x="165" y="598"/>
                </a:lnTo>
                <a:lnTo>
                  <a:pt x="157" y="593"/>
                </a:lnTo>
                <a:lnTo>
                  <a:pt x="141" y="583"/>
                </a:lnTo>
                <a:lnTo>
                  <a:pt x="131" y="577"/>
                </a:lnTo>
                <a:lnTo>
                  <a:pt x="125" y="571"/>
                </a:lnTo>
                <a:lnTo>
                  <a:pt x="114" y="557"/>
                </a:lnTo>
                <a:lnTo>
                  <a:pt x="108" y="550"/>
                </a:lnTo>
                <a:lnTo>
                  <a:pt x="101" y="543"/>
                </a:lnTo>
                <a:lnTo>
                  <a:pt x="95" y="539"/>
                </a:lnTo>
                <a:lnTo>
                  <a:pt x="92" y="538"/>
                </a:lnTo>
                <a:lnTo>
                  <a:pt x="92" y="524"/>
                </a:lnTo>
                <a:lnTo>
                  <a:pt x="90" y="524"/>
                </a:lnTo>
                <a:lnTo>
                  <a:pt x="86" y="523"/>
                </a:lnTo>
                <a:lnTo>
                  <a:pt x="84" y="521"/>
                </a:lnTo>
                <a:lnTo>
                  <a:pt x="82" y="519"/>
                </a:lnTo>
                <a:lnTo>
                  <a:pt x="77" y="512"/>
                </a:lnTo>
                <a:lnTo>
                  <a:pt x="73" y="504"/>
                </a:lnTo>
                <a:lnTo>
                  <a:pt x="69" y="498"/>
                </a:lnTo>
                <a:lnTo>
                  <a:pt x="65" y="491"/>
                </a:lnTo>
                <a:lnTo>
                  <a:pt x="62" y="486"/>
                </a:lnTo>
                <a:lnTo>
                  <a:pt x="58" y="485"/>
                </a:lnTo>
                <a:lnTo>
                  <a:pt x="57" y="479"/>
                </a:lnTo>
                <a:lnTo>
                  <a:pt x="55" y="470"/>
                </a:lnTo>
                <a:lnTo>
                  <a:pt x="53" y="465"/>
                </a:lnTo>
                <a:lnTo>
                  <a:pt x="51" y="462"/>
                </a:lnTo>
                <a:lnTo>
                  <a:pt x="48" y="460"/>
                </a:lnTo>
                <a:lnTo>
                  <a:pt x="46" y="458"/>
                </a:lnTo>
                <a:lnTo>
                  <a:pt x="46" y="439"/>
                </a:lnTo>
                <a:lnTo>
                  <a:pt x="45" y="412"/>
                </a:lnTo>
                <a:lnTo>
                  <a:pt x="44" y="397"/>
                </a:lnTo>
                <a:lnTo>
                  <a:pt x="43" y="385"/>
                </a:lnTo>
                <a:lnTo>
                  <a:pt x="42" y="377"/>
                </a:lnTo>
                <a:lnTo>
                  <a:pt x="40" y="374"/>
                </a:lnTo>
                <a:lnTo>
                  <a:pt x="38" y="367"/>
                </a:lnTo>
                <a:lnTo>
                  <a:pt x="36" y="359"/>
                </a:lnTo>
                <a:lnTo>
                  <a:pt x="33" y="349"/>
                </a:lnTo>
                <a:lnTo>
                  <a:pt x="28" y="339"/>
                </a:lnTo>
                <a:lnTo>
                  <a:pt x="24" y="330"/>
                </a:lnTo>
                <a:lnTo>
                  <a:pt x="21" y="322"/>
                </a:lnTo>
                <a:lnTo>
                  <a:pt x="16" y="317"/>
                </a:lnTo>
                <a:lnTo>
                  <a:pt x="13" y="314"/>
                </a:lnTo>
                <a:lnTo>
                  <a:pt x="13" y="309"/>
                </a:lnTo>
                <a:lnTo>
                  <a:pt x="13" y="302"/>
                </a:lnTo>
                <a:lnTo>
                  <a:pt x="12" y="300"/>
                </a:lnTo>
                <a:lnTo>
                  <a:pt x="10" y="297"/>
                </a:lnTo>
                <a:lnTo>
                  <a:pt x="8" y="296"/>
                </a:lnTo>
                <a:lnTo>
                  <a:pt x="7" y="296"/>
                </a:lnTo>
                <a:lnTo>
                  <a:pt x="6" y="289"/>
                </a:lnTo>
                <a:lnTo>
                  <a:pt x="6" y="283"/>
                </a:lnTo>
                <a:lnTo>
                  <a:pt x="5" y="280"/>
                </a:lnTo>
                <a:lnTo>
                  <a:pt x="4" y="278"/>
                </a:lnTo>
                <a:lnTo>
                  <a:pt x="3" y="275"/>
                </a:lnTo>
                <a:lnTo>
                  <a:pt x="0" y="275"/>
                </a:lnTo>
                <a:lnTo>
                  <a:pt x="2" y="240"/>
                </a:lnTo>
                <a:lnTo>
                  <a:pt x="4" y="203"/>
                </a:lnTo>
                <a:lnTo>
                  <a:pt x="6" y="166"/>
                </a:lnTo>
                <a:lnTo>
                  <a:pt x="7" y="131"/>
                </a:lnTo>
                <a:lnTo>
                  <a:pt x="7" y="123"/>
                </a:lnTo>
                <a:lnTo>
                  <a:pt x="9" y="115"/>
                </a:lnTo>
                <a:lnTo>
                  <a:pt x="13" y="108"/>
                </a:lnTo>
                <a:lnTo>
                  <a:pt x="17" y="101"/>
                </a:lnTo>
                <a:lnTo>
                  <a:pt x="27" y="89"/>
                </a:lnTo>
                <a:lnTo>
                  <a:pt x="40" y="79"/>
                </a:lnTo>
                <a:lnTo>
                  <a:pt x="52" y="69"/>
                </a:lnTo>
                <a:lnTo>
                  <a:pt x="62" y="61"/>
                </a:lnTo>
                <a:lnTo>
                  <a:pt x="66" y="57"/>
                </a:lnTo>
                <a:lnTo>
                  <a:pt x="70" y="53"/>
                </a:lnTo>
                <a:lnTo>
                  <a:pt x="72" y="50"/>
                </a:lnTo>
                <a:lnTo>
                  <a:pt x="72" y="46"/>
                </a:lnTo>
                <a:lnTo>
                  <a:pt x="85" y="46"/>
                </a:lnTo>
                <a:lnTo>
                  <a:pt x="93" y="35"/>
                </a:lnTo>
                <a:lnTo>
                  <a:pt x="104" y="2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88" name="Freeform 49">
            <a:extLst>
              <a:ext uri="{FF2B5EF4-FFF2-40B4-BE49-F238E27FC236}">
                <a16:creationId xmlns:a16="http://schemas.microsoft.com/office/drawing/2014/main" id="{ADAB7DCA-A672-4B3E-BD33-DD391AA33297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370763" y="2811463"/>
            <a:ext cx="312821" cy="219075"/>
          </a:xfrm>
          <a:custGeom>
            <a:avLst/>
            <a:gdLst/>
            <a:ahLst/>
            <a:cxnLst>
              <a:cxn ang="0">
                <a:pos x="225" y="519"/>
              </a:cxn>
              <a:cxn ang="0">
                <a:pos x="243" y="499"/>
              </a:cxn>
              <a:cxn ang="0">
                <a:pos x="259" y="475"/>
              </a:cxn>
              <a:cxn ang="0">
                <a:pos x="301" y="285"/>
              </a:cxn>
              <a:cxn ang="0">
                <a:pos x="324" y="243"/>
              </a:cxn>
              <a:cxn ang="0">
                <a:pos x="362" y="175"/>
              </a:cxn>
              <a:cxn ang="0">
                <a:pos x="444" y="149"/>
              </a:cxn>
              <a:cxn ang="0">
                <a:pos x="486" y="128"/>
              </a:cxn>
              <a:cxn ang="0">
                <a:pos x="706" y="94"/>
              </a:cxn>
              <a:cxn ang="0">
                <a:pos x="900" y="2"/>
              </a:cxn>
              <a:cxn ang="0">
                <a:pos x="1149" y="31"/>
              </a:cxn>
              <a:cxn ang="0">
                <a:pos x="1232" y="58"/>
              </a:cxn>
              <a:cxn ang="0">
                <a:pos x="1269" y="81"/>
              </a:cxn>
              <a:cxn ang="0">
                <a:pos x="1225" y="99"/>
              </a:cxn>
              <a:cxn ang="0">
                <a:pos x="1192" y="125"/>
              </a:cxn>
              <a:cxn ang="0">
                <a:pos x="1150" y="178"/>
              </a:cxn>
              <a:cxn ang="0">
                <a:pos x="1131" y="356"/>
              </a:cxn>
              <a:cxn ang="0">
                <a:pos x="1102" y="396"/>
              </a:cxn>
              <a:cxn ang="0">
                <a:pos x="1059" y="411"/>
              </a:cxn>
              <a:cxn ang="0">
                <a:pos x="1018" y="431"/>
              </a:cxn>
              <a:cxn ang="0">
                <a:pos x="985" y="469"/>
              </a:cxn>
              <a:cxn ang="0">
                <a:pos x="979" y="571"/>
              </a:cxn>
              <a:cxn ang="0">
                <a:pos x="1063" y="575"/>
              </a:cxn>
              <a:cxn ang="0">
                <a:pos x="1144" y="557"/>
              </a:cxn>
              <a:cxn ang="0">
                <a:pos x="1194" y="618"/>
              </a:cxn>
              <a:cxn ang="0">
                <a:pos x="1219" y="750"/>
              </a:cxn>
              <a:cxn ang="0">
                <a:pos x="1237" y="800"/>
              </a:cxn>
              <a:cxn ang="0">
                <a:pos x="1292" y="856"/>
              </a:cxn>
              <a:cxn ang="0">
                <a:pos x="1396" y="833"/>
              </a:cxn>
              <a:cxn ang="0">
                <a:pos x="1475" y="845"/>
              </a:cxn>
              <a:cxn ang="0">
                <a:pos x="1528" y="865"/>
              </a:cxn>
              <a:cxn ang="0">
                <a:pos x="1571" y="892"/>
              </a:cxn>
              <a:cxn ang="0">
                <a:pos x="1713" y="925"/>
              </a:cxn>
              <a:cxn ang="0">
                <a:pos x="1701" y="975"/>
              </a:cxn>
              <a:cxn ang="0">
                <a:pos x="1526" y="1014"/>
              </a:cxn>
              <a:cxn ang="0">
                <a:pos x="1500" y="1190"/>
              </a:cxn>
              <a:cxn ang="0">
                <a:pos x="1526" y="1324"/>
              </a:cxn>
              <a:cxn ang="0">
                <a:pos x="1512" y="1282"/>
              </a:cxn>
              <a:cxn ang="0">
                <a:pos x="1425" y="1255"/>
              </a:cxn>
              <a:cxn ang="0">
                <a:pos x="1302" y="1278"/>
              </a:cxn>
              <a:cxn ang="0">
                <a:pos x="1241" y="1305"/>
              </a:cxn>
              <a:cxn ang="0">
                <a:pos x="1137" y="1366"/>
              </a:cxn>
              <a:cxn ang="0">
                <a:pos x="1048" y="1341"/>
              </a:cxn>
              <a:cxn ang="0">
                <a:pos x="1016" y="1326"/>
              </a:cxn>
              <a:cxn ang="0">
                <a:pos x="983" y="1297"/>
              </a:cxn>
              <a:cxn ang="0">
                <a:pos x="880" y="1250"/>
              </a:cxn>
              <a:cxn ang="0">
                <a:pos x="767" y="1240"/>
              </a:cxn>
              <a:cxn ang="0">
                <a:pos x="637" y="1257"/>
              </a:cxn>
              <a:cxn ang="0">
                <a:pos x="588" y="1277"/>
              </a:cxn>
              <a:cxn ang="0">
                <a:pos x="373" y="1232"/>
              </a:cxn>
              <a:cxn ang="0">
                <a:pos x="80" y="1242"/>
              </a:cxn>
              <a:cxn ang="0">
                <a:pos x="66" y="1147"/>
              </a:cxn>
              <a:cxn ang="0">
                <a:pos x="7" y="1048"/>
              </a:cxn>
              <a:cxn ang="0">
                <a:pos x="22" y="952"/>
              </a:cxn>
              <a:cxn ang="0">
                <a:pos x="67" y="913"/>
              </a:cxn>
              <a:cxn ang="0">
                <a:pos x="141" y="858"/>
              </a:cxn>
              <a:cxn ang="0">
                <a:pos x="185" y="703"/>
              </a:cxn>
              <a:cxn ang="0">
                <a:pos x="206" y="648"/>
              </a:cxn>
              <a:cxn ang="0">
                <a:pos x="210" y="580"/>
              </a:cxn>
            </a:cxnLst>
            <a:rect l="0" t="0" r="r" b="b"/>
            <a:pathLst>
              <a:path w="1725" h="1366">
                <a:moveTo>
                  <a:pt x="147" y="566"/>
                </a:moveTo>
                <a:lnTo>
                  <a:pt x="161" y="557"/>
                </a:lnTo>
                <a:lnTo>
                  <a:pt x="173" y="549"/>
                </a:lnTo>
                <a:lnTo>
                  <a:pt x="183" y="542"/>
                </a:lnTo>
                <a:lnTo>
                  <a:pt x="187" y="538"/>
                </a:lnTo>
                <a:lnTo>
                  <a:pt x="199" y="531"/>
                </a:lnTo>
                <a:lnTo>
                  <a:pt x="205" y="530"/>
                </a:lnTo>
                <a:lnTo>
                  <a:pt x="208" y="528"/>
                </a:lnTo>
                <a:lnTo>
                  <a:pt x="211" y="523"/>
                </a:lnTo>
                <a:lnTo>
                  <a:pt x="213" y="519"/>
                </a:lnTo>
                <a:lnTo>
                  <a:pt x="225" y="519"/>
                </a:lnTo>
                <a:lnTo>
                  <a:pt x="225" y="516"/>
                </a:lnTo>
                <a:lnTo>
                  <a:pt x="226" y="513"/>
                </a:lnTo>
                <a:lnTo>
                  <a:pt x="227" y="512"/>
                </a:lnTo>
                <a:lnTo>
                  <a:pt x="228" y="512"/>
                </a:lnTo>
                <a:lnTo>
                  <a:pt x="229" y="512"/>
                </a:lnTo>
                <a:lnTo>
                  <a:pt x="230" y="512"/>
                </a:lnTo>
                <a:lnTo>
                  <a:pt x="230" y="510"/>
                </a:lnTo>
                <a:lnTo>
                  <a:pt x="230" y="507"/>
                </a:lnTo>
                <a:lnTo>
                  <a:pt x="236" y="506"/>
                </a:lnTo>
                <a:lnTo>
                  <a:pt x="239" y="502"/>
                </a:lnTo>
                <a:lnTo>
                  <a:pt x="243" y="499"/>
                </a:lnTo>
                <a:lnTo>
                  <a:pt x="244" y="493"/>
                </a:lnTo>
                <a:lnTo>
                  <a:pt x="247" y="493"/>
                </a:lnTo>
                <a:lnTo>
                  <a:pt x="249" y="493"/>
                </a:lnTo>
                <a:lnTo>
                  <a:pt x="249" y="492"/>
                </a:lnTo>
                <a:lnTo>
                  <a:pt x="249" y="491"/>
                </a:lnTo>
                <a:lnTo>
                  <a:pt x="249" y="490"/>
                </a:lnTo>
                <a:lnTo>
                  <a:pt x="250" y="489"/>
                </a:lnTo>
                <a:lnTo>
                  <a:pt x="253" y="488"/>
                </a:lnTo>
                <a:lnTo>
                  <a:pt x="256" y="488"/>
                </a:lnTo>
                <a:lnTo>
                  <a:pt x="257" y="482"/>
                </a:lnTo>
                <a:lnTo>
                  <a:pt x="259" y="475"/>
                </a:lnTo>
                <a:lnTo>
                  <a:pt x="262" y="473"/>
                </a:lnTo>
                <a:lnTo>
                  <a:pt x="264" y="471"/>
                </a:lnTo>
                <a:lnTo>
                  <a:pt x="266" y="470"/>
                </a:lnTo>
                <a:lnTo>
                  <a:pt x="268" y="469"/>
                </a:lnTo>
                <a:lnTo>
                  <a:pt x="269" y="451"/>
                </a:lnTo>
                <a:lnTo>
                  <a:pt x="273" y="424"/>
                </a:lnTo>
                <a:lnTo>
                  <a:pt x="277" y="392"/>
                </a:lnTo>
                <a:lnTo>
                  <a:pt x="283" y="357"/>
                </a:lnTo>
                <a:lnTo>
                  <a:pt x="290" y="324"/>
                </a:lnTo>
                <a:lnTo>
                  <a:pt x="297" y="296"/>
                </a:lnTo>
                <a:lnTo>
                  <a:pt x="301" y="285"/>
                </a:lnTo>
                <a:lnTo>
                  <a:pt x="305" y="276"/>
                </a:lnTo>
                <a:lnTo>
                  <a:pt x="306" y="273"/>
                </a:lnTo>
                <a:lnTo>
                  <a:pt x="309" y="270"/>
                </a:lnTo>
                <a:lnTo>
                  <a:pt x="311" y="269"/>
                </a:lnTo>
                <a:lnTo>
                  <a:pt x="312" y="269"/>
                </a:lnTo>
                <a:lnTo>
                  <a:pt x="312" y="257"/>
                </a:lnTo>
                <a:lnTo>
                  <a:pt x="314" y="256"/>
                </a:lnTo>
                <a:lnTo>
                  <a:pt x="316" y="254"/>
                </a:lnTo>
                <a:lnTo>
                  <a:pt x="319" y="252"/>
                </a:lnTo>
                <a:lnTo>
                  <a:pt x="321" y="249"/>
                </a:lnTo>
                <a:lnTo>
                  <a:pt x="324" y="243"/>
                </a:lnTo>
                <a:lnTo>
                  <a:pt x="324" y="238"/>
                </a:lnTo>
                <a:lnTo>
                  <a:pt x="338" y="231"/>
                </a:lnTo>
                <a:lnTo>
                  <a:pt x="339" y="222"/>
                </a:lnTo>
                <a:lnTo>
                  <a:pt x="340" y="212"/>
                </a:lnTo>
                <a:lnTo>
                  <a:pt x="342" y="203"/>
                </a:lnTo>
                <a:lnTo>
                  <a:pt x="343" y="193"/>
                </a:lnTo>
                <a:lnTo>
                  <a:pt x="350" y="187"/>
                </a:lnTo>
                <a:lnTo>
                  <a:pt x="354" y="186"/>
                </a:lnTo>
                <a:lnTo>
                  <a:pt x="359" y="183"/>
                </a:lnTo>
                <a:lnTo>
                  <a:pt x="361" y="180"/>
                </a:lnTo>
                <a:lnTo>
                  <a:pt x="362" y="175"/>
                </a:lnTo>
                <a:lnTo>
                  <a:pt x="374" y="172"/>
                </a:lnTo>
                <a:lnTo>
                  <a:pt x="388" y="168"/>
                </a:lnTo>
                <a:lnTo>
                  <a:pt x="400" y="156"/>
                </a:lnTo>
                <a:lnTo>
                  <a:pt x="409" y="156"/>
                </a:lnTo>
                <a:lnTo>
                  <a:pt x="419" y="156"/>
                </a:lnTo>
                <a:lnTo>
                  <a:pt x="419" y="154"/>
                </a:lnTo>
                <a:lnTo>
                  <a:pt x="421" y="153"/>
                </a:lnTo>
                <a:lnTo>
                  <a:pt x="425" y="152"/>
                </a:lnTo>
                <a:lnTo>
                  <a:pt x="429" y="151"/>
                </a:lnTo>
                <a:lnTo>
                  <a:pt x="437" y="149"/>
                </a:lnTo>
                <a:lnTo>
                  <a:pt x="444" y="149"/>
                </a:lnTo>
                <a:lnTo>
                  <a:pt x="444" y="147"/>
                </a:lnTo>
                <a:lnTo>
                  <a:pt x="446" y="146"/>
                </a:lnTo>
                <a:lnTo>
                  <a:pt x="448" y="145"/>
                </a:lnTo>
                <a:lnTo>
                  <a:pt x="450" y="144"/>
                </a:lnTo>
                <a:lnTo>
                  <a:pt x="457" y="144"/>
                </a:lnTo>
                <a:lnTo>
                  <a:pt x="463" y="144"/>
                </a:lnTo>
                <a:lnTo>
                  <a:pt x="475" y="131"/>
                </a:lnTo>
                <a:lnTo>
                  <a:pt x="479" y="131"/>
                </a:lnTo>
                <a:lnTo>
                  <a:pt x="484" y="131"/>
                </a:lnTo>
                <a:lnTo>
                  <a:pt x="485" y="129"/>
                </a:lnTo>
                <a:lnTo>
                  <a:pt x="486" y="128"/>
                </a:lnTo>
                <a:lnTo>
                  <a:pt x="487" y="127"/>
                </a:lnTo>
                <a:lnTo>
                  <a:pt x="487" y="125"/>
                </a:lnTo>
                <a:lnTo>
                  <a:pt x="512" y="124"/>
                </a:lnTo>
                <a:lnTo>
                  <a:pt x="538" y="122"/>
                </a:lnTo>
                <a:lnTo>
                  <a:pt x="565" y="119"/>
                </a:lnTo>
                <a:lnTo>
                  <a:pt x="593" y="115"/>
                </a:lnTo>
                <a:lnTo>
                  <a:pt x="620" y="112"/>
                </a:lnTo>
                <a:lnTo>
                  <a:pt x="647" y="109"/>
                </a:lnTo>
                <a:lnTo>
                  <a:pt x="671" y="107"/>
                </a:lnTo>
                <a:lnTo>
                  <a:pt x="694" y="106"/>
                </a:lnTo>
                <a:lnTo>
                  <a:pt x="706" y="94"/>
                </a:lnTo>
                <a:lnTo>
                  <a:pt x="718" y="94"/>
                </a:lnTo>
                <a:lnTo>
                  <a:pt x="732" y="83"/>
                </a:lnTo>
                <a:lnTo>
                  <a:pt x="745" y="71"/>
                </a:lnTo>
                <a:lnTo>
                  <a:pt x="759" y="60"/>
                </a:lnTo>
                <a:lnTo>
                  <a:pt x="775" y="50"/>
                </a:lnTo>
                <a:lnTo>
                  <a:pt x="790" y="39"/>
                </a:lnTo>
                <a:lnTo>
                  <a:pt x="805" y="29"/>
                </a:lnTo>
                <a:lnTo>
                  <a:pt x="819" y="18"/>
                </a:lnTo>
                <a:lnTo>
                  <a:pt x="831" y="6"/>
                </a:lnTo>
                <a:lnTo>
                  <a:pt x="858" y="4"/>
                </a:lnTo>
                <a:lnTo>
                  <a:pt x="900" y="2"/>
                </a:lnTo>
                <a:lnTo>
                  <a:pt x="954" y="0"/>
                </a:lnTo>
                <a:lnTo>
                  <a:pt x="1011" y="0"/>
                </a:lnTo>
                <a:lnTo>
                  <a:pt x="1039" y="1"/>
                </a:lnTo>
                <a:lnTo>
                  <a:pt x="1065" y="3"/>
                </a:lnTo>
                <a:lnTo>
                  <a:pt x="1090" y="7"/>
                </a:lnTo>
                <a:lnTo>
                  <a:pt x="1112" y="11"/>
                </a:lnTo>
                <a:lnTo>
                  <a:pt x="1121" y="14"/>
                </a:lnTo>
                <a:lnTo>
                  <a:pt x="1130" y="18"/>
                </a:lnTo>
                <a:lnTo>
                  <a:pt x="1138" y="22"/>
                </a:lnTo>
                <a:lnTo>
                  <a:pt x="1145" y="27"/>
                </a:lnTo>
                <a:lnTo>
                  <a:pt x="1149" y="31"/>
                </a:lnTo>
                <a:lnTo>
                  <a:pt x="1154" y="37"/>
                </a:lnTo>
                <a:lnTo>
                  <a:pt x="1156" y="43"/>
                </a:lnTo>
                <a:lnTo>
                  <a:pt x="1157" y="50"/>
                </a:lnTo>
                <a:lnTo>
                  <a:pt x="1175" y="50"/>
                </a:lnTo>
                <a:lnTo>
                  <a:pt x="1177" y="52"/>
                </a:lnTo>
                <a:lnTo>
                  <a:pt x="1183" y="53"/>
                </a:lnTo>
                <a:lnTo>
                  <a:pt x="1189" y="55"/>
                </a:lnTo>
                <a:lnTo>
                  <a:pt x="1198" y="56"/>
                </a:lnTo>
                <a:lnTo>
                  <a:pt x="1215" y="56"/>
                </a:lnTo>
                <a:lnTo>
                  <a:pt x="1225" y="56"/>
                </a:lnTo>
                <a:lnTo>
                  <a:pt x="1232" y="58"/>
                </a:lnTo>
                <a:lnTo>
                  <a:pt x="1248" y="62"/>
                </a:lnTo>
                <a:lnTo>
                  <a:pt x="1265" y="67"/>
                </a:lnTo>
                <a:lnTo>
                  <a:pt x="1275" y="68"/>
                </a:lnTo>
                <a:lnTo>
                  <a:pt x="1275" y="72"/>
                </a:lnTo>
                <a:lnTo>
                  <a:pt x="1274" y="74"/>
                </a:lnTo>
                <a:lnTo>
                  <a:pt x="1273" y="75"/>
                </a:lnTo>
                <a:lnTo>
                  <a:pt x="1272" y="75"/>
                </a:lnTo>
                <a:lnTo>
                  <a:pt x="1271" y="75"/>
                </a:lnTo>
                <a:lnTo>
                  <a:pt x="1270" y="76"/>
                </a:lnTo>
                <a:lnTo>
                  <a:pt x="1270" y="77"/>
                </a:lnTo>
                <a:lnTo>
                  <a:pt x="1269" y="81"/>
                </a:lnTo>
                <a:lnTo>
                  <a:pt x="1256" y="81"/>
                </a:lnTo>
                <a:lnTo>
                  <a:pt x="1251" y="87"/>
                </a:lnTo>
                <a:lnTo>
                  <a:pt x="1250" y="91"/>
                </a:lnTo>
                <a:lnTo>
                  <a:pt x="1250" y="93"/>
                </a:lnTo>
                <a:lnTo>
                  <a:pt x="1248" y="94"/>
                </a:lnTo>
                <a:lnTo>
                  <a:pt x="1247" y="94"/>
                </a:lnTo>
                <a:lnTo>
                  <a:pt x="1246" y="94"/>
                </a:lnTo>
                <a:lnTo>
                  <a:pt x="1245" y="95"/>
                </a:lnTo>
                <a:lnTo>
                  <a:pt x="1244" y="96"/>
                </a:lnTo>
                <a:lnTo>
                  <a:pt x="1244" y="99"/>
                </a:lnTo>
                <a:lnTo>
                  <a:pt x="1225" y="99"/>
                </a:lnTo>
                <a:lnTo>
                  <a:pt x="1225" y="101"/>
                </a:lnTo>
                <a:lnTo>
                  <a:pt x="1223" y="104"/>
                </a:lnTo>
                <a:lnTo>
                  <a:pt x="1221" y="105"/>
                </a:lnTo>
                <a:lnTo>
                  <a:pt x="1218" y="105"/>
                </a:lnTo>
                <a:lnTo>
                  <a:pt x="1212" y="106"/>
                </a:lnTo>
                <a:lnTo>
                  <a:pt x="1206" y="106"/>
                </a:lnTo>
                <a:lnTo>
                  <a:pt x="1200" y="113"/>
                </a:lnTo>
                <a:lnTo>
                  <a:pt x="1194" y="118"/>
                </a:lnTo>
                <a:lnTo>
                  <a:pt x="1194" y="123"/>
                </a:lnTo>
                <a:lnTo>
                  <a:pt x="1193" y="124"/>
                </a:lnTo>
                <a:lnTo>
                  <a:pt x="1192" y="125"/>
                </a:lnTo>
                <a:lnTo>
                  <a:pt x="1190" y="125"/>
                </a:lnTo>
                <a:lnTo>
                  <a:pt x="1189" y="125"/>
                </a:lnTo>
                <a:lnTo>
                  <a:pt x="1188" y="126"/>
                </a:lnTo>
                <a:lnTo>
                  <a:pt x="1188" y="127"/>
                </a:lnTo>
                <a:lnTo>
                  <a:pt x="1188" y="131"/>
                </a:lnTo>
                <a:lnTo>
                  <a:pt x="1175" y="131"/>
                </a:lnTo>
                <a:lnTo>
                  <a:pt x="1169" y="137"/>
                </a:lnTo>
                <a:lnTo>
                  <a:pt x="1162" y="144"/>
                </a:lnTo>
                <a:lnTo>
                  <a:pt x="1162" y="156"/>
                </a:lnTo>
                <a:lnTo>
                  <a:pt x="1150" y="156"/>
                </a:lnTo>
                <a:lnTo>
                  <a:pt x="1150" y="178"/>
                </a:lnTo>
                <a:lnTo>
                  <a:pt x="1150" y="201"/>
                </a:lnTo>
                <a:lnTo>
                  <a:pt x="1150" y="225"/>
                </a:lnTo>
                <a:lnTo>
                  <a:pt x="1150" y="250"/>
                </a:lnTo>
                <a:lnTo>
                  <a:pt x="1150" y="274"/>
                </a:lnTo>
                <a:lnTo>
                  <a:pt x="1150" y="299"/>
                </a:lnTo>
                <a:lnTo>
                  <a:pt x="1150" y="321"/>
                </a:lnTo>
                <a:lnTo>
                  <a:pt x="1150" y="344"/>
                </a:lnTo>
                <a:lnTo>
                  <a:pt x="1146" y="348"/>
                </a:lnTo>
                <a:lnTo>
                  <a:pt x="1141" y="353"/>
                </a:lnTo>
                <a:lnTo>
                  <a:pt x="1136" y="355"/>
                </a:lnTo>
                <a:lnTo>
                  <a:pt x="1131" y="356"/>
                </a:lnTo>
                <a:lnTo>
                  <a:pt x="1129" y="363"/>
                </a:lnTo>
                <a:lnTo>
                  <a:pt x="1125" y="370"/>
                </a:lnTo>
                <a:lnTo>
                  <a:pt x="1121" y="375"/>
                </a:lnTo>
                <a:lnTo>
                  <a:pt x="1118" y="378"/>
                </a:lnTo>
                <a:lnTo>
                  <a:pt x="1116" y="381"/>
                </a:lnTo>
                <a:lnTo>
                  <a:pt x="1112" y="382"/>
                </a:lnTo>
                <a:lnTo>
                  <a:pt x="1112" y="385"/>
                </a:lnTo>
                <a:lnTo>
                  <a:pt x="1111" y="388"/>
                </a:lnTo>
                <a:lnTo>
                  <a:pt x="1109" y="391"/>
                </a:lnTo>
                <a:lnTo>
                  <a:pt x="1107" y="393"/>
                </a:lnTo>
                <a:lnTo>
                  <a:pt x="1102" y="396"/>
                </a:lnTo>
                <a:lnTo>
                  <a:pt x="1100" y="399"/>
                </a:lnTo>
                <a:lnTo>
                  <a:pt x="1081" y="399"/>
                </a:lnTo>
                <a:lnTo>
                  <a:pt x="1081" y="402"/>
                </a:lnTo>
                <a:lnTo>
                  <a:pt x="1080" y="404"/>
                </a:lnTo>
                <a:lnTo>
                  <a:pt x="1077" y="405"/>
                </a:lnTo>
                <a:lnTo>
                  <a:pt x="1074" y="405"/>
                </a:lnTo>
                <a:lnTo>
                  <a:pt x="1069" y="406"/>
                </a:lnTo>
                <a:lnTo>
                  <a:pt x="1063" y="406"/>
                </a:lnTo>
                <a:lnTo>
                  <a:pt x="1062" y="408"/>
                </a:lnTo>
                <a:lnTo>
                  <a:pt x="1061" y="410"/>
                </a:lnTo>
                <a:lnTo>
                  <a:pt x="1059" y="411"/>
                </a:lnTo>
                <a:lnTo>
                  <a:pt x="1055" y="412"/>
                </a:lnTo>
                <a:lnTo>
                  <a:pt x="1050" y="412"/>
                </a:lnTo>
                <a:lnTo>
                  <a:pt x="1044" y="413"/>
                </a:lnTo>
                <a:lnTo>
                  <a:pt x="1043" y="414"/>
                </a:lnTo>
                <a:lnTo>
                  <a:pt x="1043" y="416"/>
                </a:lnTo>
                <a:lnTo>
                  <a:pt x="1042" y="417"/>
                </a:lnTo>
                <a:lnTo>
                  <a:pt x="1040" y="417"/>
                </a:lnTo>
                <a:lnTo>
                  <a:pt x="1036" y="418"/>
                </a:lnTo>
                <a:lnTo>
                  <a:pt x="1032" y="418"/>
                </a:lnTo>
                <a:lnTo>
                  <a:pt x="1032" y="431"/>
                </a:lnTo>
                <a:lnTo>
                  <a:pt x="1018" y="431"/>
                </a:lnTo>
                <a:lnTo>
                  <a:pt x="1012" y="437"/>
                </a:lnTo>
                <a:lnTo>
                  <a:pt x="1004" y="446"/>
                </a:lnTo>
                <a:lnTo>
                  <a:pt x="997" y="455"/>
                </a:lnTo>
                <a:lnTo>
                  <a:pt x="994" y="462"/>
                </a:lnTo>
                <a:lnTo>
                  <a:pt x="991" y="463"/>
                </a:lnTo>
                <a:lnTo>
                  <a:pt x="988" y="463"/>
                </a:lnTo>
                <a:lnTo>
                  <a:pt x="987" y="464"/>
                </a:lnTo>
                <a:lnTo>
                  <a:pt x="987" y="465"/>
                </a:lnTo>
                <a:lnTo>
                  <a:pt x="987" y="466"/>
                </a:lnTo>
                <a:lnTo>
                  <a:pt x="987" y="468"/>
                </a:lnTo>
                <a:lnTo>
                  <a:pt x="985" y="469"/>
                </a:lnTo>
                <a:lnTo>
                  <a:pt x="982" y="469"/>
                </a:lnTo>
                <a:lnTo>
                  <a:pt x="982" y="493"/>
                </a:lnTo>
                <a:lnTo>
                  <a:pt x="979" y="497"/>
                </a:lnTo>
                <a:lnTo>
                  <a:pt x="977" y="503"/>
                </a:lnTo>
                <a:lnTo>
                  <a:pt x="976" y="514"/>
                </a:lnTo>
                <a:lnTo>
                  <a:pt x="976" y="527"/>
                </a:lnTo>
                <a:lnTo>
                  <a:pt x="975" y="551"/>
                </a:lnTo>
                <a:lnTo>
                  <a:pt x="975" y="569"/>
                </a:lnTo>
                <a:lnTo>
                  <a:pt x="977" y="569"/>
                </a:lnTo>
                <a:lnTo>
                  <a:pt x="978" y="570"/>
                </a:lnTo>
                <a:lnTo>
                  <a:pt x="979" y="571"/>
                </a:lnTo>
                <a:lnTo>
                  <a:pt x="981" y="572"/>
                </a:lnTo>
                <a:lnTo>
                  <a:pt x="982" y="577"/>
                </a:lnTo>
                <a:lnTo>
                  <a:pt x="982" y="581"/>
                </a:lnTo>
                <a:lnTo>
                  <a:pt x="987" y="587"/>
                </a:lnTo>
                <a:lnTo>
                  <a:pt x="994" y="594"/>
                </a:lnTo>
                <a:lnTo>
                  <a:pt x="1013" y="594"/>
                </a:lnTo>
                <a:lnTo>
                  <a:pt x="1031" y="591"/>
                </a:lnTo>
                <a:lnTo>
                  <a:pt x="1040" y="589"/>
                </a:lnTo>
                <a:lnTo>
                  <a:pt x="1048" y="586"/>
                </a:lnTo>
                <a:lnTo>
                  <a:pt x="1055" y="581"/>
                </a:lnTo>
                <a:lnTo>
                  <a:pt x="1063" y="575"/>
                </a:lnTo>
                <a:lnTo>
                  <a:pt x="1073" y="574"/>
                </a:lnTo>
                <a:lnTo>
                  <a:pt x="1084" y="571"/>
                </a:lnTo>
                <a:lnTo>
                  <a:pt x="1096" y="570"/>
                </a:lnTo>
                <a:lnTo>
                  <a:pt x="1107" y="569"/>
                </a:lnTo>
                <a:lnTo>
                  <a:pt x="1107" y="567"/>
                </a:lnTo>
                <a:lnTo>
                  <a:pt x="1108" y="565"/>
                </a:lnTo>
                <a:lnTo>
                  <a:pt x="1110" y="562"/>
                </a:lnTo>
                <a:lnTo>
                  <a:pt x="1112" y="561"/>
                </a:lnTo>
                <a:lnTo>
                  <a:pt x="1119" y="559"/>
                </a:lnTo>
                <a:lnTo>
                  <a:pt x="1127" y="558"/>
                </a:lnTo>
                <a:lnTo>
                  <a:pt x="1144" y="557"/>
                </a:lnTo>
                <a:lnTo>
                  <a:pt x="1157" y="556"/>
                </a:lnTo>
                <a:lnTo>
                  <a:pt x="1158" y="561"/>
                </a:lnTo>
                <a:lnTo>
                  <a:pt x="1160" y="565"/>
                </a:lnTo>
                <a:lnTo>
                  <a:pt x="1165" y="568"/>
                </a:lnTo>
                <a:lnTo>
                  <a:pt x="1169" y="569"/>
                </a:lnTo>
                <a:lnTo>
                  <a:pt x="1171" y="579"/>
                </a:lnTo>
                <a:lnTo>
                  <a:pt x="1179" y="596"/>
                </a:lnTo>
                <a:lnTo>
                  <a:pt x="1184" y="605"/>
                </a:lnTo>
                <a:lnTo>
                  <a:pt x="1187" y="612"/>
                </a:lnTo>
                <a:lnTo>
                  <a:pt x="1192" y="617"/>
                </a:lnTo>
                <a:lnTo>
                  <a:pt x="1194" y="618"/>
                </a:lnTo>
                <a:lnTo>
                  <a:pt x="1194" y="644"/>
                </a:lnTo>
                <a:lnTo>
                  <a:pt x="1197" y="647"/>
                </a:lnTo>
                <a:lnTo>
                  <a:pt x="1199" y="656"/>
                </a:lnTo>
                <a:lnTo>
                  <a:pt x="1203" y="671"/>
                </a:lnTo>
                <a:lnTo>
                  <a:pt x="1206" y="686"/>
                </a:lnTo>
                <a:lnTo>
                  <a:pt x="1210" y="718"/>
                </a:lnTo>
                <a:lnTo>
                  <a:pt x="1213" y="738"/>
                </a:lnTo>
                <a:lnTo>
                  <a:pt x="1215" y="739"/>
                </a:lnTo>
                <a:lnTo>
                  <a:pt x="1216" y="741"/>
                </a:lnTo>
                <a:lnTo>
                  <a:pt x="1218" y="745"/>
                </a:lnTo>
                <a:lnTo>
                  <a:pt x="1219" y="750"/>
                </a:lnTo>
                <a:lnTo>
                  <a:pt x="1222" y="754"/>
                </a:lnTo>
                <a:lnTo>
                  <a:pt x="1224" y="759"/>
                </a:lnTo>
                <a:lnTo>
                  <a:pt x="1227" y="761"/>
                </a:lnTo>
                <a:lnTo>
                  <a:pt x="1232" y="762"/>
                </a:lnTo>
                <a:lnTo>
                  <a:pt x="1232" y="781"/>
                </a:lnTo>
                <a:lnTo>
                  <a:pt x="1234" y="782"/>
                </a:lnTo>
                <a:lnTo>
                  <a:pt x="1235" y="783"/>
                </a:lnTo>
                <a:lnTo>
                  <a:pt x="1236" y="786"/>
                </a:lnTo>
                <a:lnTo>
                  <a:pt x="1237" y="788"/>
                </a:lnTo>
                <a:lnTo>
                  <a:pt x="1237" y="795"/>
                </a:lnTo>
                <a:lnTo>
                  <a:pt x="1237" y="800"/>
                </a:lnTo>
                <a:lnTo>
                  <a:pt x="1241" y="801"/>
                </a:lnTo>
                <a:lnTo>
                  <a:pt x="1243" y="805"/>
                </a:lnTo>
                <a:lnTo>
                  <a:pt x="1246" y="808"/>
                </a:lnTo>
                <a:lnTo>
                  <a:pt x="1250" y="814"/>
                </a:lnTo>
                <a:lnTo>
                  <a:pt x="1254" y="824"/>
                </a:lnTo>
                <a:lnTo>
                  <a:pt x="1256" y="831"/>
                </a:lnTo>
                <a:lnTo>
                  <a:pt x="1263" y="838"/>
                </a:lnTo>
                <a:lnTo>
                  <a:pt x="1269" y="844"/>
                </a:lnTo>
                <a:lnTo>
                  <a:pt x="1275" y="850"/>
                </a:lnTo>
                <a:lnTo>
                  <a:pt x="1282" y="856"/>
                </a:lnTo>
                <a:lnTo>
                  <a:pt x="1292" y="856"/>
                </a:lnTo>
                <a:lnTo>
                  <a:pt x="1303" y="856"/>
                </a:lnTo>
                <a:lnTo>
                  <a:pt x="1315" y="856"/>
                </a:lnTo>
                <a:lnTo>
                  <a:pt x="1325" y="856"/>
                </a:lnTo>
                <a:lnTo>
                  <a:pt x="1331" y="844"/>
                </a:lnTo>
                <a:lnTo>
                  <a:pt x="1344" y="844"/>
                </a:lnTo>
                <a:lnTo>
                  <a:pt x="1346" y="841"/>
                </a:lnTo>
                <a:lnTo>
                  <a:pt x="1349" y="839"/>
                </a:lnTo>
                <a:lnTo>
                  <a:pt x="1353" y="838"/>
                </a:lnTo>
                <a:lnTo>
                  <a:pt x="1360" y="837"/>
                </a:lnTo>
                <a:lnTo>
                  <a:pt x="1377" y="835"/>
                </a:lnTo>
                <a:lnTo>
                  <a:pt x="1396" y="833"/>
                </a:lnTo>
                <a:lnTo>
                  <a:pt x="1434" y="831"/>
                </a:lnTo>
                <a:lnTo>
                  <a:pt x="1456" y="831"/>
                </a:lnTo>
                <a:lnTo>
                  <a:pt x="1457" y="834"/>
                </a:lnTo>
                <a:lnTo>
                  <a:pt x="1457" y="835"/>
                </a:lnTo>
                <a:lnTo>
                  <a:pt x="1459" y="836"/>
                </a:lnTo>
                <a:lnTo>
                  <a:pt x="1461" y="837"/>
                </a:lnTo>
                <a:lnTo>
                  <a:pt x="1465" y="837"/>
                </a:lnTo>
                <a:lnTo>
                  <a:pt x="1469" y="838"/>
                </a:lnTo>
                <a:lnTo>
                  <a:pt x="1469" y="840"/>
                </a:lnTo>
                <a:lnTo>
                  <a:pt x="1472" y="843"/>
                </a:lnTo>
                <a:lnTo>
                  <a:pt x="1475" y="845"/>
                </a:lnTo>
                <a:lnTo>
                  <a:pt x="1480" y="846"/>
                </a:lnTo>
                <a:lnTo>
                  <a:pt x="1487" y="849"/>
                </a:lnTo>
                <a:lnTo>
                  <a:pt x="1494" y="850"/>
                </a:lnTo>
                <a:lnTo>
                  <a:pt x="1498" y="854"/>
                </a:lnTo>
                <a:lnTo>
                  <a:pt x="1504" y="856"/>
                </a:lnTo>
                <a:lnTo>
                  <a:pt x="1511" y="856"/>
                </a:lnTo>
                <a:lnTo>
                  <a:pt x="1520" y="856"/>
                </a:lnTo>
                <a:lnTo>
                  <a:pt x="1520" y="858"/>
                </a:lnTo>
                <a:lnTo>
                  <a:pt x="1521" y="860"/>
                </a:lnTo>
                <a:lnTo>
                  <a:pt x="1524" y="863"/>
                </a:lnTo>
                <a:lnTo>
                  <a:pt x="1528" y="865"/>
                </a:lnTo>
                <a:lnTo>
                  <a:pt x="1535" y="868"/>
                </a:lnTo>
                <a:lnTo>
                  <a:pt x="1544" y="869"/>
                </a:lnTo>
                <a:lnTo>
                  <a:pt x="1544" y="870"/>
                </a:lnTo>
                <a:lnTo>
                  <a:pt x="1545" y="873"/>
                </a:lnTo>
                <a:lnTo>
                  <a:pt x="1546" y="874"/>
                </a:lnTo>
                <a:lnTo>
                  <a:pt x="1548" y="874"/>
                </a:lnTo>
                <a:lnTo>
                  <a:pt x="1552" y="875"/>
                </a:lnTo>
                <a:lnTo>
                  <a:pt x="1557" y="875"/>
                </a:lnTo>
                <a:lnTo>
                  <a:pt x="1563" y="882"/>
                </a:lnTo>
                <a:lnTo>
                  <a:pt x="1567" y="887"/>
                </a:lnTo>
                <a:lnTo>
                  <a:pt x="1571" y="892"/>
                </a:lnTo>
                <a:lnTo>
                  <a:pt x="1578" y="896"/>
                </a:lnTo>
                <a:lnTo>
                  <a:pt x="1587" y="901"/>
                </a:lnTo>
                <a:lnTo>
                  <a:pt x="1596" y="904"/>
                </a:lnTo>
                <a:lnTo>
                  <a:pt x="1606" y="907"/>
                </a:lnTo>
                <a:lnTo>
                  <a:pt x="1617" y="910"/>
                </a:lnTo>
                <a:lnTo>
                  <a:pt x="1628" y="912"/>
                </a:lnTo>
                <a:lnTo>
                  <a:pt x="1650" y="915"/>
                </a:lnTo>
                <a:lnTo>
                  <a:pt x="1673" y="917"/>
                </a:lnTo>
                <a:lnTo>
                  <a:pt x="1692" y="918"/>
                </a:lnTo>
                <a:lnTo>
                  <a:pt x="1707" y="918"/>
                </a:lnTo>
                <a:lnTo>
                  <a:pt x="1713" y="925"/>
                </a:lnTo>
                <a:lnTo>
                  <a:pt x="1720" y="932"/>
                </a:lnTo>
                <a:lnTo>
                  <a:pt x="1725" y="937"/>
                </a:lnTo>
                <a:lnTo>
                  <a:pt x="1725" y="953"/>
                </a:lnTo>
                <a:lnTo>
                  <a:pt x="1725" y="969"/>
                </a:lnTo>
                <a:lnTo>
                  <a:pt x="1713" y="969"/>
                </a:lnTo>
                <a:lnTo>
                  <a:pt x="1713" y="971"/>
                </a:lnTo>
                <a:lnTo>
                  <a:pt x="1712" y="972"/>
                </a:lnTo>
                <a:lnTo>
                  <a:pt x="1711" y="973"/>
                </a:lnTo>
                <a:lnTo>
                  <a:pt x="1709" y="974"/>
                </a:lnTo>
                <a:lnTo>
                  <a:pt x="1705" y="975"/>
                </a:lnTo>
                <a:lnTo>
                  <a:pt x="1701" y="975"/>
                </a:lnTo>
                <a:lnTo>
                  <a:pt x="1699" y="978"/>
                </a:lnTo>
                <a:lnTo>
                  <a:pt x="1696" y="980"/>
                </a:lnTo>
                <a:lnTo>
                  <a:pt x="1693" y="982"/>
                </a:lnTo>
                <a:lnTo>
                  <a:pt x="1687" y="983"/>
                </a:lnTo>
                <a:lnTo>
                  <a:pt x="1677" y="987"/>
                </a:lnTo>
                <a:lnTo>
                  <a:pt x="1669" y="988"/>
                </a:lnTo>
                <a:lnTo>
                  <a:pt x="1532" y="1000"/>
                </a:lnTo>
                <a:lnTo>
                  <a:pt x="1532" y="1012"/>
                </a:lnTo>
                <a:lnTo>
                  <a:pt x="1530" y="1013"/>
                </a:lnTo>
                <a:lnTo>
                  <a:pt x="1528" y="1013"/>
                </a:lnTo>
                <a:lnTo>
                  <a:pt x="1526" y="1014"/>
                </a:lnTo>
                <a:lnTo>
                  <a:pt x="1526" y="1017"/>
                </a:lnTo>
                <a:lnTo>
                  <a:pt x="1525" y="1021"/>
                </a:lnTo>
                <a:lnTo>
                  <a:pt x="1525" y="1026"/>
                </a:lnTo>
                <a:lnTo>
                  <a:pt x="1524" y="1031"/>
                </a:lnTo>
                <a:lnTo>
                  <a:pt x="1521" y="1049"/>
                </a:lnTo>
                <a:lnTo>
                  <a:pt x="1516" y="1075"/>
                </a:lnTo>
                <a:lnTo>
                  <a:pt x="1511" y="1104"/>
                </a:lnTo>
                <a:lnTo>
                  <a:pt x="1505" y="1135"/>
                </a:lnTo>
                <a:lnTo>
                  <a:pt x="1502" y="1165"/>
                </a:lnTo>
                <a:lnTo>
                  <a:pt x="1501" y="1178"/>
                </a:lnTo>
                <a:lnTo>
                  <a:pt x="1500" y="1190"/>
                </a:lnTo>
                <a:lnTo>
                  <a:pt x="1500" y="1200"/>
                </a:lnTo>
                <a:lnTo>
                  <a:pt x="1501" y="1206"/>
                </a:lnTo>
                <a:lnTo>
                  <a:pt x="1513" y="1253"/>
                </a:lnTo>
                <a:lnTo>
                  <a:pt x="1523" y="1287"/>
                </a:lnTo>
                <a:lnTo>
                  <a:pt x="1528" y="1301"/>
                </a:lnTo>
                <a:lnTo>
                  <a:pt x="1530" y="1312"/>
                </a:lnTo>
                <a:lnTo>
                  <a:pt x="1532" y="1324"/>
                </a:lnTo>
                <a:lnTo>
                  <a:pt x="1531" y="1334"/>
                </a:lnTo>
                <a:lnTo>
                  <a:pt x="1528" y="1334"/>
                </a:lnTo>
                <a:lnTo>
                  <a:pt x="1528" y="1328"/>
                </a:lnTo>
                <a:lnTo>
                  <a:pt x="1526" y="1324"/>
                </a:lnTo>
                <a:lnTo>
                  <a:pt x="1525" y="1321"/>
                </a:lnTo>
                <a:lnTo>
                  <a:pt x="1524" y="1319"/>
                </a:lnTo>
                <a:lnTo>
                  <a:pt x="1522" y="1319"/>
                </a:lnTo>
                <a:lnTo>
                  <a:pt x="1520" y="1318"/>
                </a:lnTo>
                <a:lnTo>
                  <a:pt x="1520" y="1311"/>
                </a:lnTo>
                <a:lnTo>
                  <a:pt x="1519" y="1303"/>
                </a:lnTo>
                <a:lnTo>
                  <a:pt x="1517" y="1300"/>
                </a:lnTo>
                <a:lnTo>
                  <a:pt x="1516" y="1297"/>
                </a:lnTo>
                <a:lnTo>
                  <a:pt x="1514" y="1296"/>
                </a:lnTo>
                <a:lnTo>
                  <a:pt x="1512" y="1295"/>
                </a:lnTo>
                <a:lnTo>
                  <a:pt x="1512" y="1282"/>
                </a:lnTo>
                <a:lnTo>
                  <a:pt x="1512" y="1271"/>
                </a:lnTo>
                <a:lnTo>
                  <a:pt x="1495" y="1263"/>
                </a:lnTo>
                <a:lnTo>
                  <a:pt x="1495" y="1248"/>
                </a:lnTo>
                <a:lnTo>
                  <a:pt x="1481" y="1248"/>
                </a:lnTo>
                <a:lnTo>
                  <a:pt x="1457" y="1248"/>
                </a:lnTo>
                <a:lnTo>
                  <a:pt x="1445" y="1249"/>
                </a:lnTo>
                <a:lnTo>
                  <a:pt x="1435" y="1251"/>
                </a:lnTo>
                <a:lnTo>
                  <a:pt x="1430" y="1251"/>
                </a:lnTo>
                <a:lnTo>
                  <a:pt x="1427" y="1252"/>
                </a:lnTo>
                <a:lnTo>
                  <a:pt x="1425" y="1253"/>
                </a:lnTo>
                <a:lnTo>
                  <a:pt x="1425" y="1255"/>
                </a:lnTo>
                <a:lnTo>
                  <a:pt x="1411" y="1257"/>
                </a:lnTo>
                <a:lnTo>
                  <a:pt x="1381" y="1260"/>
                </a:lnTo>
                <a:lnTo>
                  <a:pt x="1365" y="1262"/>
                </a:lnTo>
                <a:lnTo>
                  <a:pt x="1351" y="1266"/>
                </a:lnTo>
                <a:lnTo>
                  <a:pt x="1346" y="1267"/>
                </a:lnTo>
                <a:lnTo>
                  <a:pt x="1341" y="1268"/>
                </a:lnTo>
                <a:lnTo>
                  <a:pt x="1339" y="1269"/>
                </a:lnTo>
                <a:lnTo>
                  <a:pt x="1338" y="1271"/>
                </a:lnTo>
                <a:lnTo>
                  <a:pt x="1325" y="1272"/>
                </a:lnTo>
                <a:lnTo>
                  <a:pt x="1314" y="1274"/>
                </a:lnTo>
                <a:lnTo>
                  <a:pt x="1302" y="1278"/>
                </a:lnTo>
                <a:lnTo>
                  <a:pt x="1290" y="1279"/>
                </a:lnTo>
                <a:lnTo>
                  <a:pt x="1274" y="1295"/>
                </a:lnTo>
                <a:lnTo>
                  <a:pt x="1269" y="1295"/>
                </a:lnTo>
                <a:lnTo>
                  <a:pt x="1263" y="1296"/>
                </a:lnTo>
                <a:lnTo>
                  <a:pt x="1262" y="1297"/>
                </a:lnTo>
                <a:lnTo>
                  <a:pt x="1260" y="1298"/>
                </a:lnTo>
                <a:lnTo>
                  <a:pt x="1258" y="1300"/>
                </a:lnTo>
                <a:lnTo>
                  <a:pt x="1258" y="1302"/>
                </a:lnTo>
                <a:lnTo>
                  <a:pt x="1252" y="1302"/>
                </a:lnTo>
                <a:lnTo>
                  <a:pt x="1244" y="1303"/>
                </a:lnTo>
                <a:lnTo>
                  <a:pt x="1241" y="1305"/>
                </a:lnTo>
                <a:lnTo>
                  <a:pt x="1237" y="1306"/>
                </a:lnTo>
                <a:lnTo>
                  <a:pt x="1235" y="1308"/>
                </a:lnTo>
                <a:lnTo>
                  <a:pt x="1235" y="1310"/>
                </a:lnTo>
                <a:lnTo>
                  <a:pt x="1219" y="1315"/>
                </a:lnTo>
                <a:lnTo>
                  <a:pt x="1203" y="1318"/>
                </a:lnTo>
                <a:lnTo>
                  <a:pt x="1195" y="1334"/>
                </a:lnTo>
                <a:lnTo>
                  <a:pt x="1179" y="1338"/>
                </a:lnTo>
                <a:lnTo>
                  <a:pt x="1164" y="1341"/>
                </a:lnTo>
                <a:lnTo>
                  <a:pt x="1164" y="1358"/>
                </a:lnTo>
                <a:lnTo>
                  <a:pt x="1156" y="1366"/>
                </a:lnTo>
                <a:lnTo>
                  <a:pt x="1137" y="1366"/>
                </a:lnTo>
                <a:lnTo>
                  <a:pt x="1110" y="1365"/>
                </a:lnTo>
                <a:lnTo>
                  <a:pt x="1098" y="1364"/>
                </a:lnTo>
                <a:lnTo>
                  <a:pt x="1087" y="1363"/>
                </a:lnTo>
                <a:lnTo>
                  <a:pt x="1082" y="1362"/>
                </a:lnTo>
                <a:lnTo>
                  <a:pt x="1080" y="1360"/>
                </a:lnTo>
                <a:lnTo>
                  <a:pt x="1078" y="1359"/>
                </a:lnTo>
                <a:lnTo>
                  <a:pt x="1077" y="1358"/>
                </a:lnTo>
                <a:lnTo>
                  <a:pt x="1065" y="1358"/>
                </a:lnTo>
                <a:lnTo>
                  <a:pt x="1053" y="1358"/>
                </a:lnTo>
                <a:lnTo>
                  <a:pt x="1053" y="1341"/>
                </a:lnTo>
                <a:lnTo>
                  <a:pt x="1048" y="1341"/>
                </a:lnTo>
                <a:lnTo>
                  <a:pt x="1042" y="1341"/>
                </a:lnTo>
                <a:lnTo>
                  <a:pt x="1040" y="1340"/>
                </a:lnTo>
                <a:lnTo>
                  <a:pt x="1039" y="1339"/>
                </a:lnTo>
                <a:lnTo>
                  <a:pt x="1037" y="1337"/>
                </a:lnTo>
                <a:lnTo>
                  <a:pt x="1037" y="1334"/>
                </a:lnTo>
                <a:lnTo>
                  <a:pt x="1022" y="1334"/>
                </a:lnTo>
                <a:lnTo>
                  <a:pt x="1021" y="1329"/>
                </a:lnTo>
                <a:lnTo>
                  <a:pt x="1020" y="1327"/>
                </a:lnTo>
                <a:lnTo>
                  <a:pt x="1018" y="1326"/>
                </a:lnTo>
                <a:lnTo>
                  <a:pt x="1017" y="1326"/>
                </a:lnTo>
                <a:lnTo>
                  <a:pt x="1016" y="1326"/>
                </a:lnTo>
                <a:lnTo>
                  <a:pt x="1015" y="1325"/>
                </a:lnTo>
                <a:lnTo>
                  <a:pt x="1014" y="1322"/>
                </a:lnTo>
                <a:lnTo>
                  <a:pt x="1014" y="1318"/>
                </a:lnTo>
                <a:lnTo>
                  <a:pt x="997" y="1318"/>
                </a:lnTo>
                <a:lnTo>
                  <a:pt x="997" y="1314"/>
                </a:lnTo>
                <a:lnTo>
                  <a:pt x="995" y="1309"/>
                </a:lnTo>
                <a:lnTo>
                  <a:pt x="993" y="1306"/>
                </a:lnTo>
                <a:lnTo>
                  <a:pt x="989" y="1303"/>
                </a:lnTo>
                <a:lnTo>
                  <a:pt x="987" y="1301"/>
                </a:lnTo>
                <a:lnTo>
                  <a:pt x="984" y="1299"/>
                </a:lnTo>
                <a:lnTo>
                  <a:pt x="983" y="1297"/>
                </a:lnTo>
                <a:lnTo>
                  <a:pt x="982" y="1295"/>
                </a:lnTo>
                <a:lnTo>
                  <a:pt x="966" y="1295"/>
                </a:lnTo>
                <a:lnTo>
                  <a:pt x="955" y="1287"/>
                </a:lnTo>
                <a:lnTo>
                  <a:pt x="939" y="1276"/>
                </a:lnTo>
                <a:lnTo>
                  <a:pt x="925" y="1267"/>
                </a:lnTo>
                <a:lnTo>
                  <a:pt x="919" y="1263"/>
                </a:lnTo>
                <a:lnTo>
                  <a:pt x="909" y="1261"/>
                </a:lnTo>
                <a:lnTo>
                  <a:pt x="896" y="1258"/>
                </a:lnTo>
                <a:lnTo>
                  <a:pt x="889" y="1255"/>
                </a:lnTo>
                <a:lnTo>
                  <a:pt x="885" y="1253"/>
                </a:lnTo>
                <a:lnTo>
                  <a:pt x="880" y="1250"/>
                </a:lnTo>
                <a:lnTo>
                  <a:pt x="879" y="1248"/>
                </a:lnTo>
                <a:lnTo>
                  <a:pt x="873" y="1247"/>
                </a:lnTo>
                <a:lnTo>
                  <a:pt x="868" y="1247"/>
                </a:lnTo>
                <a:lnTo>
                  <a:pt x="867" y="1245"/>
                </a:lnTo>
                <a:lnTo>
                  <a:pt x="864" y="1244"/>
                </a:lnTo>
                <a:lnTo>
                  <a:pt x="863" y="1242"/>
                </a:lnTo>
                <a:lnTo>
                  <a:pt x="863" y="1239"/>
                </a:lnTo>
                <a:lnTo>
                  <a:pt x="849" y="1239"/>
                </a:lnTo>
                <a:lnTo>
                  <a:pt x="826" y="1240"/>
                </a:lnTo>
                <a:lnTo>
                  <a:pt x="797" y="1240"/>
                </a:lnTo>
                <a:lnTo>
                  <a:pt x="767" y="1240"/>
                </a:lnTo>
                <a:lnTo>
                  <a:pt x="738" y="1241"/>
                </a:lnTo>
                <a:lnTo>
                  <a:pt x="714" y="1242"/>
                </a:lnTo>
                <a:lnTo>
                  <a:pt x="704" y="1243"/>
                </a:lnTo>
                <a:lnTo>
                  <a:pt x="696" y="1244"/>
                </a:lnTo>
                <a:lnTo>
                  <a:pt x="691" y="1245"/>
                </a:lnTo>
                <a:lnTo>
                  <a:pt x="689" y="1248"/>
                </a:lnTo>
                <a:lnTo>
                  <a:pt x="642" y="1248"/>
                </a:lnTo>
                <a:lnTo>
                  <a:pt x="641" y="1250"/>
                </a:lnTo>
                <a:lnTo>
                  <a:pt x="640" y="1252"/>
                </a:lnTo>
                <a:lnTo>
                  <a:pt x="639" y="1254"/>
                </a:lnTo>
                <a:lnTo>
                  <a:pt x="637" y="1257"/>
                </a:lnTo>
                <a:lnTo>
                  <a:pt x="632" y="1260"/>
                </a:lnTo>
                <a:lnTo>
                  <a:pt x="627" y="1262"/>
                </a:lnTo>
                <a:lnTo>
                  <a:pt x="620" y="1264"/>
                </a:lnTo>
                <a:lnTo>
                  <a:pt x="615" y="1266"/>
                </a:lnTo>
                <a:lnTo>
                  <a:pt x="612" y="1268"/>
                </a:lnTo>
                <a:lnTo>
                  <a:pt x="610" y="1271"/>
                </a:lnTo>
                <a:lnTo>
                  <a:pt x="603" y="1271"/>
                </a:lnTo>
                <a:lnTo>
                  <a:pt x="595" y="1272"/>
                </a:lnTo>
                <a:lnTo>
                  <a:pt x="592" y="1272"/>
                </a:lnTo>
                <a:lnTo>
                  <a:pt x="589" y="1274"/>
                </a:lnTo>
                <a:lnTo>
                  <a:pt x="588" y="1277"/>
                </a:lnTo>
                <a:lnTo>
                  <a:pt x="586" y="1279"/>
                </a:lnTo>
                <a:lnTo>
                  <a:pt x="484" y="1279"/>
                </a:lnTo>
                <a:lnTo>
                  <a:pt x="483" y="1276"/>
                </a:lnTo>
                <a:lnTo>
                  <a:pt x="478" y="1273"/>
                </a:lnTo>
                <a:lnTo>
                  <a:pt x="473" y="1271"/>
                </a:lnTo>
                <a:lnTo>
                  <a:pt x="464" y="1269"/>
                </a:lnTo>
                <a:lnTo>
                  <a:pt x="442" y="1266"/>
                </a:lnTo>
                <a:lnTo>
                  <a:pt x="416" y="1263"/>
                </a:lnTo>
                <a:lnTo>
                  <a:pt x="393" y="1252"/>
                </a:lnTo>
                <a:lnTo>
                  <a:pt x="393" y="1232"/>
                </a:lnTo>
                <a:lnTo>
                  <a:pt x="373" y="1232"/>
                </a:lnTo>
                <a:lnTo>
                  <a:pt x="340" y="1233"/>
                </a:lnTo>
                <a:lnTo>
                  <a:pt x="298" y="1233"/>
                </a:lnTo>
                <a:lnTo>
                  <a:pt x="254" y="1233"/>
                </a:lnTo>
                <a:lnTo>
                  <a:pt x="210" y="1234"/>
                </a:lnTo>
                <a:lnTo>
                  <a:pt x="173" y="1235"/>
                </a:lnTo>
                <a:lnTo>
                  <a:pt x="148" y="1237"/>
                </a:lnTo>
                <a:lnTo>
                  <a:pt x="138" y="1239"/>
                </a:lnTo>
                <a:lnTo>
                  <a:pt x="129" y="1239"/>
                </a:lnTo>
                <a:lnTo>
                  <a:pt x="113" y="1240"/>
                </a:lnTo>
                <a:lnTo>
                  <a:pt x="95" y="1240"/>
                </a:lnTo>
                <a:lnTo>
                  <a:pt x="80" y="1242"/>
                </a:lnTo>
                <a:lnTo>
                  <a:pt x="79" y="1241"/>
                </a:lnTo>
                <a:lnTo>
                  <a:pt x="77" y="1240"/>
                </a:lnTo>
                <a:lnTo>
                  <a:pt x="77" y="1239"/>
                </a:lnTo>
                <a:lnTo>
                  <a:pt x="79" y="1239"/>
                </a:lnTo>
                <a:lnTo>
                  <a:pt x="79" y="1226"/>
                </a:lnTo>
                <a:lnTo>
                  <a:pt x="76" y="1213"/>
                </a:lnTo>
                <a:lnTo>
                  <a:pt x="75" y="1200"/>
                </a:lnTo>
                <a:lnTo>
                  <a:pt x="72" y="1186"/>
                </a:lnTo>
                <a:lnTo>
                  <a:pt x="70" y="1173"/>
                </a:lnTo>
                <a:lnTo>
                  <a:pt x="67" y="1160"/>
                </a:lnTo>
                <a:lnTo>
                  <a:pt x="66" y="1147"/>
                </a:lnTo>
                <a:lnTo>
                  <a:pt x="66" y="1134"/>
                </a:lnTo>
                <a:lnTo>
                  <a:pt x="56" y="1125"/>
                </a:lnTo>
                <a:lnTo>
                  <a:pt x="46" y="1115"/>
                </a:lnTo>
                <a:lnTo>
                  <a:pt x="46" y="1110"/>
                </a:lnTo>
                <a:lnTo>
                  <a:pt x="44" y="1106"/>
                </a:lnTo>
                <a:lnTo>
                  <a:pt x="42" y="1101"/>
                </a:lnTo>
                <a:lnTo>
                  <a:pt x="39" y="1096"/>
                </a:lnTo>
                <a:lnTo>
                  <a:pt x="32" y="1084"/>
                </a:lnTo>
                <a:lnTo>
                  <a:pt x="23" y="1072"/>
                </a:lnTo>
                <a:lnTo>
                  <a:pt x="15" y="1060"/>
                </a:lnTo>
                <a:lnTo>
                  <a:pt x="7" y="1048"/>
                </a:lnTo>
                <a:lnTo>
                  <a:pt x="5" y="1042"/>
                </a:lnTo>
                <a:lnTo>
                  <a:pt x="3" y="1038"/>
                </a:lnTo>
                <a:lnTo>
                  <a:pt x="0" y="1033"/>
                </a:lnTo>
                <a:lnTo>
                  <a:pt x="0" y="1029"/>
                </a:lnTo>
                <a:lnTo>
                  <a:pt x="2" y="1012"/>
                </a:lnTo>
                <a:lnTo>
                  <a:pt x="4" y="994"/>
                </a:lnTo>
                <a:lnTo>
                  <a:pt x="6" y="976"/>
                </a:lnTo>
                <a:lnTo>
                  <a:pt x="7" y="964"/>
                </a:lnTo>
                <a:lnTo>
                  <a:pt x="19" y="958"/>
                </a:lnTo>
                <a:lnTo>
                  <a:pt x="20" y="954"/>
                </a:lnTo>
                <a:lnTo>
                  <a:pt x="22" y="952"/>
                </a:lnTo>
                <a:lnTo>
                  <a:pt x="25" y="949"/>
                </a:lnTo>
                <a:lnTo>
                  <a:pt x="27" y="945"/>
                </a:lnTo>
                <a:lnTo>
                  <a:pt x="31" y="942"/>
                </a:lnTo>
                <a:lnTo>
                  <a:pt x="34" y="940"/>
                </a:lnTo>
                <a:lnTo>
                  <a:pt x="37" y="939"/>
                </a:lnTo>
                <a:lnTo>
                  <a:pt x="39" y="937"/>
                </a:lnTo>
                <a:lnTo>
                  <a:pt x="46" y="924"/>
                </a:lnTo>
                <a:lnTo>
                  <a:pt x="56" y="921"/>
                </a:lnTo>
                <a:lnTo>
                  <a:pt x="66" y="918"/>
                </a:lnTo>
                <a:lnTo>
                  <a:pt x="66" y="915"/>
                </a:lnTo>
                <a:lnTo>
                  <a:pt x="67" y="913"/>
                </a:lnTo>
                <a:lnTo>
                  <a:pt x="68" y="911"/>
                </a:lnTo>
                <a:lnTo>
                  <a:pt x="71" y="908"/>
                </a:lnTo>
                <a:lnTo>
                  <a:pt x="73" y="907"/>
                </a:lnTo>
                <a:lnTo>
                  <a:pt x="76" y="906"/>
                </a:lnTo>
                <a:lnTo>
                  <a:pt x="81" y="905"/>
                </a:lnTo>
                <a:lnTo>
                  <a:pt x="85" y="905"/>
                </a:lnTo>
                <a:lnTo>
                  <a:pt x="89" y="901"/>
                </a:lnTo>
                <a:lnTo>
                  <a:pt x="98" y="892"/>
                </a:lnTo>
                <a:lnTo>
                  <a:pt x="111" y="882"/>
                </a:lnTo>
                <a:lnTo>
                  <a:pt x="125" y="869"/>
                </a:lnTo>
                <a:lnTo>
                  <a:pt x="141" y="858"/>
                </a:lnTo>
                <a:lnTo>
                  <a:pt x="154" y="848"/>
                </a:lnTo>
                <a:lnTo>
                  <a:pt x="166" y="841"/>
                </a:lnTo>
                <a:lnTo>
                  <a:pt x="171" y="839"/>
                </a:lnTo>
                <a:lnTo>
                  <a:pt x="177" y="833"/>
                </a:lnTo>
                <a:lnTo>
                  <a:pt x="177" y="709"/>
                </a:lnTo>
                <a:lnTo>
                  <a:pt x="181" y="708"/>
                </a:lnTo>
                <a:lnTo>
                  <a:pt x="183" y="708"/>
                </a:lnTo>
                <a:lnTo>
                  <a:pt x="183" y="706"/>
                </a:lnTo>
                <a:lnTo>
                  <a:pt x="183" y="705"/>
                </a:lnTo>
                <a:lnTo>
                  <a:pt x="183" y="704"/>
                </a:lnTo>
                <a:lnTo>
                  <a:pt x="185" y="703"/>
                </a:lnTo>
                <a:lnTo>
                  <a:pt x="187" y="702"/>
                </a:lnTo>
                <a:lnTo>
                  <a:pt x="190" y="702"/>
                </a:lnTo>
                <a:lnTo>
                  <a:pt x="190" y="696"/>
                </a:lnTo>
                <a:lnTo>
                  <a:pt x="191" y="690"/>
                </a:lnTo>
                <a:lnTo>
                  <a:pt x="192" y="686"/>
                </a:lnTo>
                <a:lnTo>
                  <a:pt x="194" y="684"/>
                </a:lnTo>
                <a:lnTo>
                  <a:pt x="195" y="683"/>
                </a:lnTo>
                <a:lnTo>
                  <a:pt x="197" y="682"/>
                </a:lnTo>
                <a:lnTo>
                  <a:pt x="200" y="665"/>
                </a:lnTo>
                <a:lnTo>
                  <a:pt x="204" y="649"/>
                </a:lnTo>
                <a:lnTo>
                  <a:pt x="206" y="648"/>
                </a:lnTo>
                <a:lnTo>
                  <a:pt x="208" y="647"/>
                </a:lnTo>
                <a:lnTo>
                  <a:pt x="209" y="644"/>
                </a:lnTo>
                <a:lnTo>
                  <a:pt x="211" y="641"/>
                </a:lnTo>
                <a:lnTo>
                  <a:pt x="214" y="632"/>
                </a:lnTo>
                <a:lnTo>
                  <a:pt x="215" y="622"/>
                </a:lnTo>
                <a:lnTo>
                  <a:pt x="216" y="599"/>
                </a:lnTo>
                <a:lnTo>
                  <a:pt x="217" y="584"/>
                </a:lnTo>
                <a:lnTo>
                  <a:pt x="213" y="584"/>
                </a:lnTo>
                <a:lnTo>
                  <a:pt x="211" y="583"/>
                </a:lnTo>
                <a:lnTo>
                  <a:pt x="210" y="581"/>
                </a:lnTo>
                <a:lnTo>
                  <a:pt x="210" y="580"/>
                </a:lnTo>
                <a:lnTo>
                  <a:pt x="210" y="579"/>
                </a:lnTo>
                <a:lnTo>
                  <a:pt x="209" y="578"/>
                </a:lnTo>
                <a:lnTo>
                  <a:pt x="207" y="577"/>
                </a:lnTo>
                <a:lnTo>
                  <a:pt x="204" y="577"/>
                </a:lnTo>
                <a:lnTo>
                  <a:pt x="197" y="564"/>
                </a:lnTo>
                <a:lnTo>
                  <a:pt x="185" y="565"/>
                </a:lnTo>
                <a:lnTo>
                  <a:pt x="171" y="565"/>
                </a:lnTo>
                <a:lnTo>
                  <a:pt x="159" y="565"/>
                </a:lnTo>
                <a:lnTo>
                  <a:pt x="147" y="56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89" name="Freeform 50">
            <a:extLst>
              <a:ext uri="{FF2B5EF4-FFF2-40B4-BE49-F238E27FC236}">
                <a16:creationId xmlns:a16="http://schemas.microsoft.com/office/drawing/2014/main" id="{D77BC054-5009-4AF2-8755-81DD419E554D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632700" y="2905125"/>
            <a:ext cx="429642" cy="285750"/>
          </a:xfrm>
          <a:custGeom>
            <a:avLst/>
            <a:gdLst/>
            <a:ahLst/>
            <a:cxnLst>
              <a:cxn ang="0">
                <a:pos x="146" y="973"/>
              </a:cxn>
              <a:cxn ang="0">
                <a:pos x="206" y="1032"/>
              </a:cxn>
              <a:cxn ang="0">
                <a:pos x="227" y="1102"/>
              </a:cxn>
              <a:cxn ang="0">
                <a:pos x="217" y="1281"/>
              </a:cxn>
              <a:cxn ang="0">
                <a:pos x="330" y="1227"/>
              </a:cxn>
              <a:cxn ang="0">
                <a:pos x="367" y="1178"/>
              </a:cxn>
              <a:cxn ang="0">
                <a:pos x="398" y="1136"/>
              </a:cxn>
              <a:cxn ang="0">
                <a:pos x="512" y="1095"/>
              </a:cxn>
              <a:cxn ang="0">
                <a:pos x="619" y="1066"/>
              </a:cxn>
              <a:cxn ang="0">
                <a:pos x="736" y="1021"/>
              </a:cxn>
              <a:cxn ang="0">
                <a:pos x="835" y="1043"/>
              </a:cxn>
              <a:cxn ang="0">
                <a:pos x="808" y="1212"/>
              </a:cxn>
              <a:cxn ang="0">
                <a:pos x="679" y="1242"/>
              </a:cxn>
              <a:cxn ang="0">
                <a:pos x="634" y="1291"/>
              </a:cxn>
              <a:cxn ang="0">
                <a:pos x="533" y="1338"/>
              </a:cxn>
              <a:cxn ang="0">
                <a:pos x="548" y="1429"/>
              </a:cxn>
              <a:cxn ang="0">
                <a:pos x="602" y="1458"/>
              </a:cxn>
              <a:cxn ang="0">
                <a:pos x="635" y="1504"/>
              </a:cxn>
              <a:cxn ang="0">
                <a:pos x="672" y="1553"/>
              </a:cxn>
              <a:cxn ang="0">
                <a:pos x="700" y="1579"/>
              </a:cxn>
              <a:cxn ang="0">
                <a:pos x="742" y="1624"/>
              </a:cxn>
              <a:cxn ang="0">
                <a:pos x="801" y="1684"/>
              </a:cxn>
              <a:cxn ang="0">
                <a:pos x="838" y="1726"/>
              </a:cxn>
              <a:cxn ang="0">
                <a:pos x="892" y="1755"/>
              </a:cxn>
              <a:cxn ang="0">
                <a:pos x="972" y="1695"/>
              </a:cxn>
              <a:cxn ang="0">
                <a:pos x="1010" y="1632"/>
              </a:cxn>
              <a:cxn ang="0">
                <a:pos x="1138" y="1674"/>
              </a:cxn>
              <a:cxn ang="0">
                <a:pos x="1262" y="1564"/>
              </a:cxn>
              <a:cxn ang="0">
                <a:pos x="1263" y="1451"/>
              </a:cxn>
              <a:cxn ang="0">
                <a:pos x="1308" y="1411"/>
              </a:cxn>
              <a:cxn ang="0">
                <a:pos x="1397" y="1338"/>
              </a:cxn>
              <a:cxn ang="0">
                <a:pos x="1986" y="1125"/>
              </a:cxn>
              <a:cxn ang="0">
                <a:pos x="2290" y="1044"/>
              </a:cxn>
              <a:cxn ang="0">
                <a:pos x="2310" y="933"/>
              </a:cxn>
              <a:cxn ang="0">
                <a:pos x="2282" y="895"/>
              </a:cxn>
              <a:cxn ang="0">
                <a:pos x="2294" y="781"/>
              </a:cxn>
              <a:cxn ang="0">
                <a:pos x="2328" y="750"/>
              </a:cxn>
              <a:cxn ang="0">
                <a:pos x="2163" y="676"/>
              </a:cxn>
              <a:cxn ang="0">
                <a:pos x="2086" y="625"/>
              </a:cxn>
              <a:cxn ang="0">
                <a:pos x="2011" y="581"/>
              </a:cxn>
              <a:cxn ang="0">
                <a:pos x="1916" y="543"/>
              </a:cxn>
              <a:cxn ang="0">
                <a:pos x="1716" y="426"/>
              </a:cxn>
              <a:cxn ang="0">
                <a:pos x="1605" y="378"/>
              </a:cxn>
              <a:cxn ang="0">
                <a:pos x="1524" y="313"/>
              </a:cxn>
              <a:cxn ang="0">
                <a:pos x="1464" y="227"/>
              </a:cxn>
              <a:cxn ang="0">
                <a:pos x="1416" y="118"/>
              </a:cxn>
              <a:cxn ang="0">
                <a:pos x="1376" y="14"/>
              </a:cxn>
              <a:cxn ang="0">
                <a:pos x="1317" y="44"/>
              </a:cxn>
              <a:cxn ang="0">
                <a:pos x="1277" y="101"/>
              </a:cxn>
              <a:cxn ang="0">
                <a:pos x="1226" y="175"/>
              </a:cxn>
              <a:cxn ang="0">
                <a:pos x="1185" y="334"/>
              </a:cxn>
              <a:cxn ang="0">
                <a:pos x="1056" y="424"/>
              </a:cxn>
              <a:cxn ang="0">
                <a:pos x="922" y="331"/>
              </a:cxn>
              <a:cxn ang="0">
                <a:pos x="881" y="375"/>
              </a:cxn>
              <a:cxn ang="0">
                <a:pos x="800" y="521"/>
              </a:cxn>
              <a:cxn ang="0">
                <a:pos x="630" y="531"/>
              </a:cxn>
              <a:cxn ang="0">
                <a:pos x="456" y="542"/>
              </a:cxn>
              <a:cxn ang="0">
                <a:pos x="423" y="581"/>
              </a:cxn>
              <a:cxn ang="0">
                <a:pos x="324" y="581"/>
              </a:cxn>
              <a:cxn ang="0">
                <a:pos x="274" y="516"/>
              </a:cxn>
              <a:cxn ang="0">
                <a:pos x="201" y="554"/>
              </a:cxn>
              <a:cxn ang="0">
                <a:pos x="25" y="600"/>
              </a:cxn>
              <a:cxn ang="0">
                <a:pos x="23" y="866"/>
              </a:cxn>
            </a:cxnLst>
            <a:rect l="0" t="0" r="r" b="b"/>
            <a:pathLst>
              <a:path w="2362" h="1772">
                <a:moveTo>
                  <a:pt x="31" y="913"/>
                </a:moveTo>
                <a:lnTo>
                  <a:pt x="43" y="913"/>
                </a:lnTo>
                <a:lnTo>
                  <a:pt x="51" y="920"/>
                </a:lnTo>
                <a:lnTo>
                  <a:pt x="51" y="937"/>
                </a:lnTo>
                <a:lnTo>
                  <a:pt x="61" y="938"/>
                </a:lnTo>
                <a:lnTo>
                  <a:pt x="71" y="942"/>
                </a:lnTo>
                <a:lnTo>
                  <a:pt x="83" y="947"/>
                </a:lnTo>
                <a:lnTo>
                  <a:pt x="96" y="953"/>
                </a:lnTo>
                <a:lnTo>
                  <a:pt x="108" y="958"/>
                </a:lnTo>
                <a:lnTo>
                  <a:pt x="121" y="964"/>
                </a:lnTo>
                <a:lnTo>
                  <a:pt x="134" y="967"/>
                </a:lnTo>
                <a:lnTo>
                  <a:pt x="146" y="968"/>
                </a:lnTo>
                <a:lnTo>
                  <a:pt x="146" y="973"/>
                </a:lnTo>
                <a:lnTo>
                  <a:pt x="147" y="975"/>
                </a:lnTo>
                <a:lnTo>
                  <a:pt x="148" y="976"/>
                </a:lnTo>
                <a:lnTo>
                  <a:pt x="150" y="976"/>
                </a:lnTo>
                <a:lnTo>
                  <a:pt x="151" y="976"/>
                </a:lnTo>
                <a:lnTo>
                  <a:pt x="153" y="977"/>
                </a:lnTo>
                <a:lnTo>
                  <a:pt x="154" y="980"/>
                </a:lnTo>
                <a:lnTo>
                  <a:pt x="154" y="984"/>
                </a:lnTo>
                <a:lnTo>
                  <a:pt x="169" y="984"/>
                </a:lnTo>
                <a:lnTo>
                  <a:pt x="182" y="996"/>
                </a:lnTo>
                <a:lnTo>
                  <a:pt x="193" y="1007"/>
                </a:lnTo>
                <a:lnTo>
                  <a:pt x="193" y="1024"/>
                </a:lnTo>
                <a:lnTo>
                  <a:pt x="202" y="1032"/>
                </a:lnTo>
                <a:lnTo>
                  <a:pt x="206" y="1032"/>
                </a:lnTo>
                <a:lnTo>
                  <a:pt x="208" y="1033"/>
                </a:lnTo>
                <a:lnTo>
                  <a:pt x="209" y="1034"/>
                </a:lnTo>
                <a:lnTo>
                  <a:pt x="209" y="1035"/>
                </a:lnTo>
                <a:lnTo>
                  <a:pt x="209" y="1037"/>
                </a:lnTo>
                <a:lnTo>
                  <a:pt x="211" y="1039"/>
                </a:lnTo>
                <a:lnTo>
                  <a:pt x="213" y="1039"/>
                </a:lnTo>
                <a:lnTo>
                  <a:pt x="217" y="1040"/>
                </a:lnTo>
                <a:lnTo>
                  <a:pt x="218" y="1052"/>
                </a:lnTo>
                <a:lnTo>
                  <a:pt x="221" y="1067"/>
                </a:lnTo>
                <a:lnTo>
                  <a:pt x="224" y="1082"/>
                </a:lnTo>
                <a:lnTo>
                  <a:pt x="225" y="1095"/>
                </a:lnTo>
                <a:lnTo>
                  <a:pt x="226" y="1097"/>
                </a:lnTo>
                <a:lnTo>
                  <a:pt x="227" y="1102"/>
                </a:lnTo>
                <a:lnTo>
                  <a:pt x="230" y="1111"/>
                </a:lnTo>
                <a:lnTo>
                  <a:pt x="231" y="1124"/>
                </a:lnTo>
                <a:lnTo>
                  <a:pt x="232" y="1153"/>
                </a:lnTo>
                <a:lnTo>
                  <a:pt x="233" y="1186"/>
                </a:lnTo>
                <a:lnTo>
                  <a:pt x="232" y="1220"/>
                </a:lnTo>
                <a:lnTo>
                  <a:pt x="230" y="1249"/>
                </a:lnTo>
                <a:lnTo>
                  <a:pt x="227" y="1260"/>
                </a:lnTo>
                <a:lnTo>
                  <a:pt x="224" y="1269"/>
                </a:lnTo>
                <a:lnTo>
                  <a:pt x="223" y="1272"/>
                </a:lnTo>
                <a:lnTo>
                  <a:pt x="221" y="1274"/>
                </a:lnTo>
                <a:lnTo>
                  <a:pt x="220" y="1276"/>
                </a:lnTo>
                <a:lnTo>
                  <a:pt x="217" y="1276"/>
                </a:lnTo>
                <a:lnTo>
                  <a:pt x="217" y="1281"/>
                </a:lnTo>
                <a:lnTo>
                  <a:pt x="216" y="1284"/>
                </a:lnTo>
                <a:lnTo>
                  <a:pt x="211" y="1284"/>
                </a:lnTo>
                <a:lnTo>
                  <a:pt x="204" y="1283"/>
                </a:lnTo>
                <a:lnTo>
                  <a:pt x="209" y="1292"/>
                </a:lnTo>
                <a:lnTo>
                  <a:pt x="232" y="1292"/>
                </a:lnTo>
                <a:lnTo>
                  <a:pt x="256" y="1292"/>
                </a:lnTo>
                <a:lnTo>
                  <a:pt x="280" y="1292"/>
                </a:lnTo>
                <a:lnTo>
                  <a:pt x="302" y="1292"/>
                </a:lnTo>
                <a:lnTo>
                  <a:pt x="303" y="1281"/>
                </a:lnTo>
                <a:lnTo>
                  <a:pt x="307" y="1263"/>
                </a:lnTo>
                <a:lnTo>
                  <a:pt x="310" y="1244"/>
                </a:lnTo>
                <a:lnTo>
                  <a:pt x="311" y="1227"/>
                </a:lnTo>
                <a:lnTo>
                  <a:pt x="330" y="1227"/>
                </a:lnTo>
                <a:lnTo>
                  <a:pt x="330" y="1209"/>
                </a:lnTo>
                <a:lnTo>
                  <a:pt x="339" y="1199"/>
                </a:lnTo>
                <a:lnTo>
                  <a:pt x="342" y="1199"/>
                </a:lnTo>
                <a:lnTo>
                  <a:pt x="346" y="1198"/>
                </a:lnTo>
                <a:lnTo>
                  <a:pt x="349" y="1196"/>
                </a:lnTo>
                <a:lnTo>
                  <a:pt x="352" y="1194"/>
                </a:lnTo>
                <a:lnTo>
                  <a:pt x="355" y="1192"/>
                </a:lnTo>
                <a:lnTo>
                  <a:pt x="356" y="1188"/>
                </a:lnTo>
                <a:lnTo>
                  <a:pt x="357" y="1185"/>
                </a:lnTo>
                <a:lnTo>
                  <a:pt x="358" y="1182"/>
                </a:lnTo>
                <a:lnTo>
                  <a:pt x="362" y="1180"/>
                </a:lnTo>
                <a:lnTo>
                  <a:pt x="366" y="1180"/>
                </a:lnTo>
                <a:lnTo>
                  <a:pt x="367" y="1178"/>
                </a:lnTo>
                <a:lnTo>
                  <a:pt x="367" y="1177"/>
                </a:lnTo>
                <a:lnTo>
                  <a:pt x="367" y="1175"/>
                </a:lnTo>
                <a:lnTo>
                  <a:pt x="368" y="1174"/>
                </a:lnTo>
                <a:lnTo>
                  <a:pt x="370" y="1173"/>
                </a:lnTo>
                <a:lnTo>
                  <a:pt x="376" y="1173"/>
                </a:lnTo>
                <a:lnTo>
                  <a:pt x="376" y="1154"/>
                </a:lnTo>
                <a:lnTo>
                  <a:pt x="379" y="1153"/>
                </a:lnTo>
                <a:lnTo>
                  <a:pt x="381" y="1150"/>
                </a:lnTo>
                <a:lnTo>
                  <a:pt x="384" y="1148"/>
                </a:lnTo>
                <a:lnTo>
                  <a:pt x="387" y="1145"/>
                </a:lnTo>
                <a:lnTo>
                  <a:pt x="389" y="1141"/>
                </a:lnTo>
                <a:lnTo>
                  <a:pt x="393" y="1138"/>
                </a:lnTo>
                <a:lnTo>
                  <a:pt x="398" y="1136"/>
                </a:lnTo>
                <a:lnTo>
                  <a:pt x="404" y="1135"/>
                </a:lnTo>
                <a:lnTo>
                  <a:pt x="413" y="1126"/>
                </a:lnTo>
                <a:lnTo>
                  <a:pt x="413" y="1108"/>
                </a:lnTo>
                <a:lnTo>
                  <a:pt x="423" y="1098"/>
                </a:lnTo>
                <a:lnTo>
                  <a:pt x="449" y="1098"/>
                </a:lnTo>
                <a:lnTo>
                  <a:pt x="451" y="1097"/>
                </a:lnTo>
                <a:lnTo>
                  <a:pt x="452" y="1096"/>
                </a:lnTo>
                <a:lnTo>
                  <a:pt x="453" y="1095"/>
                </a:lnTo>
                <a:lnTo>
                  <a:pt x="455" y="1093"/>
                </a:lnTo>
                <a:lnTo>
                  <a:pt x="461" y="1092"/>
                </a:lnTo>
                <a:lnTo>
                  <a:pt x="470" y="1092"/>
                </a:lnTo>
                <a:lnTo>
                  <a:pt x="489" y="1093"/>
                </a:lnTo>
                <a:lnTo>
                  <a:pt x="512" y="1095"/>
                </a:lnTo>
                <a:lnTo>
                  <a:pt x="524" y="1095"/>
                </a:lnTo>
                <a:lnTo>
                  <a:pt x="537" y="1095"/>
                </a:lnTo>
                <a:lnTo>
                  <a:pt x="548" y="1093"/>
                </a:lnTo>
                <a:lnTo>
                  <a:pt x="559" y="1092"/>
                </a:lnTo>
                <a:lnTo>
                  <a:pt x="569" y="1089"/>
                </a:lnTo>
                <a:lnTo>
                  <a:pt x="577" y="1084"/>
                </a:lnTo>
                <a:lnTo>
                  <a:pt x="581" y="1081"/>
                </a:lnTo>
                <a:lnTo>
                  <a:pt x="583" y="1078"/>
                </a:lnTo>
                <a:lnTo>
                  <a:pt x="587" y="1074"/>
                </a:lnTo>
                <a:lnTo>
                  <a:pt x="589" y="1071"/>
                </a:lnTo>
                <a:lnTo>
                  <a:pt x="616" y="1071"/>
                </a:lnTo>
                <a:lnTo>
                  <a:pt x="617" y="1068"/>
                </a:lnTo>
                <a:lnTo>
                  <a:pt x="619" y="1066"/>
                </a:lnTo>
                <a:lnTo>
                  <a:pt x="623" y="1063"/>
                </a:lnTo>
                <a:lnTo>
                  <a:pt x="627" y="1062"/>
                </a:lnTo>
                <a:lnTo>
                  <a:pt x="636" y="1061"/>
                </a:lnTo>
                <a:lnTo>
                  <a:pt x="644" y="1061"/>
                </a:lnTo>
                <a:lnTo>
                  <a:pt x="691" y="1033"/>
                </a:lnTo>
                <a:lnTo>
                  <a:pt x="708" y="1033"/>
                </a:lnTo>
                <a:lnTo>
                  <a:pt x="710" y="1031"/>
                </a:lnTo>
                <a:lnTo>
                  <a:pt x="712" y="1029"/>
                </a:lnTo>
                <a:lnTo>
                  <a:pt x="715" y="1026"/>
                </a:lnTo>
                <a:lnTo>
                  <a:pt x="719" y="1025"/>
                </a:lnTo>
                <a:lnTo>
                  <a:pt x="729" y="1024"/>
                </a:lnTo>
                <a:lnTo>
                  <a:pt x="736" y="1024"/>
                </a:lnTo>
                <a:lnTo>
                  <a:pt x="736" y="1021"/>
                </a:lnTo>
                <a:lnTo>
                  <a:pt x="737" y="1019"/>
                </a:lnTo>
                <a:lnTo>
                  <a:pt x="740" y="1018"/>
                </a:lnTo>
                <a:lnTo>
                  <a:pt x="742" y="1016"/>
                </a:lnTo>
                <a:lnTo>
                  <a:pt x="748" y="1015"/>
                </a:lnTo>
                <a:lnTo>
                  <a:pt x="755" y="1015"/>
                </a:lnTo>
                <a:lnTo>
                  <a:pt x="755" y="996"/>
                </a:lnTo>
                <a:lnTo>
                  <a:pt x="770" y="996"/>
                </a:lnTo>
                <a:lnTo>
                  <a:pt x="788" y="996"/>
                </a:lnTo>
                <a:lnTo>
                  <a:pt x="804" y="996"/>
                </a:lnTo>
                <a:lnTo>
                  <a:pt x="819" y="996"/>
                </a:lnTo>
                <a:lnTo>
                  <a:pt x="822" y="1011"/>
                </a:lnTo>
                <a:lnTo>
                  <a:pt x="830" y="1032"/>
                </a:lnTo>
                <a:lnTo>
                  <a:pt x="835" y="1043"/>
                </a:lnTo>
                <a:lnTo>
                  <a:pt x="839" y="1052"/>
                </a:lnTo>
                <a:lnTo>
                  <a:pt x="841" y="1057"/>
                </a:lnTo>
                <a:lnTo>
                  <a:pt x="844" y="1059"/>
                </a:lnTo>
                <a:lnTo>
                  <a:pt x="846" y="1061"/>
                </a:lnTo>
                <a:lnTo>
                  <a:pt x="847" y="1061"/>
                </a:lnTo>
                <a:lnTo>
                  <a:pt x="847" y="1182"/>
                </a:lnTo>
                <a:lnTo>
                  <a:pt x="838" y="1191"/>
                </a:lnTo>
                <a:lnTo>
                  <a:pt x="829" y="1199"/>
                </a:lnTo>
                <a:lnTo>
                  <a:pt x="826" y="1201"/>
                </a:lnTo>
                <a:lnTo>
                  <a:pt x="822" y="1202"/>
                </a:lnTo>
                <a:lnTo>
                  <a:pt x="818" y="1203"/>
                </a:lnTo>
                <a:lnTo>
                  <a:pt x="815" y="1206"/>
                </a:lnTo>
                <a:lnTo>
                  <a:pt x="808" y="1212"/>
                </a:lnTo>
                <a:lnTo>
                  <a:pt x="801" y="1218"/>
                </a:lnTo>
                <a:lnTo>
                  <a:pt x="779" y="1220"/>
                </a:lnTo>
                <a:lnTo>
                  <a:pt x="754" y="1223"/>
                </a:lnTo>
                <a:lnTo>
                  <a:pt x="727" y="1226"/>
                </a:lnTo>
                <a:lnTo>
                  <a:pt x="700" y="1227"/>
                </a:lnTo>
                <a:lnTo>
                  <a:pt x="700" y="1231"/>
                </a:lnTo>
                <a:lnTo>
                  <a:pt x="697" y="1233"/>
                </a:lnTo>
                <a:lnTo>
                  <a:pt x="696" y="1234"/>
                </a:lnTo>
                <a:lnTo>
                  <a:pt x="694" y="1235"/>
                </a:lnTo>
                <a:lnTo>
                  <a:pt x="687" y="1236"/>
                </a:lnTo>
                <a:lnTo>
                  <a:pt x="681" y="1236"/>
                </a:lnTo>
                <a:lnTo>
                  <a:pt x="681" y="1240"/>
                </a:lnTo>
                <a:lnTo>
                  <a:pt x="679" y="1242"/>
                </a:lnTo>
                <a:lnTo>
                  <a:pt x="677" y="1244"/>
                </a:lnTo>
                <a:lnTo>
                  <a:pt x="675" y="1245"/>
                </a:lnTo>
                <a:lnTo>
                  <a:pt x="669" y="1246"/>
                </a:lnTo>
                <a:lnTo>
                  <a:pt x="663" y="1246"/>
                </a:lnTo>
                <a:lnTo>
                  <a:pt x="663" y="1264"/>
                </a:lnTo>
                <a:lnTo>
                  <a:pt x="654" y="1274"/>
                </a:lnTo>
                <a:lnTo>
                  <a:pt x="644" y="1283"/>
                </a:lnTo>
                <a:lnTo>
                  <a:pt x="638" y="1283"/>
                </a:lnTo>
                <a:lnTo>
                  <a:pt x="636" y="1284"/>
                </a:lnTo>
                <a:lnTo>
                  <a:pt x="635" y="1285"/>
                </a:lnTo>
                <a:lnTo>
                  <a:pt x="635" y="1288"/>
                </a:lnTo>
                <a:lnTo>
                  <a:pt x="635" y="1290"/>
                </a:lnTo>
                <a:lnTo>
                  <a:pt x="634" y="1291"/>
                </a:lnTo>
                <a:lnTo>
                  <a:pt x="630" y="1292"/>
                </a:lnTo>
                <a:lnTo>
                  <a:pt x="626" y="1292"/>
                </a:lnTo>
                <a:lnTo>
                  <a:pt x="616" y="1311"/>
                </a:lnTo>
                <a:lnTo>
                  <a:pt x="600" y="1311"/>
                </a:lnTo>
                <a:lnTo>
                  <a:pt x="581" y="1313"/>
                </a:lnTo>
                <a:lnTo>
                  <a:pt x="573" y="1316"/>
                </a:lnTo>
                <a:lnTo>
                  <a:pt x="567" y="1319"/>
                </a:lnTo>
                <a:lnTo>
                  <a:pt x="564" y="1321"/>
                </a:lnTo>
                <a:lnTo>
                  <a:pt x="562" y="1323"/>
                </a:lnTo>
                <a:lnTo>
                  <a:pt x="561" y="1326"/>
                </a:lnTo>
                <a:lnTo>
                  <a:pt x="561" y="1329"/>
                </a:lnTo>
                <a:lnTo>
                  <a:pt x="542" y="1329"/>
                </a:lnTo>
                <a:lnTo>
                  <a:pt x="533" y="1338"/>
                </a:lnTo>
                <a:lnTo>
                  <a:pt x="524" y="1348"/>
                </a:lnTo>
                <a:lnTo>
                  <a:pt x="514" y="1357"/>
                </a:lnTo>
                <a:lnTo>
                  <a:pt x="505" y="1366"/>
                </a:lnTo>
                <a:lnTo>
                  <a:pt x="496" y="1376"/>
                </a:lnTo>
                <a:lnTo>
                  <a:pt x="496" y="1385"/>
                </a:lnTo>
                <a:lnTo>
                  <a:pt x="496" y="1398"/>
                </a:lnTo>
                <a:lnTo>
                  <a:pt x="496" y="1411"/>
                </a:lnTo>
                <a:lnTo>
                  <a:pt x="496" y="1422"/>
                </a:lnTo>
                <a:lnTo>
                  <a:pt x="533" y="1422"/>
                </a:lnTo>
                <a:lnTo>
                  <a:pt x="534" y="1425"/>
                </a:lnTo>
                <a:lnTo>
                  <a:pt x="538" y="1427"/>
                </a:lnTo>
                <a:lnTo>
                  <a:pt x="542" y="1428"/>
                </a:lnTo>
                <a:lnTo>
                  <a:pt x="548" y="1429"/>
                </a:lnTo>
                <a:lnTo>
                  <a:pt x="560" y="1430"/>
                </a:lnTo>
                <a:lnTo>
                  <a:pt x="570" y="1430"/>
                </a:lnTo>
                <a:lnTo>
                  <a:pt x="570" y="1434"/>
                </a:lnTo>
                <a:lnTo>
                  <a:pt x="571" y="1436"/>
                </a:lnTo>
                <a:lnTo>
                  <a:pt x="573" y="1438"/>
                </a:lnTo>
                <a:lnTo>
                  <a:pt x="576" y="1439"/>
                </a:lnTo>
                <a:lnTo>
                  <a:pt x="582" y="1439"/>
                </a:lnTo>
                <a:lnTo>
                  <a:pt x="589" y="1441"/>
                </a:lnTo>
                <a:lnTo>
                  <a:pt x="598" y="1449"/>
                </a:lnTo>
                <a:lnTo>
                  <a:pt x="598" y="1455"/>
                </a:lnTo>
                <a:lnTo>
                  <a:pt x="599" y="1457"/>
                </a:lnTo>
                <a:lnTo>
                  <a:pt x="600" y="1458"/>
                </a:lnTo>
                <a:lnTo>
                  <a:pt x="602" y="1458"/>
                </a:lnTo>
                <a:lnTo>
                  <a:pt x="605" y="1458"/>
                </a:lnTo>
                <a:lnTo>
                  <a:pt x="606" y="1459"/>
                </a:lnTo>
                <a:lnTo>
                  <a:pt x="607" y="1463"/>
                </a:lnTo>
                <a:lnTo>
                  <a:pt x="607" y="1467"/>
                </a:lnTo>
                <a:lnTo>
                  <a:pt x="614" y="1468"/>
                </a:lnTo>
                <a:lnTo>
                  <a:pt x="618" y="1471"/>
                </a:lnTo>
                <a:lnTo>
                  <a:pt x="621" y="1474"/>
                </a:lnTo>
                <a:lnTo>
                  <a:pt x="625" y="1477"/>
                </a:lnTo>
                <a:lnTo>
                  <a:pt x="627" y="1481"/>
                </a:lnTo>
                <a:lnTo>
                  <a:pt x="629" y="1483"/>
                </a:lnTo>
                <a:lnTo>
                  <a:pt x="631" y="1485"/>
                </a:lnTo>
                <a:lnTo>
                  <a:pt x="635" y="1486"/>
                </a:lnTo>
                <a:lnTo>
                  <a:pt x="635" y="1504"/>
                </a:lnTo>
                <a:lnTo>
                  <a:pt x="644" y="1514"/>
                </a:lnTo>
                <a:lnTo>
                  <a:pt x="649" y="1514"/>
                </a:lnTo>
                <a:lnTo>
                  <a:pt x="652" y="1515"/>
                </a:lnTo>
                <a:lnTo>
                  <a:pt x="653" y="1516"/>
                </a:lnTo>
                <a:lnTo>
                  <a:pt x="654" y="1519"/>
                </a:lnTo>
                <a:lnTo>
                  <a:pt x="654" y="1520"/>
                </a:lnTo>
                <a:lnTo>
                  <a:pt x="655" y="1522"/>
                </a:lnTo>
                <a:lnTo>
                  <a:pt x="657" y="1523"/>
                </a:lnTo>
                <a:lnTo>
                  <a:pt x="663" y="1523"/>
                </a:lnTo>
                <a:lnTo>
                  <a:pt x="663" y="1551"/>
                </a:lnTo>
                <a:lnTo>
                  <a:pt x="668" y="1551"/>
                </a:lnTo>
                <a:lnTo>
                  <a:pt x="671" y="1552"/>
                </a:lnTo>
                <a:lnTo>
                  <a:pt x="672" y="1553"/>
                </a:lnTo>
                <a:lnTo>
                  <a:pt x="672" y="1555"/>
                </a:lnTo>
                <a:lnTo>
                  <a:pt x="672" y="1558"/>
                </a:lnTo>
                <a:lnTo>
                  <a:pt x="673" y="1559"/>
                </a:lnTo>
                <a:lnTo>
                  <a:pt x="676" y="1560"/>
                </a:lnTo>
                <a:lnTo>
                  <a:pt x="681" y="1560"/>
                </a:lnTo>
                <a:lnTo>
                  <a:pt x="682" y="1563"/>
                </a:lnTo>
                <a:lnTo>
                  <a:pt x="683" y="1567"/>
                </a:lnTo>
                <a:lnTo>
                  <a:pt x="684" y="1570"/>
                </a:lnTo>
                <a:lnTo>
                  <a:pt x="687" y="1573"/>
                </a:lnTo>
                <a:lnTo>
                  <a:pt x="689" y="1576"/>
                </a:lnTo>
                <a:lnTo>
                  <a:pt x="693" y="1577"/>
                </a:lnTo>
                <a:lnTo>
                  <a:pt x="696" y="1578"/>
                </a:lnTo>
                <a:lnTo>
                  <a:pt x="700" y="1579"/>
                </a:lnTo>
                <a:lnTo>
                  <a:pt x="708" y="1588"/>
                </a:lnTo>
                <a:lnTo>
                  <a:pt x="717" y="1597"/>
                </a:lnTo>
                <a:lnTo>
                  <a:pt x="719" y="1600"/>
                </a:lnTo>
                <a:lnTo>
                  <a:pt x="720" y="1603"/>
                </a:lnTo>
                <a:lnTo>
                  <a:pt x="721" y="1607"/>
                </a:lnTo>
                <a:lnTo>
                  <a:pt x="724" y="1610"/>
                </a:lnTo>
                <a:lnTo>
                  <a:pt x="726" y="1612"/>
                </a:lnTo>
                <a:lnTo>
                  <a:pt x="730" y="1614"/>
                </a:lnTo>
                <a:lnTo>
                  <a:pt x="733" y="1615"/>
                </a:lnTo>
                <a:lnTo>
                  <a:pt x="736" y="1616"/>
                </a:lnTo>
                <a:lnTo>
                  <a:pt x="737" y="1619"/>
                </a:lnTo>
                <a:lnTo>
                  <a:pt x="740" y="1621"/>
                </a:lnTo>
                <a:lnTo>
                  <a:pt x="742" y="1624"/>
                </a:lnTo>
                <a:lnTo>
                  <a:pt x="745" y="1626"/>
                </a:lnTo>
                <a:lnTo>
                  <a:pt x="749" y="1629"/>
                </a:lnTo>
                <a:lnTo>
                  <a:pt x="752" y="1632"/>
                </a:lnTo>
                <a:lnTo>
                  <a:pt x="754" y="1637"/>
                </a:lnTo>
                <a:lnTo>
                  <a:pt x="755" y="1644"/>
                </a:lnTo>
                <a:lnTo>
                  <a:pt x="764" y="1653"/>
                </a:lnTo>
                <a:lnTo>
                  <a:pt x="769" y="1653"/>
                </a:lnTo>
                <a:lnTo>
                  <a:pt x="773" y="1655"/>
                </a:lnTo>
                <a:lnTo>
                  <a:pt x="778" y="1657"/>
                </a:lnTo>
                <a:lnTo>
                  <a:pt x="782" y="1659"/>
                </a:lnTo>
                <a:lnTo>
                  <a:pt x="789" y="1667"/>
                </a:lnTo>
                <a:lnTo>
                  <a:pt x="796" y="1676"/>
                </a:lnTo>
                <a:lnTo>
                  <a:pt x="801" y="1684"/>
                </a:lnTo>
                <a:lnTo>
                  <a:pt x="807" y="1692"/>
                </a:lnTo>
                <a:lnTo>
                  <a:pt x="810" y="1694"/>
                </a:lnTo>
                <a:lnTo>
                  <a:pt x="813" y="1696"/>
                </a:lnTo>
                <a:lnTo>
                  <a:pt x="816" y="1698"/>
                </a:lnTo>
                <a:lnTo>
                  <a:pt x="819" y="1698"/>
                </a:lnTo>
                <a:lnTo>
                  <a:pt x="820" y="1705"/>
                </a:lnTo>
                <a:lnTo>
                  <a:pt x="822" y="1709"/>
                </a:lnTo>
                <a:lnTo>
                  <a:pt x="826" y="1713"/>
                </a:lnTo>
                <a:lnTo>
                  <a:pt x="829" y="1716"/>
                </a:lnTo>
                <a:lnTo>
                  <a:pt x="832" y="1718"/>
                </a:lnTo>
                <a:lnTo>
                  <a:pt x="835" y="1721"/>
                </a:lnTo>
                <a:lnTo>
                  <a:pt x="837" y="1723"/>
                </a:lnTo>
                <a:lnTo>
                  <a:pt x="838" y="1726"/>
                </a:lnTo>
                <a:lnTo>
                  <a:pt x="857" y="1726"/>
                </a:lnTo>
                <a:lnTo>
                  <a:pt x="857" y="1730"/>
                </a:lnTo>
                <a:lnTo>
                  <a:pt x="859" y="1733"/>
                </a:lnTo>
                <a:lnTo>
                  <a:pt x="863" y="1736"/>
                </a:lnTo>
                <a:lnTo>
                  <a:pt x="867" y="1739"/>
                </a:lnTo>
                <a:lnTo>
                  <a:pt x="876" y="1743"/>
                </a:lnTo>
                <a:lnTo>
                  <a:pt x="884" y="1745"/>
                </a:lnTo>
                <a:lnTo>
                  <a:pt x="885" y="1750"/>
                </a:lnTo>
                <a:lnTo>
                  <a:pt x="886" y="1753"/>
                </a:lnTo>
                <a:lnTo>
                  <a:pt x="887" y="1754"/>
                </a:lnTo>
                <a:lnTo>
                  <a:pt x="889" y="1754"/>
                </a:lnTo>
                <a:lnTo>
                  <a:pt x="890" y="1754"/>
                </a:lnTo>
                <a:lnTo>
                  <a:pt x="892" y="1755"/>
                </a:lnTo>
                <a:lnTo>
                  <a:pt x="893" y="1757"/>
                </a:lnTo>
                <a:lnTo>
                  <a:pt x="894" y="1763"/>
                </a:lnTo>
                <a:lnTo>
                  <a:pt x="906" y="1764"/>
                </a:lnTo>
                <a:lnTo>
                  <a:pt x="927" y="1768"/>
                </a:lnTo>
                <a:lnTo>
                  <a:pt x="950" y="1771"/>
                </a:lnTo>
                <a:lnTo>
                  <a:pt x="967" y="1772"/>
                </a:lnTo>
                <a:lnTo>
                  <a:pt x="969" y="1760"/>
                </a:lnTo>
                <a:lnTo>
                  <a:pt x="972" y="1739"/>
                </a:lnTo>
                <a:lnTo>
                  <a:pt x="975" y="1716"/>
                </a:lnTo>
                <a:lnTo>
                  <a:pt x="976" y="1698"/>
                </a:lnTo>
                <a:lnTo>
                  <a:pt x="975" y="1698"/>
                </a:lnTo>
                <a:lnTo>
                  <a:pt x="973" y="1697"/>
                </a:lnTo>
                <a:lnTo>
                  <a:pt x="972" y="1695"/>
                </a:lnTo>
                <a:lnTo>
                  <a:pt x="971" y="1693"/>
                </a:lnTo>
                <a:lnTo>
                  <a:pt x="970" y="1686"/>
                </a:lnTo>
                <a:lnTo>
                  <a:pt x="969" y="1679"/>
                </a:lnTo>
                <a:lnTo>
                  <a:pt x="967" y="1664"/>
                </a:lnTo>
                <a:lnTo>
                  <a:pt x="967" y="1653"/>
                </a:lnTo>
                <a:lnTo>
                  <a:pt x="981" y="1648"/>
                </a:lnTo>
                <a:lnTo>
                  <a:pt x="995" y="1644"/>
                </a:lnTo>
                <a:lnTo>
                  <a:pt x="995" y="1637"/>
                </a:lnTo>
                <a:lnTo>
                  <a:pt x="996" y="1632"/>
                </a:lnTo>
                <a:lnTo>
                  <a:pt x="999" y="1630"/>
                </a:lnTo>
                <a:lnTo>
                  <a:pt x="1002" y="1630"/>
                </a:lnTo>
                <a:lnTo>
                  <a:pt x="1005" y="1630"/>
                </a:lnTo>
                <a:lnTo>
                  <a:pt x="1010" y="1632"/>
                </a:lnTo>
                <a:lnTo>
                  <a:pt x="1015" y="1636"/>
                </a:lnTo>
                <a:lnTo>
                  <a:pt x="1022" y="1639"/>
                </a:lnTo>
                <a:lnTo>
                  <a:pt x="1036" y="1649"/>
                </a:lnTo>
                <a:lnTo>
                  <a:pt x="1052" y="1659"/>
                </a:lnTo>
                <a:lnTo>
                  <a:pt x="1062" y="1664"/>
                </a:lnTo>
                <a:lnTo>
                  <a:pt x="1072" y="1668"/>
                </a:lnTo>
                <a:lnTo>
                  <a:pt x="1082" y="1672"/>
                </a:lnTo>
                <a:lnTo>
                  <a:pt x="1094" y="1674"/>
                </a:lnTo>
                <a:lnTo>
                  <a:pt x="1105" y="1676"/>
                </a:lnTo>
                <a:lnTo>
                  <a:pt x="1115" y="1677"/>
                </a:lnTo>
                <a:lnTo>
                  <a:pt x="1124" y="1677"/>
                </a:lnTo>
                <a:lnTo>
                  <a:pt x="1132" y="1676"/>
                </a:lnTo>
                <a:lnTo>
                  <a:pt x="1138" y="1674"/>
                </a:lnTo>
                <a:lnTo>
                  <a:pt x="1145" y="1672"/>
                </a:lnTo>
                <a:lnTo>
                  <a:pt x="1152" y="1669"/>
                </a:lnTo>
                <a:lnTo>
                  <a:pt x="1157" y="1666"/>
                </a:lnTo>
                <a:lnTo>
                  <a:pt x="1174" y="1651"/>
                </a:lnTo>
                <a:lnTo>
                  <a:pt x="1190" y="1636"/>
                </a:lnTo>
                <a:lnTo>
                  <a:pt x="1210" y="1620"/>
                </a:lnTo>
                <a:lnTo>
                  <a:pt x="1231" y="1603"/>
                </a:lnTo>
                <a:lnTo>
                  <a:pt x="1241" y="1595"/>
                </a:lnTo>
                <a:lnTo>
                  <a:pt x="1250" y="1586"/>
                </a:lnTo>
                <a:lnTo>
                  <a:pt x="1254" y="1581"/>
                </a:lnTo>
                <a:lnTo>
                  <a:pt x="1257" y="1576"/>
                </a:lnTo>
                <a:lnTo>
                  <a:pt x="1260" y="1570"/>
                </a:lnTo>
                <a:lnTo>
                  <a:pt x="1262" y="1564"/>
                </a:lnTo>
                <a:lnTo>
                  <a:pt x="1263" y="1552"/>
                </a:lnTo>
                <a:lnTo>
                  <a:pt x="1263" y="1540"/>
                </a:lnTo>
                <a:lnTo>
                  <a:pt x="1261" y="1526"/>
                </a:lnTo>
                <a:lnTo>
                  <a:pt x="1259" y="1513"/>
                </a:lnTo>
                <a:lnTo>
                  <a:pt x="1257" y="1500"/>
                </a:lnTo>
                <a:lnTo>
                  <a:pt x="1254" y="1486"/>
                </a:lnTo>
                <a:lnTo>
                  <a:pt x="1254" y="1480"/>
                </a:lnTo>
                <a:lnTo>
                  <a:pt x="1254" y="1473"/>
                </a:lnTo>
                <a:lnTo>
                  <a:pt x="1255" y="1466"/>
                </a:lnTo>
                <a:lnTo>
                  <a:pt x="1258" y="1459"/>
                </a:lnTo>
                <a:lnTo>
                  <a:pt x="1259" y="1456"/>
                </a:lnTo>
                <a:lnTo>
                  <a:pt x="1261" y="1453"/>
                </a:lnTo>
                <a:lnTo>
                  <a:pt x="1263" y="1451"/>
                </a:lnTo>
                <a:lnTo>
                  <a:pt x="1267" y="1448"/>
                </a:lnTo>
                <a:lnTo>
                  <a:pt x="1273" y="1444"/>
                </a:lnTo>
                <a:lnTo>
                  <a:pt x="1281" y="1439"/>
                </a:lnTo>
                <a:lnTo>
                  <a:pt x="1288" y="1436"/>
                </a:lnTo>
                <a:lnTo>
                  <a:pt x="1295" y="1433"/>
                </a:lnTo>
                <a:lnTo>
                  <a:pt x="1297" y="1430"/>
                </a:lnTo>
                <a:lnTo>
                  <a:pt x="1298" y="1427"/>
                </a:lnTo>
                <a:lnTo>
                  <a:pt x="1299" y="1425"/>
                </a:lnTo>
                <a:lnTo>
                  <a:pt x="1300" y="1422"/>
                </a:lnTo>
                <a:lnTo>
                  <a:pt x="1303" y="1420"/>
                </a:lnTo>
                <a:lnTo>
                  <a:pt x="1306" y="1418"/>
                </a:lnTo>
                <a:lnTo>
                  <a:pt x="1307" y="1415"/>
                </a:lnTo>
                <a:lnTo>
                  <a:pt x="1308" y="1411"/>
                </a:lnTo>
                <a:lnTo>
                  <a:pt x="1309" y="1403"/>
                </a:lnTo>
                <a:lnTo>
                  <a:pt x="1309" y="1394"/>
                </a:lnTo>
                <a:lnTo>
                  <a:pt x="1328" y="1394"/>
                </a:lnTo>
                <a:lnTo>
                  <a:pt x="1332" y="1380"/>
                </a:lnTo>
                <a:lnTo>
                  <a:pt x="1337" y="1366"/>
                </a:lnTo>
                <a:lnTo>
                  <a:pt x="1345" y="1365"/>
                </a:lnTo>
                <a:lnTo>
                  <a:pt x="1354" y="1360"/>
                </a:lnTo>
                <a:lnTo>
                  <a:pt x="1358" y="1358"/>
                </a:lnTo>
                <a:lnTo>
                  <a:pt x="1362" y="1355"/>
                </a:lnTo>
                <a:lnTo>
                  <a:pt x="1364" y="1351"/>
                </a:lnTo>
                <a:lnTo>
                  <a:pt x="1365" y="1348"/>
                </a:lnTo>
                <a:lnTo>
                  <a:pt x="1383" y="1348"/>
                </a:lnTo>
                <a:lnTo>
                  <a:pt x="1397" y="1338"/>
                </a:lnTo>
                <a:lnTo>
                  <a:pt x="1427" y="1322"/>
                </a:lnTo>
                <a:lnTo>
                  <a:pt x="1471" y="1301"/>
                </a:lnTo>
                <a:lnTo>
                  <a:pt x="1527" y="1276"/>
                </a:lnTo>
                <a:lnTo>
                  <a:pt x="1593" y="1249"/>
                </a:lnTo>
                <a:lnTo>
                  <a:pt x="1666" y="1221"/>
                </a:lnTo>
                <a:lnTo>
                  <a:pt x="1706" y="1207"/>
                </a:lnTo>
                <a:lnTo>
                  <a:pt x="1747" y="1194"/>
                </a:lnTo>
                <a:lnTo>
                  <a:pt x="1789" y="1180"/>
                </a:lnTo>
                <a:lnTo>
                  <a:pt x="1831" y="1168"/>
                </a:lnTo>
                <a:lnTo>
                  <a:pt x="1868" y="1158"/>
                </a:lnTo>
                <a:lnTo>
                  <a:pt x="1907" y="1147"/>
                </a:lnTo>
                <a:lnTo>
                  <a:pt x="1946" y="1136"/>
                </a:lnTo>
                <a:lnTo>
                  <a:pt x="1986" y="1125"/>
                </a:lnTo>
                <a:lnTo>
                  <a:pt x="2025" y="1116"/>
                </a:lnTo>
                <a:lnTo>
                  <a:pt x="2061" y="1107"/>
                </a:lnTo>
                <a:lnTo>
                  <a:pt x="2097" y="1099"/>
                </a:lnTo>
                <a:lnTo>
                  <a:pt x="2131" y="1095"/>
                </a:lnTo>
                <a:lnTo>
                  <a:pt x="2140" y="1092"/>
                </a:lnTo>
                <a:lnTo>
                  <a:pt x="2150" y="1089"/>
                </a:lnTo>
                <a:lnTo>
                  <a:pt x="2161" y="1084"/>
                </a:lnTo>
                <a:lnTo>
                  <a:pt x="2171" y="1080"/>
                </a:lnTo>
                <a:lnTo>
                  <a:pt x="2195" y="1069"/>
                </a:lnTo>
                <a:lnTo>
                  <a:pt x="2226" y="1059"/>
                </a:lnTo>
                <a:lnTo>
                  <a:pt x="2247" y="1053"/>
                </a:lnTo>
                <a:lnTo>
                  <a:pt x="2268" y="1049"/>
                </a:lnTo>
                <a:lnTo>
                  <a:pt x="2290" y="1044"/>
                </a:lnTo>
                <a:lnTo>
                  <a:pt x="2310" y="1040"/>
                </a:lnTo>
                <a:lnTo>
                  <a:pt x="2344" y="1035"/>
                </a:lnTo>
                <a:lnTo>
                  <a:pt x="2362" y="1033"/>
                </a:lnTo>
                <a:lnTo>
                  <a:pt x="2362" y="978"/>
                </a:lnTo>
                <a:lnTo>
                  <a:pt x="2344" y="978"/>
                </a:lnTo>
                <a:lnTo>
                  <a:pt x="2335" y="968"/>
                </a:lnTo>
                <a:lnTo>
                  <a:pt x="2330" y="955"/>
                </a:lnTo>
                <a:lnTo>
                  <a:pt x="2325" y="942"/>
                </a:lnTo>
                <a:lnTo>
                  <a:pt x="2322" y="941"/>
                </a:lnTo>
                <a:lnTo>
                  <a:pt x="2318" y="939"/>
                </a:lnTo>
                <a:lnTo>
                  <a:pt x="2315" y="938"/>
                </a:lnTo>
                <a:lnTo>
                  <a:pt x="2313" y="935"/>
                </a:lnTo>
                <a:lnTo>
                  <a:pt x="2310" y="933"/>
                </a:lnTo>
                <a:lnTo>
                  <a:pt x="2308" y="929"/>
                </a:lnTo>
                <a:lnTo>
                  <a:pt x="2307" y="926"/>
                </a:lnTo>
                <a:lnTo>
                  <a:pt x="2307" y="923"/>
                </a:lnTo>
                <a:lnTo>
                  <a:pt x="2301" y="923"/>
                </a:lnTo>
                <a:lnTo>
                  <a:pt x="2299" y="922"/>
                </a:lnTo>
                <a:lnTo>
                  <a:pt x="2298" y="920"/>
                </a:lnTo>
                <a:lnTo>
                  <a:pt x="2298" y="918"/>
                </a:lnTo>
                <a:lnTo>
                  <a:pt x="2297" y="916"/>
                </a:lnTo>
                <a:lnTo>
                  <a:pt x="2297" y="915"/>
                </a:lnTo>
                <a:lnTo>
                  <a:pt x="2294" y="914"/>
                </a:lnTo>
                <a:lnTo>
                  <a:pt x="2288" y="914"/>
                </a:lnTo>
                <a:lnTo>
                  <a:pt x="2288" y="895"/>
                </a:lnTo>
                <a:lnTo>
                  <a:pt x="2282" y="895"/>
                </a:lnTo>
                <a:lnTo>
                  <a:pt x="2280" y="894"/>
                </a:lnTo>
                <a:lnTo>
                  <a:pt x="2279" y="893"/>
                </a:lnTo>
                <a:lnTo>
                  <a:pt x="2279" y="890"/>
                </a:lnTo>
                <a:lnTo>
                  <a:pt x="2279" y="889"/>
                </a:lnTo>
                <a:lnTo>
                  <a:pt x="2278" y="887"/>
                </a:lnTo>
                <a:lnTo>
                  <a:pt x="2275" y="886"/>
                </a:lnTo>
                <a:lnTo>
                  <a:pt x="2270" y="886"/>
                </a:lnTo>
                <a:lnTo>
                  <a:pt x="2270" y="793"/>
                </a:lnTo>
                <a:lnTo>
                  <a:pt x="2274" y="793"/>
                </a:lnTo>
                <a:lnTo>
                  <a:pt x="2278" y="791"/>
                </a:lnTo>
                <a:lnTo>
                  <a:pt x="2284" y="788"/>
                </a:lnTo>
                <a:lnTo>
                  <a:pt x="2288" y="784"/>
                </a:lnTo>
                <a:lnTo>
                  <a:pt x="2294" y="781"/>
                </a:lnTo>
                <a:lnTo>
                  <a:pt x="2298" y="778"/>
                </a:lnTo>
                <a:lnTo>
                  <a:pt x="2303" y="775"/>
                </a:lnTo>
                <a:lnTo>
                  <a:pt x="2307" y="775"/>
                </a:lnTo>
                <a:lnTo>
                  <a:pt x="2307" y="772"/>
                </a:lnTo>
                <a:lnTo>
                  <a:pt x="2308" y="769"/>
                </a:lnTo>
                <a:lnTo>
                  <a:pt x="2310" y="765"/>
                </a:lnTo>
                <a:lnTo>
                  <a:pt x="2313" y="762"/>
                </a:lnTo>
                <a:lnTo>
                  <a:pt x="2315" y="760"/>
                </a:lnTo>
                <a:lnTo>
                  <a:pt x="2318" y="759"/>
                </a:lnTo>
                <a:lnTo>
                  <a:pt x="2322" y="757"/>
                </a:lnTo>
                <a:lnTo>
                  <a:pt x="2325" y="756"/>
                </a:lnTo>
                <a:lnTo>
                  <a:pt x="2326" y="753"/>
                </a:lnTo>
                <a:lnTo>
                  <a:pt x="2328" y="750"/>
                </a:lnTo>
                <a:lnTo>
                  <a:pt x="2332" y="746"/>
                </a:lnTo>
                <a:lnTo>
                  <a:pt x="2335" y="744"/>
                </a:lnTo>
                <a:lnTo>
                  <a:pt x="2341" y="740"/>
                </a:lnTo>
                <a:lnTo>
                  <a:pt x="2344" y="739"/>
                </a:lnTo>
                <a:lnTo>
                  <a:pt x="2344" y="711"/>
                </a:lnTo>
                <a:lnTo>
                  <a:pt x="2308" y="708"/>
                </a:lnTo>
                <a:lnTo>
                  <a:pt x="2271" y="706"/>
                </a:lnTo>
                <a:lnTo>
                  <a:pt x="2236" y="703"/>
                </a:lnTo>
                <a:lnTo>
                  <a:pt x="2205" y="701"/>
                </a:lnTo>
                <a:lnTo>
                  <a:pt x="2197" y="683"/>
                </a:lnTo>
                <a:lnTo>
                  <a:pt x="2185" y="682"/>
                </a:lnTo>
                <a:lnTo>
                  <a:pt x="2174" y="679"/>
                </a:lnTo>
                <a:lnTo>
                  <a:pt x="2163" y="676"/>
                </a:lnTo>
                <a:lnTo>
                  <a:pt x="2152" y="672"/>
                </a:lnTo>
                <a:lnTo>
                  <a:pt x="2142" y="666"/>
                </a:lnTo>
                <a:lnTo>
                  <a:pt x="2134" y="659"/>
                </a:lnTo>
                <a:lnTo>
                  <a:pt x="2127" y="653"/>
                </a:lnTo>
                <a:lnTo>
                  <a:pt x="2122" y="646"/>
                </a:lnTo>
                <a:lnTo>
                  <a:pt x="2104" y="646"/>
                </a:lnTo>
                <a:lnTo>
                  <a:pt x="2103" y="643"/>
                </a:lnTo>
                <a:lnTo>
                  <a:pt x="2101" y="640"/>
                </a:lnTo>
                <a:lnTo>
                  <a:pt x="2098" y="638"/>
                </a:lnTo>
                <a:lnTo>
                  <a:pt x="2094" y="636"/>
                </a:lnTo>
                <a:lnTo>
                  <a:pt x="2090" y="632"/>
                </a:lnTo>
                <a:lnTo>
                  <a:pt x="2088" y="629"/>
                </a:lnTo>
                <a:lnTo>
                  <a:pt x="2086" y="625"/>
                </a:lnTo>
                <a:lnTo>
                  <a:pt x="2085" y="618"/>
                </a:lnTo>
                <a:lnTo>
                  <a:pt x="2080" y="617"/>
                </a:lnTo>
                <a:lnTo>
                  <a:pt x="2075" y="615"/>
                </a:lnTo>
                <a:lnTo>
                  <a:pt x="2069" y="611"/>
                </a:lnTo>
                <a:lnTo>
                  <a:pt x="2063" y="608"/>
                </a:lnTo>
                <a:lnTo>
                  <a:pt x="2049" y="599"/>
                </a:lnTo>
                <a:lnTo>
                  <a:pt x="2039" y="590"/>
                </a:lnTo>
                <a:lnTo>
                  <a:pt x="2020" y="590"/>
                </a:lnTo>
                <a:lnTo>
                  <a:pt x="2020" y="587"/>
                </a:lnTo>
                <a:lnTo>
                  <a:pt x="2019" y="584"/>
                </a:lnTo>
                <a:lnTo>
                  <a:pt x="2018" y="583"/>
                </a:lnTo>
                <a:lnTo>
                  <a:pt x="2016" y="582"/>
                </a:lnTo>
                <a:lnTo>
                  <a:pt x="2011" y="581"/>
                </a:lnTo>
                <a:lnTo>
                  <a:pt x="2007" y="581"/>
                </a:lnTo>
                <a:lnTo>
                  <a:pt x="2001" y="581"/>
                </a:lnTo>
                <a:lnTo>
                  <a:pt x="1997" y="580"/>
                </a:lnTo>
                <a:lnTo>
                  <a:pt x="1996" y="579"/>
                </a:lnTo>
                <a:lnTo>
                  <a:pt x="1994" y="577"/>
                </a:lnTo>
                <a:lnTo>
                  <a:pt x="1993" y="574"/>
                </a:lnTo>
                <a:lnTo>
                  <a:pt x="1992" y="572"/>
                </a:lnTo>
                <a:lnTo>
                  <a:pt x="1965" y="572"/>
                </a:lnTo>
                <a:lnTo>
                  <a:pt x="1955" y="553"/>
                </a:lnTo>
                <a:lnTo>
                  <a:pt x="1929" y="553"/>
                </a:lnTo>
                <a:lnTo>
                  <a:pt x="1926" y="550"/>
                </a:lnTo>
                <a:lnTo>
                  <a:pt x="1922" y="547"/>
                </a:lnTo>
                <a:lnTo>
                  <a:pt x="1916" y="543"/>
                </a:lnTo>
                <a:lnTo>
                  <a:pt x="1908" y="541"/>
                </a:lnTo>
                <a:lnTo>
                  <a:pt x="1893" y="537"/>
                </a:lnTo>
                <a:lnTo>
                  <a:pt x="1882" y="535"/>
                </a:lnTo>
                <a:lnTo>
                  <a:pt x="1873" y="516"/>
                </a:lnTo>
                <a:lnTo>
                  <a:pt x="1865" y="513"/>
                </a:lnTo>
                <a:lnTo>
                  <a:pt x="1848" y="503"/>
                </a:lnTo>
                <a:lnTo>
                  <a:pt x="1828" y="490"/>
                </a:lnTo>
                <a:lnTo>
                  <a:pt x="1805" y="475"/>
                </a:lnTo>
                <a:lnTo>
                  <a:pt x="1762" y="446"/>
                </a:lnTo>
                <a:lnTo>
                  <a:pt x="1743" y="433"/>
                </a:lnTo>
                <a:lnTo>
                  <a:pt x="1735" y="433"/>
                </a:lnTo>
                <a:lnTo>
                  <a:pt x="1727" y="430"/>
                </a:lnTo>
                <a:lnTo>
                  <a:pt x="1716" y="426"/>
                </a:lnTo>
                <a:lnTo>
                  <a:pt x="1706" y="422"/>
                </a:lnTo>
                <a:lnTo>
                  <a:pt x="1696" y="416"/>
                </a:lnTo>
                <a:lnTo>
                  <a:pt x="1686" y="410"/>
                </a:lnTo>
                <a:lnTo>
                  <a:pt x="1677" y="404"/>
                </a:lnTo>
                <a:lnTo>
                  <a:pt x="1670" y="396"/>
                </a:lnTo>
                <a:lnTo>
                  <a:pt x="1662" y="396"/>
                </a:lnTo>
                <a:lnTo>
                  <a:pt x="1654" y="394"/>
                </a:lnTo>
                <a:lnTo>
                  <a:pt x="1646" y="390"/>
                </a:lnTo>
                <a:lnTo>
                  <a:pt x="1637" y="387"/>
                </a:lnTo>
                <a:lnTo>
                  <a:pt x="1628" y="384"/>
                </a:lnTo>
                <a:lnTo>
                  <a:pt x="1620" y="380"/>
                </a:lnTo>
                <a:lnTo>
                  <a:pt x="1612" y="379"/>
                </a:lnTo>
                <a:lnTo>
                  <a:pt x="1605" y="378"/>
                </a:lnTo>
                <a:lnTo>
                  <a:pt x="1596" y="359"/>
                </a:lnTo>
                <a:lnTo>
                  <a:pt x="1577" y="359"/>
                </a:lnTo>
                <a:lnTo>
                  <a:pt x="1571" y="353"/>
                </a:lnTo>
                <a:lnTo>
                  <a:pt x="1557" y="341"/>
                </a:lnTo>
                <a:lnTo>
                  <a:pt x="1549" y="334"/>
                </a:lnTo>
                <a:lnTo>
                  <a:pt x="1542" y="328"/>
                </a:lnTo>
                <a:lnTo>
                  <a:pt x="1536" y="324"/>
                </a:lnTo>
                <a:lnTo>
                  <a:pt x="1531" y="322"/>
                </a:lnTo>
                <a:lnTo>
                  <a:pt x="1530" y="317"/>
                </a:lnTo>
                <a:lnTo>
                  <a:pt x="1529" y="314"/>
                </a:lnTo>
                <a:lnTo>
                  <a:pt x="1528" y="313"/>
                </a:lnTo>
                <a:lnTo>
                  <a:pt x="1527" y="313"/>
                </a:lnTo>
                <a:lnTo>
                  <a:pt x="1524" y="313"/>
                </a:lnTo>
                <a:lnTo>
                  <a:pt x="1523" y="312"/>
                </a:lnTo>
                <a:lnTo>
                  <a:pt x="1522" y="309"/>
                </a:lnTo>
                <a:lnTo>
                  <a:pt x="1521" y="304"/>
                </a:lnTo>
                <a:lnTo>
                  <a:pt x="1517" y="303"/>
                </a:lnTo>
                <a:lnTo>
                  <a:pt x="1511" y="301"/>
                </a:lnTo>
                <a:lnTo>
                  <a:pt x="1507" y="297"/>
                </a:lnTo>
                <a:lnTo>
                  <a:pt x="1502" y="292"/>
                </a:lnTo>
                <a:lnTo>
                  <a:pt x="1494" y="280"/>
                </a:lnTo>
                <a:lnTo>
                  <a:pt x="1485" y="266"/>
                </a:lnTo>
                <a:lnTo>
                  <a:pt x="1479" y="251"/>
                </a:lnTo>
                <a:lnTo>
                  <a:pt x="1471" y="237"/>
                </a:lnTo>
                <a:lnTo>
                  <a:pt x="1468" y="232"/>
                </a:lnTo>
                <a:lnTo>
                  <a:pt x="1464" y="227"/>
                </a:lnTo>
                <a:lnTo>
                  <a:pt x="1461" y="223"/>
                </a:lnTo>
                <a:lnTo>
                  <a:pt x="1456" y="221"/>
                </a:lnTo>
                <a:lnTo>
                  <a:pt x="1456" y="214"/>
                </a:lnTo>
                <a:lnTo>
                  <a:pt x="1454" y="206"/>
                </a:lnTo>
                <a:lnTo>
                  <a:pt x="1451" y="197"/>
                </a:lnTo>
                <a:lnTo>
                  <a:pt x="1446" y="189"/>
                </a:lnTo>
                <a:lnTo>
                  <a:pt x="1437" y="175"/>
                </a:lnTo>
                <a:lnTo>
                  <a:pt x="1430" y="166"/>
                </a:lnTo>
                <a:lnTo>
                  <a:pt x="1430" y="138"/>
                </a:lnTo>
                <a:lnTo>
                  <a:pt x="1426" y="136"/>
                </a:lnTo>
                <a:lnTo>
                  <a:pt x="1423" y="131"/>
                </a:lnTo>
                <a:lnTo>
                  <a:pt x="1420" y="126"/>
                </a:lnTo>
                <a:lnTo>
                  <a:pt x="1416" y="118"/>
                </a:lnTo>
                <a:lnTo>
                  <a:pt x="1413" y="102"/>
                </a:lnTo>
                <a:lnTo>
                  <a:pt x="1411" y="91"/>
                </a:lnTo>
                <a:lnTo>
                  <a:pt x="1408" y="91"/>
                </a:lnTo>
                <a:lnTo>
                  <a:pt x="1407" y="89"/>
                </a:lnTo>
                <a:lnTo>
                  <a:pt x="1405" y="86"/>
                </a:lnTo>
                <a:lnTo>
                  <a:pt x="1403" y="81"/>
                </a:lnTo>
                <a:lnTo>
                  <a:pt x="1398" y="71"/>
                </a:lnTo>
                <a:lnTo>
                  <a:pt x="1394" y="58"/>
                </a:lnTo>
                <a:lnTo>
                  <a:pt x="1386" y="33"/>
                </a:lnTo>
                <a:lnTo>
                  <a:pt x="1383" y="18"/>
                </a:lnTo>
                <a:lnTo>
                  <a:pt x="1380" y="18"/>
                </a:lnTo>
                <a:lnTo>
                  <a:pt x="1377" y="16"/>
                </a:lnTo>
                <a:lnTo>
                  <a:pt x="1376" y="14"/>
                </a:lnTo>
                <a:lnTo>
                  <a:pt x="1375" y="12"/>
                </a:lnTo>
                <a:lnTo>
                  <a:pt x="1374" y="6"/>
                </a:lnTo>
                <a:lnTo>
                  <a:pt x="1374" y="0"/>
                </a:lnTo>
                <a:lnTo>
                  <a:pt x="1346" y="0"/>
                </a:lnTo>
                <a:lnTo>
                  <a:pt x="1337" y="9"/>
                </a:lnTo>
                <a:lnTo>
                  <a:pt x="1337" y="26"/>
                </a:lnTo>
                <a:lnTo>
                  <a:pt x="1328" y="37"/>
                </a:lnTo>
                <a:lnTo>
                  <a:pt x="1322" y="37"/>
                </a:lnTo>
                <a:lnTo>
                  <a:pt x="1319" y="38"/>
                </a:lnTo>
                <a:lnTo>
                  <a:pt x="1318" y="39"/>
                </a:lnTo>
                <a:lnTo>
                  <a:pt x="1318" y="41"/>
                </a:lnTo>
                <a:lnTo>
                  <a:pt x="1318" y="42"/>
                </a:lnTo>
                <a:lnTo>
                  <a:pt x="1317" y="44"/>
                </a:lnTo>
                <a:lnTo>
                  <a:pt x="1315" y="45"/>
                </a:lnTo>
                <a:lnTo>
                  <a:pt x="1309" y="45"/>
                </a:lnTo>
                <a:lnTo>
                  <a:pt x="1309" y="63"/>
                </a:lnTo>
                <a:lnTo>
                  <a:pt x="1303" y="64"/>
                </a:lnTo>
                <a:lnTo>
                  <a:pt x="1301" y="66"/>
                </a:lnTo>
                <a:lnTo>
                  <a:pt x="1300" y="67"/>
                </a:lnTo>
                <a:lnTo>
                  <a:pt x="1300" y="69"/>
                </a:lnTo>
                <a:lnTo>
                  <a:pt x="1300" y="70"/>
                </a:lnTo>
                <a:lnTo>
                  <a:pt x="1299" y="71"/>
                </a:lnTo>
                <a:lnTo>
                  <a:pt x="1296" y="72"/>
                </a:lnTo>
                <a:lnTo>
                  <a:pt x="1291" y="73"/>
                </a:lnTo>
                <a:lnTo>
                  <a:pt x="1291" y="91"/>
                </a:lnTo>
                <a:lnTo>
                  <a:pt x="1277" y="101"/>
                </a:lnTo>
                <a:lnTo>
                  <a:pt x="1263" y="110"/>
                </a:lnTo>
                <a:lnTo>
                  <a:pt x="1262" y="114"/>
                </a:lnTo>
                <a:lnTo>
                  <a:pt x="1261" y="117"/>
                </a:lnTo>
                <a:lnTo>
                  <a:pt x="1260" y="120"/>
                </a:lnTo>
                <a:lnTo>
                  <a:pt x="1258" y="124"/>
                </a:lnTo>
                <a:lnTo>
                  <a:pt x="1251" y="131"/>
                </a:lnTo>
                <a:lnTo>
                  <a:pt x="1244" y="139"/>
                </a:lnTo>
                <a:lnTo>
                  <a:pt x="1238" y="147"/>
                </a:lnTo>
                <a:lnTo>
                  <a:pt x="1232" y="156"/>
                </a:lnTo>
                <a:lnTo>
                  <a:pt x="1230" y="160"/>
                </a:lnTo>
                <a:lnTo>
                  <a:pt x="1228" y="165"/>
                </a:lnTo>
                <a:lnTo>
                  <a:pt x="1226" y="169"/>
                </a:lnTo>
                <a:lnTo>
                  <a:pt x="1226" y="175"/>
                </a:lnTo>
                <a:lnTo>
                  <a:pt x="1207" y="184"/>
                </a:lnTo>
                <a:lnTo>
                  <a:pt x="1207" y="203"/>
                </a:lnTo>
                <a:lnTo>
                  <a:pt x="1202" y="203"/>
                </a:lnTo>
                <a:lnTo>
                  <a:pt x="1200" y="204"/>
                </a:lnTo>
                <a:lnTo>
                  <a:pt x="1199" y="205"/>
                </a:lnTo>
                <a:lnTo>
                  <a:pt x="1199" y="207"/>
                </a:lnTo>
                <a:lnTo>
                  <a:pt x="1199" y="208"/>
                </a:lnTo>
                <a:lnTo>
                  <a:pt x="1197" y="211"/>
                </a:lnTo>
                <a:lnTo>
                  <a:pt x="1194" y="212"/>
                </a:lnTo>
                <a:lnTo>
                  <a:pt x="1190" y="212"/>
                </a:lnTo>
                <a:lnTo>
                  <a:pt x="1190" y="331"/>
                </a:lnTo>
                <a:lnTo>
                  <a:pt x="1187" y="332"/>
                </a:lnTo>
                <a:lnTo>
                  <a:pt x="1185" y="334"/>
                </a:lnTo>
                <a:lnTo>
                  <a:pt x="1183" y="339"/>
                </a:lnTo>
                <a:lnTo>
                  <a:pt x="1181" y="343"/>
                </a:lnTo>
                <a:lnTo>
                  <a:pt x="1175" y="355"/>
                </a:lnTo>
                <a:lnTo>
                  <a:pt x="1168" y="369"/>
                </a:lnTo>
                <a:lnTo>
                  <a:pt x="1161" y="382"/>
                </a:lnTo>
                <a:lnTo>
                  <a:pt x="1153" y="394"/>
                </a:lnTo>
                <a:lnTo>
                  <a:pt x="1148" y="399"/>
                </a:lnTo>
                <a:lnTo>
                  <a:pt x="1144" y="403"/>
                </a:lnTo>
                <a:lnTo>
                  <a:pt x="1138" y="405"/>
                </a:lnTo>
                <a:lnTo>
                  <a:pt x="1134" y="406"/>
                </a:lnTo>
                <a:lnTo>
                  <a:pt x="1125" y="424"/>
                </a:lnTo>
                <a:lnTo>
                  <a:pt x="1092" y="424"/>
                </a:lnTo>
                <a:lnTo>
                  <a:pt x="1056" y="424"/>
                </a:lnTo>
                <a:lnTo>
                  <a:pt x="1018" y="424"/>
                </a:lnTo>
                <a:lnTo>
                  <a:pt x="985" y="424"/>
                </a:lnTo>
                <a:lnTo>
                  <a:pt x="976" y="415"/>
                </a:lnTo>
                <a:lnTo>
                  <a:pt x="967" y="406"/>
                </a:lnTo>
                <a:lnTo>
                  <a:pt x="966" y="399"/>
                </a:lnTo>
                <a:lnTo>
                  <a:pt x="964" y="394"/>
                </a:lnTo>
                <a:lnTo>
                  <a:pt x="962" y="388"/>
                </a:lnTo>
                <a:lnTo>
                  <a:pt x="959" y="382"/>
                </a:lnTo>
                <a:lnTo>
                  <a:pt x="955" y="377"/>
                </a:lnTo>
                <a:lnTo>
                  <a:pt x="952" y="371"/>
                </a:lnTo>
                <a:lnTo>
                  <a:pt x="950" y="366"/>
                </a:lnTo>
                <a:lnTo>
                  <a:pt x="948" y="359"/>
                </a:lnTo>
                <a:lnTo>
                  <a:pt x="922" y="331"/>
                </a:lnTo>
                <a:lnTo>
                  <a:pt x="912" y="341"/>
                </a:lnTo>
                <a:lnTo>
                  <a:pt x="906" y="341"/>
                </a:lnTo>
                <a:lnTo>
                  <a:pt x="904" y="342"/>
                </a:lnTo>
                <a:lnTo>
                  <a:pt x="903" y="343"/>
                </a:lnTo>
                <a:lnTo>
                  <a:pt x="903" y="346"/>
                </a:lnTo>
                <a:lnTo>
                  <a:pt x="903" y="347"/>
                </a:lnTo>
                <a:lnTo>
                  <a:pt x="902" y="349"/>
                </a:lnTo>
                <a:lnTo>
                  <a:pt x="898" y="350"/>
                </a:lnTo>
                <a:lnTo>
                  <a:pt x="894" y="350"/>
                </a:lnTo>
                <a:lnTo>
                  <a:pt x="892" y="358"/>
                </a:lnTo>
                <a:lnTo>
                  <a:pt x="888" y="368"/>
                </a:lnTo>
                <a:lnTo>
                  <a:pt x="885" y="371"/>
                </a:lnTo>
                <a:lnTo>
                  <a:pt x="881" y="375"/>
                </a:lnTo>
                <a:lnTo>
                  <a:pt x="878" y="377"/>
                </a:lnTo>
                <a:lnTo>
                  <a:pt x="875" y="378"/>
                </a:lnTo>
                <a:lnTo>
                  <a:pt x="875" y="415"/>
                </a:lnTo>
                <a:lnTo>
                  <a:pt x="870" y="426"/>
                </a:lnTo>
                <a:lnTo>
                  <a:pt x="861" y="452"/>
                </a:lnTo>
                <a:lnTo>
                  <a:pt x="851" y="477"/>
                </a:lnTo>
                <a:lnTo>
                  <a:pt x="847" y="489"/>
                </a:lnTo>
                <a:lnTo>
                  <a:pt x="838" y="497"/>
                </a:lnTo>
                <a:lnTo>
                  <a:pt x="829" y="507"/>
                </a:lnTo>
                <a:lnTo>
                  <a:pt x="815" y="512"/>
                </a:lnTo>
                <a:lnTo>
                  <a:pt x="801" y="516"/>
                </a:lnTo>
                <a:lnTo>
                  <a:pt x="801" y="519"/>
                </a:lnTo>
                <a:lnTo>
                  <a:pt x="800" y="521"/>
                </a:lnTo>
                <a:lnTo>
                  <a:pt x="798" y="523"/>
                </a:lnTo>
                <a:lnTo>
                  <a:pt x="796" y="525"/>
                </a:lnTo>
                <a:lnTo>
                  <a:pt x="788" y="529"/>
                </a:lnTo>
                <a:lnTo>
                  <a:pt x="779" y="531"/>
                </a:lnTo>
                <a:lnTo>
                  <a:pt x="769" y="533"/>
                </a:lnTo>
                <a:lnTo>
                  <a:pt x="756" y="534"/>
                </a:lnTo>
                <a:lnTo>
                  <a:pt x="743" y="535"/>
                </a:lnTo>
                <a:lnTo>
                  <a:pt x="730" y="537"/>
                </a:lnTo>
                <a:lnTo>
                  <a:pt x="676" y="535"/>
                </a:lnTo>
                <a:lnTo>
                  <a:pt x="644" y="535"/>
                </a:lnTo>
                <a:lnTo>
                  <a:pt x="643" y="533"/>
                </a:lnTo>
                <a:lnTo>
                  <a:pt x="638" y="532"/>
                </a:lnTo>
                <a:lnTo>
                  <a:pt x="630" y="531"/>
                </a:lnTo>
                <a:lnTo>
                  <a:pt x="620" y="530"/>
                </a:lnTo>
                <a:lnTo>
                  <a:pt x="596" y="528"/>
                </a:lnTo>
                <a:lnTo>
                  <a:pt x="568" y="526"/>
                </a:lnTo>
                <a:lnTo>
                  <a:pt x="512" y="525"/>
                </a:lnTo>
                <a:lnTo>
                  <a:pt x="477" y="525"/>
                </a:lnTo>
                <a:lnTo>
                  <a:pt x="477" y="529"/>
                </a:lnTo>
                <a:lnTo>
                  <a:pt x="476" y="531"/>
                </a:lnTo>
                <a:lnTo>
                  <a:pt x="474" y="533"/>
                </a:lnTo>
                <a:lnTo>
                  <a:pt x="472" y="534"/>
                </a:lnTo>
                <a:lnTo>
                  <a:pt x="466" y="534"/>
                </a:lnTo>
                <a:lnTo>
                  <a:pt x="460" y="535"/>
                </a:lnTo>
                <a:lnTo>
                  <a:pt x="458" y="539"/>
                </a:lnTo>
                <a:lnTo>
                  <a:pt x="456" y="542"/>
                </a:lnTo>
                <a:lnTo>
                  <a:pt x="453" y="544"/>
                </a:lnTo>
                <a:lnTo>
                  <a:pt x="449" y="548"/>
                </a:lnTo>
                <a:lnTo>
                  <a:pt x="444" y="552"/>
                </a:lnTo>
                <a:lnTo>
                  <a:pt x="441" y="553"/>
                </a:lnTo>
                <a:lnTo>
                  <a:pt x="441" y="572"/>
                </a:lnTo>
                <a:lnTo>
                  <a:pt x="435" y="572"/>
                </a:lnTo>
                <a:lnTo>
                  <a:pt x="433" y="573"/>
                </a:lnTo>
                <a:lnTo>
                  <a:pt x="432" y="574"/>
                </a:lnTo>
                <a:lnTo>
                  <a:pt x="432" y="577"/>
                </a:lnTo>
                <a:lnTo>
                  <a:pt x="432" y="578"/>
                </a:lnTo>
                <a:lnTo>
                  <a:pt x="431" y="580"/>
                </a:lnTo>
                <a:lnTo>
                  <a:pt x="427" y="581"/>
                </a:lnTo>
                <a:lnTo>
                  <a:pt x="423" y="581"/>
                </a:lnTo>
                <a:lnTo>
                  <a:pt x="423" y="599"/>
                </a:lnTo>
                <a:lnTo>
                  <a:pt x="413" y="609"/>
                </a:lnTo>
                <a:lnTo>
                  <a:pt x="395" y="607"/>
                </a:lnTo>
                <a:lnTo>
                  <a:pt x="372" y="605"/>
                </a:lnTo>
                <a:lnTo>
                  <a:pt x="352" y="601"/>
                </a:lnTo>
                <a:lnTo>
                  <a:pt x="339" y="599"/>
                </a:lnTo>
                <a:lnTo>
                  <a:pt x="339" y="596"/>
                </a:lnTo>
                <a:lnTo>
                  <a:pt x="338" y="592"/>
                </a:lnTo>
                <a:lnTo>
                  <a:pt x="336" y="590"/>
                </a:lnTo>
                <a:lnTo>
                  <a:pt x="333" y="587"/>
                </a:lnTo>
                <a:lnTo>
                  <a:pt x="330" y="584"/>
                </a:lnTo>
                <a:lnTo>
                  <a:pt x="328" y="582"/>
                </a:lnTo>
                <a:lnTo>
                  <a:pt x="324" y="581"/>
                </a:lnTo>
                <a:lnTo>
                  <a:pt x="321" y="581"/>
                </a:lnTo>
                <a:lnTo>
                  <a:pt x="311" y="572"/>
                </a:lnTo>
                <a:lnTo>
                  <a:pt x="302" y="562"/>
                </a:lnTo>
                <a:lnTo>
                  <a:pt x="302" y="544"/>
                </a:lnTo>
                <a:lnTo>
                  <a:pt x="299" y="543"/>
                </a:lnTo>
                <a:lnTo>
                  <a:pt x="295" y="542"/>
                </a:lnTo>
                <a:lnTo>
                  <a:pt x="292" y="541"/>
                </a:lnTo>
                <a:lnTo>
                  <a:pt x="290" y="539"/>
                </a:lnTo>
                <a:lnTo>
                  <a:pt x="288" y="535"/>
                </a:lnTo>
                <a:lnTo>
                  <a:pt x="285" y="532"/>
                </a:lnTo>
                <a:lnTo>
                  <a:pt x="284" y="529"/>
                </a:lnTo>
                <a:lnTo>
                  <a:pt x="284" y="525"/>
                </a:lnTo>
                <a:lnTo>
                  <a:pt x="274" y="516"/>
                </a:lnTo>
                <a:lnTo>
                  <a:pt x="265" y="507"/>
                </a:lnTo>
                <a:lnTo>
                  <a:pt x="216" y="507"/>
                </a:lnTo>
                <a:lnTo>
                  <a:pt x="220" y="511"/>
                </a:lnTo>
                <a:lnTo>
                  <a:pt x="225" y="516"/>
                </a:lnTo>
                <a:lnTo>
                  <a:pt x="225" y="532"/>
                </a:lnTo>
                <a:lnTo>
                  <a:pt x="225" y="548"/>
                </a:lnTo>
                <a:lnTo>
                  <a:pt x="213" y="548"/>
                </a:lnTo>
                <a:lnTo>
                  <a:pt x="213" y="550"/>
                </a:lnTo>
                <a:lnTo>
                  <a:pt x="212" y="551"/>
                </a:lnTo>
                <a:lnTo>
                  <a:pt x="211" y="552"/>
                </a:lnTo>
                <a:lnTo>
                  <a:pt x="209" y="553"/>
                </a:lnTo>
                <a:lnTo>
                  <a:pt x="205" y="554"/>
                </a:lnTo>
                <a:lnTo>
                  <a:pt x="201" y="554"/>
                </a:lnTo>
                <a:lnTo>
                  <a:pt x="199" y="557"/>
                </a:lnTo>
                <a:lnTo>
                  <a:pt x="196" y="559"/>
                </a:lnTo>
                <a:lnTo>
                  <a:pt x="193" y="561"/>
                </a:lnTo>
                <a:lnTo>
                  <a:pt x="187" y="562"/>
                </a:lnTo>
                <a:lnTo>
                  <a:pt x="177" y="566"/>
                </a:lnTo>
                <a:lnTo>
                  <a:pt x="169" y="567"/>
                </a:lnTo>
                <a:lnTo>
                  <a:pt x="32" y="579"/>
                </a:lnTo>
                <a:lnTo>
                  <a:pt x="32" y="591"/>
                </a:lnTo>
                <a:lnTo>
                  <a:pt x="30" y="592"/>
                </a:lnTo>
                <a:lnTo>
                  <a:pt x="28" y="592"/>
                </a:lnTo>
                <a:lnTo>
                  <a:pt x="26" y="593"/>
                </a:lnTo>
                <a:lnTo>
                  <a:pt x="26" y="596"/>
                </a:lnTo>
                <a:lnTo>
                  <a:pt x="25" y="600"/>
                </a:lnTo>
                <a:lnTo>
                  <a:pt x="25" y="605"/>
                </a:lnTo>
                <a:lnTo>
                  <a:pt x="24" y="610"/>
                </a:lnTo>
                <a:lnTo>
                  <a:pt x="21" y="628"/>
                </a:lnTo>
                <a:lnTo>
                  <a:pt x="16" y="654"/>
                </a:lnTo>
                <a:lnTo>
                  <a:pt x="11" y="683"/>
                </a:lnTo>
                <a:lnTo>
                  <a:pt x="5" y="714"/>
                </a:lnTo>
                <a:lnTo>
                  <a:pt x="2" y="744"/>
                </a:lnTo>
                <a:lnTo>
                  <a:pt x="1" y="757"/>
                </a:lnTo>
                <a:lnTo>
                  <a:pt x="0" y="769"/>
                </a:lnTo>
                <a:lnTo>
                  <a:pt x="0" y="779"/>
                </a:lnTo>
                <a:lnTo>
                  <a:pt x="1" y="785"/>
                </a:lnTo>
                <a:lnTo>
                  <a:pt x="13" y="832"/>
                </a:lnTo>
                <a:lnTo>
                  <a:pt x="23" y="866"/>
                </a:lnTo>
                <a:lnTo>
                  <a:pt x="28" y="880"/>
                </a:lnTo>
                <a:lnTo>
                  <a:pt x="30" y="891"/>
                </a:lnTo>
                <a:lnTo>
                  <a:pt x="32" y="903"/>
                </a:lnTo>
                <a:lnTo>
                  <a:pt x="31" y="913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90" name="Freeform 51">
            <a:extLst>
              <a:ext uri="{FF2B5EF4-FFF2-40B4-BE49-F238E27FC236}">
                <a16:creationId xmlns:a16="http://schemas.microsoft.com/office/drawing/2014/main" id="{F30F6FB7-A3D9-4207-99DA-C534694668B4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554913" y="2755900"/>
            <a:ext cx="347561" cy="238125"/>
          </a:xfrm>
          <a:custGeom>
            <a:avLst/>
            <a:gdLst/>
            <a:ahLst/>
            <a:cxnLst>
              <a:cxn ang="0">
                <a:pos x="374" y="550"/>
              </a:cxn>
              <a:cxn ang="0">
                <a:pos x="429" y="586"/>
              </a:cxn>
              <a:cxn ang="0">
                <a:pos x="494" y="607"/>
              </a:cxn>
              <a:cxn ang="0">
                <a:pos x="601" y="585"/>
              </a:cxn>
              <a:cxn ang="0">
                <a:pos x="644" y="539"/>
              </a:cxn>
              <a:cxn ang="0">
                <a:pos x="694" y="454"/>
              </a:cxn>
              <a:cxn ang="0">
                <a:pos x="759" y="406"/>
              </a:cxn>
              <a:cxn ang="0">
                <a:pos x="827" y="481"/>
              </a:cxn>
              <a:cxn ang="0">
                <a:pos x="911" y="488"/>
              </a:cxn>
              <a:cxn ang="0">
                <a:pos x="948" y="450"/>
              </a:cxn>
              <a:cxn ang="0">
                <a:pos x="980" y="381"/>
              </a:cxn>
              <a:cxn ang="0">
                <a:pos x="1017" y="238"/>
              </a:cxn>
              <a:cxn ang="0">
                <a:pos x="1038" y="112"/>
              </a:cxn>
              <a:cxn ang="0">
                <a:pos x="1044" y="47"/>
              </a:cxn>
              <a:cxn ang="0">
                <a:pos x="1113" y="0"/>
              </a:cxn>
              <a:cxn ang="0">
                <a:pos x="1296" y="31"/>
              </a:cxn>
              <a:cxn ang="0">
                <a:pos x="1247" y="134"/>
              </a:cxn>
              <a:cxn ang="0">
                <a:pos x="1170" y="213"/>
              </a:cxn>
              <a:cxn ang="0">
                <a:pos x="1171" y="334"/>
              </a:cxn>
              <a:cxn ang="0">
                <a:pos x="1209" y="384"/>
              </a:cxn>
              <a:cxn ang="0">
                <a:pos x="1372" y="480"/>
              </a:cxn>
              <a:cxn ang="0">
                <a:pos x="1453" y="510"/>
              </a:cxn>
              <a:cxn ang="0">
                <a:pos x="1604" y="534"/>
              </a:cxn>
              <a:cxn ang="0">
                <a:pos x="1664" y="563"/>
              </a:cxn>
              <a:cxn ang="0">
                <a:pos x="1721" y="630"/>
              </a:cxn>
              <a:cxn ang="0">
                <a:pos x="1773" y="682"/>
              </a:cxn>
              <a:cxn ang="0">
                <a:pos x="1826" y="723"/>
              </a:cxn>
              <a:cxn ang="0">
                <a:pos x="1897" y="797"/>
              </a:cxn>
              <a:cxn ang="0">
                <a:pos x="1847" y="899"/>
              </a:cxn>
              <a:cxn ang="0">
                <a:pos x="1825" y="931"/>
              </a:cxn>
              <a:cxn ang="0">
                <a:pos x="1776" y="993"/>
              </a:cxn>
              <a:cxn ang="0">
                <a:pos x="1724" y="1067"/>
              </a:cxn>
              <a:cxn ang="0">
                <a:pos x="1693" y="1231"/>
              </a:cxn>
              <a:cxn ang="0">
                <a:pos x="1501" y="1277"/>
              </a:cxn>
              <a:cxn ang="0">
                <a:pos x="1431" y="1203"/>
              </a:cxn>
              <a:cxn ang="0">
                <a:pos x="1403" y="1239"/>
              </a:cxn>
              <a:cxn ang="0">
                <a:pos x="1325" y="1383"/>
              </a:cxn>
              <a:cxn ang="0">
                <a:pos x="1163" y="1394"/>
              </a:cxn>
              <a:cxn ang="0">
                <a:pos x="985" y="1397"/>
              </a:cxn>
              <a:cxn ang="0">
                <a:pos x="957" y="1440"/>
              </a:cxn>
              <a:cxn ang="0">
                <a:pos x="861" y="1452"/>
              </a:cxn>
              <a:cxn ang="0">
                <a:pos x="815" y="1401"/>
              </a:cxn>
              <a:cxn ang="0">
                <a:pos x="675" y="1356"/>
              </a:cxn>
              <a:cxn ang="0">
                <a:pos x="573" y="1315"/>
              </a:cxn>
              <a:cxn ang="0">
                <a:pos x="529" y="1297"/>
              </a:cxn>
              <a:cxn ang="0">
                <a:pos x="482" y="1276"/>
              </a:cxn>
              <a:cxn ang="0">
                <a:pos x="350" y="1297"/>
              </a:cxn>
              <a:cxn ang="0">
                <a:pos x="268" y="1246"/>
              </a:cxn>
              <a:cxn ang="0">
                <a:pos x="247" y="1195"/>
              </a:cxn>
              <a:cxn ang="0">
                <a:pos x="219" y="1059"/>
              </a:cxn>
              <a:cxn ang="0">
                <a:pos x="152" y="999"/>
              </a:cxn>
              <a:cxn ang="0">
                <a:pos x="73" y="1027"/>
              </a:cxn>
              <a:cxn ang="0">
                <a:pos x="0" y="1010"/>
              </a:cxn>
              <a:cxn ang="0">
                <a:pos x="12" y="905"/>
              </a:cxn>
              <a:cxn ang="0">
                <a:pos x="67" y="858"/>
              </a:cxn>
              <a:cxn ang="0">
                <a:pos x="102" y="846"/>
              </a:cxn>
              <a:cxn ang="0">
                <a:pos x="143" y="819"/>
              </a:cxn>
              <a:cxn ang="0">
                <a:pos x="175" y="691"/>
              </a:cxn>
              <a:cxn ang="0">
                <a:pos x="214" y="566"/>
              </a:cxn>
              <a:cxn ang="0">
                <a:pos x="250" y="542"/>
              </a:cxn>
              <a:cxn ang="0">
                <a:pos x="294" y="522"/>
              </a:cxn>
            </a:cxnLst>
            <a:rect l="0" t="0" r="r" b="b"/>
            <a:pathLst>
              <a:path w="1901" h="1471">
                <a:moveTo>
                  <a:pt x="295" y="518"/>
                </a:moveTo>
                <a:lnTo>
                  <a:pt x="299" y="518"/>
                </a:lnTo>
                <a:lnTo>
                  <a:pt x="304" y="518"/>
                </a:lnTo>
                <a:lnTo>
                  <a:pt x="317" y="526"/>
                </a:lnTo>
                <a:lnTo>
                  <a:pt x="329" y="534"/>
                </a:lnTo>
                <a:lnTo>
                  <a:pt x="338" y="536"/>
                </a:lnTo>
                <a:lnTo>
                  <a:pt x="348" y="539"/>
                </a:lnTo>
                <a:lnTo>
                  <a:pt x="358" y="542"/>
                </a:lnTo>
                <a:lnTo>
                  <a:pt x="367" y="545"/>
                </a:lnTo>
                <a:lnTo>
                  <a:pt x="367" y="548"/>
                </a:lnTo>
                <a:lnTo>
                  <a:pt x="371" y="549"/>
                </a:lnTo>
                <a:lnTo>
                  <a:pt x="374" y="550"/>
                </a:lnTo>
                <a:lnTo>
                  <a:pt x="377" y="550"/>
                </a:lnTo>
                <a:lnTo>
                  <a:pt x="383" y="555"/>
                </a:lnTo>
                <a:lnTo>
                  <a:pt x="385" y="560"/>
                </a:lnTo>
                <a:lnTo>
                  <a:pt x="388" y="566"/>
                </a:lnTo>
                <a:lnTo>
                  <a:pt x="398" y="566"/>
                </a:lnTo>
                <a:lnTo>
                  <a:pt x="401" y="569"/>
                </a:lnTo>
                <a:lnTo>
                  <a:pt x="404" y="574"/>
                </a:lnTo>
                <a:lnTo>
                  <a:pt x="410" y="578"/>
                </a:lnTo>
                <a:lnTo>
                  <a:pt x="414" y="582"/>
                </a:lnTo>
                <a:lnTo>
                  <a:pt x="425" y="582"/>
                </a:lnTo>
                <a:lnTo>
                  <a:pt x="426" y="584"/>
                </a:lnTo>
                <a:lnTo>
                  <a:pt x="429" y="586"/>
                </a:lnTo>
                <a:lnTo>
                  <a:pt x="433" y="587"/>
                </a:lnTo>
                <a:lnTo>
                  <a:pt x="439" y="589"/>
                </a:lnTo>
                <a:lnTo>
                  <a:pt x="450" y="592"/>
                </a:lnTo>
                <a:lnTo>
                  <a:pt x="457" y="593"/>
                </a:lnTo>
                <a:lnTo>
                  <a:pt x="458" y="595"/>
                </a:lnTo>
                <a:lnTo>
                  <a:pt x="460" y="597"/>
                </a:lnTo>
                <a:lnTo>
                  <a:pt x="463" y="597"/>
                </a:lnTo>
                <a:lnTo>
                  <a:pt x="468" y="597"/>
                </a:lnTo>
                <a:lnTo>
                  <a:pt x="470" y="599"/>
                </a:lnTo>
                <a:lnTo>
                  <a:pt x="475" y="603"/>
                </a:lnTo>
                <a:lnTo>
                  <a:pt x="484" y="605"/>
                </a:lnTo>
                <a:lnTo>
                  <a:pt x="494" y="607"/>
                </a:lnTo>
                <a:lnTo>
                  <a:pt x="516" y="612"/>
                </a:lnTo>
                <a:lnTo>
                  <a:pt x="530" y="613"/>
                </a:lnTo>
                <a:lnTo>
                  <a:pt x="540" y="613"/>
                </a:lnTo>
                <a:lnTo>
                  <a:pt x="550" y="611"/>
                </a:lnTo>
                <a:lnTo>
                  <a:pt x="559" y="606"/>
                </a:lnTo>
                <a:lnTo>
                  <a:pt x="568" y="603"/>
                </a:lnTo>
                <a:lnTo>
                  <a:pt x="584" y="596"/>
                </a:lnTo>
                <a:lnTo>
                  <a:pt x="594" y="593"/>
                </a:lnTo>
                <a:lnTo>
                  <a:pt x="595" y="590"/>
                </a:lnTo>
                <a:lnTo>
                  <a:pt x="596" y="588"/>
                </a:lnTo>
                <a:lnTo>
                  <a:pt x="597" y="586"/>
                </a:lnTo>
                <a:lnTo>
                  <a:pt x="601" y="585"/>
                </a:lnTo>
                <a:lnTo>
                  <a:pt x="605" y="583"/>
                </a:lnTo>
                <a:lnTo>
                  <a:pt x="609" y="582"/>
                </a:lnTo>
                <a:lnTo>
                  <a:pt x="609" y="572"/>
                </a:lnTo>
                <a:lnTo>
                  <a:pt x="613" y="570"/>
                </a:lnTo>
                <a:lnTo>
                  <a:pt x="615" y="568"/>
                </a:lnTo>
                <a:lnTo>
                  <a:pt x="615" y="565"/>
                </a:lnTo>
                <a:lnTo>
                  <a:pt x="615" y="560"/>
                </a:lnTo>
                <a:lnTo>
                  <a:pt x="621" y="555"/>
                </a:lnTo>
                <a:lnTo>
                  <a:pt x="626" y="550"/>
                </a:lnTo>
                <a:lnTo>
                  <a:pt x="631" y="545"/>
                </a:lnTo>
                <a:lnTo>
                  <a:pt x="636" y="539"/>
                </a:lnTo>
                <a:lnTo>
                  <a:pt x="644" y="539"/>
                </a:lnTo>
                <a:lnTo>
                  <a:pt x="652" y="539"/>
                </a:lnTo>
                <a:lnTo>
                  <a:pt x="657" y="529"/>
                </a:lnTo>
                <a:lnTo>
                  <a:pt x="667" y="524"/>
                </a:lnTo>
                <a:lnTo>
                  <a:pt x="673" y="518"/>
                </a:lnTo>
                <a:lnTo>
                  <a:pt x="673" y="502"/>
                </a:lnTo>
                <a:lnTo>
                  <a:pt x="679" y="492"/>
                </a:lnTo>
                <a:lnTo>
                  <a:pt x="682" y="491"/>
                </a:lnTo>
                <a:lnTo>
                  <a:pt x="685" y="488"/>
                </a:lnTo>
                <a:lnTo>
                  <a:pt x="689" y="483"/>
                </a:lnTo>
                <a:lnTo>
                  <a:pt x="691" y="478"/>
                </a:lnTo>
                <a:lnTo>
                  <a:pt x="693" y="465"/>
                </a:lnTo>
                <a:lnTo>
                  <a:pt x="694" y="454"/>
                </a:lnTo>
                <a:lnTo>
                  <a:pt x="698" y="454"/>
                </a:lnTo>
                <a:lnTo>
                  <a:pt x="701" y="452"/>
                </a:lnTo>
                <a:lnTo>
                  <a:pt x="704" y="450"/>
                </a:lnTo>
                <a:lnTo>
                  <a:pt x="707" y="447"/>
                </a:lnTo>
                <a:lnTo>
                  <a:pt x="711" y="441"/>
                </a:lnTo>
                <a:lnTo>
                  <a:pt x="715" y="439"/>
                </a:lnTo>
                <a:lnTo>
                  <a:pt x="715" y="429"/>
                </a:lnTo>
                <a:lnTo>
                  <a:pt x="727" y="429"/>
                </a:lnTo>
                <a:lnTo>
                  <a:pt x="731" y="417"/>
                </a:lnTo>
                <a:lnTo>
                  <a:pt x="742" y="417"/>
                </a:lnTo>
                <a:lnTo>
                  <a:pt x="747" y="407"/>
                </a:lnTo>
                <a:lnTo>
                  <a:pt x="759" y="406"/>
                </a:lnTo>
                <a:lnTo>
                  <a:pt x="771" y="404"/>
                </a:lnTo>
                <a:lnTo>
                  <a:pt x="782" y="403"/>
                </a:lnTo>
                <a:lnTo>
                  <a:pt x="795" y="402"/>
                </a:lnTo>
                <a:lnTo>
                  <a:pt x="799" y="406"/>
                </a:lnTo>
                <a:lnTo>
                  <a:pt x="803" y="412"/>
                </a:lnTo>
                <a:lnTo>
                  <a:pt x="807" y="416"/>
                </a:lnTo>
                <a:lnTo>
                  <a:pt x="810" y="417"/>
                </a:lnTo>
                <a:lnTo>
                  <a:pt x="816" y="433"/>
                </a:lnTo>
                <a:lnTo>
                  <a:pt x="822" y="444"/>
                </a:lnTo>
                <a:lnTo>
                  <a:pt x="822" y="465"/>
                </a:lnTo>
                <a:lnTo>
                  <a:pt x="824" y="473"/>
                </a:lnTo>
                <a:lnTo>
                  <a:pt x="827" y="481"/>
                </a:lnTo>
                <a:lnTo>
                  <a:pt x="835" y="483"/>
                </a:lnTo>
                <a:lnTo>
                  <a:pt x="843" y="487"/>
                </a:lnTo>
                <a:lnTo>
                  <a:pt x="845" y="494"/>
                </a:lnTo>
                <a:lnTo>
                  <a:pt x="847" y="502"/>
                </a:lnTo>
                <a:lnTo>
                  <a:pt x="860" y="502"/>
                </a:lnTo>
                <a:lnTo>
                  <a:pt x="871" y="501"/>
                </a:lnTo>
                <a:lnTo>
                  <a:pt x="876" y="500"/>
                </a:lnTo>
                <a:lnTo>
                  <a:pt x="881" y="498"/>
                </a:lnTo>
                <a:lnTo>
                  <a:pt x="886" y="496"/>
                </a:lnTo>
                <a:lnTo>
                  <a:pt x="890" y="492"/>
                </a:lnTo>
                <a:lnTo>
                  <a:pt x="906" y="492"/>
                </a:lnTo>
                <a:lnTo>
                  <a:pt x="911" y="488"/>
                </a:lnTo>
                <a:lnTo>
                  <a:pt x="919" y="483"/>
                </a:lnTo>
                <a:lnTo>
                  <a:pt x="922" y="481"/>
                </a:lnTo>
                <a:lnTo>
                  <a:pt x="924" y="478"/>
                </a:lnTo>
                <a:lnTo>
                  <a:pt x="926" y="474"/>
                </a:lnTo>
                <a:lnTo>
                  <a:pt x="926" y="471"/>
                </a:lnTo>
                <a:lnTo>
                  <a:pt x="938" y="465"/>
                </a:lnTo>
                <a:lnTo>
                  <a:pt x="939" y="461"/>
                </a:lnTo>
                <a:lnTo>
                  <a:pt x="941" y="455"/>
                </a:lnTo>
                <a:lnTo>
                  <a:pt x="942" y="453"/>
                </a:lnTo>
                <a:lnTo>
                  <a:pt x="944" y="451"/>
                </a:lnTo>
                <a:lnTo>
                  <a:pt x="947" y="450"/>
                </a:lnTo>
                <a:lnTo>
                  <a:pt x="948" y="450"/>
                </a:lnTo>
                <a:lnTo>
                  <a:pt x="948" y="439"/>
                </a:lnTo>
                <a:lnTo>
                  <a:pt x="952" y="434"/>
                </a:lnTo>
                <a:lnTo>
                  <a:pt x="957" y="429"/>
                </a:lnTo>
                <a:lnTo>
                  <a:pt x="960" y="425"/>
                </a:lnTo>
                <a:lnTo>
                  <a:pt x="964" y="423"/>
                </a:lnTo>
                <a:lnTo>
                  <a:pt x="964" y="407"/>
                </a:lnTo>
                <a:lnTo>
                  <a:pt x="966" y="401"/>
                </a:lnTo>
                <a:lnTo>
                  <a:pt x="970" y="392"/>
                </a:lnTo>
                <a:lnTo>
                  <a:pt x="972" y="387"/>
                </a:lnTo>
                <a:lnTo>
                  <a:pt x="976" y="384"/>
                </a:lnTo>
                <a:lnTo>
                  <a:pt x="978" y="382"/>
                </a:lnTo>
                <a:lnTo>
                  <a:pt x="980" y="381"/>
                </a:lnTo>
                <a:lnTo>
                  <a:pt x="982" y="367"/>
                </a:lnTo>
                <a:lnTo>
                  <a:pt x="986" y="354"/>
                </a:lnTo>
                <a:lnTo>
                  <a:pt x="995" y="349"/>
                </a:lnTo>
                <a:lnTo>
                  <a:pt x="1001" y="344"/>
                </a:lnTo>
                <a:lnTo>
                  <a:pt x="1002" y="325"/>
                </a:lnTo>
                <a:lnTo>
                  <a:pt x="1006" y="300"/>
                </a:lnTo>
                <a:lnTo>
                  <a:pt x="1010" y="274"/>
                </a:lnTo>
                <a:lnTo>
                  <a:pt x="1011" y="249"/>
                </a:lnTo>
                <a:lnTo>
                  <a:pt x="1015" y="248"/>
                </a:lnTo>
                <a:lnTo>
                  <a:pt x="1016" y="246"/>
                </a:lnTo>
                <a:lnTo>
                  <a:pt x="1017" y="242"/>
                </a:lnTo>
                <a:lnTo>
                  <a:pt x="1017" y="238"/>
                </a:lnTo>
                <a:lnTo>
                  <a:pt x="1027" y="228"/>
                </a:lnTo>
                <a:lnTo>
                  <a:pt x="1038" y="217"/>
                </a:lnTo>
                <a:lnTo>
                  <a:pt x="1038" y="201"/>
                </a:lnTo>
                <a:lnTo>
                  <a:pt x="1048" y="191"/>
                </a:lnTo>
                <a:lnTo>
                  <a:pt x="1048" y="174"/>
                </a:lnTo>
                <a:lnTo>
                  <a:pt x="1048" y="156"/>
                </a:lnTo>
                <a:lnTo>
                  <a:pt x="1048" y="138"/>
                </a:lnTo>
                <a:lnTo>
                  <a:pt x="1048" y="122"/>
                </a:lnTo>
                <a:lnTo>
                  <a:pt x="1048" y="121"/>
                </a:lnTo>
                <a:lnTo>
                  <a:pt x="1045" y="116"/>
                </a:lnTo>
                <a:lnTo>
                  <a:pt x="1041" y="113"/>
                </a:lnTo>
                <a:lnTo>
                  <a:pt x="1038" y="112"/>
                </a:lnTo>
                <a:lnTo>
                  <a:pt x="1038" y="95"/>
                </a:lnTo>
                <a:lnTo>
                  <a:pt x="1036" y="95"/>
                </a:lnTo>
                <a:lnTo>
                  <a:pt x="1035" y="94"/>
                </a:lnTo>
                <a:lnTo>
                  <a:pt x="1034" y="92"/>
                </a:lnTo>
                <a:lnTo>
                  <a:pt x="1034" y="89"/>
                </a:lnTo>
                <a:lnTo>
                  <a:pt x="1034" y="82"/>
                </a:lnTo>
                <a:lnTo>
                  <a:pt x="1035" y="75"/>
                </a:lnTo>
                <a:lnTo>
                  <a:pt x="1037" y="67"/>
                </a:lnTo>
                <a:lnTo>
                  <a:pt x="1039" y="59"/>
                </a:lnTo>
                <a:lnTo>
                  <a:pt x="1041" y="55"/>
                </a:lnTo>
                <a:lnTo>
                  <a:pt x="1044" y="54"/>
                </a:lnTo>
                <a:lnTo>
                  <a:pt x="1044" y="47"/>
                </a:lnTo>
                <a:lnTo>
                  <a:pt x="1047" y="41"/>
                </a:lnTo>
                <a:lnTo>
                  <a:pt x="1050" y="36"/>
                </a:lnTo>
                <a:lnTo>
                  <a:pt x="1054" y="30"/>
                </a:lnTo>
                <a:lnTo>
                  <a:pt x="1058" y="25"/>
                </a:lnTo>
                <a:lnTo>
                  <a:pt x="1062" y="20"/>
                </a:lnTo>
                <a:lnTo>
                  <a:pt x="1064" y="15"/>
                </a:lnTo>
                <a:lnTo>
                  <a:pt x="1065" y="11"/>
                </a:lnTo>
                <a:lnTo>
                  <a:pt x="1075" y="6"/>
                </a:lnTo>
                <a:lnTo>
                  <a:pt x="1081" y="0"/>
                </a:lnTo>
                <a:lnTo>
                  <a:pt x="1089" y="0"/>
                </a:lnTo>
                <a:lnTo>
                  <a:pt x="1102" y="0"/>
                </a:lnTo>
                <a:lnTo>
                  <a:pt x="1113" y="0"/>
                </a:lnTo>
                <a:lnTo>
                  <a:pt x="1123" y="0"/>
                </a:lnTo>
                <a:lnTo>
                  <a:pt x="1133" y="9"/>
                </a:lnTo>
                <a:lnTo>
                  <a:pt x="1144" y="16"/>
                </a:lnTo>
                <a:lnTo>
                  <a:pt x="1156" y="21"/>
                </a:lnTo>
                <a:lnTo>
                  <a:pt x="1169" y="25"/>
                </a:lnTo>
                <a:lnTo>
                  <a:pt x="1182" y="27"/>
                </a:lnTo>
                <a:lnTo>
                  <a:pt x="1196" y="29"/>
                </a:lnTo>
                <a:lnTo>
                  <a:pt x="1210" y="29"/>
                </a:lnTo>
                <a:lnTo>
                  <a:pt x="1225" y="29"/>
                </a:lnTo>
                <a:lnTo>
                  <a:pt x="1254" y="29"/>
                </a:lnTo>
                <a:lnTo>
                  <a:pt x="1281" y="30"/>
                </a:lnTo>
                <a:lnTo>
                  <a:pt x="1296" y="31"/>
                </a:lnTo>
                <a:lnTo>
                  <a:pt x="1309" y="34"/>
                </a:lnTo>
                <a:lnTo>
                  <a:pt x="1322" y="38"/>
                </a:lnTo>
                <a:lnTo>
                  <a:pt x="1334" y="42"/>
                </a:lnTo>
                <a:lnTo>
                  <a:pt x="1334" y="58"/>
                </a:lnTo>
                <a:lnTo>
                  <a:pt x="1321" y="68"/>
                </a:lnTo>
                <a:lnTo>
                  <a:pt x="1296" y="90"/>
                </a:lnTo>
                <a:lnTo>
                  <a:pt x="1281" y="103"/>
                </a:lnTo>
                <a:lnTo>
                  <a:pt x="1268" y="114"/>
                </a:lnTo>
                <a:lnTo>
                  <a:pt x="1257" y="123"/>
                </a:lnTo>
                <a:lnTo>
                  <a:pt x="1249" y="127"/>
                </a:lnTo>
                <a:lnTo>
                  <a:pt x="1249" y="131"/>
                </a:lnTo>
                <a:lnTo>
                  <a:pt x="1247" y="134"/>
                </a:lnTo>
                <a:lnTo>
                  <a:pt x="1245" y="137"/>
                </a:lnTo>
                <a:lnTo>
                  <a:pt x="1241" y="140"/>
                </a:lnTo>
                <a:lnTo>
                  <a:pt x="1236" y="144"/>
                </a:lnTo>
                <a:lnTo>
                  <a:pt x="1233" y="149"/>
                </a:lnTo>
                <a:lnTo>
                  <a:pt x="1223" y="154"/>
                </a:lnTo>
                <a:lnTo>
                  <a:pt x="1212" y="159"/>
                </a:lnTo>
                <a:lnTo>
                  <a:pt x="1202" y="164"/>
                </a:lnTo>
                <a:lnTo>
                  <a:pt x="1194" y="178"/>
                </a:lnTo>
                <a:lnTo>
                  <a:pt x="1185" y="195"/>
                </a:lnTo>
                <a:lnTo>
                  <a:pt x="1175" y="201"/>
                </a:lnTo>
                <a:lnTo>
                  <a:pt x="1173" y="207"/>
                </a:lnTo>
                <a:lnTo>
                  <a:pt x="1170" y="213"/>
                </a:lnTo>
                <a:lnTo>
                  <a:pt x="1166" y="217"/>
                </a:lnTo>
                <a:lnTo>
                  <a:pt x="1164" y="220"/>
                </a:lnTo>
                <a:lnTo>
                  <a:pt x="1162" y="221"/>
                </a:lnTo>
                <a:lnTo>
                  <a:pt x="1160" y="222"/>
                </a:lnTo>
                <a:lnTo>
                  <a:pt x="1159" y="230"/>
                </a:lnTo>
                <a:lnTo>
                  <a:pt x="1156" y="238"/>
                </a:lnTo>
                <a:lnTo>
                  <a:pt x="1153" y="243"/>
                </a:lnTo>
                <a:lnTo>
                  <a:pt x="1149" y="249"/>
                </a:lnTo>
                <a:lnTo>
                  <a:pt x="1149" y="291"/>
                </a:lnTo>
                <a:lnTo>
                  <a:pt x="1153" y="298"/>
                </a:lnTo>
                <a:lnTo>
                  <a:pt x="1162" y="316"/>
                </a:lnTo>
                <a:lnTo>
                  <a:pt x="1171" y="334"/>
                </a:lnTo>
                <a:lnTo>
                  <a:pt x="1175" y="344"/>
                </a:lnTo>
                <a:lnTo>
                  <a:pt x="1179" y="345"/>
                </a:lnTo>
                <a:lnTo>
                  <a:pt x="1181" y="349"/>
                </a:lnTo>
                <a:lnTo>
                  <a:pt x="1183" y="351"/>
                </a:lnTo>
                <a:lnTo>
                  <a:pt x="1185" y="353"/>
                </a:lnTo>
                <a:lnTo>
                  <a:pt x="1188" y="354"/>
                </a:lnTo>
                <a:lnTo>
                  <a:pt x="1191" y="354"/>
                </a:lnTo>
                <a:lnTo>
                  <a:pt x="1192" y="361"/>
                </a:lnTo>
                <a:lnTo>
                  <a:pt x="1196" y="366"/>
                </a:lnTo>
                <a:lnTo>
                  <a:pt x="1200" y="372"/>
                </a:lnTo>
                <a:lnTo>
                  <a:pt x="1204" y="378"/>
                </a:lnTo>
                <a:lnTo>
                  <a:pt x="1209" y="384"/>
                </a:lnTo>
                <a:lnTo>
                  <a:pt x="1213" y="390"/>
                </a:lnTo>
                <a:lnTo>
                  <a:pt x="1217" y="396"/>
                </a:lnTo>
                <a:lnTo>
                  <a:pt x="1218" y="402"/>
                </a:lnTo>
                <a:lnTo>
                  <a:pt x="1276" y="460"/>
                </a:lnTo>
                <a:lnTo>
                  <a:pt x="1286" y="460"/>
                </a:lnTo>
                <a:lnTo>
                  <a:pt x="1293" y="464"/>
                </a:lnTo>
                <a:lnTo>
                  <a:pt x="1303" y="468"/>
                </a:lnTo>
                <a:lnTo>
                  <a:pt x="1314" y="470"/>
                </a:lnTo>
                <a:lnTo>
                  <a:pt x="1324" y="471"/>
                </a:lnTo>
                <a:lnTo>
                  <a:pt x="1335" y="474"/>
                </a:lnTo>
                <a:lnTo>
                  <a:pt x="1353" y="478"/>
                </a:lnTo>
                <a:lnTo>
                  <a:pt x="1372" y="480"/>
                </a:lnTo>
                <a:lnTo>
                  <a:pt x="1386" y="481"/>
                </a:lnTo>
                <a:lnTo>
                  <a:pt x="1392" y="484"/>
                </a:lnTo>
                <a:lnTo>
                  <a:pt x="1398" y="488"/>
                </a:lnTo>
                <a:lnTo>
                  <a:pt x="1404" y="491"/>
                </a:lnTo>
                <a:lnTo>
                  <a:pt x="1411" y="494"/>
                </a:lnTo>
                <a:lnTo>
                  <a:pt x="1418" y="498"/>
                </a:lnTo>
                <a:lnTo>
                  <a:pt x="1424" y="500"/>
                </a:lnTo>
                <a:lnTo>
                  <a:pt x="1430" y="503"/>
                </a:lnTo>
                <a:lnTo>
                  <a:pt x="1434" y="508"/>
                </a:lnTo>
                <a:lnTo>
                  <a:pt x="1442" y="508"/>
                </a:lnTo>
                <a:lnTo>
                  <a:pt x="1450" y="509"/>
                </a:lnTo>
                <a:lnTo>
                  <a:pt x="1453" y="510"/>
                </a:lnTo>
                <a:lnTo>
                  <a:pt x="1456" y="512"/>
                </a:lnTo>
                <a:lnTo>
                  <a:pt x="1459" y="515"/>
                </a:lnTo>
                <a:lnTo>
                  <a:pt x="1461" y="518"/>
                </a:lnTo>
                <a:lnTo>
                  <a:pt x="1477" y="518"/>
                </a:lnTo>
                <a:lnTo>
                  <a:pt x="1481" y="522"/>
                </a:lnTo>
                <a:lnTo>
                  <a:pt x="1487" y="525"/>
                </a:lnTo>
                <a:lnTo>
                  <a:pt x="1494" y="528"/>
                </a:lnTo>
                <a:lnTo>
                  <a:pt x="1501" y="529"/>
                </a:lnTo>
                <a:lnTo>
                  <a:pt x="1518" y="532"/>
                </a:lnTo>
                <a:lnTo>
                  <a:pt x="1536" y="534"/>
                </a:lnTo>
                <a:lnTo>
                  <a:pt x="1573" y="535"/>
                </a:lnTo>
                <a:lnTo>
                  <a:pt x="1604" y="534"/>
                </a:lnTo>
                <a:lnTo>
                  <a:pt x="1604" y="532"/>
                </a:lnTo>
                <a:lnTo>
                  <a:pt x="1605" y="531"/>
                </a:lnTo>
                <a:lnTo>
                  <a:pt x="1606" y="530"/>
                </a:lnTo>
                <a:lnTo>
                  <a:pt x="1607" y="530"/>
                </a:lnTo>
                <a:lnTo>
                  <a:pt x="1612" y="531"/>
                </a:lnTo>
                <a:lnTo>
                  <a:pt x="1616" y="532"/>
                </a:lnTo>
                <a:lnTo>
                  <a:pt x="1626" y="537"/>
                </a:lnTo>
                <a:lnTo>
                  <a:pt x="1630" y="539"/>
                </a:lnTo>
                <a:lnTo>
                  <a:pt x="1645" y="545"/>
                </a:lnTo>
                <a:lnTo>
                  <a:pt x="1650" y="550"/>
                </a:lnTo>
                <a:lnTo>
                  <a:pt x="1659" y="558"/>
                </a:lnTo>
                <a:lnTo>
                  <a:pt x="1664" y="563"/>
                </a:lnTo>
                <a:lnTo>
                  <a:pt x="1668" y="568"/>
                </a:lnTo>
                <a:lnTo>
                  <a:pt x="1671" y="573"/>
                </a:lnTo>
                <a:lnTo>
                  <a:pt x="1672" y="576"/>
                </a:lnTo>
                <a:lnTo>
                  <a:pt x="1679" y="579"/>
                </a:lnTo>
                <a:lnTo>
                  <a:pt x="1688" y="587"/>
                </a:lnTo>
                <a:lnTo>
                  <a:pt x="1696" y="594"/>
                </a:lnTo>
                <a:lnTo>
                  <a:pt x="1699" y="597"/>
                </a:lnTo>
                <a:lnTo>
                  <a:pt x="1705" y="603"/>
                </a:lnTo>
                <a:lnTo>
                  <a:pt x="1709" y="613"/>
                </a:lnTo>
                <a:lnTo>
                  <a:pt x="1715" y="624"/>
                </a:lnTo>
                <a:lnTo>
                  <a:pt x="1718" y="626"/>
                </a:lnTo>
                <a:lnTo>
                  <a:pt x="1721" y="630"/>
                </a:lnTo>
                <a:lnTo>
                  <a:pt x="1725" y="635"/>
                </a:lnTo>
                <a:lnTo>
                  <a:pt x="1725" y="640"/>
                </a:lnTo>
                <a:lnTo>
                  <a:pt x="1732" y="644"/>
                </a:lnTo>
                <a:lnTo>
                  <a:pt x="1739" y="649"/>
                </a:lnTo>
                <a:lnTo>
                  <a:pt x="1743" y="651"/>
                </a:lnTo>
                <a:lnTo>
                  <a:pt x="1745" y="654"/>
                </a:lnTo>
                <a:lnTo>
                  <a:pt x="1746" y="657"/>
                </a:lnTo>
                <a:lnTo>
                  <a:pt x="1746" y="661"/>
                </a:lnTo>
                <a:lnTo>
                  <a:pt x="1757" y="672"/>
                </a:lnTo>
                <a:lnTo>
                  <a:pt x="1763" y="674"/>
                </a:lnTo>
                <a:lnTo>
                  <a:pt x="1768" y="678"/>
                </a:lnTo>
                <a:lnTo>
                  <a:pt x="1773" y="682"/>
                </a:lnTo>
                <a:lnTo>
                  <a:pt x="1778" y="688"/>
                </a:lnTo>
                <a:lnTo>
                  <a:pt x="1783" y="692"/>
                </a:lnTo>
                <a:lnTo>
                  <a:pt x="1788" y="697"/>
                </a:lnTo>
                <a:lnTo>
                  <a:pt x="1794" y="701"/>
                </a:lnTo>
                <a:lnTo>
                  <a:pt x="1799" y="703"/>
                </a:lnTo>
                <a:lnTo>
                  <a:pt x="1801" y="705"/>
                </a:lnTo>
                <a:lnTo>
                  <a:pt x="1803" y="709"/>
                </a:lnTo>
                <a:lnTo>
                  <a:pt x="1806" y="712"/>
                </a:lnTo>
                <a:lnTo>
                  <a:pt x="1811" y="715"/>
                </a:lnTo>
                <a:lnTo>
                  <a:pt x="1816" y="719"/>
                </a:lnTo>
                <a:lnTo>
                  <a:pt x="1822" y="722"/>
                </a:lnTo>
                <a:lnTo>
                  <a:pt x="1826" y="723"/>
                </a:lnTo>
                <a:lnTo>
                  <a:pt x="1831" y="724"/>
                </a:lnTo>
                <a:lnTo>
                  <a:pt x="1836" y="733"/>
                </a:lnTo>
                <a:lnTo>
                  <a:pt x="1850" y="748"/>
                </a:lnTo>
                <a:lnTo>
                  <a:pt x="1864" y="763"/>
                </a:lnTo>
                <a:lnTo>
                  <a:pt x="1873" y="772"/>
                </a:lnTo>
                <a:lnTo>
                  <a:pt x="1879" y="774"/>
                </a:lnTo>
                <a:lnTo>
                  <a:pt x="1882" y="776"/>
                </a:lnTo>
                <a:lnTo>
                  <a:pt x="1885" y="780"/>
                </a:lnTo>
                <a:lnTo>
                  <a:pt x="1889" y="785"/>
                </a:lnTo>
                <a:lnTo>
                  <a:pt x="1891" y="790"/>
                </a:lnTo>
                <a:lnTo>
                  <a:pt x="1893" y="794"/>
                </a:lnTo>
                <a:lnTo>
                  <a:pt x="1897" y="797"/>
                </a:lnTo>
                <a:lnTo>
                  <a:pt x="1900" y="798"/>
                </a:lnTo>
                <a:lnTo>
                  <a:pt x="1900" y="818"/>
                </a:lnTo>
                <a:lnTo>
                  <a:pt x="1900" y="837"/>
                </a:lnTo>
                <a:lnTo>
                  <a:pt x="1900" y="856"/>
                </a:lnTo>
                <a:lnTo>
                  <a:pt x="1901" y="876"/>
                </a:lnTo>
                <a:lnTo>
                  <a:pt x="1899" y="869"/>
                </a:lnTo>
                <a:lnTo>
                  <a:pt x="1899" y="862"/>
                </a:lnTo>
                <a:lnTo>
                  <a:pt x="1871" y="862"/>
                </a:lnTo>
                <a:lnTo>
                  <a:pt x="1862" y="871"/>
                </a:lnTo>
                <a:lnTo>
                  <a:pt x="1862" y="888"/>
                </a:lnTo>
                <a:lnTo>
                  <a:pt x="1853" y="899"/>
                </a:lnTo>
                <a:lnTo>
                  <a:pt x="1847" y="899"/>
                </a:lnTo>
                <a:lnTo>
                  <a:pt x="1844" y="900"/>
                </a:lnTo>
                <a:lnTo>
                  <a:pt x="1843" y="901"/>
                </a:lnTo>
                <a:lnTo>
                  <a:pt x="1843" y="903"/>
                </a:lnTo>
                <a:lnTo>
                  <a:pt x="1843" y="904"/>
                </a:lnTo>
                <a:lnTo>
                  <a:pt x="1842" y="906"/>
                </a:lnTo>
                <a:lnTo>
                  <a:pt x="1840" y="907"/>
                </a:lnTo>
                <a:lnTo>
                  <a:pt x="1834" y="907"/>
                </a:lnTo>
                <a:lnTo>
                  <a:pt x="1834" y="925"/>
                </a:lnTo>
                <a:lnTo>
                  <a:pt x="1828" y="926"/>
                </a:lnTo>
                <a:lnTo>
                  <a:pt x="1826" y="928"/>
                </a:lnTo>
                <a:lnTo>
                  <a:pt x="1825" y="929"/>
                </a:lnTo>
                <a:lnTo>
                  <a:pt x="1825" y="931"/>
                </a:lnTo>
                <a:lnTo>
                  <a:pt x="1825" y="932"/>
                </a:lnTo>
                <a:lnTo>
                  <a:pt x="1824" y="933"/>
                </a:lnTo>
                <a:lnTo>
                  <a:pt x="1821" y="934"/>
                </a:lnTo>
                <a:lnTo>
                  <a:pt x="1816" y="935"/>
                </a:lnTo>
                <a:lnTo>
                  <a:pt x="1816" y="953"/>
                </a:lnTo>
                <a:lnTo>
                  <a:pt x="1802" y="963"/>
                </a:lnTo>
                <a:lnTo>
                  <a:pt x="1788" y="972"/>
                </a:lnTo>
                <a:lnTo>
                  <a:pt x="1787" y="976"/>
                </a:lnTo>
                <a:lnTo>
                  <a:pt x="1786" y="979"/>
                </a:lnTo>
                <a:lnTo>
                  <a:pt x="1785" y="982"/>
                </a:lnTo>
                <a:lnTo>
                  <a:pt x="1783" y="986"/>
                </a:lnTo>
                <a:lnTo>
                  <a:pt x="1776" y="993"/>
                </a:lnTo>
                <a:lnTo>
                  <a:pt x="1769" y="1001"/>
                </a:lnTo>
                <a:lnTo>
                  <a:pt x="1763" y="1009"/>
                </a:lnTo>
                <a:lnTo>
                  <a:pt x="1757" y="1018"/>
                </a:lnTo>
                <a:lnTo>
                  <a:pt x="1755" y="1022"/>
                </a:lnTo>
                <a:lnTo>
                  <a:pt x="1753" y="1027"/>
                </a:lnTo>
                <a:lnTo>
                  <a:pt x="1751" y="1031"/>
                </a:lnTo>
                <a:lnTo>
                  <a:pt x="1751" y="1037"/>
                </a:lnTo>
                <a:lnTo>
                  <a:pt x="1732" y="1046"/>
                </a:lnTo>
                <a:lnTo>
                  <a:pt x="1732" y="1065"/>
                </a:lnTo>
                <a:lnTo>
                  <a:pt x="1727" y="1065"/>
                </a:lnTo>
                <a:lnTo>
                  <a:pt x="1725" y="1066"/>
                </a:lnTo>
                <a:lnTo>
                  <a:pt x="1724" y="1067"/>
                </a:lnTo>
                <a:lnTo>
                  <a:pt x="1724" y="1069"/>
                </a:lnTo>
                <a:lnTo>
                  <a:pt x="1724" y="1070"/>
                </a:lnTo>
                <a:lnTo>
                  <a:pt x="1722" y="1073"/>
                </a:lnTo>
                <a:lnTo>
                  <a:pt x="1719" y="1074"/>
                </a:lnTo>
                <a:lnTo>
                  <a:pt x="1715" y="1074"/>
                </a:lnTo>
                <a:lnTo>
                  <a:pt x="1715" y="1193"/>
                </a:lnTo>
                <a:lnTo>
                  <a:pt x="1712" y="1194"/>
                </a:lnTo>
                <a:lnTo>
                  <a:pt x="1710" y="1196"/>
                </a:lnTo>
                <a:lnTo>
                  <a:pt x="1708" y="1201"/>
                </a:lnTo>
                <a:lnTo>
                  <a:pt x="1706" y="1205"/>
                </a:lnTo>
                <a:lnTo>
                  <a:pt x="1700" y="1217"/>
                </a:lnTo>
                <a:lnTo>
                  <a:pt x="1693" y="1231"/>
                </a:lnTo>
                <a:lnTo>
                  <a:pt x="1686" y="1244"/>
                </a:lnTo>
                <a:lnTo>
                  <a:pt x="1678" y="1256"/>
                </a:lnTo>
                <a:lnTo>
                  <a:pt x="1673" y="1261"/>
                </a:lnTo>
                <a:lnTo>
                  <a:pt x="1669" y="1265"/>
                </a:lnTo>
                <a:lnTo>
                  <a:pt x="1663" y="1267"/>
                </a:lnTo>
                <a:lnTo>
                  <a:pt x="1659" y="1268"/>
                </a:lnTo>
                <a:lnTo>
                  <a:pt x="1650" y="1286"/>
                </a:lnTo>
                <a:lnTo>
                  <a:pt x="1617" y="1286"/>
                </a:lnTo>
                <a:lnTo>
                  <a:pt x="1581" y="1286"/>
                </a:lnTo>
                <a:lnTo>
                  <a:pt x="1543" y="1286"/>
                </a:lnTo>
                <a:lnTo>
                  <a:pt x="1510" y="1286"/>
                </a:lnTo>
                <a:lnTo>
                  <a:pt x="1501" y="1277"/>
                </a:lnTo>
                <a:lnTo>
                  <a:pt x="1492" y="1268"/>
                </a:lnTo>
                <a:lnTo>
                  <a:pt x="1491" y="1261"/>
                </a:lnTo>
                <a:lnTo>
                  <a:pt x="1489" y="1256"/>
                </a:lnTo>
                <a:lnTo>
                  <a:pt x="1487" y="1250"/>
                </a:lnTo>
                <a:lnTo>
                  <a:pt x="1484" y="1244"/>
                </a:lnTo>
                <a:lnTo>
                  <a:pt x="1480" y="1239"/>
                </a:lnTo>
                <a:lnTo>
                  <a:pt x="1477" y="1233"/>
                </a:lnTo>
                <a:lnTo>
                  <a:pt x="1475" y="1228"/>
                </a:lnTo>
                <a:lnTo>
                  <a:pt x="1473" y="1221"/>
                </a:lnTo>
                <a:lnTo>
                  <a:pt x="1447" y="1193"/>
                </a:lnTo>
                <a:lnTo>
                  <a:pt x="1437" y="1203"/>
                </a:lnTo>
                <a:lnTo>
                  <a:pt x="1431" y="1203"/>
                </a:lnTo>
                <a:lnTo>
                  <a:pt x="1429" y="1204"/>
                </a:lnTo>
                <a:lnTo>
                  <a:pt x="1428" y="1205"/>
                </a:lnTo>
                <a:lnTo>
                  <a:pt x="1428" y="1208"/>
                </a:lnTo>
                <a:lnTo>
                  <a:pt x="1428" y="1209"/>
                </a:lnTo>
                <a:lnTo>
                  <a:pt x="1427" y="1211"/>
                </a:lnTo>
                <a:lnTo>
                  <a:pt x="1423" y="1212"/>
                </a:lnTo>
                <a:lnTo>
                  <a:pt x="1419" y="1212"/>
                </a:lnTo>
                <a:lnTo>
                  <a:pt x="1417" y="1220"/>
                </a:lnTo>
                <a:lnTo>
                  <a:pt x="1413" y="1230"/>
                </a:lnTo>
                <a:lnTo>
                  <a:pt x="1410" y="1233"/>
                </a:lnTo>
                <a:lnTo>
                  <a:pt x="1406" y="1237"/>
                </a:lnTo>
                <a:lnTo>
                  <a:pt x="1403" y="1239"/>
                </a:lnTo>
                <a:lnTo>
                  <a:pt x="1400" y="1240"/>
                </a:lnTo>
                <a:lnTo>
                  <a:pt x="1400" y="1277"/>
                </a:lnTo>
                <a:lnTo>
                  <a:pt x="1395" y="1288"/>
                </a:lnTo>
                <a:lnTo>
                  <a:pt x="1386" y="1314"/>
                </a:lnTo>
                <a:lnTo>
                  <a:pt x="1376" y="1339"/>
                </a:lnTo>
                <a:lnTo>
                  <a:pt x="1372" y="1351"/>
                </a:lnTo>
                <a:lnTo>
                  <a:pt x="1363" y="1359"/>
                </a:lnTo>
                <a:lnTo>
                  <a:pt x="1354" y="1369"/>
                </a:lnTo>
                <a:lnTo>
                  <a:pt x="1340" y="1374"/>
                </a:lnTo>
                <a:lnTo>
                  <a:pt x="1326" y="1378"/>
                </a:lnTo>
                <a:lnTo>
                  <a:pt x="1326" y="1381"/>
                </a:lnTo>
                <a:lnTo>
                  <a:pt x="1325" y="1383"/>
                </a:lnTo>
                <a:lnTo>
                  <a:pt x="1323" y="1385"/>
                </a:lnTo>
                <a:lnTo>
                  <a:pt x="1321" y="1387"/>
                </a:lnTo>
                <a:lnTo>
                  <a:pt x="1313" y="1391"/>
                </a:lnTo>
                <a:lnTo>
                  <a:pt x="1304" y="1393"/>
                </a:lnTo>
                <a:lnTo>
                  <a:pt x="1294" y="1395"/>
                </a:lnTo>
                <a:lnTo>
                  <a:pt x="1281" y="1396"/>
                </a:lnTo>
                <a:lnTo>
                  <a:pt x="1268" y="1397"/>
                </a:lnTo>
                <a:lnTo>
                  <a:pt x="1255" y="1399"/>
                </a:lnTo>
                <a:lnTo>
                  <a:pt x="1201" y="1397"/>
                </a:lnTo>
                <a:lnTo>
                  <a:pt x="1169" y="1397"/>
                </a:lnTo>
                <a:lnTo>
                  <a:pt x="1168" y="1395"/>
                </a:lnTo>
                <a:lnTo>
                  <a:pt x="1163" y="1394"/>
                </a:lnTo>
                <a:lnTo>
                  <a:pt x="1155" y="1393"/>
                </a:lnTo>
                <a:lnTo>
                  <a:pt x="1145" y="1392"/>
                </a:lnTo>
                <a:lnTo>
                  <a:pt x="1121" y="1390"/>
                </a:lnTo>
                <a:lnTo>
                  <a:pt x="1093" y="1388"/>
                </a:lnTo>
                <a:lnTo>
                  <a:pt x="1037" y="1387"/>
                </a:lnTo>
                <a:lnTo>
                  <a:pt x="1002" y="1387"/>
                </a:lnTo>
                <a:lnTo>
                  <a:pt x="1002" y="1391"/>
                </a:lnTo>
                <a:lnTo>
                  <a:pt x="1001" y="1393"/>
                </a:lnTo>
                <a:lnTo>
                  <a:pt x="999" y="1395"/>
                </a:lnTo>
                <a:lnTo>
                  <a:pt x="997" y="1396"/>
                </a:lnTo>
                <a:lnTo>
                  <a:pt x="991" y="1396"/>
                </a:lnTo>
                <a:lnTo>
                  <a:pt x="985" y="1397"/>
                </a:lnTo>
                <a:lnTo>
                  <a:pt x="983" y="1401"/>
                </a:lnTo>
                <a:lnTo>
                  <a:pt x="981" y="1404"/>
                </a:lnTo>
                <a:lnTo>
                  <a:pt x="978" y="1406"/>
                </a:lnTo>
                <a:lnTo>
                  <a:pt x="974" y="1410"/>
                </a:lnTo>
                <a:lnTo>
                  <a:pt x="969" y="1414"/>
                </a:lnTo>
                <a:lnTo>
                  <a:pt x="966" y="1415"/>
                </a:lnTo>
                <a:lnTo>
                  <a:pt x="966" y="1434"/>
                </a:lnTo>
                <a:lnTo>
                  <a:pt x="960" y="1434"/>
                </a:lnTo>
                <a:lnTo>
                  <a:pt x="958" y="1435"/>
                </a:lnTo>
                <a:lnTo>
                  <a:pt x="957" y="1436"/>
                </a:lnTo>
                <a:lnTo>
                  <a:pt x="957" y="1439"/>
                </a:lnTo>
                <a:lnTo>
                  <a:pt x="957" y="1440"/>
                </a:lnTo>
                <a:lnTo>
                  <a:pt x="956" y="1442"/>
                </a:lnTo>
                <a:lnTo>
                  <a:pt x="952" y="1443"/>
                </a:lnTo>
                <a:lnTo>
                  <a:pt x="948" y="1443"/>
                </a:lnTo>
                <a:lnTo>
                  <a:pt x="948" y="1461"/>
                </a:lnTo>
                <a:lnTo>
                  <a:pt x="938" y="1471"/>
                </a:lnTo>
                <a:lnTo>
                  <a:pt x="920" y="1469"/>
                </a:lnTo>
                <a:lnTo>
                  <a:pt x="897" y="1467"/>
                </a:lnTo>
                <a:lnTo>
                  <a:pt x="877" y="1463"/>
                </a:lnTo>
                <a:lnTo>
                  <a:pt x="864" y="1461"/>
                </a:lnTo>
                <a:lnTo>
                  <a:pt x="864" y="1458"/>
                </a:lnTo>
                <a:lnTo>
                  <a:pt x="863" y="1454"/>
                </a:lnTo>
                <a:lnTo>
                  <a:pt x="861" y="1452"/>
                </a:lnTo>
                <a:lnTo>
                  <a:pt x="858" y="1449"/>
                </a:lnTo>
                <a:lnTo>
                  <a:pt x="855" y="1446"/>
                </a:lnTo>
                <a:lnTo>
                  <a:pt x="853" y="1444"/>
                </a:lnTo>
                <a:lnTo>
                  <a:pt x="849" y="1443"/>
                </a:lnTo>
                <a:lnTo>
                  <a:pt x="846" y="1443"/>
                </a:lnTo>
                <a:lnTo>
                  <a:pt x="836" y="1434"/>
                </a:lnTo>
                <a:lnTo>
                  <a:pt x="827" y="1424"/>
                </a:lnTo>
                <a:lnTo>
                  <a:pt x="827" y="1406"/>
                </a:lnTo>
                <a:lnTo>
                  <a:pt x="824" y="1405"/>
                </a:lnTo>
                <a:lnTo>
                  <a:pt x="820" y="1404"/>
                </a:lnTo>
                <a:lnTo>
                  <a:pt x="817" y="1403"/>
                </a:lnTo>
                <a:lnTo>
                  <a:pt x="815" y="1401"/>
                </a:lnTo>
                <a:lnTo>
                  <a:pt x="813" y="1397"/>
                </a:lnTo>
                <a:lnTo>
                  <a:pt x="810" y="1394"/>
                </a:lnTo>
                <a:lnTo>
                  <a:pt x="809" y="1391"/>
                </a:lnTo>
                <a:lnTo>
                  <a:pt x="809" y="1387"/>
                </a:lnTo>
                <a:lnTo>
                  <a:pt x="799" y="1378"/>
                </a:lnTo>
                <a:lnTo>
                  <a:pt x="790" y="1369"/>
                </a:lnTo>
                <a:lnTo>
                  <a:pt x="741" y="1369"/>
                </a:lnTo>
                <a:lnTo>
                  <a:pt x="738" y="1366"/>
                </a:lnTo>
                <a:lnTo>
                  <a:pt x="732" y="1359"/>
                </a:lnTo>
                <a:lnTo>
                  <a:pt x="717" y="1359"/>
                </a:lnTo>
                <a:lnTo>
                  <a:pt x="698" y="1358"/>
                </a:lnTo>
                <a:lnTo>
                  <a:pt x="675" y="1356"/>
                </a:lnTo>
                <a:lnTo>
                  <a:pt x="653" y="1353"/>
                </a:lnTo>
                <a:lnTo>
                  <a:pt x="642" y="1351"/>
                </a:lnTo>
                <a:lnTo>
                  <a:pt x="631" y="1348"/>
                </a:lnTo>
                <a:lnTo>
                  <a:pt x="621" y="1345"/>
                </a:lnTo>
                <a:lnTo>
                  <a:pt x="612" y="1342"/>
                </a:lnTo>
                <a:lnTo>
                  <a:pt x="603" y="1337"/>
                </a:lnTo>
                <a:lnTo>
                  <a:pt x="596" y="1333"/>
                </a:lnTo>
                <a:lnTo>
                  <a:pt x="592" y="1328"/>
                </a:lnTo>
                <a:lnTo>
                  <a:pt x="588" y="1323"/>
                </a:lnTo>
                <a:lnTo>
                  <a:pt x="582" y="1316"/>
                </a:lnTo>
                <a:lnTo>
                  <a:pt x="577" y="1316"/>
                </a:lnTo>
                <a:lnTo>
                  <a:pt x="573" y="1315"/>
                </a:lnTo>
                <a:lnTo>
                  <a:pt x="571" y="1315"/>
                </a:lnTo>
                <a:lnTo>
                  <a:pt x="570" y="1314"/>
                </a:lnTo>
                <a:lnTo>
                  <a:pt x="569" y="1311"/>
                </a:lnTo>
                <a:lnTo>
                  <a:pt x="569" y="1310"/>
                </a:lnTo>
                <a:lnTo>
                  <a:pt x="560" y="1309"/>
                </a:lnTo>
                <a:lnTo>
                  <a:pt x="553" y="1306"/>
                </a:lnTo>
                <a:lnTo>
                  <a:pt x="549" y="1304"/>
                </a:lnTo>
                <a:lnTo>
                  <a:pt x="546" y="1301"/>
                </a:lnTo>
                <a:lnTo>
                  <a:pt x="545" y="1299"/>
                </a:lnTo>
                <a:lnTo>
                  <a:pt x="545" y="1297"/>
                </a:lnTo>
                <a:lnTo>
                  <a:pt x="536" y="1297"/>
                </a:lnTo>
                <a:lnTo>
                  <a:pt x="529" y="1297"/>
                </a:lnTo>
                <a:lnTo>
                  <a:pt x="523" y="1295"/>
                </a:lnTo>
                <a:lnTo>
                  <a:pt x="519" y="1291"/>
                </a:lnTo>
                <a:lnTo>
                  <a:pt x="512" y="1290"/>
                </a:lnTo>
                <a:lnTo>
                  <a:pt x="505" y="1287"/>
                </a:lnTo>
                <a:lnTo>
                  <a:pt x="500" y="1286"/>
                </a:lnTo>
                <a:lnTo>
                  <a:pt x="497" y="1284"/>
                </a:lnTo>
                <a:lnTo>
                  <a:pt x="494" y="1281"/>
                </a:lnTo>
                <a:lnTo>
                  <a:pt x="494" y="1279"/>
                </a:lnTo>
                <a:lnTo>
                  <a:pt x="490" y="1278"/>
                </a:lnTo>
                <a:lnTo>
                  <a:pt x="486" y="1278"/>
                </a:lnTo>
                <a:lnTo>
                  <a:pt x="484" y="1277"/>
                </a:lnTo>
                <a:lnTo>
                  <a:pt x="482" y="1276"/>
                </a:lnTo>
                <a:lnTo>
                  <a:pt x="482" y="1275"/>
                </a:lnTo>
                <a:lnTo>
                  <a:pt x="481" y="1272"/>
                </a:lnTo>
                <a:lnTo>
                  <a:pt x="459" y="1272"/>
                </a:lnTo>
                <a:lnTo>
                  <a:pt x="421" y="1274"/>
                </a:lnTo>
                <a:lnTo>
                  <a:pt x="402" y="1276"/>
                </a:lnTo>
                <a:lnTo>
                  <a:pt x="385" y="1278"/>
                </a:lnTo>
                <a:lnTo>
                  <a:pt x="378" y="1279"/>
                </a:lnTo>
                <a:lnTo>
                  <a:pt x="374" y="1280"/>
                </a:lnTo>
                <a:lnTo>
                  <a:pt x="371" y="1282"/>
                </a:lnTo>
                <a:lnTo>
                  <a:pt x="369" y="1285"/>
                </a:lnTo>
                <a:lnTo>
                  <a:pt x="356" y="1285"/>
                </a:lnTo>
                <a:lnTo>
                  <a:pt x="350" y="1297"/>
                </a:lnTo>
                <a:lnTo>
                  <a:pt x="340" y="1297"/>
                </a:lnTo>
                <a:lnTo>
                  <a:pt x="328" y="1297"/>
                </a:lnTo>
                <a:lnTo>
                  <a:pt x="317" y="1297"/>
                </a:lnTo>
                <a:lnTo>
                  <a:pt x="307" y="1297"/>
                </a:lnTo>
                <a:lnTo>
                  <a:pt x="300" y="1291"/>
                </a:lnTo>
                <a:lnTo>
                  <a:pt x="294" y="1285"/>
                </a:lnTo>
                <a:lnTo>
                  <a:pt x="288" y="1279"/>
                </a:lnTo>
                <a:lnTo>
                  <a:pt x="281" y="1272"/>
                </a:lnTo>
                <a:lnTo>
                  <a:pt x="279" y="1265"/>
                </a:lnTo>
                <a:lnTo>
                  <a:pt x="275" y="1255"/>
                </a:lnTo>
                <a:lnTo>
                  <a:pt x="271" y="1249"/>
                </a:lnTo>
                <a:lnTo>
                  <a:pt x="268" y="1246"/>
                </a:lnTo>
                <a:lnTo>
                  <a:pt x="266" y="1242"/>
                </a:lnTo>
                <a:lnTo>
                  <a:pt x="262" y="1241"/>
                </a:lnTo>
                <a:lnTo>
                  <a:pt x="262" y="1236"/>
                </a:lnTo>
                <a:lnTo>
                  <a:pt x="262" y="1229"/>
                </a:lnTo>
                <a:lnTo>
                  <a:pt x="261" y="1227"/>
                </a:lnTo>
                <a:lnTo>
                  <a:pt x="260" y="1224"/>
                </a:lnTo>
                <a:lnTo>
                  <a:pt x="259" y="1223"/>
                </a:lnTo>
                <a:lnTo>
                  <a:pt x="257" y="1222"/>
                </a:lnTo>
                <a:lnTo>
                  <a:pt x="257" y="1203"/>
                </a:lnTo>
                <a:lnTo>
                  <a:pt x="252" y="1202"/>
                </a:lnTo>
                <a:lnTo>
                  <a:pt x="249" y="1200"/>
                </a:lnTo>
                <a:lnTo>
                  <a:pt x="247" y="1195"/>
                </a:lnTo>
                <a:lnTo>
                  <a:pt x="244" y="1191"/>
                </a:lnTo>
                <a:lnTo>
                  <a:pt x="243" y="1186"/>
                </a:lnTo>
                <a:lnTo>
                  <a:pt x="241" y="1182"/>
                </a:lnTo>
                <a:lnTo>
                  <a:pt x="240" y="1180"/>
                </a:lnTo>
                <a:lnTo>
                  <a:pt x="238" y="1179"/>
                </a:lnTo>
                <a:lnTo>
                  <a:pt x="235" y="1159"/>
                </a:lnTo>
                <a:lnTo>
                  <a:pt x="231" y="1127"/>
                </a:lnTo>
                <a:lnTo>
                  <a:pt x="228" y="1112"/>
                </a:lnTo>
                <a:lnTo>
                  <a:pt x="224" y="1097"/>
                </a:lnTo>
                <a:lnTo>
                  <a:pt x="222" y="1088"/>
                </a:lnTo>
                <a:lnTo>
                  <a:pt x="219" y="1085"/>
                </a:lnTo>
                <a:lnTo>
                  <a:pt x="219" y="1059"/>
                </a:lnTo>
                <a:lnTo>
                  <a:pt x="217" y="1058"/>
                </a:lnTo>
                <a:lnTo>
                  <a:pt x="212" y="1053"/>
                </a:lnTo>
                <a:lnTo>
                  <a:pt x="209" y="1046"/>
                </a:lnTo>
                <a:lnTo>
                  <a:pt x="204" y="1037"/>
                </a:lnTo>
                <a:lnTo>
                  <a:pt x="196" y="1020"/>
                </a:lnTo>
                <a:lnTo>
                  <a:pt x="194" y="1010"/>
                </a:lnTo>
                <a:lnTo>
                  <a:pt x="190" y="1009"/>
                </a:lnTo>
                <a:lnTo>
                  <a:pt x="185" y="1006"/>
                </a:lnTo>
                <a:lnTo>
                  <a:pt x="183" y="1002"/>
                </a:lnTo>
                <a:lnTo>
                  <a:pt x="182" y="997"/>
                </a:lnTo>
                <a:lnTo>
                  <a:pt x="169" y="998"/>
                </a:lnTo>
                <a:lnTo>
                  <a:pt x="152" y="999"/>
                </a:lnTo>
                <a:lnTo>
                  <a:pt x="144" y="1000"/>
                </a:lnTo>
                <a:lnTo>
                  <a:pt x="137" y="1002"/>
                </a:lnTo>
                <a:lnTo>
                  <a:pt x="135" y="1003"/>
                </a:lnTo>
                <a:lnTo>
                  <a:pt x="133" y="1006"/>
                </a:lnTo>
                <a:lnTo>
                  <a:pt x="132" y="1008"/>
                </a:lnTo>
                <a:lnTo>
                  <a:pt x="132" y="1010"/>
                </a:lnTo>
                <a:lnTo>
                  <a:pt x="121" y="1011"/>
                </a:lnTo>
                <a:lnTo>
                  <a:pt x="109" y="1012"/>
                </a:lnTo>
                <a:lnTo>
                  <a:pt x="98" y="1015"/>
                </a:lnTo>
                <a:lnTo>
                  <a:pt x="88" y="1016"/>
                </a:lnTo>
                <a:lnTo>
                  <a:pt x="80" y="1022"/>
                </a:lnTo>
                <a:lnTo>
                  <a:pt x="73" y="1027"/>
                </a:lnTo>
                <a:lnTo>
                  <a:pt x="65" y="1030"/>
                </a:lnTo>
                <a:lnTo>
                  <a:pt x="56" y="1032"/>
                </a:lnTo>
                <a:lnTo>
                  <a:pt x="38" y="1035"/>
                </a:lnTo>
                <a:lnTo>
                  <a:pt x="19" y="1035"/>
                </a:lnTo>
                <a:lnTo>
                  <a:pt x="12" y="1028"/>
                </a:lnTo>
                <a:lnTo>
                  <a:pt x="7" y="1022"/>
                </a:lnTo>
                <a:lnTo>
                  <a:pt x="7" y="1018"/>
                </a:lnTo>
                <a:lnTo>
                  <a:pt x="6" y="1013"/>
                </a:lnTo>
                <a:lnTo>
                  <a:pt x="4" y="1012"/>
                </a:lnTo>
                <a:lnTo>
                  <a:pt x="3" y="1011"/>
                </a:lnTo>
                <a:lnTo>
                  <a:pt x="2" y="1010"/>
                </a:lnTo>
                <a:lnTo>
                  <a:pt x="0" y="1010"/>
                </a:lnTo>
                <a:lnTo>
                  <a:pt x="0" y="992"/>
                </a:lnTo>
                <a:lnTo>
                  <a:pt x="1" y="968"/>
                </a:lnTo>
                <a:lnTo>
                  <a:pt x="1" y="955"/>
                </a:lnTo>
                <a:lnTo>
                  <a:pt x="2" y="944"/>
                </a:lnTo>
                <a:lnTo>
                  <a:pt x="4" y="938"/>
                </a:lnTo>
                <a:lnTo>
                  <a:pt x="7" y="934"/>
                </a:lnTo>
                <a:lnTo>
                  <a:pt x="7" y="910"/>
                </a:lnTo>
                <a:lnTo>
                  <a:pt x="10" y="910"/>
                </a:lnTo>
                <a:lnTo>
                  <a:pt x="12" y="909"/>
                </a:lnTo>
                <a:lnTo>
                  <a:pt x="12" y="907"/>
                </a:lnTo>
                <a:lnTo>
                  <a:pt x="12" y="906"/>
                </a:lnTo>
                <a:lnTo>
                  <a:pt x="12" y="905"/>
                </a:lnTo>
                <a:lnTo>
                  <a:pt x="13" y="904"/>
                </a:lnTo>
                <a:lnTo>
                  <a:pt x="16" y="904"/>
                </a:lnTo>
                <a:lnTo>
                  <a:pt x="19" y="903"/>
                </a:lnTo>
                <a:lnTo>
                  <a:pt x="22" y="896"/>
                </a:lnTo>
                <a:lnTo>
                  <a:pt x="29" y="887"/>
                </a:lnTo>
                <a:lnTo>
                  <a:pt x="37" y="878"/>
                </a:lnTo>
                <a:lnTo>
                  <a:pt x="43" y="872"/>
                </a:lnTo>
                <a:lnTo>
                  <a:pt x="57" y="872"/>
                </a:lnTo>
                <a:lnTo>
                  <a:pt x="57" y="859"/>
                </a:lnTo>
                <a:lnTo>
                  <a:pt x="61" y="859"/>
                </a:lnTo>
                <a:lnTo>
                  <a:pt x="65" y="858"/>
                </a:lnTo>
                <a:lnTo>
                  <a:pt x="67" y="858"/>
                </a:lnTo>
                <a:lnTo>
                  <a:pt x="68" y="857"/>
                </a:lnTo>
                <a:lnTo>
                  <a:pt x="68" y="855"/>
                </a:lnTo>
                <a:lnTo>
                  <a:pt x="69" y="854"/>
                </a:lnTo>
                <a:lnTo>
                  <a:pt x="75" y="853"/>
                </a:lnTo>
                <a:lnTo>
                  <a:pt x="80" y="853"/>
                </a:lnTo>
                <a:lnTo>
                  <a:pt x="84" y="852"/>
                </a:lnTo>
                <a:lnTo>
                  <a:pt x="86" y="851"/>
                </a:lnTo>
                <a:lnTo>
                  <a:pt x="87" y="849"/>
                </a:lnTo>
                <a:lnTo>
                  <a:pt x="88" y="847"/>
                </a:lnTo>
                <a:lnTo>
                  <a:pt x="94" y="847"/>
                </a:lnTo>
                <a:lnTo>
                  <a:pt x="99" y="846"/>
                </a:lnTo>
                <a:lnTo>
                  <a:pt x="102" y="846"/>
                </a:lnTo>
                <a:lnTo>
                  <a:pt x="105" y="845"/>
                </a:lnTo>
                <a:lnTo>
                  <a:pt x="106" y="843"/>
                </a:lnTo>
                <a:lnTo>
                  <a:pt x="106" y="840"/>
                </a:lnTo>
                <a:lnTo>
                  <a:pt x="125" y="840"/>
                </a:lnTo>
                <a:lnTo>
                  <a:pt x="127" y="837"/>
                </a:lnTo>
                <a:lnTo>
                  <a:pt x="132" y="834"/>
                </a:lnTo>
                <a:lnTo>
                  <a:pt x="134" y="832"/>
                </a:lnTo>
                <a:lnTo>
                  <a:pt x="136" y="829"/>
                </a:lnTo>
                <a:lnTo>
                  <a:pt x="137" y="826"/>
                </a:lnTo>
                <a:lnTo>
                  <a:pt x="137" y="823"/>
                </a:lnTo>
                <a:lnTo>
                  <a:pt x="141" y="822"/>
                </a:lnTo>
                <a:lnTo>
                  <a:pt x="143" y="819"/>
                </a:lnTo>
                <a:lnTo>
                  <a:pt x="146" y="816"/>
                </a:lnTo>
                <a:lnTo>
                  <a:pt x="150" y="811"/>
                </a:lnTo>
                <a:lnTo>
                  <a:pt x="154" y="804"/>
                </a:lnTo>
                <a:lnTo>
                  <a:pt x="156" y="797"/>
                </a:lnTo>
                <a:lnTo>
                  <a:pt x="161" y="796"/>
                </a:lnTo>
                <a:lnTo>
                  <a:pt x="166" y="794"/>
                </a:lnTo>
                <a:lnTo>
                  <a:pt x="171" y="789"/>
                </a:lnTo>
                <a:lnTo>
                  <a:pt x="175" y="785"/>
                </a:lnTo>
                <a:lnTo>
                  <a:pt x="175" y="762"/>
                </a:lnTo>
                <a:lnTo>
                  <a:pt x="175" y="740"/>
                </a:lnTo>
                <a:lnTo>
                  <a:pt x="175" y="715"/>
                </a:lnTo>
                <a:lnTo>
                  <a:pt x="175" y="691"/>
                </a:lnTo>
                <a:lnTo>
                  <a:pt x="175" y="666"/>
                </a:lnTo>
                <a:lnTo>
                  <a:pt x="175" y="642"/>
                </a:lnTo>
                <a:lnTo>
                  <a:pt x="175" y="619"/>
                </a:lnTo>
                <a:lnTo>
                  <a:pt x="175" y="597"/>
                </a:lnTo>
                <a:lnTo>
                  <a:pt x="187" y="597"/>
                </a:lnTo>
                <a:lnTo>
                  <a:pt x="187" y="585"/>
                </a:lnTo>
                <a:lnTo>
                  <a:pt x="194" y="578"/>
                </a:lnTo>
                <a:lnTo>
                  <a:pt x="200" y="572"/>
                </a:lnTo>
                <a:lnTo>
                  <a:pt x="213" y="572"/>
                </a:lnTo>
                <a:lnTo>
                  <a:pt x="213" y="568"/>
                </a:lnTo>
                <a:lnTo>
                  <a:pt x="213" y="567"/>
                </a:lnTo>
                <a:lnTo>
                  <a:pt x="214" y="566"/>
                </a:lnTo>
                <a:lnTo>
                  <a:pt x="215" y="566"/>
                </a:lnTo>
                <a:lnTo>
                  <a:pt x="217" y="566"/>
                </a:lnTo>
                <a:lnTo>
                  <a:pt x="218" y="565"/>
                </a:lnTo>
                <a:lnTo>
                  <a:pt x="219" y="564"/>
                </a:lnTo>
                <a:lnTo>
                  <a:pt x="219" y="559"/>
                </a:lnTo>
                <a:lnTo>
                  <a:pt x="225" y="554"/>
                </a:lnTo>
                <a:lnTo>
                  <a:pt x="231" y="547"/>
                </a:lnTo>
                <a:lnTo>
                  <a:pt x="237" y="547"/>
                </a:lnTo>
                <a:lnTo>
                  <a:pt x="243" y="546"/>
                </a:lnTo>
                <a:lnTo>
                  <a:pt x="246" y="546"/>
                </a:lnTo>
                <a:lnTo>
                  <a:pt x="248" y="545"/>
                </a:lnTo>
                <a:lnTo>
                  <a:pt x="250" y="542"/>
                </a:lnTo>
                <a:lnTo>
                  <a:pt x="250" y="540"/>
                </a:lnTo>
                <a:lnTo>
                  <a:pt x="269" y="540"/>
                </a:lnTo>
                <a:lnTo>
                  <a:pt x="269" y="537"/>
                </a:lnTo>
                <a:lnTo>
                  <a:pt x="270" y="536"/>
                </a:lnTo>
                <a:lnTo>
                  <a:pt x="271" y="535"/>
                </a:lnTo>
                <a:lnTo>
                  <a:pt x="272" y="535"/>
                </a:lnTo>
                <a:lnTo>
                  <a:pt x="273" y="535"/>
                </a:lnTo>
                <a:lnTo>
                  <a:pt x="275" y="534"/>
                </a:lnTo>
                <a:lnTo>
                  <a:pt x="275" y="532"/>
                </a:lnTo>
                <a:lnTo>
                  <a:pt x="276" y="528"/>
                </a:lnTo>
                <a:lnTo>
                  <a:pt x="281" y="522"/>
                </a:lnTo>
                <a:lnTo>
                  <a:pt x="294" y="522"/>
                </a:lnTo>
                <a:lnTo>
                  <a:pt x="295" y="519"/>
                </a:lnTo>
                <a:lnTo>
                  <a:pt x="295" y="51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91" name="Freeform 52">
            <a:extLst>
              <a:ext uri="{FF2B5EF4-FFF2-40B4-BE49-F238E27FC236}">
                <a16:creationId xmlns:a16="http://schemas.microsoft.com/office/drawing/2014/main" id="{29B9D76E-152C-443B-BE41-C0AA7E4E5773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789863" y="3092450"/>
            <a:ext cx="498180" cy="298450"/>
          </a:xfrm>
          <a:custGeom>
            <a:avLst/>
            <a:gdLst/>
            <a:ahLst/>
            <a:cxnLst>
              <a:cxn ang="0">
                <a:pos x="136" y="824"/>
              </a:cxn>
              <a:cxn ang="0">
                <a:pos x="344" y="882"/>
              </a:cxn>
              <a:cxn ang="0">
                <a:pos x="416" y="935"/>
              </a:cxn>
              <a:cxn ang="0">
                <a:pos x="484" y="1013"/>
              </a:cxn>
              <a:cxn ang="0">
                <a:pos x="513" y="1196"/>
              </a:cxn>
              <a:cxn ang="0">
                <a:pos x="491" y="1239"/>
              </a:cxn>
              <a:cxn ang="0">
                <a:pos x="449" y="1317"/>
              </a:cxn>
              <a:cxn ang="0">
                <a:pos x="542" y="1358"/>
              </a:cxn>
              <a:cxn ang="0">
                <a:pos x="576" y="1445"/>
              </a:cxn>
              <a:cxn ang="0">
                <a:pos x="599" y="1498"/>
              </a:cxn>
              <a:cxn ang="0">
                <a:pos x="639" y="1586"/>
              </a:cxn>
              <a:cxn ang="0">
                <a:pos x="739" y="1637"/>
              </a:cxn>
              <a:cxn ang="0">
                <a:pos x="974" y="1698"/>
              </a:cxn>
              <a:cxn ang="0">
                <a:pos x="1091" y="1815"/>
              </a:cxn>
              <a:cxn ang="0">
                <a:pos x="1200" y="1840"/>
              </a:cxn>
              <a:cxn ang="0">
                <a:pos x="1253" y="1775"/>
              </a:cxn>
              <a:cxn ang="0">
                <a:pos x="1263" y="1613"/>
              </a:cxn>
              <a:cxn ang="0">
                <a:pos x="1211" y="1575"/>
              </a:cxn>
              <a:cxn ang="0">
                <a:pos x="1198" y="1567"/>
              </a:cxn>
              <a:cxn ang="0">
                <a:pos x="934" y="1538"/>
              </a:cxn>
              <a:cxn ang="0">
                <a:pos x="838" y="1425"/>
              </a:cxn>
              <a:cxn ang="0">
                <a:pos x="768" y="1313"/>
              </a:cxn>
              <a:cxn ang="0">
                <a:pos x="729" y="1263"/>
              </a:cxn>
              <a:cxn ang="0">
                <a:pos x="696" y="1179"/>
              </a:cxn>
              <a:cxn ang="0">
                <a:pos x="697" y="863"/>
              </a:cxn>
              <a:cxn ang="0">
                <a:pos x="839" y="889"/>
              </a:cxn>
              <a:cxn ang="0">
                <a:pos x="907" y="940"/>
              </a:cxn>
              <a:cxn ang="0">
                <a:pos x="1117" y="975"/>
              </a:cxn>
              <a:cxn ang="0">
                <a:pos x="1237" y="1096"/>
              </a:cxn>
              <a:cxn ang="0">
                <a:pos x="1324" y="1228"/>
              </a:cxn>
              <a:cxn ang="0">
                <a:pos x="1359" y="1373"/>
              </a:cxn>
              <a:cxn ang="0">
                <a:pos x="1418" y="1496"/>
              </a:cxn>
              <a:cxn ang="0">
                <a:pos x="1622" y="1707"/>
              </a:cxn>
              <a:cxn ang="0">
                <a:pos x="1793" y="1756"/>
              </a:cxn>
              <a:cxn ang="0">
                <a:pos x="1821" y="1259"/>
              </a:cxn>
              <a:cxn ang="0">
                <a:pos x="1768" y="1189"/>
              </a:cxn>
              <a:cxn ang="0">
                <a:pos x="1579" y="1122"/>
              </a:cxn>
              <a:cxn ang="0">
                <a:pos x="1440" y="1035"/>
              </a:cxn>
              <a:cxn ang="0">
                <a:pos x="1359" y="969"/>
              </a:cxn>
              <a:cxn ang="0">
                <a:pos x="1280" y="882"/>
              </a:cxn>
              <a:cxn ang="0">
                <a:pos x="1443" y="701"/>
              </a:cxn>
              <a:cxn ang="0">
                <a:pos x="1674" y="686"/>
              </a:cxn>
              <a:cxn ang="0">
                <a:pos x="1846" y="839"/>
              </a:cxn>
              <a:cxn ang="0">
                <a:pos x="2098" y="949"/>
              </a:cxn>
              <a:cxn ang="0">
                <a:pos x="2164" y="980"/>
              </a:cxn>
              <a:cxn ang="0">
                <a:pos x="2267" y="1191"/>
              </a:cxn>
              <a:cxn ang="0">
                <a:pos x="2355" y="1236"/>
              </a:cxn>
              <a:cxn ang="0">
                <a:pos x="2750" y="1207"/>
              </a:cxn>
              <a:cxn ang="0">
                <a:pos x="2654" y="1066"/>
              </a:cxn>
              <a:cxn ang="0">
                <a:pos x="2603" y="997"/>
              </a:cxn>
              <a:cxn ang="0">
                <a:pos x="2393" y="853"/>
              </a:cxn>
              <a:cxn ang="0">
                <a:pos x="2248" y="752"/>
              </a:cxn>
              <a:cxn ang="0">
                <a:pos x="2098" y="692"/>
              </a:cxn>
              <a:cxn ang="0">
                <a:pos x="1946" y="580"/>
              </a:cxn>
              <a:cxn ang="0">
                <a:pos x="1763" y="504"/>
              </a:cxn>
              <a:cxn ang="0">
                <a:pos x="1703" y="375"/>
              </a:cxn>
              <a:cxn ang="0">
                <a:pos x="1577" y="187"/>
              </a:cxn>
              <a:cxn ang="0">
                <a:pos x="1407" y="28"/>
              </a:cxn>
              <a:cxn ang="0">
                <a:pos x="1058" y="90"/>
              </a:cxn>
              <a:cxn ang="0">
                <a:pos x="387" y="334"/>
              </a:cxn>
              <a:cxn ang="0">
                <a:pos x="296" y="425"/>
              </a:cxn>
              <a:cxn ang="0">
                <a:pos x="243" y="594"/>
              </a:cxn>
              <a:cxn ang="0">
                <a:pos x="38" y="604"/>
              </a:cxn>
            </a:cxnLst>
            <a:rect l="0" t="0" r="r" b="b"/>
            <a:pathLst>
              <a:path w="2750" h="1840">
                <a:moveTo>
                  <a:pt x="4" y="717"/>
                </a:moveTo>
                <a:lnTo>
                  <a:pt x="24" y="723"/>
                </a:lnTo>
                <a:lnTo>
                  <a:pt x="47" y="726"/>
                </a:lnTo>
                <a:lnTo>
                  <a:pt x="70" y="729"/>
                </a:lnTo>
                <a:lnTo>
                  <a:pt x="83" y="730"/>
                </a:lnTo>
                <a:lnTo>
                  <a:pt x="85" y="738"/>
                </a:lnTo>
                <a:lnTo>
                  <a:pt x="92" y="750"/>
                </a:lnTo>
                <a:lnTo>
                  <a:pt x="96" y="756"/>
                </a:lnTo>
                <a:lnTo>
                  <a:pt x="100" y="760"/>
                </a:lnTo>
                <a:lnTo>
                  <a:pt x="103" y="764"/>
                </a:lnTo>
                <a:lnTo>
                  <a:pt x="106" y="766"/>
                </a:lnTo>
                <a:lnTo>
                  <a:pt x="106" y="777"/>
                </a:lnTo>
                <a:lnTo>
                  <a:pt x="109" y="778"/>
                </a:lnTo>
                <a:lnTo>
                  <a:pt x="110" y="783"/>
                </a:lnTo>
                <a:lnTo>
                  <a:pt x="112" y="788"/>
                </a:lnTo>
                <a:lnTo>
                  <a:pt x="114" y="795"/>
                </a:lnTo>
                <a:lnTo>
                  <a:pt x="117" y="808"/>
                </a:lnTo>
                <a:lnTo>
                  <a:pt x="118" y="817"/>
                </a:lnTo>
                <a:lnTo>
                  <a:pt x="129" y="817"/>
                </a:lnTo>
                <a:lnTo>
                  <a:pt x="136" y="824"/>
                </a:lnTo>
                <a:lnTo>
                  <a:pt x="136" y="835"/>
                </a:lnTo>
                <a:lnTo>
                  <a:pt x="141" y="841"/>
                </a:lnTo>
                <a:lnTo>
                  <a:pt x="154" y="843"/>
                </a:lnTo>
                <a:lnTo>
                  <a:pt x="171" y="846"/>
                </a:lnTo>
                <a:lnTo>
                  <a:pt x="179" y="849"/>
                </a:lnTo>
                <a:lnTo>
                  <a:pt x="188" y="851"/>
                </a:lnTo>
                <a:lnTo>
                  <a:pt x="196" y="852"/>
                </a:lnTo>
                <a:lnTo>
                  <a:pt x="205" y="853"/>
                </a:lnTo>
                <a:lnTo>
                  <a:pt x="205" y="851"/>
                </a:lnTo>
                <a:lnTo>
                  <a:pt x="206" y="849"/>
                </a:lnTo>
                <a:lnTo>
                  <a:pt x="208" y="848"/>
                </a:lnTo>
                <a:lnTo>
                  <a:pt x="210" y="848"/>
                </a:lnTo>
                <a:lnTo>
                  <a:pt x="217" y="846"/>
                </a:lnTo>
                <a:lnTo>
                  <a:pt x="226" y="846"/>
                </a:lnTo>
                <a:lnTo>
                  <a:pt x="247" y="850"/>
                </a:lnTo>
                <a:lnTo>
                  <a:pt x="273" y="856"/>
                </a:lnTo>
                <a:lnTo>
                  <a:pt x="297" y="864"/>
                </a:lnTo>
                <a:lnTo>
                  <a:pt x="320" y="871"/>
                </a:lnTo>
                <a:lnTo>
                  <a:pt x="336" y="878"/>
                </a:lnTo>
                <a:lnTo>
                  <a:pt x="344" y="882"/>
                </a:lnTo>
                <a:lnTo>
                  <a:pt x="349" y="882"/>
                </a:lnTo>
                <a:lnTo>
                  <a:pt x="352" y="882"/>
                </a:lnTo>
                <a:lnTo>
                  <a:pt x="354" y="883"/>
                </a:lnTo>
                <a:lnTo>
                  <a:pt x="355" y="884"/>
                </a:lnTo>
                <a:lnTo>
                  <a:pt x="355" y="885"/>
                </a:lnTo>
                <a:lnTo>
                  <a:pt x="355" y="888"/>
                </a:lnTo>
                <a:lnTo>
                  <a:pt x="373" y="888"/>
                </a:lnTo>
                <a:lnTo>
                  <a:pt x="379" y="893"/>
                </a:lnTo>
                <a:lnTo>
                  <a:pt x="380" y="898"/>
                </a:lnTo>
                <a:lnTo>
                  <a:pt x="383" y="901"/>
                </a:lnTo>
                <a:lnTo>
                  <a:pt x="388" y="904"/>
                </a:lnTo>
                <a:lnTo>
                  <a:pt x="393" y="909"/>
                </a:lnTo>
                <a:lnTo>
                  <a:pt x="399" y="912"/>
                </a:lnTo>
                <a:lnTo>
                  <a:pt x="403" y="917"/>
                </a:lnTo>
                <a:lnTo>
                  <a:pt x="407" y="922"/>
                </a:lnTo>
                <a:lnTo>
                  <a:pt x="408" y="928"/>
                </a:lnTo>
                <a:lnTo>
                  <a:pt x="410" y="929"/>
                </a:lnTo>
                <a:lnTo>
                  <a:pt x="412" y="930"/>
                </a:lnTo>
                <a:lnTo>
                  <a:pt x="415" y="932"/>
                </a:lnTo>
                <a:lnTo>
                  <a:pt x="416" y="935"/>
                </a:lnTo>
                <a:lnTo>
                  <a:pt x="419" y="940"/>
                </a:lnTo>
                <a:lnTo>
                  <a:pt x="420" y="946"/>
                </a:lnTo>
                <a:lnTo>
                  <a:pt x="424" y="947"/>
                </a:lnTo>
                <a:lnTo>
                  <a:pt x="427" y="951"/>
                </a:lnTo>
                <a:lnTo>
                  <a:pt x="428" y="954"/>
                </a:lnTo>
                <a:lnTo>
                  <a:pt x="430" y="956"/>
                </a:lnTo>
                <a:lnTo>
                  <a:pt x="434" y="957"/>
                </a:lnTo>
                <a:lnTo>
                  <a:pt x="437" y="957"/>
                </a:lnTo>
                <a:lnTo>
                  <a:pt x="437" y="969"/>
                </a:lnTo>
                <a:lnTo>
                  <a:pt x="440" y="969"/>
                </a:lnTo>
                <a:lnTo>
                  <a:pt x="443" y="969"/>
                </a:lnTo>
                <a:lnTo>
                  <a:pt x="443" y="970"/>
                </a:lnTo>
                <a:lnTo>
                  <a:pt x="444" y="971"/>
                </a:lnTo>
                <a:lnTo>
                  <a:pt x="444" y="973"/>
                </a:lnTo>
                <a:lnTo>
                  <a:pt x="444" y="974"/>
                </a:lnTo>
                <a:lnTo>
                  <a:pt x="446" y="975"/>
                </a:lnTo>
                <a:lnTo>
                  <a:pt x="449" y="975"/>
                </a:lnTo>
                <a:lnTo>
                  <a:pt x="473" y="980"/>
                </a:lnTo>
                <a:lnTo>
                  <a:pt x="484" y="992"/>
                </a:lnTo>
                <a:lnTo>
                  <a:pt x="484" y="1013"/>
                </a:lnTo>
                <a:lnTo>
                  <a:pt x="484" y="1036"/>
                </a:lnTo>
                <a:lnTo>
                  <a:pt x="484" y="1058"/>
                </a:lnTo>
                <a:lnTo>
                  <a:pt x="484" y="1080"/>
                </a:lnTo>
                <a:lnTo>
                  <a:pt x="486" y="1081"/>
                </a:lnTo>
                <a:lnTo>
                  <a:pt x="489" y="1085"/>
                </a:lnTo>
                <a:lnTo>
                  <a:pt x="492" y="1093"/>
                </a:lnTo>
                <a:lnTo>
                  <a:pt x="495" y="1101"/>
                </a:lnTo>
                <a:lnTo>
                  <a:pt x="499" y="1119"/>
                </a:lnTo>
                <a:lnTo>
                  <a:pt x="502" y="1131"/>
                </a:lnTo>
                <a:lnTo>
                  <a:pt x="503" y="1132"/>
                </a:lnTo>
                <a:lnTo>
                  <a:pt x="505" y="1133"/>
                </a:lnTo>
                <a:lnTo>
                  <a:pt x="505" y="1135"/>
                </a:lnTo>
                <a:lnTo>
                  <a:pt x="506" y="1138"/>
                </a:lnTo>
                <a:lnTo>
                  <a:pt x="507" y="1143"/>
                </a:lnTo>
                <a:lnTo>
                  <a:pt x="507" y="1149"/>
                </a:lnTo>
                <a:lnTo>
                  <a:pt x="508" y="1151"/>
                </a:lnTo>
                <a:lnTo>
                  <a:pt x="511" y="1157"/>
                </a:lnTo>
                <a:lnTo>
                  <a:pt x="512" y="1166"/>
                </a:lnTo>
                <a:lnTo>
                  <a:pt x="512" y="1176"/>
                </a:lnTo>
                <a:lnTo>
                  <a:pt x="513" y="1196"/>
                </a:lnTo>
                <a:lnTo>
                  <a:pt x="513" y="1207"/>
                </a:lnTo>
                <a:lnTo>
                  <a:pt x="511" y="1207"/>
                </a:lnTo>
                <a:lnTo>
                  <a:pt x="509" y="1208"/>
                </a:lnTo>
                <a:lnTo>
                  <a:pt x="508" y="1209"/>
                </a:lnTo>
                <a:lnTo>
                  <a:pt x="507" y="1210"/>
                </a:lnTo>
                <a:lnTo>
                  <a:pt x="507" y="1215"/>
                </a:lnTo>
                <a:lnTo>
                  <a:pt x="507" y="1218"/>
                </a:lnTo>
                <a:lnTo>
                  <a:pt x="504" y="1219"/>
                </a:lnTo>
                <a:lnTo>
                  <a:pt x="502" y="1219"/>
                </a:lnTo>
                <a:lnTo>
                  <a:pt x="502" y="1220"/>
                </a:lnTo>
                <a:lnTo>
                  <a:pt x="502" y="1221"/>
                </a:lnTo>
                <a:lnTo>
                  <a:pt x="501" y="1223"/>
                </a:lnTo>
                <a:lnTo>
                  <a:pt x="501" y="1224"/>
                </a:lnTo>
                <a:lnTo>
                  <a:pt x="498" y="1224"/>
                </a:lnTo>
                <a:lnTo>
                  <a:pt x="495" y="1225"/>
                </a:lnTo>
                <a:lnTo>
                  <a:pt x="495" y="1236"/>
                </a:lnTo>
                <a:lnTo>
                  <a:pt x="494" y="1236"/>
                </a:lnTo>
                <a:lnTo>
                  <a:pt x="492" y="1237"/>
                </a:lnTo>
                <a:lnTo>
                  <a:pt x="491" y="1238"/>
                </a:lnTo>
                <a:lnTo>
                  <a:pt x="491" y="1239"/>
                </a:lnTo>
                <a:lnTo>
                  <a:pt x="489" y="1244"/>
                </a:lnTo>
                <a:lnTo>
                  <a:pt x="489" y="1247"/>
                </a:lnTo>
                <a:lnTo>
                  <a:pt x="486" y="1248"/>
                </a:lnTo>
                <a:lnTo>
                  <a:pt x="485" y="1248"/>
                </a:lnTo>
                <a:lnTo>
                  <a:pt x="484" y="1249"/>
                </a:lnTo>
                <a:lnTo>
                  <a:pt x="484" y="1250"/>
                </a:lnTo>
                <a:lnTo>
                  <a:pt x="484" y="1252"/>
                </a:lnTo>
                <a:lnTo>
                  <a:pt x="483" y="1253"/>
                </a:lnTo>
                <a:lnTo>
                  <a:pt x="482" y="1253"/>
                </a:lnTo>
                <a:lnTo>
                  <a:pt x="478" y="1254"/>
                </a:lnTo>
                <a:lnTo>
                  <a:pt x="478" y="1265"/>
                </a:lnTo>
                <a:lnTo>
                  <a:pt x="473" y="1271"/>
                </a:lnTo>
                <a:lnTo>
                  <a:pt x="466" y="1276"/>
                </a:lnTo>
                <a:lnTo>
                  <a:pt x="463" y="1277"/>
                </a:lnTo>
                <a:lnTo>
                  <a:pt x="459" y="1278"/>
                </a:lnTo>
                <a:lnTo>
                  <a:pt x="457" y="1281"/>
                </a:lnTo>
                <a:lnTo>
                  <a:pt x="456" y="1283"/>
                </a:lnTo>
                <a:lnTo>
                  <a:pt x="453" y="1286"/>
                </a:lnTo>
                <a:lnTo>
                  <a:pt x="449" y="1288"/>
                </a:lnTo>
                <a:lnTo>
                  <a:pt x="449" y="1317"/>
                </a:lnTo>
                <a:lnTo>
                  <a:pt x="460" y="1323"/>
                </a:lnTo>
                <a:lnTo>
                  <a:pt x="464" y="1327"/>
                </a:lnTo>
                <a:lnTo>
                  <a:pt x="467" y="1330"/>
                </a:lnTo>
                <a:lnTo>
                  <a:pt x="472" y="1332"/>
                </a:lnTo>
                <a:lnTo>
                  <a:pt x="476" y="1333"/>
                </a:lnTo>
                <a:lnTo>
                  <a:pt x="486" y="1334"/>
                </a:lnTo>
                <a:lnTo>
                  <a:pt x="495" y="1335"/>
                </a:lnTo>
                <a:lnTo>
                  <a:pt x="496" y="1336"/>
                </a:lnTo>
                <a:lnTo>
                  <a:pt x="498" y="1339"/>
                </a:lnTo>
                <a:lnTo>
                  <a:pt x="502" y="1339"/>
                </a:lnTo>
                <a:lnTo>
                  <a:pt x="505" y="1340"/>
                </a:lnTo>
                <a:lnTo>
                  <a:pt x="513" y="1341"/>
                </a:lnTo>
                <a:lnTo>
                  <a:pt x="518" y="1341"/>
                </a:lnTo>
                <a:lnTo>
                  <a:pt x="520" y="1344"/>
                </a:lnTo>
                <a:lnTo>
                  <a:pt x="521" y="1348"/>
                </a:lnTo>
                <a:lnTo>
                  <a:pt x="523" y="1350"/>
                </a:lnTo>
                <a:lnTo>
                  <a:pt x="525" y="1351"/>
                </a:lnTo>
                <a:lnTo>
                  <a:pt x="531" y="1352"/>
                </a:lnTo>
                <a:lnTo>
                  <a:pt x="536" y="1352"/>
                </a:lnTo>
                <a:lnTo>
                  <a:pt x="542" y="1358"/>
                </a:lnTo>
                <a:lnTo>
                  <a:pt x="547" y="1364"/>
                </a:lnTo>
                <a:lnTo>
                  <a:pt x="547" y="1375"/>
                </a:lnTo>
                <a:lnTo>
                  <a:pt x="550" y="1377"/>
                </a:lnTo>
                <a:lnTo>
                  <a:pt x="552" y="1379"/>
                </a:lnTo>
                <a:lnTo>
                  <a:pt x="554" y="1383"/>
                </a:lnTo>
                <a:lnTo>
                  <a:pt x="555" y="1388"/>
                </a:lnTo>
                <a:lnTo>
                  <a:pt x="559" y="1398"/>
                </a:lnTo>
                <a:lnTo>
                  <a:pt x="560" y="1404"/>
                </a:lnTo>
                <a:lnTo>
                  <a:pt x="561" y="1404"/>
                </a:lnTo>
                <a:lnTo>
                  <a:pt x="563" y="1407"/>
                </a:lnTo>
                <a:lnTo>
                  <a:pt x="564" y="1409"/>
                </a:lnTo>
                <a:lnTo>
                  <a:pt x="564" y="1411"/>
                </a:lnTo>
                <a:lnTo>
                  <a:pt x="565" y="1417"/>
                </a:lnTo>
                <a:lnTo>
                  <a:pt x="565" y="1422"/>
                </a:lnTo>
                <a:lnTo>
                  <a:pt x="568" y="1422"/>
                </a:lnTo>
                <a:lnTo>
                  <a:pt x="570" y="1425"/>
                </a:lnTo>
                <a:lnTo>
                  <a:pt x="571" y="1428"/>
                </a:lnTo>
                <a:lnTo>
                  <a:pt x="573" y="1431"/>
                </a:lnTo>
                <a:lnTo>
                  <a:pt x="575" y="1439"/>
                </a:lnTo>
                <a:lnTo>
                  <a:pt x="576" y="1445"/>
                </a:lnTo>
                <a:lnTo>
                  <a:pt x="579" y="1446"/>
                </a:lnTo>
                <a:lnTo>
                  <a:pt x="580" y="1448"/>
                </a:lnTo>
                <a:lnTo>
                  <a:pt x="581" y="1451"/>
                </a:lnTo>
                <a:lnTo>
                  <a:pt x="582" y="1455"/>
                </a:lnTo>
                <a:lnTo>
                  <a:pt x="582" y="1462"/>
                </a:lnTo>
                <a:lnTo>
                  <a:pt x="582" y="1468"/>
                </a:lnTo>
                <a:lnTo>
                  <a:pt x="584" y="1469"/>
                </a:lnTo>
                <a:lnTo>
                  <a:pt x="585" y="1470"/>
                </a:lnTo>
                <a:lnTo>
                  <a:pt x="587" y="1473"/>
                </a:lnTo>
                <a:lnTo>
                  <a:pt x="588" y="1475"/>
                </a:lnTo>
                <a:lnTo>
                  <a:pt x="589" y="1480"/>
                </a:lnTo>
                <a:lnTo>
                  <a:pt x="589" y="1486"/>
                </a:lnTo>
                <a:lnTo>
                  <a:pt x="590" y="1486"/>
                </a:lnTo>
                <a:lnTo>
                  <a:pt x="592" y="1487"/>
                </a:lnTo>
                <a:lnTo>
                  <a:pt x="593" y="1488"/>
                </a:lnTo>
                <a:lnTo>
                  <a:pt x="593" y="1489"/>
                </a:lnTo>
                <a:lnTo>
                  <a:pt x="594" y="1493"/>
                </a:lnTo>
                <a:lnTo>
                  <a:pt x="594" y="1497"/>
                </a:lnTo>
                <a:lnTo>
                  <a:pt x="598" y="1497"/>
                </a:lnTo>
                <a:lnTo>
                  <a:pt x="599" y="1498"/>
                </a:lnTo>
                <a:lnTo>
                  <a:pt x="600" y="1499"/>
                </a:lnTo>
                <a:lnTo>
                  <a:pt x="600" y="1500"/>
                </a:lnTo>
                <a:lnTo>
                  <a:pt x="600" y="1502"/>
                </a:lnTo>
                <a:lnTo>
                  <a:pt x="601" y="1503"/>
                </a:lnTo>
                <a:lnTo>
                  <a:pt x="602" y="1503"/>
                </a:lnTo>
                <a:lnTo>
                  <a:pt x="605" y="1503"/>
                </a:lnTo>
                <a:lnTo>
                  <a:pt x="607" y="1512"/>
                </a:lnTo>
                <a:lnTo>
                  <a:pt x="609" y="1521"/>
                </a:lnTo>
                <a:lnTo>
                  <a:pt x="611" y="1529"/>
                </a:lnTo>
                <a:lnTo>
                  <a:pt x="614" y="1537"/>
                </a:lnTo>
                <a:lnTo>
                  <a:pt x="618" y="1545"/>
                </a:lnTo>
                <a:lnTo>
                  <a:pt x="620" y="1553"/>
                </a:lnTo>
                <a:lnTo>
                  <a:pt x="622" y="1561"/>
                </a:lnTo>
                <a:lnTo>
                  <a:pt x="623" y="1567"/>
                </a:lnTo>
                <a:lnTo>
                  <a:pt x="626" y="1567"/>
                </a:lnTo>
                <a:lnTo>
                  <a:pt x="628" y="1570"/>
                </a:lnTo>
                <a:lnTo>
                  <a:pt x="631" y="1573"/>
                </a:lnTo>
                <a:lnTo>
                  <a:pt x="635" y="1577"/>
                </a:lnTo>
                <a:lnTo>
                  <a:pt x="637" y="1582"/>
                </a:lnTo>
                <a:lnTo>
                  <a:pt x="639" y="1586"/>
                </a:lnTo>
                <a:lnTo>
                  <a:pt x="640" y="1592"/>
                </a:lnTo>
                <a:lnTo>
                  <a:pt x="640" y="1596"/>
                </a:lnTo>
                <a:lnTo>
                  <a:pt x="645" y="1598"/>
                </a:lnTo>
                <a:lnTo>
                  <a:pt x="649" y="1600"/>
                </a:lnTo>
                <a:lnTo>
                  <a:pt x="653" y="1603"/>
                </a:lnTo>
                <a:lnTo>
                  <a:pt x="658" y="1608"/>
                </a:lnTo>
                <a:lnTo>
                  <a:pt x="662" y="1612"/>
                </a:lnTo>
                <a:lnTo>
                  <a:pt x="667" y="1615"/>
                </a:lnTo>
                <a:lnTo>
                  <a:pt x="671" y="1619"/>
                </a:lnTo>
                <a:lnTo>
                  <a:pt x="676" y="1620"/>
                </a:lnTo>
                <a:lnTo>
                  <a:pt x="676" y="1624"/>
                </a:lnTo>
                <a:lnTo>
                  <a:pt x="678" y="1628"/>
                </a:lnTo>
                <a:lnTo>
                  <a:pt x="680" y="1631"/>
                </a:lnTo>
                <a:lnTo>
                  <a:pt x="685" y="1633"/>
                </a:lnTo>
                <a:lnTo>
                  <a:pt x="689" y="1635"/>
                </a:lnTo>
                <a:lnTo>
                  <a:pt x="694" y="1637"/>
                </a:lnTo>
                <a:lnTo>
                  <a:pt x="700" y="1638"/>
                </a:lnTo>
                <a:lnTo>
                  <a:pt x="707" y="1639"/>
                </a:lnTo>
                <a:lnTo>
                  <a:pt x="723" y="1639"/>
                </a:lnTo>
                <a:lnTo>
                  <a:pt x="739" y="1637"/>
                </a:lnTo>
                <a:lnTo>
                  <a:pt x="758" y="1635"/>
                </a:lnTo>
                <a:lnTo>
                  <a:pt x="777" y="1632"/>
                </a:lnTo>
                <a:lnTo>
                  <a:pt x="814" y="1628"/>
                </a:lnTo>
                <a:lnTo>
                  <a:pt x="847" y="1624"/>
                </a:lnTo>
                <a:lnTo>
                  <a:pt x="860" y="1624"/>
                </a:lnTo>
                <a:lnTo>
                  <a:pt x="870" y="1627"/>
                </a:lnTo>
                <a:lnTo>
                  <a:pt x="873" y="1628"/>
                </a:lnTo>
                <a:lnTo>
                  <a:pt x="877" y="1630"/>
                </a:lnTo>
                <a:lnTo>
                  <a:pt x="878" y="1633"/>
                </a:lnTo>
                <a:lnTo>
                  <a:pt x="879" y="1637"/>
                </a:lnTo>
                <a:lnTo>
                  <a:pt x="890" y="1637"/>
                </a:lnTo>
                <a:lnTo>
                  <a:pt x="902" y="1649"/>
                </a:lnTo>
                <a:lnTo>
                  <a:pt x="914" y="1649"/>
                </a:lnTo>
                <a:lnTo>
                  <a:pt x="914" y="1660"/>
                </a:lnTo>
                <a:lnTo>
                  <a:pt x="919" y="1666"/>
                </a:lnTo>
                <a:lnTo>
                  <a:pt x="931" y="1666"/>
                </a:lnTo>
                <a:lnTo>
                  <a:pt x="943" y="1678"/>
                </a:lnTo>
                <a:lnTo>
                  <a:pt x="954" y="1689"/>
                </a:lnTo>
                <a:lnTo>
                  <a:pt x="966" y="1689"/>
                </a:lnTo>
                <a:lnTo>
                  <a:pt x="974" y="1698"/>
                </a:lnTo>
                <a:lnTo>
                  <a:pt x="992" y="1718"/>
                </a:lnTo>
                <a:lnTo>
                  <a:pt x="1010" y="1738"/>
                </a:lnTo>
                <a:lnTo>
                  <a:pt x="1019" y="1747"/>
                </a:lnTo>
                <a:lnTo>
                  <a:pt x="1024" y="1753"/>
                </a:lnTo>
                <a:lnTo>
                  <a:pt x="1030" y="1758"/>
                </a:lnTo>
                <a:lnTo>
                  <a:pt x="1031" y="1763"/>
                </a:lnTo>
                <a:lnTo>
                  <a:pt x="1033" y="1767"/>
                </a:lnTo>
                <a:lnTo>
                  <a:pt x="1038" y="1769"/>
                </a:lnTo>
                <a:lnTo>
                  <a:pt x="1042" y="1771"/>
                </a:lnTo>
                <a:lnTo>
                  <a:pt x="1042" y="1775"/>
                </a:lnTo>
                <a:lnTo>
                  <a:pt x="1044" y="1779"/>
                </a:lnTo>
                <a:lnTo>
                  <a:pt x="1046" y="1783"/>
                </a:lnTo>
                <a:lnTo>
                  <a:pt x="1050" y="1787"/>
                </a:lnTo>
                <a:lnTo>
                  <a:pt x="1056" y="1794"/>
                </a:lnTo>
                <a:lnTo>
                  <a:pt x="1059" y="1800"/>
                </a:lnTo>
                <a:lnTo>
                  <a:pt x="1065" y="1801"/>
                </a:lnTo>
                <a:lnTo>
                  <a:pt x="1072" y="1803"/>
                </a:lnTo>
                <a:lnTo>
                  <a:pt x="1079" y="1806"/>
                </a:lnTo>
                <a:lnTo>
                  <a:pt x="1086" y="1811"/>
                </a:lnTo>
                <a:lnTo>
                  <a:pt x="1091" y="1815"/>
                </a:lnTo>
                <a:lnTo>
                  <a:pt x="1098" y="1819"/>
                </a:lnTo>
                <a:lnTo>
                  <a:pt x="1104" y="1822"/>
                </a:lnTo>
                <a:lnTo>
                  <a:pt x="1111" y="1823"/>
                </a:lnTo>
                <a:lnTo>
                  <a:pt x="1112" y="1824"/>
                </a:lnTo>
                <a:lnTo>
                  <a:pt x="1115" y="1826"/>
                </a:lnTo>
                <a:lnTo>
                  <a:pt x="1119" y="1827"/>
                </a:lnTo>
                <a:lnTo>
                  <a:pt x="1123" y="1827"/>
                </a:lnTo>
                <a:lnTo>
                  <a:pt x="1134" y="1829"/>
                </a:lnTo>
                <a:lnTo>
                  <a:pt x="1140" y="1829"/>
                </a:lnTo>
                <a:lnTo>
                  <a:pt x="1140" y="1831"/>
                </a:lnTo>
                <a:lnTo>
                  <a:pt x="1141" y="1832"/>
                </a:lnTo>
                <a:lnTo>
                  <a:pt x="1142" y="1833"/>
                </a:lnTo>
                <a:lnTo>
                  <a:pt x="1144" y="1833"/>
                </a:lnTo>
                <a:lnTo>
                  <a:pt x="1148" y="1834"/>
                </a:lnTo>
                <a:lnTo>
                  <a:pt x="1151" y="1834"/>
                </a:lnTo>
                <a:lnTo>
                  <a:pt x="1154" y="1836"/>
                </a:lnTo>
                <a:lnTo>
                  <a:pt x="1160" y="1837"/>
                </a:lnTo>
                <a:lnTo>
                  <a:pt x="1169" y="1839"/>
                </a:lnTo>
                <a:lnTo>
                  <a:pt x="1179" y="1840"/>
                </a:lnTo>
                <a:lnTo>
                  <a:pt x="1200" y="1840"/>
                </a:lnTo>
                <a:lnTo>
                  <a:pt x="1216" y="1840"/>
                </a:lnTo>
                <a:lnTo>
                  <a:pt x="1216" y="1829"/>
                </a:lnTo>
                <a:lnTo>
                  <a:pt x="1219" y="1829"/>
                </a:lnTo>
                <a:lnTo>
                  <a:pt x="1221" y="1827"/>
                </a:lnTo>
                <a:lnTo>
                  <a:pt x="1222" y="1826"/>
                </a:lnTo>
                <a:lnTo>
                  <a:pt x="1222" y="1825"/>
                </a:lnTo>
                <a:lnTo>
                  <a:pt x="1222" y="1824"/>
                </a:lnTo>
                <a:lnTo>
                  <a:pt x="1223" y="1824"/>
                </a:lnTo>
                <a:lnTo>
                  <a:pt x="1224" y="1823"/>
                </a:lnTo>
                <a:lnTo>
                  <a:pt x="1227" y="1823"/>
                </a:lnTo>
                <a:lnTo>
                  <a:pt x="1228" y="1816"/>
                </a:lnTo>
                <a:lnTo>
                  <a:pt x="1231" y="1811"/>
                </a:lnTo>
                <a:lnTo>
                  <a:pt x="1233" y="1805"/>
                </a:lnTo>
                <a:lnTo>
                  <a:pt x="1236" y="1801"/>
                </a:lnTo>
                <a:lnTo>
                  <a:pt x="1240" y="1795"/>
                </a:lnTo>
                <a:lnTo>
                  <a:pt x="1242" y="1791"/>
                </a:lnTo>
                <a:lnTo>
                  <a:pt x="1244" y="1786"/>
                </a:lnTo>
                <a:lnTo>
                  <a:pt x="1245" y="1782"/>
                </a:lnTo>
                <a:lnTo>
                  <a:pt x="1248" y="1781"/>
                </a:lnTo>
                <a:lnTo>
                  <a:pt x="1253" y="1775"/>
                </a:lnTo>
                <a:lnTo>
                  <a:pt x="1259" y="1768"/>
                </a:lnTo>
                <a:lnTo>
                  <a:pt x="1264" y="1760"/>
                </a:lnTo>
                <a:lnTo>
                  <a:pt x="1275" y="1745"/>
                </a:lnTo>
                <a:lnTo>
                  <a:pt x="1280" y="1736"/>
                </a:lnTo>
                <a:lnTo>
                  <a:pt x="1284" y="1735"/>
                </a:lnTo>
                <a:lnTo>
                  <a:pt x="1289" y="1731"/>
                </a:lnTo>
                <a:lnTo>
                  <a:pt x="1293" y="1728"/>
                </a:lnTo>
                <a:lnTo>
                  <a:pt x="1298" y="1724"/>
                </a:lnTo>
                <a:lnTo>
                  <a:pt x="1269" y="1689"/>
                </a:lnTo>
                <a:lnTo>
                  <a:pt x="1274" y="1687"/>
                </a:lnTo>
                <a:lnTo>
                  <a:pt x="1282" y="1680"/>
                </a:lnTo>
                <a:lnTo>
                  <a:pt x="1289" y="1675"/>
                </a:lnTo>
                <a:lnTo>
                  <a:pt x="1291" y="1671"/>
                </a:lnTo>
                <a:lnTo>
                  <a:pt x="1290" y="1662"/>
                </a:lnTo>
                <a:lnTo>
                  <a:pt x="1286" y="1653"/>
                </a:lnTo>
                <a:lnTo>
                  <a:pt x="1282" y="1644"/>
                </a:lnTo>
                <a:lnTo>
                  <a:pt x="1276" y="1635"/>
                </a:lnTo>
                <a:lnTo>
                  <a:pt x="1272" y="1627"/>
                </a:lnTo>
                <a:lnTo>
                  <a:pt x="1266" y="1620"/>
                </a:lnTo>
                <a:lnTo>
                  <a:pt x="1263" y="1613"/>
                </a:lnTo>
                <a:lnTo>
                  <a:pt x="1262" y="1608"/>
                </a:lnTo>
                <a:lnTo>
                  <a:pt x="1251" y="1608"/>
                </a:lnTo>
                <a:lnTo>
                  <a:pt x="1250" y="1604"/>
                </a:lnTo>
                <a:lnTo>
                  <a:pt x="1248" y="1601"/>
                </a:lnTo>
                <a:lnTo>
                  <a:pt x="1247" y="1599"/>
                </a:lnTo>
                <a:lnTo>
                  <a:pt x="1245" y="1596"/>
                </a:lnTo>
                <a:lnTo>
                  <a:pt x="1241" y="1594"/>
                </a:lnTo>
                <a:lnTo>
                  <a:pt x="1238" y="1591"/>
                </a:lnTo>
                <a:lnTo>
                  <a:pt x="1227" y="1587"/>
                </a:lnTo>
                <a:lnTo>
                  <a:pt x="1216" y="1584"/>
                </a:lnTo>
                <a:lnTo>
                  <a:pt x="1215" y="1581"/>
                </a:lnTo>
                <a:lnTo>
                  <a:pt x="1215" y="1580"/>
                </a:lnTo>
                <a:lnTo>
                  <a:pt x="1214" y="1579"/>
                </a:lnTo>
                <a:lnTo>
                  <a:pt x="1213" y="1579"/>
                </a:lnTo>
                <a:lnTo>
                  <a:pt x="1212" y="1579"/>
                </a:lnTo>
                <a:lnTo>
                  <a:pt x="1211" y="1577"/>
                </a:lnTo>
                <a:lnTo>
                  <a:pt x="1211" y="1576"/>
                </a:lnTo>
                <a:lnTo>
                  <a:pt x="1209" y="1573"/>
                </a:lnTo>
                <a:lnTo>
                  <a:pt x="1209" y="1574"/>
                </a:lnTo>
                <a:lnTo>
                  <a:pt x="1211" y="1575"/>
                </a:lnTo>
                <a:lnTo>
                  <a:pt x="1213" y="1579"/>
                </a:lnTo>
                <a:lnTo>
                  <a:pt x="1216" y="1582"/>
                </a:lnTo>
                <a:lnTo>
                  <a:pt x="1218" y="1585"/>
                </a:lnTo>
                <a:lnTo>
                  <a:pt x="1222" y="1587"/>
                </a:lnTo>
                <a:lnTo>
                  <a:pt x="1223" y="1590"/>
                </a:lnTo>
                <a:lnTo>
                  <a:pt x="1222" y="1591"/>
                </a:lnTo>
                <a:lnTo>
                  <a:pt x="1222" y="1587"/>
                </a:lnTo>
                <a:lnTo>
                  <a:pt x="1221" y="1585"/>
                </a:lnTo>
                <a:lnTo>
                  <a:pt x="1219" y="1584"/>
                </a:lnTo>
                <a:lnTo>
                  <a:pt x="1218" y="1584"/>
                </a:lnTo>
                <a:lnTo>
                  <a:pt x="1217" y="1584"/>
                </a:lnTo>
                <a:lnTo>
                  <a:pt x="1216" y="1584"/>
                </a:lnTo>
                <a:lnTo>
                  <a:pt x="1216" y="1582"/>
                </a:lnTo>
                <a:lnTo>
                  <a:pt x="1216" y="1579"/>
                </a:lnTo>
                <a:lnTo>
                  <a:pt x="1211" y="1579"/>
                </a:lnTo>
                <a:lnTo>
                  <a:pt x="1205" y="1577"/>
                </a:lnTo>
                <a:lnTo>
                  <a:pt x="1203" y="1576"/>
                </a:lnTo>
                <a:lnTo>
                  <a:pt x="1200" y="1574"/>
                </a:lnTo>
                <a:lnTo>
                  <a:pt x="1198" y="1571"/>
                </a:lnTo>
                <a:lnTo>
                  <a:pt x="1198" y="1567"/>
                </a:lnTo>
                <a:lnTo>
                  <a:pt x="1187" y="1567"/>
                </a:lnTo>
                <a:lnTo>
                  <a:pt x="1186" y="1564"/>
                </a:lnTo>
                <a:lnTo>
                  <a:pt x="1184" y="1562"/>
                </a:lnTo>
                <a:lnTo>
                  <a:pt x="1182" y="1562"/>
                </a:lnTo>
                <a:lnTo>
                  <a:pt x="1178" y="1561"/>
                </a:lnTo>
                <a:lnTo>
                  <a:pt x="1175" y="1561"/>
                </a:lnTo>
                <a:lnTo>
                  <a:pt x="1171" y="1561"/>
                </a:lnTo>
                <a:lnTo>
                  <a:pt x="1170" y="1558"/>
                </a:lnTo>
                <a:lnTo>
                  <a:pt x="1169" y="1555"/>
                </a:lnTo>
                <a:lnTo>
                  <a:pt x="1154" y="1554"/>
                </a:lnTo>
                <a:lnTo>
                  <a:pt x="1136" y="1552"/>
                </a:lnTo>
                <a:lnTo>
                  <a:pt x="1128" y="1550"/>
                </a:lnTo>
                <a:lnTo>
                  <a:pt x="1120" y="1548"/>
                </a:lnTo>
                <a:lnTo>
                  <a:pt x="1115" y="1546"/>
                </a:lnTo>
                <a:lnTo>
                  <a:pt x="1111" y="1544"/>
                </a:lnTo>
                <a:lnTo>
                  <a:pt x="937" y="1544"/>
                </a:lnTo>
                <a:lnTo>
                  <a:pt x="937" y="1542"/>
                </a:lnTo>
                <a:lnTo>
                  <a:pt x="936" y="1541"/>
                </a:lnTo>
                <a:lnTo>
                  <a:pt x="935" y="1540"/>
                </a:lnTo>
                <a:lnTo>
                  <a:pt x="934" y="1538"/>
                </a:lnTo>
                <a:lnTo>
                  <a:pt x="929" y="1538"/>
                </a:lnTo>
                <a:lnTo>
                  <a:pt x="925" y="1538"/>
                </a:lnTo>
                <a:lnTo>
                  <a:pt x="919" y="1532"/>
                </a:lnTo>
                <a:lnTo>
                  <a:pt x="919" y="1529"/>
                </a:lnTo>
                <a:lnTo>
                  <a:pt x="917" y="1527"/>
                </a:lnTo>
                <a:lnTo>
                  <a:pt x="914" y="1524"/>
                </a:lnTo>
                <a:lnTo>
                  <a:pt x="910" y="1522"/>
                </a:lnTo>
                <a:lnTo>
                  <a:pt x="902" y="1517"/>
                </a:lnTo>
                <a:lnTo>
                  <a:pt x="896" y="1515"/>
                </a:lnTo>
                <a:lnTo>
                  <a:pt x="890" y="1509"/>
                </a:lnTo>
                <a:lnTo>
                  <a:pt x="889" y="1505"/>
                </a:lnTo>
                <a:lnTo>
                  <a:pt x="887" y="1500"/>
                </a:lnTo>
                <a:lnTo>
                  <a:pt x="883" y="1498"/>
                </a:lnTo>
                <a:lnTo>
                  <a:pt x="879" y="1497"/>
                </a:lnTo>
                <a:lnTo>
                  <a:pt x="873" y="1487"/>
                </a:lnTo>
                <a:lnTo>
                  <a:pt x="861" y="1469"/>
                </a:lnTo>
                <a:lnTo>
                  <a:pt x="849" y="1452"/>
                </a:lnTo>
                <a:lnTo>
                  <a:pt x="844" y="1445"/>
                </a:lnTo>
                <a:lnTo>
                  <a:pt x="838" y="1433"/>
                </a:lnTo>
                <a:lnTo>
                  <a:pt x="838" y="1425"/>
                </a:lnTo>
                <a:lnTo>
                  <a:pt x="835" y="1416"/>
                </a:lnTo>
                <a:lnTo>
                  <a:pt x="833" y="1408"/>
                </a:lnTo>
                <a:lnTo>
                  <a:pt x="832" y="1399"/>
                </a:lnTo>
                <a:lnTo>
                  <a:pt x="828" y="1394"/>
                </a:lnTo>
                <a:lnTo>
                  <a:pt x="821" y="1387"/>
                </a:lnTo>
                <a:lnTo>
                  <a:pt x="814" y="1375"/>
                </a:lnTo>
                <a:lnTo>
                  <a:pt x="806" y="1364"/>
                </a:lnTo>
                <a:lnTo>
                  <a:pt x="799" y="1353"/>
                </a:lnTo>
                <a:lnTo>
                  <a:pt x="792" y="1344"/>
                </a:lnTo>
                <a:lnTo>
                  <a:pt x="789" y="1340"/>
                </a:lnTo>
                <a:lnTo>
                  <a:pt x="785" y="1337"/>
                </a:lnTo>
                <a:lnTo>
                  <a:pt x="782" y="1335"/>
                </a:lnTo>
                <a:lnTo>
                  <a:pt x="780" y="1335"/>
                </a:lnTo>
                <a:lnTo>
                  <a:pt x="780" y="1323"/>
                </a:lnTo>
                <a:lnTo>
                  <a:pt x="774" y="1317"/>
                </a:lnTo>
                <a:lnTo>
                  <a:pt x="771" y="1317"/>
                </a:lnTo>
                <a:lnTo>
                  <a:pt x="770" y="1316"/>
                </a:lnTo>
                <a:lnTo>
                  <a:pt x="768" y="1315"/>
                </a:lnTo>
                <a:lnTo>
                  <a:pt x="768" y="1314"/>
                </a:lnTo>
                <a:lnTo>
                  <a:pt x="768" y="1313"/>
                </a:lnTo>
                <a:lnTo>
                  <a:pt x="767" y="1313"/>
                </a:lnTo>
                <a:lnTo>
                  <a:pt x="766" y="1312"/>
                </a:lnTo>
                <a:lnTo>
                  <a:pt x="763" y="1312"/>
                </a:lnTo>
                <a:lnTo>
                  <a:pt x="761" y="1305"/>
                </a:lnTo>
                <a:lnTo>
                  <a:pt x="756" y="1297"/>
                </a:lnTo>
                <a:lnTo>
                  <a:pt x="753" y="1294"/>
                </a:lnTo>
                <a:lnTo>
                  <a:pt x="751" y="1291"/>
                </a:lnTo>
                <a:lnTo>
                  <a:pt x="747" y="1290"/>
                </a:lnTo>
                <a:lnTo>
                  <a:pt x="745" y="1288"/>
                </a:lnTo>
                <a:lnTo>
                  <a:pt x="745" y="1276"/>
                </a:lnTo>
                <a:lnTo>
                  <a:pt x="742" y="1276"/>
                </a:lnTo>
                <a:lnTo>
                  <a:pt x="741" y="1276"/>
                </a:lnTo>
                <a:lnTo>
                  <a:pt x="739" y="1275"/>
                </a:lnTo>
                <a:lnTo>
                  <a:pt x="739" y="1274"/>
                </a:lnTo>
                <a:lnTo>
                  <a:pt x="739" y="1273"/>
                </a:lnTo>
                <a:lnTo>
                  <a:pt x="738" y="1272"/>
                </a:lnTo>
                <a:lnTo>
                  <a:pt x="737" y="1272"/>
                </a:lnTo>
                <a:lnTo>
                  <a:pt x="734" y="1271"/>
                </a:lnTo>
                <a:lnTo>
                  <a:pt x="733" y="1266"/>
                </a:lnTo>
                <a:lnTo>
                  <a:pt x="729" y="1263"/>
                </a:lnTo>
                <a:lnTo>
                  <a:pt x="726" y="1260"/>
                </a:lnTo>
                <a:lnTo>
                  <a:pt x="722" y="1259"/>
                </a:lnTo>
                <a:lnTo>
                  <a:pt x="722" y="1247"/>
                </a:lnTo>
                <a:lnTo>
                  <a:pt x="720" y="1247"/>
                </a:lnTo>
                <a:lnTo>
                  <a:pt x="718" y="1247"/>
                </a:lnTo>
                <a:lnTo>
                  <a:pt x="717" y="1246"/>
                </a:lnTo>
                <a:lnTo>
                  <a:pt x="717" y="1244"/>
                </a:lnTo>
                <a:lnTo>
                  <a:pt x="716" y="1240"/>
                </a:lnTo>
                <a:lnTo>
                  <a:pt x="716" y="1236"/>
                </a:lnTo>
                <a:lnTo>
                  <a:pt x="713" y="1235"/>
                </a:lnTo>
                <a:lnTo>
                  <a:pt x="710" y="1234"/>
                </a:lnTo>
                <a:lnTo>
                  <a:pt x="709" y="1230"/>
                </a:lnTo>
                <a:lnTo>
                  <a:pt x="707" y="1227"/>
                </a:lnTo>
                <a:lnTo>
                  <a:pt x="706" y="1218"/>
                </a:lnTo>
                <a:lnTo>
                  <a:pt x="705" y="1207"/>
                </a:lnTo>
                <a:lnTo>
                  <a:pt x="704" y="1197"/>
                </a:lnTo>
                <a:lnTo>
                  <a:pt x="701" y="1187"/>
                </a:lnTo>
                <a:lnTo>
                  <a:pt x="700" y="1183"/>
                </a:lnTo>
                <a:lnTo>
                  <a:pt x="698" y="1180"/>
                </a:lnTo>
                <a:lnTo>
                  <a:pt x="696" y="1179"/>
                </a:lnTo>
                <a:lnTo>
                  <a:pt x="693" y="1178"/>
                </a:lnTo>
                <a:lnTo>
                  <a:pt x="693" y="1160"/>
                </a:lnTo>
                <a:lnTo>
                  <a:pt x="691" y="1157"/>
                </a:lnTo>
                <a:lnTo>
                  <a:pt x="686" y="1149"/>
                </a:lnTo>
                <a:lnTo>
                  <a:pt x="684" y="1144"/>
                </a:lnTo>
                <a:lnTo>
                  <a:pt x="680" y="1141"/>
                </a:lnTo>
                <a:lnTo>
                  <a:pt x="678" y="1138"/>
                </a:lnTo>
                <a:lnTo>
                  <a:pt x="676" y="1138"/>
                </a:lnTo>
                <a:lnTo>
                  <a:pt x="669" y="893"/>
                </a:lnTo>
                <a:lnTo>
                  <a:pt x="671" y="893"/>
                </a:lnTo>
                <a:lnTo>
                  <a:pt x="672" y="891"/>
                </a:lnTo>
                <a:lnTo>
                  <a:pt x="674" y="889"/>
                </a:lnTo>
                <a:lnTo>
                  <a:pt x="675" y="887"/>
                </a:lnTo>
                <a:lnTo>
                  <a:pt x="676" y="881"/>
                </a:lnTo>
                <a:lnTo>
                  <a:pt x="676" y="875"/>
                </a:lnTo>
                <a:lnTo>
                  <a:pt x="681" y="870"/>
                </a:lnTo>
                <a:lnTo>
                  <a:pt x="687" y="869"/>
                </a:lnTo>
                <a:lnTo>
                  <a:pt x="693" y="867"/>
                </a:lnTo>
                <a:lnTo>
                  <a:pt x="695" y="864"/>
                </a:lnTo>
                <a:lnTo>
                  <a:pt x="697" y="863"/>
                </a:lnTo>
                <a:lnTo>
                  <a:pt x="698" y="861"/>
                </a:lnTo>
                <a:lnTo>
                  <a:pt x="699" y="859"/>
                </a:lnTo>
                <a:lnTo>
                  <a:pt x="716" y="859"/>
                </a:lnTo>
                <a:lnTo>
                  <a:pt x="717" y="855"/>
                </a:lnTo>
                <a:lnTo>
                  <a:pt x="719" y="853"/>
                </a:lnTo>
                <a:lnTo>
                  <a:pt x="723" y="851"/>
                </a:lnTo>
                <a:lnTo>
                  <a:pt x="727" y="850"/>
                </a:lnTo>
                <a:lnTo>
                  <a:pt x="738" y="848"/>
                </a:lnTo>
                <a:lnTo>
                  <a:pt x="753" y="846"/>
                </a:lnTo>
                <a:lnTo>
                  <a:pt x="780" y="846"/>
                </a:lnTo>
                <a:lnTo>
                  <a:pt x="797" y="846"/>
                </a:lnTo>
                <a:lnTo>
                  <a:pt x="799" y="851"/>
                </a:lnTo>
                <a:lnTo>
                  <a:pt x="801" y="855"/>
                </a:lnTo>
                <a:lnTo>
                  <a:pt x="805" y="858"/>
                </a:lnTo>
                <a:lnTo>
                  <a:pt x="809" y="859"/>
                </a:lnTo>
                <a:lnTo>
                  <a:pt x="811" y="862"/>
                </a:lnTo>
                <a:lnTo>
                  <a:pt x="814" y="867"/>
                </a:lnTo>
                <a:lnTo>
                  <a:pt x="820" y="872"/>
                </a:lnTo>
                <a:lnTo>
                  <a:pt x="827" y="878"/>
                </a:lnTo>
                <a:lnTo>
                  <a:pt x="839" y="889"/>
                </a:lnTo>
                <a:lnTo>
                  <a:pt x="844" y="893"/>
                </a:lnTo>
                <a:lnTo>
                  <a:pt x="848" y="894"/>
                </a:lnTo>
                <a:lnTo>
                  <a:pt x="852" y="897"/>
                </a:lnTo>
                <a:lnTo>
                  <a:pt x="854" y="901"/>
                </a:lnTo>
                <a:lnTo>
                  <a:pt x="856" y="904"/>
                </a:lnTo>
                <a:lnTo>
                  <a:pt x="864" y="908"/>
                </a:lnTo>
                <a:lnTo>
                  <a:pt x="873" y="911"/>
                </a:lnTo>
                <a:lnTo>
                  <a:pt x="879" y="917"/>
                </a:lnTo>
                <a:lnTo>
                  <a:pt x="879" y="920"/>
                </a:lnTo>
                <a:lnTo>
                  <a:pt x="880" y="921"/>
                </a:lnTo>
                <a:lnTo>
                  <a:pt x="880" y="922"/>
                </a:lnTo>
                <a:lnTo>
                  <a:pt x="881" y="922"/>
                </a:lnTo>
                <a:lnTo>
                  <a:pt x="882" y="922"/>
                </a:lnTo>
                <a:lnTo>
                  <a:pt x="883" y="923"/>
                </a:lnTo>
                <a:lnTo>
                  <a:pt x="885" y="925"/>
                </a:lnTo>
                <a:lnTo>
                  <a:pt x="885" y="928"/>
                </a:lnTo>
                <a:lnTo>
                  <a:pt x="891" y="929"/>
                </a:lnTo>
                <a:lnTo>
                  <a:pt x="897" y="931"/>
                </a:lnTo>
                <a:lnTo>
                  <a:pt x="902" y="936"/>
                </a:lnTo>
                <a:lnTo>
                  <a:pt x="907" y="940"/>
                </a:lnTo>
                <a:lnTo>
                  <a:pt x="911" y="944"/>
                </a:lnTo>
                <a:lnTo>
                  <a:pt x="917" y="948"/>
                </a:lnTo>
                <a:lnTo>
                  <a:pt x="921" y="950"/>
                </a:lnTo>
                <a:lnTo>
                  <a:pt x="925" y="951"/>
                </a:lnTo>
                <a:lnTo>
                  <a:pt x="926" y="955"/>
                </a:lnTo>
                <a:lnTo>
                  <a:pt x="926" y="957"/>
                </a:lnTo>
                <a:lnTo>
                  <a:pt x="927" y="957"/>
                </a:lnTo>
                <a:lnTo>
                  <a:pt x="928" y="957"/>
                </a:lnTo>
                <a:lnTo>
                  <a:pt x="929" y="957"/>
                </a:lnTo>
                <a:lnTo>
                  <a:pt x="930" y="958"/>
                </a:lnTo>
                <a:lnTo>
                  <a:pt x="930" y="959"/>
                </a:lnTo>
                <a:lnTo>
                  <a:pt x="931" y="963"/>
                </a:lnTo>
                <a:lnTo>
                  <a:pt x="955" y="964"/>
                </a:lnTo>
                <a:lnTo>
                  <a:pt x="979" y="965"/>
                </a:lnTo>
                <a:lnTo>
                  <a:pt x="1003" y="967"/>
                </a:lnTo>
                <a:lnTo>
                  <a:pt x="1026" y="969"/>
                </a:lnTo>
                <a:lnTo>
                  <a:pt x="1050" y="971"/>
                </a:lnTo>
                <a:lnTo>
                  <a:pt x="1072" y="973"/>
                </a:lnTo>
                <a:lnTo>
                  <a:pt x="1094" y="974"/>
                </a:lnTo>
                <a:lnTo>
                  <a:pt x="1117" y="975"/>
                </a:lnTo>
                <a:lnTo>
                  <a:pt x="1127" y="980"/>
                </a:lnTo>
                <a:lnTo>
                  <a:pt x="1142" y="989"/>
                </a:lnTo>
                <a:lnTo>
                  <a:pt x="1150" y="994"/>
                </a:lnTo>
                <a:lnTo>
                  <a:pt x="1157" y="997"/>
                </a:lnTo>
                <a:lnTo>
                  <a:pt x="1161" y="1002"/>
                </a:lnTo>
                <a:lnTo>
                  <a:pt x="1164" y="1004"/>
                </a:lnTo>
                <a:lnTo>
                  <a:pt x="1175" y="1004"/>
                </a:lnTo>
                <a:lnTo>
                  <a:pt x="1182" y="1015"/>
                </a:lnTo>
                <a:lnTo>
                  <a:pt x="1190" y="1028"/>
                </a:lnTo>
                <a:lnTo>
                  <a:pt x="1195" y="1035"/>
                </a:lnTo>
                <a:lnTo>
                  <a:pt x="1200" y="1040"/>
                </a:lnTo>
                <a:lnTo>
                  <a:pt x="1205" y="1043"/>
                </a:lnTo>
                <a:lnTo>
                  <a:pt x="1209" y="1044"/>
                </a:lnTo>
                <a:lnTo>
                  <a:pt x="1213" y="1056"/>
                </a:lnTo>
                <a:lnTo>
                  <a:pt x="1216" y="1067"/>
                </a:lnTo>
                <a:lnTo>
                  <a:pt x="1221" y="1071"/>
                </a:lnTo>
                <a:lnTo>
                  <a:pt x="1224" y="1076"/>
                </a:lnTo>
                <a:lnTo>
                  <a:pt x="1228" y="1083"/>
                </a:lnTo>
                <a:lnTo>
                  <a:pt x="1233" y="1090"/>
                </a:lnTo>
                <a:lnTo>
                  <a:pt x="1237" y="1096"/>
                </a:lnTo>
                <a:lnTo>
                  <a:pt x="1242" y="1103"/>
                </a:lnTo>
                <a:lnTo>
                  <a:pt x="1246" y="1106"/>
                </a:lnTo>
                <a:lnTo>
                  <a:pt x="1251" y="1109"/>
                </a:lnTo>
                <a:lnTo>
                  <a:pt x="1251" y="1113"/>
                </a:lnTo>
                <a:lnTo>
                  <a:pt x="1253" y="1118"/>
                </a:lnTo>
                <a:lnTo>
                  <a:pt x="1256" y="1123"/>
                </a:lnTo>
                <a:lnTo>
                  <a:pt x="1260" y="1129"/>
                </a:lnTo>
                <a:lnTo>
                  <a:pt x="1269" y="1140"/>
                </a:lnTo>
                <a:lnTo>
                  <a:pt x="1280" y="1152"/>
                </a:lnTo>
                <a:lnTo>
                  <a:pt x="1290" y="1166"/>
                </a:lnTo>
                <a:lnTo>
                  <a:pt x="1300" y="1178"/>
                </a:lnTo>
                <a:lnTo>
                  <a:pt x="1303" y="1183"/>
                </a:lnTo>
                <a:lnTo>
                  <a:pt x="1307" y="1190"/>
                </a:lnTo>
                <a:lnTo>
                  <a:pt x="1308" y="1196"/>
                </a:lnTo>
                <a:lnTo>
                  <a:pt x="1309" y="1201"/>
                </a:lnTo>
                <a:lnTo>
                  <a:pt x="1320" y="1207"/>
                </a:lnTo>
                <a:lnTo>
                  <a:pt x="1320" y="1218"/>
                </a:lnTo>
                <a:lnTo>
                  <a:pt x="1322" y="1220"/>
                </a:lnTo>
                <a:lnTo>
                  <a:pt x="1323" y="1224"/>
                </a:lnTo>
                <a:lnTo>
                  <a:pt x="1324" y="1228"/>
                </a:lnTo>
                <a:lnTo>
                  <a:pt x="1326" y="1234"/>
                </a:lnTo>
                <a:lnTo>
                  <a:pt x="1326" y="1246"/>
                </a:lnTo>
                <a:lnTo>
                  <a:pt x="1327" y="1254"/>
                </a:lnTo>
                <a:lnTo>
                  <a:pt x="1328" y="1255"/>
                </a:lnTo>
                <a:lnTo>
                  <a:pt x="1330" y="1258"/>
                </a:lnTo>
                <a:lnTo>
                  <a:pt x="1330" y="1263"/>
                </a:lnTo>
                <a:lnTo>
                  <a:pt x="1331" y="1268"/>
                </a:lnTo>
                <a:lnTo>
                  <a:pt x="1332" y="1281"/>
                </a:lnTo>
                <a:lnTo>
                  <a:pt x="1332" y="1288"/>
                </a:lnTo>
                <a:lnTo>
                  <a:pt x="1336" y="1293"/>
                </a:lnTo>
                <a:lnTo>
                  <a:pt x="1339" y="1298"/>
                </a:lnTo>
                <a:lnTo>
                  <a:pt x="1341" y="1303"/>
                </a:lnTo>
                <a:lnTo>
                  <a:pt x="1342" y="1308"/>
                </a:lnTo>
                <a:lnTo>
                  <a:pt x="1343" y="1320"/>
                </a:lnTo>
                <a:lnTo>
                  <a:pt x="1343" y="1329"/>
                </a:lnTo>
                <a:lnTo>
                  <a:pt x="1346" y="1331"/>
                </a:lnTo>
                <a:lnTo>
                  <a:pt x="1349" y="1336"/>
                </a:lnTo>
                <a:lnTo>
                  <a:pt x="1351" y="1344"/>
                </a:lnTo>
                <a:lnTo>
                  <a:pt x="1355" y="1353"/>
                </a:lnTo>
                <a:lnTo>
                  <a:pt x="1359" y="1373"/>
                </a:lnTo>
                <a:lnTo>
                  <a:pt x="1361" y="1387"/>
                </a:lnTo>
                <a:lnTo>
                  <a:pt x="1362" y="1389"/>
                </a:lnTo>
                <a:lnTo>
                  <a:pt x="1365" y="1396"/>
                </a:lnTo>
                <a:lnTo>
                  <a:pt x="1366" y="1404"/>
                </a:lnTo>
                <a:lnTo>
                  <a:pt x="1366" y="1415"/>
                </a:lnTo>
                <a:lnTo>
                  <a:pt x="1367" y="1436"/>
                </a:lnTo>
                <a:lnTo>
                  <a:pt x="1367" y="1451"/>
                </a:lnTo>
                <a:lnTo>
                  <a:pt x="1365" y="1452"/>
                </a:lnTo>
                <a:lnTo>
                  <a:pt x="1363" y="1455"/>
                </a:lnTo>
                <a:lnTo>
                  <a:pt x="1362" y="1458"/>
                </a:lnTo>
                <a:lnTo>
                  <a:pt x="1361" y="1464"/>
                </a:lnTo>
                <a:lnTo>
                  <a:pt x="1361" y="1473"/>
                </a:lnTo>
                <a:lnTo>
                  <a:pt x="1361" y="1480"/>
                </a:lnTo>
                <a:lnTo>
                  <a:pt x="1372" y="1480"/>
                </a:lnTo>
                <a:lnTo>
                  <a:pt x="1374" y="1483"/>
                </a:lnTo>
                <a:lnTo>
                  <a:pt x="1377" y="1485"/>
                </a:lnTo>
                <a:lnTo>
                  <a:pt x="1380" y="1486"/>
                </a:lnTo>
                <a:lnTo>
                  <a:pt x="1387" y="1488"/>
                </a:lnTo>
                <a:lnTo>
                  <a:pt x="1400" y="1493"/>
                </a:lnTo>
                <a:lnTo>
                  <a:pt x="1418" y="1496"/>
                </a:lnTo>
                <a:lnTo>
                  <a:pt x="1451" y="1502"/>
                </a:lnTo>
                <a:lnTo>
                  <a:pt x="1472" y="1503"/>
                </a:lnTo>
                <a:lnTo>
                  <a:pt x="1472" y="1505"/>
                </a:lnTo>
                <a:lnTo>
                  <a:pt x="1473" y="1507"/>
                </a:lnTo>
                <a:lnTo>
                  <a:pt x="1475" y="1509"/>
                </a:lnTo>
                <a:lnTo>
                  <a:pt x="1477" y="1512"/>
                </a:lnTo>
                <a:lnTo>
                  <a:pt x="1484" y="1514"/>
                </a:lnTo>
                <a:lnTo>
                  <a:pt x="1488" y="1515"/>
                </a:lnTo>
                <a:lnTo>
                  <a:pt x="1490" y="1519"/>
                </a:lnTo>
                <a:lnTo>
                  <a:pt x="1493" y="1525"/>
                </a:lnTo>
                <a:lnTo>
                  <a:pt x="1497" y="1533"/>
                </a:lnTo>
                <a:lnTo>
                  <a:pt x="1503" y="1542"/>
                </a:lnTo>
                <a:lnTo>
                  <a:pt x="1518" y="1562"/>
                </a:lnTo>
                <a:lnTo>
                  <a:pt x="1534" y="1584"/>
                </a:lnTo>
                <a:lnTo>
                  <a:pt x="1570" y="1628"/>
                </a:lnTo>
                <a:lnTo>
                  <a:pt x="1593" y="1654"/>
                </a:lnTo>
                <a:lnTo>
                  <a:pt x="1593" y="1666"/>
                </a:lnTo>
                <a:lnTo>
                  <a:pt x="1608" y="1680"/>
                </a:lnTo>
                <a:lnTo>
                  <a:pt x="1622" y="1695"/>
                </a:lnTo>
                <a:lnTo>
                  <a:pt x="1622" y="1707"/>
                </a:lnTo>
                <a:lnTo>
                  <a:pt x="1625" y="1707"/>
                </a:lnTo>
                <a:lnTo>
                  <a:pt x="1627" y="1708"/>
                </a:lnTo>
                <a:lnTo>
                  <a:pt x="1629" y="1710"/>
                </a:lnTo>
                <a:lnTo>
                  <a:pt x="1630" y="1712"/>
                </a:lnTo>
                <a:lnTo>
                  <a:pt x="1632" y="1719"/>
                </a:lnTo>
                <a:lnTo>
                  <a:pt x="1634" y="1724"/>
                </a:lnTo>
                <a:lnTo>
                  <a:pt x="1646" y="1733"/>
                </a:lnTo>
                <a:lnTo>
                  <a:pt x="1657" y="1742"/>
                </a:lnTo>
                <a:lnTo>
                  <a:pt x="1660" y="1750"/>
                </a:lnTo>
                <a:lnTo>
                  <a:pt x="1663" y="1758"/>
                </a:lnTo>
                <a:lnTo>
                  <a:pt x="1669" y="1765"/>
                </a:lnTo>
                <a:lnTo>
                  <a:pt x="1680" y="1765"/>
                </a:lnTo>
                <a:lnTo>
                  <a:pt x="1686" y="1776"/>
                </a:lnTo>
                <a:lnTo>
                  <a:pt x="1707" y="1776"/>
                </a:lnTo>
                <a:lnTo>
                  <a:pt x="1733" y="1776"/>
                </a:lnTo>
                <a:lnTo>
                  <a:pt x="1759" y="1776"/>
                </a:lnTo>
                <a:lnTo>
                  <a:pt x="1779" y="1776"/>
                </a:lnTo>
                <a:lnTo>
                  <a:pt x="1782" y="1767"/>
                </a:lnTo>
                <a:lnTo>
                  <a:pt x="1785" y="1758"/>
                </a:lnTo>
                <a:lnTo>
                  <a:pt x="1793" y="1756"/>
                </a:lnTo>
                <a:lnTo>
                  <a:pt x="1802" y="1753"/>
                </a:lnTo>
                <a:lnTo>
                  <a:pt x="1878" y="1660"/>
                </a:lnTo>
                <a:lnTo>
                  <a:pt x="1878" y="1468"/>
                </a:lnTo>
                <a:lnTo>
                  <a:pt x="1889" y="1457"/>
                </a:lnTo>
                <a:lnTo>
                  <a:pt x="1889" y="1448"/>
                </a:lnTo>
                <a:lnTo>
                  <a:pt x="1887" y="1439"/>
                </a:lnTo>
                <a:lnTo>
                  <a:pt x="1885" y="1429"/>
                </a:lnTo>
                <a:lnTo>
                  <a:pt x="1880" y="1418"/>
                </a:lnTo>
                <a:lnTo>
                  <a:pt x="1871" y="1394"/>
                </a:lnTo>
                <a:lnTo>
                  <a:pt x="1860" y="1369"/>
                </a:lnTo>
                <a:lnTo>
                  <a:pt x="1850" y="1343"/>
                </a:lnTo>
                <a:lnTo>
                  <a:pt x="1840" y="1319"/>
                </a:lnTo>
                <a:lnTo>
                  <a:pt x="1837" y="1307"/>
                </a:lnTo>
                <a:lnTo>
                  <a:pt x="1835" y="1296"/>
                </a:lnTo>
                <a:lnTo>
                  <a:pt x="1832" y="1286"/>
                </a:lnTo>
                <a:lnTo>
                  <a:pt x="1831" y="1276"/>
                </a:lnTo>
                <a:lnTo>
                  <a:pt x="1829" y="1275"/>
                </a:lnTo>
                <a:lnTo>
                  <a:pt x="1827" y="1272"/>
                </a:lnTo>
                <a:lnTo>
                  <a:pt x="1824" y="1266"/>
                </a:lnTo>
                <a:lnTo>
                  <a:pt x="1821" y="1259"/>
                </a:lnTo>
                <a:lnTo>
                  <a:pt x="1818" y="1253"/>
                </a:lnTo>
                <a:lnTo>
                  <a:pt x="1813" y="1247"/>
                </a:lnTo>
                <a:lnTo>
                  <a:pt x="1811" y="1245"/>
                </a:lnTo>
                <a:lnTo>
                  <a:pt x="1809" y="1244"/>
                </a:lnTo>
                <a:lnTo>
                  <a:pt x="1806" y="1243"/>
                </a:lnTo>
                <a:lnTo>
                  <a:pt x="1802" y="1242"/>
                </a:lnTo>
                <a:lnTo>
                  <a:pt x="1801" y="1237"/>
                </a:lnTo>
                <a:lnTo>
                  <a:pt x="1799" y="1231"/>
                </a:lnTo>
                <a:lnTo>
                  <a:pt x="1797" y="1228"/>
                </a:lnTo>
                <a:lnTo>
                  <a:pt x="1795" y="1226"/>
                </a:lnTo>
                <a:lnTo>
                  <a:pt x="1793" y="1225"/>
                </a:lnTo>
                <a:lnTo>
                  <a:pt x="1791" y="1225"/>
                </a:lnTo>
                <a:lnTo>
                  <a:pt x="1791" y="1207"/>
                </a:lnTo>
                <a:lnTo>
                  <a:pt x="1785" y="1202"/>
                </a:lnTo>
                <a:lnTo>
                  <a:pt x="1780" y="1198"/>
                </a:lnTo>
                <a:lnTo>
                  <a:pt x="1778" y="1196"/>
                </a:lnTo>
                <a:lnTo>
                  <a:pt x="1775" y="1194"/>
                </a:lnTo>
                <a:lnTo>
                  <a:pt x="1774" y="1191"/>
                </a:lnTo>
                <a:lnTo>
                  <a:pt x="1773" y="1189"/>
                </a:lnTo>
                <a:lnTo>
                  <a:pt x="1768" y="1189"/>
                </a:lnTo>
                <a:lnTo>
                  <a:pt x="1760" y="1186"/>
                </a:lnTo>
                <a:lnTo>
                  <a:pt x="1756" y="1185"/>
                </a:lnTo>
                <a:lnTo>
                  <a:pt x="1753" y="1182"/>
                </a:lnTo>
                <a:lnTo>
                  <a:pt x="1751" y="1180"/>
                </a:lnTo>
                <a:lnTo>
                  <a:pt x="1750" y="1178"/>
                </a:lnTo>
                <a:lnTo>
                  <a:pt x="1733" y="1178"/>
                </a:lnTo>
                <a:lnTo>
                  <a:pt x="1721" y="1167"/>
                </a:lnTo>
                <a:lnTo>
                  <a:pt x="1712" y="1166"/>
                </a:lnTo>
                <a:lnTo>
                  <a:pt x="1702" y="1165"/>
                </a:lnTo>
                <a:lnTo>
                  <a:pt x="1693" y="1162"/>
                </a:lnTo>
                <a:lnTo>
                  <a:pt x="1683" y="1160"/>
                </a:lnTo>
                <a:lnTo>
                  <a:pt x="1665" y="1153"/>
                </a:lnTo>
                <a:lnTo>
                  <a:pt x="1647" y="1146"/>
                </a:lnTo>
                <a:lnTo>
                  <a:pt x="1630" y="1139"/>
                </a:lnTo>
                <a:lnTo>
                  <a:pt x="1614" y="1132"/>
                </a:lnTo>
                <a:lnTo>
                  <a:pt x="1606" y="1130"/>
                </a:lnTo>
                <a:lnTo>
                  <a:pt x="1597" y="1128"/>
                </a:lnTo>
                <a:lnTo>
                  <a:pt x="1589" y="1127"/>
                </a:lnTo>
                <a:lnTo>
                  <a:pt x="1582" y="1125"/>
                </a:lnTo>
                <a:lnTo>
                  <a:pt x="1579" y="1122"/>
                </a:lnTo>
                <a:lnTo>
                  <a:pt x="1571" y="1118"/>
                </a:lnTo>
                <a:lnTo>
                  <a:pt x="1559" y="1112"/>
                </a:lnTo>
                <a:lnTo>
                  <a:pt x="1545" y="1106"/>
                </a:lnTo>
                <a:lnTo>
                  <a:pt x="1531" y="1100"/>
                </a:lnTo>
                <a:lnTo>
                  <a:pt x="1518" y="1095"/>
                </a:lnTo>
                <a:lnTo>
                  <a:pt x="1507" y="1092"/>
                </a:lnTo>
                <a:lnTo>
                  <a:pt x="1501" y="1091"/>
                </a:lnTo>
                <a:lnTo>
                  <a:pt x="1488" y="1073"/>
                </a:lnTo>
                <a:lnTo>
                  <a:pt x="1477" y="1073"/>
                </a:lnTo>
                <a:lnTo>
                  <a:pt x="1476" y="1069"/>
                </a:lnTo>
                <a:lnTo>
                  <a:pt x="1473" y="1064"/>
                </a:lnTo>
                <a:lnTo>
                  <a:pt x="1470" y="1060"/>
                </a:lnTo>
                <a:lnTo>
                  <a:pt x="1464" y="1054"/>
                </a:lnTo>
                <a:lnTo>
                  <a:pt x="1458" y="1051"/>
                </a:lnTo>
                <a:lnTo>
                  <a:pt x="1453" y="1047"/>
                </a:lnTo>
                <a:lnTo>
                  <a:pt x="1447" y="1045"/>
                </a:lnTo>
                <a:lnTo>
                  <a:pt x="1443" y="1044"/>
                </a:lnTo>
                <a:lnTo>
                  <a:pt x="1442" y="1041"/>
                </a:lnTo>
                <a:lnTo>
                  <a:pt x="1442" y="1037"/>
                </a:lnTo>
                <a:lnTo>
                  <a:pt x="1440" y="1035"/>
                </a:lnTo>
                <a:lnTo>
                  <a:pt x="1438" y="1034"/>
                </a:lnTo>
                <a:lnTo>
                  <a:pt x="1435" y="1031"/>
                </a:lnTo>
                <a:lnTo>
                  <a:pt x="1430" y="1027"/>
                </a:lnTo>
                <a:lnTo>
                  <a:pt x="1426" y="1026"/>
                </a:lnTo>
                <a:lnTo>
                  <a:pt x="1419" y="1023"/>
                </a:lnTo>
                <a:lnTo>
                  <a:pt x="1413" y="1017"/>
                </a:lnTo>
                <a:lnTo>
                  <a:pt x="1406" y="1012"/>
                </a:lnTo>
                <a:lnTo>
                  <a:pt x="1400" y="1006"/>
                </a:lnTo>
                <a:lnTo>
                  <a:pt x="1395" y="1000"/>
                </a:lnTo>
                <a:lnTo>
                  <a:pt x="1391" y="995"/>
                </a:lnTo>
                <a:lnTo>
                  <a:pt x="1390" y="992"/>
                </a:lnTo>
                <a:lnTo>
                  <a:pt x="1386" y="992"/>
                </a:lnTo>
                <a:lnTo>
                  <a:pt x="1382" y="990"/>
                </a:lnTo>
                <a:lnTo>
                  <a:pt x="1379" y="988"/>
                </a:lnTo>
                <a:lnTo>
                  <a:pt x="1377" y="986"/>
                </a:lnTo>
                <a:lnTo>
                  <a:pt x="1374" y="980"/>
                </a:lnTo>
                <a:lnTo>
                  <a:pt x="1372" y="975"/>
                </a:lnTo>
                <a:lnTo>
                  <a:pt x="1368" y="974"/>
                </a:lnTo>
                <a:lnTo>
                  <a:pt x="1363" y="971"/>
                </a:lnTo>
                <a:lnTo>
                  <a:pt x="1359" y="969"/>
                </a:lnTo>
                <a:lnTo>
                  <a:pt x="1356" y="966"/>
                </a:lnTo>
                <a:lnTo>
                  <a:pt x="1351" y="963"/>
                </a:lnTo>
                <a:lnTo>
                  <a:pt x="1347" y="960"/>
                </a:lnTo>
                <a:lnTo>
                  <a:pt x="1342" y="958"/>
                </a:lnTo>
                <a:lnTo>
                  <a:pt x="1338" y="957"/>
                </a:lnTo>
                <a:lnTo>
                  <a:pt x="1332" y="946"/>
                </a:lnTo>
                <a:lnTo>
                  <a:pt x="1323" y="942"/>
                </a:lnTo>
                <a:lnTo>
                  <a:pt x="1314" y="940"/>
                </a:lnTo>
                <a:lnTo>
                  <a:pt x="1309" y="933"/>
                </a:lnTo>
                <a:lnTo>
                  <a:pt x="1308" y="930"/>
                </a:lnTo>
                <a:lnTo>
                  <a:pt x="1305" y="926"/>
                </a:lnTo>
                <a:lnTo>
                  <a:pt x="1301" y="923"/>
                </a:lnTo>
                <a:lnTo>
                  <a:pt x="1298" y="922"/>
                </a:lnTo>
                <a:lnTo>
                  <a:pt x="1291" y="904"/>
                </a:lnTo>
                <a:lnTo>
                  <a:pt x="1289" y="904"/>
                </a:lnTo>
                <a:lnTo>
                  <a:pt x="1286" y="902"/>
                </a:lnTo>
                <a:lnTo>
                  <a:pt x="1285" y="899"/>
                </a:lnTo>
                <a:lnTo>
                  <a:pt x="1283" y="896"/>
                </a:lnTo>
                <a:lnTo>
                  <a:pt x="1281" y="888"/>
                </a:lnTo>
                <a:lnTo>
                  <a:pt x="1280" y="882"/>
                </a:lnTo>
                <a:lnTo>
                  <a:pt x="1269" y="875"/>
                </a:lnTo>
                <a:lnTo>
                  <a:pt x="1269" y="854"/>
                </a:lnTo>
                <a:lnTo>
                  <a:pt x="1269" y="832"/>
                </a:lnTo>
                <a:lnTo>
                  <a:pt x="1269" y="811"/>
                </a:lnTo>
                <a:lnTo>
                  <a:pt x="1269" y="788"/>
                </a:lnTo>
                <a:lnTo>
                  <a:pt x="1280" y="783"/>
                </a:lnTo>
                <a:lnTo>
                  <a:pt x="1280" y="772"/>
                </a:lnTo>
                <a:lnTo>
                  <a:pt x="1291" y="759"/>
                </a:lnTo>
                <a:lnTo>
                  <a:pt x="1303" y="759"/>
                </a:lnTo>
                <a:lnTo>
                  <a:pt x="1307" y="758"/>
                </a:lnTo>
                <a:lnTo>
                  <a:pt x="1315" y="756"/>
                </a:lnTo>
                <a:lnTo>
                  <a:pt x="1329" y="755"/>
                </a:lnTo>
                <a:lnTo>
                  <a:pt x="1344" y="755"/>
                </a:lnTo>
                <a:lnTo>
                  <a:pt x="1377" y="754"/>
                </a:lnTo>
                <a:lnTo>
                  <a:pt x="1396" y="754"/>
                </a:lnTo>
                <a:lnTo>
                  <a:pt x="1401" y="736"/>
                </a:lnTo>
                <a:lnTo>
                  <a:pt x="1408" y="731"/>
                </a:lnTo>
                <a:lnTo>
                  <a:pt x="1422" y="719"/>
                </a:lnTo>
                <a:lnTo>
                  <a:pt x="1436" y="707"/>
                </a:lnTo>
                <a:lnTo>
                  <a:pt x="1443" y="701"/>
                </a:lnTo>
                <a:lnTo>
                  <a:pt x="1448" y="696"/>
                </a:lnTo>
                <a:lnTo>
                  <a:pt x="1457" y="696"/>
                </a:lnTo>
                <a:lnTo>
                  <a:pt x="1466" y="694"/>
                </a:lnTo>
                <a:lnTo>
                  <a:pt x="1476" y="692"/>
                </a:lnTo>
                <a:lnTo>
                  <a:pt x="1486" y="689"/>
                </a:lnTo>
                <a:lnTo>
                  <a:pt x="1506" y="683"/>
                </a:lnTo>
                <a:lnTo>
                  <a:pt x="1529" y="676"/>
                </a:lnTo>
                <a:lnTo>
                  <a:pt x="1551" y="668"/>
                </a:lnTo>
                <a:lnTo>
                  <a:pt x="1574" y="661"/>
                </a:lnTo>
                <a:lnTo>
                  <a:pt x="1587" y="659"/>
                </a:lnTo>
                <a:lnTo>
                  <a:pt x="1598" y="657"/>
                </a:lnTo>
                <a:lnTo>
                  <a:pt x="1610" y="656"/>
                </a:lnTo>
                <a:lnTo>
                  <a:pt x="1622" y="656"/>
                </a:lnTo>
                <a:lnTo>
                  <a:pt x="1634" y="667"/>
                </a:lnTo>
                <a:lnTo>
                  <a:pt x="1650" y="670"/>
                </a:lnTo>
                <a:lnTo>
                  <a:pt x="1663" y="672"/>
                </a:lnTo>
                <a:lnTo>
                  <a:pt x="1669" y="678"/>
                </a:lnTo>
                <a:lnTo>
                  <a:pt x="1669" y="681"/>
                </a:lnTo>
                <a:lnTo>
                  <a:pt x="1672" y="683"/>
                </a:lnTo>
                <a:lnTo>
                  <a:pt x="1674" y="686"/>
                </a:lnTo>
                <a:lnTo>
                  <a:pt x="1677" y="689"/>
                </a:lnTo>
                <a:lnTo>
                  <a:pt x="1686" y="695"/>
                </a:lnTo>
                <a:lnTo>
                  <a:pt x="1696" y="701"/>
                </a:lnTo>
                <a:lnTo>
                  <a:pt x="1706" y="708"/>
                </a:lnTo>
                <a:lnTo>
                  <a:pt x="1715" y="715"/>
                </a:lnTo>
                <a:lnTo>
                  <a:pt x="1723" y="720"/>
                </a:lnTo>
                <a:lnTo>
                  <a:pt x="1727" y="725"/>
                </a:lnTo>
                <a:lnTo>
                  <a:pt x="1739" y="730"/>
                </a:lnTo>
                <a:lnTo>
                  <a:pt x="1750" y="736"/>
                </a:lnTo>
                <a:lnTo>
                  <a:pt x="1755" y="743"/>
                </a:lnTo>
                <a:lnTo>
                  <a:pt x="1763" y="749"/>
                </a:lnTo>
                <a:lnTo>
                  <a:pt x="1774" y="758"/>
                </a:lnTo>
                <a:lnTo>
                  <a:pt x="1788" y="767"/>
                </a:lnTo>
                <a:lnTo>
                  <a:pt x="1799" y="777"/>
                </a:lnTo>
                <a:lnTo>
                  <a:pt x="1810" y="785"/>
                </a:lnTo>
                <a:lnTo>
                  <a:pt x="1817" y="791"/>
                </a:lnTo>
                <a:lnTo>
                  <a:pt x="1820" y="795"/>
                </a:lnTo>
                <a:lnTo>
                  <a:pt x="1831" y="795"/>
                </a:lnTo>
                <a:lnTo>
                  <a:pt x="1836" y="812"/>
                </a:lnTo>
                <a:lnTo>
                  <a:pt x="1846" y="839"/>
                </a:lnTo>
                <a:lnTo>
                  <a:pt x="1851" y="853"/>
                </a:lnTo>
                <a:lnTo>
                  <a:pt x="1856" y="868"/>
                </a:lnTo>
                <a:lnTo>
                  <a:pt x="1859" y="879"/>
                </a:lnTo>
                <a:lnTo>
                  <a:pt x="1860" y="888"/>
                </a:lnTo>
                <a:lnTo>
                  <a:pt x="1873" y="888"/>
                </a:lnTo>
                <a:lnTo>
                  <a:pt x="1875" y="891"/>
                </a:lnTo>
                <a:lnTo>
                  <a:pt x="1878" y="893"/>
                </a:lnTo>
                <a:lnTo>
                  <a:pt x="1884" y="897"/>
                </a:lnTo>
                <a:lnTo>
                  <a:pt x="1888" y="899"/>
                </a:lnTo>
                <a:lnTo>
                  <a:pt x="1902" y="904"/>
                </a:lnTo>
                <a:lnTo>
                  <a:pt x="1917" y="909"/>
                </a:lnTo>
                <a:lnTo>
                  <a:pt x="1954" y="917"/>
                </a:lnTo>
                <a:lnTo>
                  <a:pt x="1994" y="923"/>
                </a:lnTo>
                <a:lnTo>
                  <a:pt x="2033" y="930"/>
                </a:lnTo>
                <a:lnTo>
                  <a:pt x="2067" y="937"/>
                </a:lnTo>
                <a:lnTo>
                  <a:pt x="2080" y="940"/>
                </a:lnTo>
                <a:lnTo>
                  <a:pt x="2090" y="944"/>
                </a:lnTo>
                <a:lnTo>
                  <a:pt x="2094" y="946"/>
                </a:lnTo>
                <a:lnTo>
                  <a:pt x="2097" y="947"/>
                </a:lnTo>
                <a:lnTo>
                  <a:pt x="2098" y="949"/>
                </a:lnTo>
                <a:lnTo>
                  <a:pt x="2099" y="951"/>
                </a:lnTo>
                <a:lnTo>
                  <a:pt x="2110" y="951"/>
                </a:lnTo>
                <a:lnTo>
                  <a:pt x="2113" y="957"/>
                </a:lnTo>
                <a:lnTo>
                  <a:pt x="2117" y="963"/>
                </a:lnTo>
                <a:lnTo>
                  <a:pt x="2123" y="967"/>
                </a:lnTo>
                <a:lnTo>
                  <a:pt x="2128" y="969"/>
                </a:lnTo>
                <a:lnTo>
                  <a:pt x="2134" y="975"/>
                </a:lnTo>
                <a:lnTo>
                  <a:pt x="2134" y="977"/>
                </a:lnTo>
                <a:lnTo>
                  <a:pt x="2135" y="979"/>
                </a:lnTo>
                <a:lnTo>
                  <a:pt x="2136" y="979"/>
                </a:lnTo>
                <a:lnTo>
                  <a:pt x="2137" y="979"/>
                </a:lnTo>
                <a:lnTo>
                  <a:pt x="2142" y="977"/>
                </a:lnTo>
                <a:lnTo>
                  <a:pt x="2146" y="974"/>
                </a:lnTo>
                <a:lnTo>
                  <a:pt x="2150" y="969"/>
                </a:lnTo>
                <a:lnTo>
                  <a:pt x="2156" y="965"/>
                </a:lnTo>
                <a:lnTo>
                  <a:pt x="2158" y="964"/>
                </a:lnTo>
                <a:lnTo>
                  <a:pt x="2159" y="963"/>
                </a:lnTo>
                <a:lnTo>
                  <a:pt x="2162" y="963"/>
                </a:lnTo>
                <a:lnTo>
                  <a:pt x="2163" y="963"/>
                </a:lnTo>
                <a:lnTo>
                  <a:pt x="2164" y="980"/>
                </a:lnTo>
                <a:lnTo>
                  <a:pt x="2165" y="998"/>
                </a:lnTo>
                <a:lnTo>
                  <a:pt x="2168" y="1015"/>
                </a:lnTo>
                <a:lnTo>
                  <a:pt x="2172" y="1032"/>
                </a:lnTo>
                <a:lnTo>
                  <a:pt x="2175" y="1047"/>
                </a:lnTo>
                <a:lnTo>
                  <a:pt x="2177" y="1063"/>
                </a:lnTo>
                <a:lnTo>
                  <a:pt x="2179" y="1077"/>
                </a:lnTo>
                <a:lnTo>
                  <a:pt x="2181" y="1091"/>
                </a:lnTo>
                <a:lnTo>
                  <a:pt x="2187" y="1100"/>
                </a:lnTo>
                <a:lnTo>
                  <a:pt x="2197" y="1114"/>
                </a:lnTo>
                <a:lnTo>
                  <a:pt x="2205" y="1129"/>
                </a:lnTo>
                <a:lnTo>
                  <a:pt x="2210" y="1138"/>
                </a:lnTo>
                <a:lnTo>
                  <a:pt x="2216" y="1144"/>
                </a:lnTo>
                <a:lnTo>
                  <a:pt x="2226" y="1156"/>
                </a:lnTo>
                <a:lnTo>
                  <a:pt x="2236" y="1168"/>
                </a:lnTo>
                <a:lnTo>
                  <a:pt x="2244" y="1178"/>
                </a:lnTo>
                <a:lnTo>
                  <a:pt x="2249" y="1179"/>
                </a:lnTo>
                <a:lnTo>
                  <a:pt x="2253" y="1181"/>
                </a:lnTo>
                <a:lnTo>
                  <a:pt x="2259" y="1183"/>
                </a:lnTo>
                <a:lnTo>
                  <a:pt x="2263" y="1187"/>
                </a:lnTo>
                <a:lnTo>
                  <a:pt x="2267" y="1191"/>
                </a:lnTo>
                <a:lnTo>
                  <a:pt x="2270" y="1195"/>
                </a:lnTo>
                <a:lnTo>
                  <a:pt x="2272" y="1198"/>
                </a:lnTo>
                <a:lnTo>
                  <a:pt x="2273" y="1201"/>
                </a:lnTo>
                <a:lnTo>
                  <a:pt x="2284" y="1201"/>
                </a:lnTo>
                <a:lnTo>
                  <a:pt x="2284" y="1204"/>
                </a:lnTo>
                <a:lnTo>
                  <a:pt x="2286" y="1205"/>
                </a:lnTo>
                <a:lnTo>
                  <a:pt x="2287" y="1206"/>
                </a:lnTo>
                <a:lnTo>
                  <a:pt x="2288" y="1206"/>
                </a:lnTo>
                <a:lnTo>
                  <a:pt x="2292" y="1207"/>
                </a:lnTo>
                <a:lnTo>
                  <a:pt x="2297" y="1207"/>
                </a:lnTo>
                <a:lnTo>
                  <a:pt x="2302" y="1218"/>
                </a:lnTo>
                <a:lnTo>
                  <a:pt x="2313" y="1218"/>
                </a:lnTo>
                <a:lnTo>
                  <a:pt x="2319" y="1230"/>
                </a:lnTo>
                <a:lnTo>
                  <a:pt x="2337" y="1230"/>
                </a:lnTo>
                <a:lnTo>
                  <a:pt x="2337" y="1233"/>
                </a:lnTo>
                <a:lnTo>
                  <a:pt x="2339" y="1234"/>
                </a:lnTo>
                <a:lnTo>
                  <a:pt x="2341" y="1235"/>
                </a:lnTo>
                <a:lnTo>
                  <a:pt x="2344" y="1235"/>
                </a:lnTo>
                <a:lnTo>
                  <a:pt x="2349" y="1236"/>
                </a:lnTo>
                <a:lnTo>
                  <a:pt x="2355" y="1236"/>
                </a:lnTo>
                <a:lnTo>
                  <a:pt x="2359" y="1244"/>
                </a:lnTo>
                <a:lnTo>
                  <a:pt x="2365" y="1249"/>
                </a:lnTo>
                <a:lnTo>
                  <a:pt x="2371" y="1256"/>
                </a:lnTo>
                <a:lnTo>
                  <a:pt x="2379" y="1260"/>
                </a:lnTo>
                <a:lnTo>
                  <a:pt x="2388" y="1265"/>
                </a:lnTo>
                <a:lnTo>
                  <a:pt x="2398" y="1269"/>
                </a:lnTo>
                <a:lnTo>
                  <a:pt x="2409" y="1272"/>
                </a:lnTo>
                <a:lnTo>
                  <a:pt x="2421" y="1275"/>
                </a:lnTo>
                <a:lnTo>
                  <a:pt x="2446" y="1278"/>
                </a:lnTo>
                <a:lnTo>
                  <a:pt x="2473" y="1281"/>
                </a:lnTo>
                <a:lnTo>
                  <a:pt x="2503" y="1282"/>
                </a:lnTo>
                <a:lnTo>
                  <a:pt x="2533" y="1281"/>
                </a:lnTo>
                <a:lnTo>
                  <a:pt x="2594" y="1277"/>
                </a:lnTo>
                <a:lnTo>
                  <a:pt x="2652" y="1272"/>
                </a:lnTo>
                <a:lnTo>
                  <a:pt x="2701" y="1267"/>
                </a:lnTo>
                <a:lnTo>
                  <a:pt x="2738" y="1265"/>
                </a:lnTo>
                <a:lnTo>
                  <a:pt x="2742" y="1252"/>
                </a:lnTo>
                <a:lnTo>
                  <a:pt x="2745" y="1238"/>
                </a:lnTo>
                <a:lnTo>
                  <a:pt x="2749" y="1224"/>
                </a:lnTo>
                <a:lnTo>
                  <a:pt x="2750" y="1207"/>
                </a:lnTo>
                <a:lnTo>
                  <a:pt x="2744" y="1200"/>
                </a:lnTo>
                <a:lnTo>
                  <a:pt x="2739" y="1189"/>
                </a:lnTo>
                <a:lnTo>
                  <a:pt x="2733" y="1176"/>
                </a:lnTo>
                <a:lnTo>
                  <a:pt x="2726" y="1162"/>
                </a:lnTo>
                <a:lnTo>
                  <a:pt x="2720" y="1148"/>
                </a:lnTo>
                <a:lnTo>
                  <a:pt x="2713" y="1137"/>
                </a:lnTo>
                <a:lnTo>
                  <a:pt x="2711" y="1132"/>
                </a:lnTo>
                <a:lnTo>
                  <a:pt x="2708" y="1129"/>
                </a:lnTo>
                <a:lnTo>
                  <a:pt x="2705" y="1127"/>
                </a:lnTo>
                <a:lnTo>
                  <a:pt x="2703" y="1125"/>
                </a:lnTo>
                <a:lnTo>
                  <a:pt x="2703" y="1121"/>
                </a:lnTo>
                <a:lnTo>
                  <a:pt x="2702" y="1114"/>
                </a:lnTo>
                <a:lnTo>
                  <a:pt x="2700" y="1112"/>
                </a:lnTo>
                <a:lnTo>
                  <a:pt x="2699" y="1110"/>
                </a:lnTo>
                <a:lnTo>
                  <a:pt x="2695" y="1109"/>
                </a:lnTo>
                <a:lnTo>
                  <a:pt x="2692" y="1109"/>
                </a:lnTo>
                <a:lnTo>
                  <a:pt x="2685" y="1091"/>
                </a:lnTo>
                <a:lnTo>
                  <a:pt x="2680" y="1086"/>
                </a:lnTo>
                <a:lnTo>
                  <a:pt x="2667" y="1076"/>
                </a:lnTo>
                <a:lnTo>
                  <a:pt x="2654" y="1066"/>
                </a:lnTo>
                <a:lnTo>
                  <a:pt x="2645" y="1062"/>
                </a:lnTo>
                <a:lnTo>
                  <a:pt x="2639" y="1051"/>
                </a:lnTo>
                <a:lnTo>
                  <a:pt x="2633" y="1038"/>
                </a:lnTo>
                <a:lnTo>
                  <a:pt x="2632" y="1037"/>
                </a:lnTo>
                <a:lnTo>
                  <a:pt x="2629" y="1036"/>
                </a:lnTo>
                <a:lnTo>
                  <a:pt x="2627" y="1033"/>
                </a:lnTo>
                <a:lnTo>
                  <a:pt x="2625" y="1029"/>
                </a:lnTo>
                <a:lnTo>
                  <a:pt x="2623" y="1022"/>
                </a:lnTo>
                <a:lnTo>
                  <a:pt x="2622" y="1015"/>
                </a:lnTo>
                <a:lnTo>
                  <a:pt x="2616" y="1009"/>
                </a:lnTo>
                <a:lnTo>
                  <a:pt x="2613" y="1009"/>
                </a:lnTo>
                <a:lnTo>
                  <a:pt x="2610" y="1008"/>
                </a:lnTo>
                <a:lnTo>
                  <a:pt x="2610" y="1007"/>
                </a:lnTo>
                <a:lnTo>
                  <a:pt x="2610" y="1007"/>
                </a:lnTo>
                <a:lnTo>
                  <a:pt x="2610" y="1006"/>
                </a:lnTo>
                <a:lnTo>
                  <a:pt x="2609" y="1005"/>
                </a:lnTo>
                <a:lnTo>
                  <a:pt x="2607" y="1004"/>
                </a:lnTo>
                <a:lnTo>
                  <a:pt x="2604" y="1004"/>
                </a:lnTo>
                <a:lnTo>
                  <a:pt x="2604" y="999"/>
                </a:lnTo>
                <a:lnTo>
                  <a:pt x="2603" y="997"/>
                </a:lnTo>
                <a:lnTo>
                  <a:pt x="2600" y="995"/>
                </a:lnTo>
                <a:lnTo>
                  <a:pt x="2598" y="993"/>
                </a:lnTo>
                <a:lnTo>
                  <a:pt x="2595" y="989"/>
                </a:lnTo>
                <a:lnTo>
                  <a:pt x="2593" y="986"/>
                </a:lnTo>
                <a:lnTo>
                  <a:pt x="2581" y="986"/>
                </a:lnTo>
                <a:lnTo>
                  <a:pt x="2572" y="977"/>
                </a:lnTo>
                <a:lnTo>
                  <a:pt x="2563" y="969"/>
                </a:lnTo>
                <a:lnTo>
                  <a:pt x="2552" y="968"/>
                </a:lnTo>
                <a:lnTo>
                  <a:pt x="2542" y="967"/>
                </a:lnTo>
                <a:lnTo>
                  <a:pt x="2533" y="965"/>
                </a:lnTo>
                <a:lnTo>
                  <a:pt x="2523" y="961"/>
                </a:lnTo>
                <a:lnTo>
                  <a:pt x="2507" y="954"/>
                </a:lnTo>
                <a:lnTo>
                  <a:pt x="2490" y="944"/>
                </a:lnTo>
                <a:lnTo>
                  <a:pt x="2474" y="932"/>
                </a:lnTo>
                <a:lnTo>
                  <a:pt x="2460" y="922"/>
                </a:lnTo>
                <a:lnTo>
                  <a:pt x="2445" y="912"/>
                </a:lnTo>
                <a:lnTo>
                  <a:pt x="2430" y="904"/>
                </a:lnTo>
                <a:lnTo>
                  <a:pt x="2422" y="893"/>
                </a:lnTo>
                <a:lnTo>
                  <a:pt x="2403" y="868"/>
                </a:lnTo>
                <a:lnTo>
                  <a:pt x="2393" y="853"/>
                </a:lnTo>
                <a:lnTo>
                  <a:pt x="2384" y="841"/>
                </a:lnTo>
                <a:lnTo>
                  <a:pt x="2376" y="833"/>
                </a:lnTo>
                <a:lnTo>
                  <a:pt x="2371" y="830"/>
                </a:lnTo>
                <a:lnTo>
                  <a:pt x="2370" y="824"/>
                </a:lnTo>
                <a:lnTo>
                  <a:pt x="2365" y="819"/>
                </a:lnTo>
                <a:lnTo>
                  <a:pt x="2359" y="814"/>
                </a:lnTo>
                <a:lnTo>
                  <a:pt x="2355" y="812"/>
                </a:lnTo>
                <a:lnTo>
                  <a:pt x="2351" y="798"/>
                </a:lnTo>
                <a:lnTo>
                  <a:pt x="2348" y="788"/>
                </a:lnTo>
                <a:lnTo>
                  <a:pt x="2341" y="787"/>
                </a:lnTo>
                <a:lnTo>
                  <a:pt x="2331" y="783"/>
                </a:lnTo>
                <a:lnTo>
                  <a:pt x="2320" y="777"/>
                </a:lnTo>
                <a:lnTo>
                  <a:pt x="2308" y="772"/>
                </a:lnTo>
                <a:lnTo>
                  <a:pt x="2294" y="765"/>
                </a:lnTo>
                <a:lnTo>
                  <a:pt x="2280" y="759"/>
                </a:lnTo>
                <a:lnTo>
                  <a:pt x="2272" y="757"/>
                </a:lnTo>
                <a:lnTo>
                  <a:pt x="2265" y="755"/>
                </a:lnTo>
                <a:lnTo>
                  <a:pt x="2258" y="754"/>
                </a:lnTo>
                <a:lnTo>
                  <a:pt x="2250" y="754"/>
                </a:lnTo>
                <a:lnTo>
                  <a:pt x="2248" y="752"/>
                </a:lnTo>
                <a:lnTo>
                  <a:pt x="2242" y="748"/>
                </a:lnTo>
                <a:lnTo>
                  <a:pt x="2235" y="744"/>
                </a:lnTo>
                <a:lnTo>
                  <a:pt x="2226" y="740"/>
                </a:lnTo>
                <a:lnTo>
                  <a:pt x="2211" y="734"/>
                </a:lnTo>
                <a:lnTo>
                  <a:pt x="2203" y="730"/>
                </a:lnTo>
                <a:lnTo>
                  <a:pt x="2197" y="730"/>
                </a:lnTo>
                <a:lnTo>
                  <a:pt x="2192" y="729"/>
                </a:lnTo>
                <a:lnTo>
                  <a:pt x="2186" y="728"/>
                </a:lnTo>
                <a:lnTo>
                  <a:pt x="2181" y="726"/>
                </a:lnTo>
                <a:lnTo>
                  <a:pt x="2172" y="721"/>
                </a:lnTo>
                <a:lnTo>
                  <a:pt x="2163" y="714"/>
                </a:lnTo>
                <a:lnTo>
                  <a:pt x="2154" y="713"/>
                </a:lnTo>
                <a:lnTo>
                  <a:pt x="2145" y="710"/>
                </a:lnTo>
                <a:lnTo>
                  <a:pt x="2137" y="708"/>
                </a:lnTo>
                <a:lnTo>
                  <a:pt x="2128" y="707"/>
                </a:lnTo>
                <a:lnTo>
                  <a:pt x="2126" y="705"/>
                </a:lnTo>
                <a:lnTo>
                  <a:pt x="2123" y="702"/>
                </a:lnTo>
                <a:lnTo>
                  <a:pt x="2117" y="699"/>
                </a:lnTo>
                <a:lnTo>
                  <a:pt x="2110" y="697"/>
                </a:lnTo>
                <a:lnTo>
                  <a:pt x="2098" y="692"/>
                </a:lnTo>
                <a:lnTo>
                  <a:pt x="2092" y="690"/>
                </a:lnTo>
                <a:lnTo>
                  <a:pt x="2082" y="682"/>
                </a:lnTo>
                <a:lnTo>
                  <a:pt x="2070" y="670"/>
                </a:lnTo>
                <a:lnTo>
                  <a:pt x="2063" y="665"/>
                </a:lnTo>
                <a:lnTo>
                  <a:pt x="2057" y="660"/>
                </a:lnTo>
                <a:lnTo>
                  <a:pt x="2051" y="657"/>
                </a:lnTo>
                <a:lnTo>
                  <a:pt x="2047" y="656"/>
                </a:lnTo>
                <a:lnTo>
                  <a:pt x="2046" y="652"/>
                </a:lnTo>
                <a:lnTo>
                  <a:pt x="2043" y="649"/>
                </a:lnTo>
                <a:lnTo>
                  <a:pt x="2039" y="646"/>
                </a:lnTo>
                <a:lnTo>
                  <a:pt x="2033" y="641"/>
                </a:lnTo>
                <a:lnTo>
                  <a:pt x="2021" y="631"/>
                </a:lnTo>
                <a:lnTo>
                  <a:pt x="2005" y="620"/>
                </a:lnTo>
                <a:lnTo>
                  <a:pt x="1990" y="610"/>
                </a:lnTo>
                <a:lnTo>
                  <a:pt x="1975" y="600"/>
                </a:lnTo>
                <a:lnTo>
                  <a:pt x="1965" y="591"/>
                </a:lnTo>
                <a:lnTo>
                  <a:pt x="1960" y="585"/>
                </a:lnTo>
                <a:lnTo>
                  <a:pt x="1954" y="584"/>
                </a:lnTo>
                <a:lnTo>
                  <a:pt x="1948" y="582"/>
                </a:lnTo>
                <a:lnTo>
                  <a:pt x="1946" y="580"/>
                </a:lnTo>
                <a:lnTo>
                  <a:pt x="1944" y="579"/>
                </a:lnTo>
                <a:lnTo>
                  <a:pt x="1943" y="576"/>
                </a:lnTo>
                <a:lnTo>
                  <a:pt x="1942" y="574"/>
                </a:lnTo>
                <a:lnTo>
                  <a:pt x="1855" y="527"/>
                </a:lnTo>
                <a:lnTo>
                  <a:pt x="1850" y="527"/>
                </a:lnTo>
                <a:lnTo>
                  <a:pt x="1847" y="526"/>
                </a:lnTo>
                <a:lnTo>
                  <a:pt x="1846" y="526"/>
                </a:lnTo>
                <a:lnTo>
                  <a:pt x="1845" y="525"/>
                </a:lnTo>
                <a:lnTo>
                  <a:pt x="1843" y="524"/>
                </a:lnTo>
                <a:lnTo>
                  <a:pt x="1843" y="522"/>
                </a:lnTo>
                <a:lnTo>
                  <a:pt x="1824" y="519"/>
                </a:lnTo>
                <a:lnTo>
                  <a:pt x="1806" y="516"/>
                </a:lnTo>
                <a:lnTo>
                  <a:pt x="1785" y="512"/>
                </a:lnTo>
                <a:lnTo>
                  <a:pt x="1768" y="510"/>
                </a:lnTo>
                <a:lnTo>
                  <a:pt x="1768" y="507"/>
                </a:lnTo>
                <a:lnTo>
                  <a:pt x="1766" y="505"/>
                </a:lnTo>
                <a:lnTo>
                  <a:pt x="1765" y="504"/>
                </a:lnTo>
                <a:lnTo>
                  <a:pt x="1764" y="504"/>
                </a:lnTo>
                <a:lnTo>
                  <a:pt x="1763" y="504"/>
                </a:lnTo>
                <a:lnTo>
                  <a:pt x="1763" y="504"/>
                </a:lnTo>
                <a:lnTo>
                  <a:pt x="1762" y="502"/>
                </a:lnTo>
                <a:lnTo>
                  <a:pt x="1762" y="498"/>
                </a:lnTo>
                <a:lnTo>
                  <a:pt x="1756" y="496"/>
                </a:lnTo>
                <a:lnTo>
                  <a:pt x="1750" y="492"/>
                </a:lnTo>
                <a:lnTo>
                  <a:pt x="1744" y="486"/>
                </a:lnTo>
                <a:lnTo>
                  <a:pt x="1739" y="481"/>
                </a:lnTo>
                <a:lnTo>
                  <a:pt x="1739" y="469"/>
                </a:lnTo>
                <a:lnTo>
                  <a:pt x="1736" y="469"/>
                </a:lnTo>
                <a:lnTo>
                  <a:pt x="1735" y="467"/>
                </a:lnTo>
                <a:lnTo>
                  <a:pt x="1734" y="466"/>
                </a:lnTo>
                <a:lnTo>
                  <a:pt x="1733" y="463"/>
                </a:lnTo>
                <a:lnTo>
                  <a:pt x="1733" y="457"/>
                </a:lnTo>
                <a:lnTo>
                  <a:pt x="1733" y="451"/>
                </a:lnTo>
                <a:lnTo>
                  <a:pt x="1721" y="446"/>
                </a:lnTo>
                <a:lnTo>
                  <a:pt x="1721" y="436"/>
                </a:lnTo>
                <a:lnTo>
                  <a:pt x="1718" y="422"/>
                </a:lnTo>
                <a:lnTo>
                  <a:pt x="1716" y="408"/>
                </a:lnTo>
                <a:lnTo>
                  <a:pt x="1715" y="393"/>
                </a:lnTo>
                <a:lnTo>
                  <a:pt x="1704" y="388"/>
                </a:lnTo>
                <a:lnTo>
                  <a:pt x="1703" y="375"/>
                </a:lnTo>
                <a:lnTo>
                  <a:pt x="1702" y="362"/>
                </a:lnTo>
                <a:lnTo>
                  <a:pt x="1698" y="349"/>
                </a:lnTo>
                <a:lnTo>
                  <a:pt x="1695" y="336"/>
                </a:lnTo>
                <a:lnTo>
                  <a:pt x="1689" y="324"/>
                </a:lnTo>
                <a:lnTo>
                  <a:pt x="1685" y="312"/>
                </a:lnTo>
                <a:lnTo>
                  <a:pt x="1678" y="300"/>
                </a:lnTo>
                <a:lnTo>
                  <a:pt x="1672" y="287"/>
                </a:lnTo>
                <a:lnTo>
                  <a:pt x="1664" y="276"/>
                </a:lnTo>
                <a:lnTo>
                  <a:pt x="1655" y="266"/>
                </a:lnTo>
                <a:lnTo>
                  <a:pt x="1647" y="256"/>
                </a:lnTo>
                <a:lnTo>
                  <a:pt x="1638" y="246"/>
                </a:lnTo>
                <a:lnTo>
                  <a:pt x="1628" y="237"/>
                </a:lnTo>
                <a:lnTo>
                  <a:pt x="1619" y="228"/>
                </a:lnTo>
                <a:lnTo>
                  <a:pt x="1609" y="220"/>
                </a:lnTo>
                <a:lnTo>
                  <a:pt x="1599" y="214"/>
                </a:lnTo>
                <a:lnTo>
                  <a:pt x="1597" y="205"/>
                </a:lnTo>
                <a:lnTo>
                  <a:pt x="1593" y="196"/>
                </a:lnTo>
                <a:lnTo>
                  <a:pt x="1588" y="190"/>
                </a:lnTo>
                <a:lnTo>
                  <a:pt x="1582" y="189"/>
                </a:lnTo>
                <a:lnTo>
                  <a:pt x="1577" y="187"/>
                </a:lnTo>
                <a:lnTo>
                  <a:pt x="1574" y="185"/>
                </a:lnTo>
                <a:lnTo>
                  <a:pt x="1572" y="183"/>
                </a:lnTo>
                <a:lnTo>
                  <a:pt x="1571" y="181"/>
                </a:lnTo>
                <a:lnTo>
                  <a:pt x="1570" y="179"/>
                </a:lnTo>
                <a:lnTo>
                  <a:pt x="1559" y="173"/>
                </a:lnTo>
                <a:lnTo>
                  <a:pt x="1547" y="170"/>
                </a:lnTo>
                <a:lnTo>
                  <a:pt x="1535" y="167"/>
                </a:lnTo>
                <a:lnTo>
                  <a:pt x="1532" y="163"/>
                </a:lnTo>
                <a:lnTo>
                  <a:pt x="1522" y="154"/>
                </a:lnTo>
                <a:lnTo>
                  <a:pt x="1510" y="144"/>
                </a:lnTo>
                <a:lnTo>
                  <a:pt x="1494" y="133"/>
                </a:lnTo>
                <a:lnTo>
                  <a:pt x="1464" y="112"/>
                </a:lnTo>
                <a:lnTo>
                  <a:pt x="1448" y="103"/>
                </a:lnTo>
                <a:lnTo>
                  <a:pt x="1438" y="88"/>
                </a:lnTo>
                <a:lnTo>
                  <a:pt x="1429" y="69"/>
                </a:lnTo>
                <a:lnTo>
                  <a:pt x="1425" y="58"/>
                </a:lnTo>
                <a:lnTo>
                  <a:pt x="1422" y="50"/>
                </a:lnTo>
                <a:lnTo>
                  <a:pt x="1419" y="41"/>
                </a:lnTo>
                <a:lnTo>
                  <a:pt x="1419" y="34"/>
                </a:lnTo>
                <a:lnTo>
                  <a:pt x="1407" y="28"/>
                </a:lnTo>
                <a:lnTo>
                  <a:pt x="1407" y="21"/>
                </a:lnTo>
                <a:lnTo>
                  <a:pt x="1404" y="14"/>
                </a:lnTo>
                <a:lnTo>
                  <a:pt x="1400" y="7"/>
                </a:lnTo>
                <a:lnTo>
                  <a:pt x="1395" y="0"/>
                </a:lnTo>
                <a:lnTo>
                  <a:pt x="1395" y="7"/>
                </a:lnTo>
                <a:lnTo>
                  <a:pt x="1377" y="9"/>
                </a:lnTo>
                <a:lnTo>
                  <a:pt x="1343" y="14"/>
                </a:lnTo>
                <a:lnTo>
                  <a:pt x="1323" y="18"/>
                </a:lnTo>
                <a:lnTo>
                  <a:pt x="1301" y="23"/>
                </a:lnTo>
                <a:lnTo>
                  <a:pt x="1280" y="27"/>
                </a:lnTo>
                <a:lnTo>
                  <a:pt x="1259" y="33"/>
                </a:lnTo>
                <a:lnTo>
                  <a:pt x="1228" y="43"/>
                </a:lnTo>
                <a:lnTo>
                  <a:pt x="1204" y="54"/>
                </a:lnTo>
                <a:lnTo>
                  <a:pt x="1194" y="58"/>
                </a:lnTo>
                <a:lnTo>
                  <a:pt x="1183" y="63"/>
                </a:lnTo>
                <a:lnTo>
                  <a:pt x="1173" y="66"/>
                </a:lnTo>
                <a:lnTo>
                  <a:pt x="1164" y="69"/>
                </a:lnTo>
                <a:lnTo>
                  <a:pt x="1130" y="73"/>
                </a:lnTo>
                <a:lnTo>
                  <a:pt x="1094" y="81"/>
                </a:lnTo>
                <a:lnTo>
                  <a:pt x="1058" y="90"/>
                </a:lnTo>
                <a:lnTo>
                  <a:pt x="1019" y="99"/>
                </a:lnTo>
                <a:lnTo>
                  <a:pt x="979" y="110"/>
                </a:lnTo>
                <a:lnTo>
                  <a:pt x="940" y="121"/>
                </a:lnTo>
                <a:lnTo>
                  <a:pt x="901" y="132"/>
                </a:lnTo>
                <a:lnTo>
                  <a:pt x="864" y="142"/>
                </a:lnTo>
                <a:lnTo>
                  <a:pt x="822" y="154"/>
                </a:lnTo>
                <a:lnTo>
                  <a:pt x="780" y="168"/>
                </a:lnTo>
                <a:lnTo>
                  <a:pt x="739" y="181"/>
                </a:lnTo>
                <a:lnTo>
                  <a:pt x="699" y="195"/>
                </a:lnTo>
                <a:lnTo>
                  <a:pt x="626" y="223"/>
                </a:lnTo>
                <a:lnTo>
                  <a:pt x="560" y="250"/>
                </a:lnTo>
                <a:lnTo>
                  <a:pt x="504" y="275"/>
                </a:lnTo>
                <a:lnTo>
                  <a:pt x="460" y="296"/>
                </a:lnTo>
                <a:lnTo>
                  <a:pt x="430" y="312"/>
                </a:lnTo>
                <a:lnTo>
                  <a:pt x="416" y="322"/>
                </a:lnTo>
                <a:lnTo>
                  <a:pt x="398" y="322"/>
                </a:lnTo>
                <a:lnTo>
                  <a:pt x="397" y="325"/>
                </a:lnTo>
                <a:lnTo>
                  <a:pt x="395" y="329"/>
                </a:lnTo>
                <a:lnTo>
                  <a:pt x="391" y="332"/>
                </a:lnTo>
                <a:lnTo>
                  <a:pt x="387" y="334"/>
                </a:lnTo>
                <a:lnTo>
                  <a:pt x="378" y="339"/>
                </a:lnTo>
                <a:lnTo>
                  <a:pt x="370" y="340"/>
                </a:lnTo>
                <a:lnTo>
                  <a:pt x="365" y="354"/>
                </a:lnTo>
                <a:lnTo>
                  <a:pt x="361" y="368"/>
                </a:lnTo>
                <a:lnTo>
                  <a:pt x="342" y="368"/>
                </a:lnTo>
                <a:lnTo>
                  <a:pt x="342" y="377"/>
                </a:lnTo>
                <a:lnTo>
                  <a:pt x="341" y="385"/>
                </a:lnTo>
                <a:lnTo>
                  <a:pt x="340" y="389"/>
                </a:lnTo>
                <a:lnTo>
                  <a:pt x="339" y="392"/>
                </a:lnTo>
                <a:lnTo>
                  <a:pt x="336" y="394"/>
                </a:lnTo>
                <a:lnTo>
                  <a:pt x="333" y="396"/>
                </a:lnTo>
                <a:lnTo>
                  <a:pt x="332" y="399"/>
                </a:lnTo>
                <a:lnTo>
                  <a:pt x="331" y="401"/>
                </a:lnTo>
                <a:lnTo>
                  <a:pt x="330" y="404"/>
                </a:lnTo>
                <a:lnTo>
                  <a:pt x="328" y="407"/>
                </a:lnTo>
                <a:lnTo>
                  <a:pt x="321" y="410"/>
                </a:lnTo>
                <a:lnTo>
                  <a:pt x="314" y="413"/>
                </a:lnTo>
                <a:lnTo>
                  <a:pt x="306" y="418"/>
                </a:lnTo>
                <a:lnTo>
                  <a:pt x="300" y="422"/>
                </a:lnTo>
                <a:lnTo>
                  <a:pt x="296" y="425"/>
                </a:lnTo>
                <a:lnTo>
                  <a:pt x="294" y="427"/>
                </a:lnTo>
                <a:lnTo>
                  <a:pt x="292" y="430"/>
                </a:lnTo>
                <a:lnTo>
                  <a:pt x="291" y="433"/>
                </a:lnTo>
                <a:lnTo>
                  <a:pt x="288" y="440"/>
                </a:lnTo>
                <a:lnTo>
                  <a:pt x="287" y="447"/>
                </a:lnTo>
                <a:lnTo>
                  <a:pt x="287" y="454"/>
                </a:lnTo>
                <a:lnTo>
                  <a:pt x="287" y="460"/>
                </a:lnTo>
                <a:lnTo>
                  <a:pt x="290" y="474"/>
                </a:lnTo>
                <a:lnTo>
                  <a:pt x="292" y="487"/>
                </a:lnTo>
                <a:lnTo>
                  <a:pt x="294" y="500"/>
                </a:lnTo>
                <a:lnTo>
                  <a:pt x="296" y="514"/>
                </a:lnTo>
                <a:lnTo>
                  <a:pt x="296" y="526"/>
                </a:lnTo>
                <a:lnTo>
                  <a:pt x="295" y="538"/>
                </a:lnTo>
                <a:lnTo>
                  <a:pt x="293" y="544"/>
                </a:lnTo>
                <a:lnTo>
                  <a:pt x="290" y="550"/>
                </a:lnTo>
                <a:lnTo>
                  <a:pt x="287" y="555"/>
                </a:lnTo>
                <a:lnTo>
                  <a:pt x="283" y="560"/>
                </a:lnTo>
                <a:lnTo>
                  <a:pt x="274" y="569"/>
                </a:lnTo>
                <a:lnTo>
                  <a:pt x="264" y="577"/>
                </a:lnTo>
                <a:lnTo>
                  <a:pt x="243" y="594"/>
                </a:lnTo>
                <a:lnTo>
                  <a:pt x="223" y="610"/>
                </a:lnTo>
                <a:lnTo>
                  <a:pt x="207" y="625"/>
                </a:lnTo>
                <a:lnTo>
                  <a:pt x="190" y="640"/>
                </a:lnTo>
                <a:lnTo>
                  <a:pt x="185" y="643"/>
                </a:lnTo>
                <a:lnTo>
                  <a:pt x="178" y="646"/>
                </a:lnTo>
                <a:lnTo>
                  <a:pt x="171" y="648"/>
                </a:lnTo>
                <a:lnTo>
                  <a:pt x="165" y="650"/>
                </a:lnTo>
                <a:lnTo>
                  <a:pt x="157" y="651"/>
                </a:lnTo>
                <a:lnTo>
                  <a:pt x="148" y="651"/>
                </a:lnTo>
                <a:lnTo>
                  <a:pt x="138" y="650"/>
                </a:lnTo>
                <a:lnTo>
                  <a:pt x="127" y="648"/>
                </a:lnTo>
                <a:lnTo>
                  <a:pt x="115" y="646"/>
                </a:lnTo>
                <a:lnTo>
                  <a:pt x="105" y="642"/>
                </a:lnTo>
                <a:lnTo>
                  <a:pt x="95" y="638"/>
                </a:lnTo>
                <a:lnTo>
                  <a:pt x="85" y="633"/>
                </a:lnTo>
                <a:lnTo>
                  <a:pt x="69" y="623"/>
                </a:lnTo>
                <a:lnTo>
                  <a:pt x="55" y="613"/>
                </a:lnTo>
                <a:lnTo>
                  <a:pt x="48" y="610"/>
                </a:lnTo>
                <a:lnTo>
                  <a:pt x="43" y="606"/>
                </a:lnTo>
                <a:lnTo>
                  <a:pt x="38" y="604"/>
                </a:lnTo>
                <a:lnTo>
                  <a:pt x="35" y="604"/>
                </a:lnTo>
                <a:lnTo>
                  <a:pt x="32" y="604"/>
                </a:lnTo>
                <a:lnTo>
                  <a:pt x="29" y="606"/>
                </a:lnTo>
                <a:lnTo>
                  <a:pt x="28" y="611"/>
                </a:lnTo>
                <a:lnTo>
                  <a:pt x="28" y="618"/>
                </a:lnTo>
                <a:lnTo>
                  <a:pt x="14" y="622"/>
                </a:lnTo>
                <a:lnTo>
                  <a:pt x="0" y="627"/>
                </a:lnTo>
                <a:lnTo>
                  <a:pt x="0" y="638"/>
                </a:lnTo>
                <a:lnTo>
                  <a:pt x="2" y="653"/>
                </a:lnTo>
                <a:lnTo>
                  <a:pt x="3" y="660"/>
                </a:lnTo>
                <a:lnTo>
                  <a:pt x="4" y="667"/>
                </a:lnTo>
                <a:lnTo>
                  <a:pt x="5" y="669"/>
                </a:lnTo>
                <a:lnTo>
                  <a:pt x="6" y="671"/>
                </a:lnTo>
                <a:lnTo>
                  <a:pt x="8" y="672"/>
                </a:lnTo>
                <a:lnTo>
                  <a:pt x="9" y="672"/>
                </a:lnTo>
                <a:lnTo>
                  <a:pt x="9" y="681"/>
                </a:lnTo>
                <a:lnTo>
                  <a:pt x="8" y="692"/>
                </a:lnTo>
                <a:lnTo>
                  <a:pt x="6" y="705"/>
                </a:lnTo>
                <a:lnTo>
                  <a:pt x="4" y="717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92" name="Freeform 53">
            <a:extLst>
              <a:ext uri="{FF2B5EF4-FFF2-40B4-BE49-F238E27FC236}">
                <a16:creationId xmlns:a16="http://schemas.microsoft.com/office/drawing/2014/main" id="{B74D5CB6-DDEC-42A9-84F3-E03C1BFAF0E6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031163" y="2732088"/>
            <a:ext cx="411680" cy="241300"/>
          </a:xfrm>
          <a:custGeom>
            <a:avLst/>
            <a:gdLst/>
            <a:ahLst/>
            <a:cxnLst>
              <a:cxn ang="0">
                <a:pos x="102" y="349"/>
              </a:cxn>
              <a:cxn ang="0">
                <a:pos x="221" y="337"/>
              </a:cxn>
              <a:cxn ang="0">
                <a:pos x="328" y="299"/>
              </a:cxn>
              <a:cxn ang="0">
                <a:pos x="430" y="241"/>
              </a:cxn>
              <a:cxn ang="0">
                <a:pos x="624" y="233"/>
              </a:cxn>
              <a:cxn ang="0">
                <a:pos x="778" y="185"/>
              </a:cxn>
              <a:cxn ang="0">
                <a:pos x="926" y="90"/>
              </a:cxn>
              <a:cxn ang="0">
                <a:pos x="1167" y="6"/>
              </a:cxn>
              <a:cxn ang="0">
                <a:pos x="1276" y="15"/>
              </a:cxn>
              <a:cxn ang="0">
                <a:pos x="1479" y="58"/>
              </a:cxn>
              <a:cxn ang="0">
                <a:pos x="1636" y="91"/>
              </a:cxn>
              <a:cxn ang="0">
                <a:pos x="1722" y="71"/>
              </a:cxn>
              <a:cxn ang="0">
                <a:pos x="1807" y="137"/>
              </a:cxn>
              <a:cxn ang="0">
                <a:pos x="1898" y="233"/>
              </a:cxn>
              <a:cxn ang="0">
                <a:pos x="2089" y="314"/>
              </a:cxn>
              <a:cxn ang="0">
                <a:pos x="2224" y="425"/>
              </a:cxn>
              <a:cxn ang="0">
                <a:pos x="2216" y="479"/>
              </a:cxn>
              <a:cxn ang="0">
                <a:pos x="2116" y="535"/>
              </a:cxn>
              <a:cxn ang="0">
                <a:pos x="1998" y="585"/>
              </a:cxn>
              <a:cxn ang="0">
                <a:pos x="1917" y="633"/>
              </a:cxn>
              <a:cxn ang="0">
                <a:pos x="1845" y="738"/>
              </a:cxn>
              <a:cxn ang="0">
                <a:pos x="1730" y="772"/>
              </a:cxn>
              <a:cxn ang="0">
                <a:pos x="1634" y="870"/>
              </a:cxn>
              <a:cxn ang="0">
                <a:pos x="1629" y="1033"/>
              </a:cxn>
              <a:cxn ang="0">
                <a:pos x="1561" y="1107"/>
              </a:cxn>
              <a:cxn ang="0">
                <a:pos x="1441" y="1121"/>
              </a:cxn>
              <a:cxn ang="0">
                <a:pos x="1384" y="1165"/>
              </a:cxn>
              <a:cxn ang="0">
                <a:pos x="1302" y="1223"/>
              </a:cxn>
              <a:cxn ang="0">
                <a:pos x="1279" y="1255"/>
              </a:cxn>
              <a:cxn ang="0">
                <a:pos x="1254" y="1284"/>
              </a:cxn>
              <a:cxn ang="0">
                <a:pos x="1227" y="1303"/>
              </a:cxn>
              <a:cxn ang="0">
                <a:pos x="1204" y="1340"/>
              </a:cxn>
              <a:cxn ang="0">
                <a:pos x="1181" y="1449"/>
              </a:cxn>
              <a:cxn ang="0">
                <a:pos x="1115" y="1492"/>
              </a:cxn>
              <a:cxn ang="0">
                <a:pos x="1073" y="1455"/>
              </a:cxn>
              <a:cxn ang="0">
                <a:pos x="1061" y="1439"/>
              </a:cxn>
              <a:cxn ang="0">
                <a:pos x="1032" y="1436"/>
              </a:cxn>
              <a:cxn ang="0">
                <a:pos x="993" y="1418"/>
              </a:cxn>
              <a:cxn ang="0">
                <a:pos x="957" y="1396"/>
              </a:cxn>
              <a:cxn ang="0">
                <a:pos x="935" y="1387"/>
              </a:cxn>
              <a:cxn ang="0">
                <a:pos x="871" y="1362"/>
              </a:cxn>
              <a:cxn ang="0">
                <a:pos x="824" y="1343"/>
              </a:cxn>
              <a:cxn ang="0">
                <a:pos x="787" y="1328"/>
              </a:cxn>
              <a:cxn ang="0">
                <a:pos x="765" y="1296"/>
              </a:cxn>
              <a:cxn ang="0">
                <a:pos x="755" y="1277"/>
              </a:cxn>
              <a:cxn ang="0">
                <a:pos x="738" y="1223"/>
              </a:cxn>
              <a:cxn ang="0">
                <a:pos x="696" y="1170"/>
              </a:cxn>
              <a:cxn ang="0">
                <a:pos x="651" y="1198"/>
              </a:cxn>
              <a:cxn ang="0">
                <a:pos x="487" y="1156"/>
              </a:cxn>
              <a:cxn ang="0">
                <a:pos x="424" y="1100"/>
              </a:cxn>
              <a:cxn ang="0">
                <a:pos x="401" y="1087"/>
              </a:cxn>
              <a:cxn ang="0">
                <a:pos x="332" y="1027"/>
              </a:cxn>
              <a:cxn ang="0">
                <a:pos x="303" y="989"/>
              </a:cxn>
              <a:cxn ang="0">
                <a:pos x="244" y="917"/>
              </a:cxn>
              <a:cxn ang="0">
                <a:pos x="235" y="906"/>
              </a:cxn>
              <a:cxn ang="0">
                <a:pos x="199" y="880"/>
              </a:cxn>
              <a:cxn ang="0">
                <a:pos x="152" y="827"/>
              </a:cxn>
              <a:cxn ang="0">
                <a:pos x="131" y="699"/>
              </a:cxn>
              <a:cxn ang="0">
                <a:pos x="107" y="611"/>
              </a:cxn>
              <a:cxn ang="0">
                <a:pos x="60" y="564"/>
              </a:cxn>
              <a:cxn ang="0">
                <a:pos x="39" y="477"/>
              </a:cxn>
              <a:cxn ang="0">
                <a:pos x="30" y="440"/>
              </a:cxn>
              <a:cxn ang="0">
                <a:pos x="21" y="430"/>
              </a:cxn>
            </a:cxnLst>
            <a:rect l="0" t="0" r="r" b="b"/>
            <a:pathLst>
              <a:path w="2248" h="1495">
                <a:moveTo>
                  <a:pt x="0" y="416"/>
                </a:moveTo>
                <a:lnTo>
                  <a:pt x="16" y="401"/>
                </a:lnTo>
                <a:lnTo>
                  <a:pt x="31" y="387"/>
                </a:lnTo>
                <a:lnTo>
                  <a:pt x="49" y="375"/>
                </a:lnTo>
                <a:lnTo>
                  <a:pt x="68" y="363"/>
                </a:lnTo>
                <a:lnTo>
                  <a:pt x="79" y="358"/>
                </a:lnTo>
                <a:lnTo>
                  <a:pt x="91" y="353"/>
                </a:lnTo>
                <a:lnTo>
                  <a:pt x="102" y="349"/>
                </a:lnTo>
                <a:lnTo>
                  <a:pt x="115" y="346"/>
                </a:lnTo>
                <a:lnTo>
                  <a:pt x="129" y="343"/>
                </a:lnTo>
                <a:lnTo>
                  <a:pt x="143" y="341"/>
                </a:lnTo>
                <a:lnTo>
                  <a:pt x="159" y="340"/>
                </a:lnTo>
                <a:lnTo>
                  <a:pt x="174" y="339"/>
                </a:lnTo>
                <a:lnTo>
                  <a:pt x="191" y="339"/>
                </a:lnTo>
                <a:lnTo>
                  <a:pt x="207" y="338"/>
                </a:lnTo>
                <a:lnTo>
                  <a:pt x="221" y="337"/>
                </a:lnTo>
                <a:lnTo>
                  <a:pt x="235" y="335"/>
                </a:lnTo>
                <a:lnTo>
                  <a:pt x="248" y="333"/>
                </a:lnTo>
                <a:lnTo>
                  <a:pt x="259" y="330"/>
                </a:lnTo>
                <a:lnTo>
                  <a:pt x="270" y="327"/>
                </a:lnTo>
                <a:lnTo>
                  <a:pt x="280" y="323"/>
                </a:lnTo>
                <a:lnTo>
                  <a:pt x="298" y="315"/>
                </a:lnTo>
                <a:lnTo>
                  <a:pt x="315" y="308"/>
                </a:lnTo>
                <a:lnTo>
                  <a:pt x="328" y="299"/>
                </a:lnTo>
                <a:lnTo>
                  <a:pt x="342" y="289"/>
                </a:lnTo>
                <a:lnTo>
                  <a:pt x="354" y="280"/>
                </a:lnTo>
                <a:lnTo>
                  <a:pt x="366" y="270"/>
                </a:lnTo>
                <a:lnTo>
                  <a:pt x="379" y="262"/>
                </a:lnTo>
                <a:lnTo>
                  <a:pt x="391" y="254"/>
                </a:lnTo>
                <a:lnTo>
                  <a:pt x="405" y="247"/>
                </a:lnTo>
                <a:lnTo>
                  <a:pt x="421" y="243"/>
                </a:lnTo>
                <a:lnTo>
                  <a:pt x="430" y="241"/>
                </a:lnTo>
                <a:lnTo>
                  <a:pt x="439" y="240"/>
                </a:lnTo>
                <a:lnTo>
                  <a:pt x="449" y="238"/>
                </a:lnTo>
                <a:lnTo>
                  <a:pt x="460" y="238"/>
                </a:lnTo>
                <a:lnTo>
                  <a:pt x="506" y="238"/>
                </a:lnTo>
                <a:lnTo>
                  <a:pt x="554" y="237"/>
                </a:lnTo>
                <a:lnTo>
                  <a:pt x="577" y="236"/>
                </a:lnTo>
                <a:lnTo>
                  <a:pt x="601" y="235"/>
                </a:lnTo>
                <a:lnTo>
                  <a:pt x="624" y="233"/>
                </a:lnTo>
                <a:lnTo>
                  <a:pt x="646" y="231"/>
                </a:lnTo>
                <a:lnTo>
                  <a:pt x="669" y="226"/>
                </a:lnTo>
                <a:lnTo>
                  <a:pt x="690" y="223"/>
                </a:lnTo>
                <a:lnTo>
                  <a:pt x="710" y="217"/>
                </a:lnTo>
                <a:lnTo>
                  <a:pt x="729" y="210"/>
                </a:lnTo>
                <a:lnTo>
                  <a:pt x="747" y="204"/>
                </a:lnTo>
                <a:lnTo>
                  <a:pt x="764" y="195"/>
                </a:lnTo>
                <a:lnTo>
                  <a:pt x="778" y="185"/>
                </a:lnTo>
                <a:lnTo>
                  <a:pt x="792" y="174"/>
                </a:lnTo>
                <a:lnTo>
                  <a:pt x="802" y="165"/>
                </a:lnTo>
                <a:lnTo>
                  <a:pt x="815" y="155"/>
                </a:lnTo>
                <a:lnTo>
                  <a:pt x="832" y="144"/>
                </a:lnTo>
                <a:lnTo>
                  <a:pt x="851" y="131"/>
                </a:lnTo>
                <a:lnTo>
                  <a:pt x="874" y="118"/>
                </a:lnTo>
                <a:lnTo>
                  <a:pt x="899" y="103"/>
                </a:lnTo>
                <a:lnTo>
                  <a:pt x="926" y="90"/>
                </a:lnTo>
                <a:lnTo>
                  <a:pt x="953" y="75"/>
                </a:lnTo>
                <a:lnTo>
                  <a:pt x="983" y="62"/>
                </a:lnTo>
                <a:lnTo>
                  <a:pt x="1013" y="50"/>
                </a:lnTo>
                <a:lnTo>
                  <a:pt x="1044" y="37"/>
                </a:lnTo>
                <a:lnTo>
                  <a:pt x="1075" y="27"/>
                </a:lnTo>
                <a:lnTo>
                  <a:pt x="1106" y="19"/>
                </a:lnTo>
                <a:lnTo>
                  <a:pt x="1137" y="11"/>
                </a:lnTo>
                <a:lnTo>
                  <a:pt x="1167" y="6"/>
                </a:lnTo>
                <a:lnTo>
                  <a:pt x="1195" y="3"/>
                </a:lnTo>
                <a:lnTo>
                  <a:pt x="1225" y="1"/>
                </a:lnTo>
                <a:lnTo>
                  <a:pt x="1246" y="0"/>
                </a:lnTo>
                <a:lnTo>
                  <a:pt x="1252" y="1"/>
                </a:lnTo>
                <a:lnTo>
                  <a:pt x="1256" y="2"/>
                </a:lnTo>
                <a:lnTo>
                  <a:pt x="1260" y="4"/>
                </a:lnTo>
                <a:lnTo>
                  <a:pt x="1265" y="7"/>
                </a:lnTo>
                <a:lnTo>
                  <a:pt x="1276" y="15"/>
                </a:lnTo>
                <a:lnTo>
                  <a:pt x="1288" y="26"/>
                </a:lnTo>
                <a:lnTo>
                  <a:pt x="1293" y="29"/>
                </a:lnTo>
                <a:lnTo>
                  <a:pt x="1303" y="31"/>
                </a:lnTo>
                <a:lnTo>
                  <a:pt x="1316" y="33"/>
                </a:lnTo>
                <a:lnTo>
                  <a:pt x="1334" y="36"/>
                </a:lnTo>
                <a:lnTo>
                  <a:pt x="1377" y="43"/>
                </a:lnTo>
                <a:lnTo>
                  <a:pt x="1427" y="50"/>
                </a:lnTo>
                <a:lnTo>
                  <a:pt x="1479" y="58"/>
                </a:lnTo>
                <a:lnTo>
                  <a:pt x="1527" y="67"/>
                </a:lnTo>
                <a:lnTo>
                  <a:pt x="1548" y="70"/>
                </a:lnTo>
                <a:lnTo>
                  <a:pt x="1566" y="74"/>
                </a:lnTo>
                <a:lnTo>
                  <a:pt x="1582" y="78"/>
                </a:lnTo>
                <a:lnTo>
                  <a:pt x="1592" y="82"/>
                </a:lnTo>
                <a:lnTo>
                  <a:pt x="1608" y="87"/>
                </a:lnTo>
                <a:lnTo>
                  <a:pt x="1622" y="90"/>
                </a:lnTo>
                <a:lnTo>
                  <a:pt x="1636" y="91"/>
                </a:lnTo>
                <a:lnTo>
                  <a:pt x="1648" y="90"/>
                </a:lnTo>
                <a:lnTo>
                  <a:pt x="1659" y="88"/>
                </a:lnTo>
                <a:lnTo>
                  <a:pt x="1671" y="85"/>
                </a:lnTo>
                <a:lnTo>
                  <a:pt x="1681" y="82"/>
                </a:lnTo>
                <a:lnTo>
                  <a:pt x="1692" y="79"/>
                </a:lnTo>
                <a:lnTo>
                  <a:pt x="1701" y="75"/>
                </a:lnTo>
                <a:lnTo>
                  <a:pt x="1711" y="72"/>
                </a:lnTo>
                <a:lnTo>
                  <a:pt x="1722" y="71"/>
                </a:lnTo>
                <a:lnTo>
                  <a:pt x="1730" y="70"/>
                </a:lnTo>
                <a:lnTo>
                  <a:pt x="1740" y="71"/>
                </a:lnTo>
                <a:lnTo>
                  <a:pt x="1751" y="75"/>
                </a:lnTo>
                <a:lnTo>
                  <a:pt x="1759" y="81"/>
                </a:lnTo>
                <a:lnTo>
                  <a:pt x="1771" y="90"/>
                </a:lnTo>
                <a:lnTo>
                  <a:pt x="1783" y="103"/>
                </a:lnTo>
                <a:lnTo>
                  <a:pt x="1795" y="120"/>
                </a:lnTo>
                <a:lnTo>
                  <a:pt x="1807" y="137"/>
                </a:lnTo>
                <a:lnTo>
                  <a:pt x="1820" y="155"/>
                </a:lnTo>
                <a:lnTo>
                  <a:pt x="1833" y="174"/>
                </a:lnTo>
                <a:lnTo>
                  <a:pt x="1848" y="192"/>
                </a:lnTo>
                <a:lnTo>
                  <a:pt x="1857" y="200"/>
                </a:lnTo>
                <a:lnTo>
                  <a:pt x="1864" y="208"/>
                </a:lnTo>
                <a:lnTo>
                  <a:pt x="1873" y="216"/>
                </a:lnTo>
                <a:lnTo>
                  <a:pt x="1883" y="224"/>
                </a:lnTo>
                <a:lnTo>
                  <a:pt x="1898" y="233"/>
                </a:lnTo>
                <a:lnTo>
                  <a:pt x="1912" y="242"/>
                </a:lnTo>
                <a:lnTo>
                  <a:pt x="1928" y="251"/>
                </a:lnTo>
                <a:lnTo>
                  <a:pt x="1944" y="257"/>
                </a:lnTo>
                <a:lnTo>
                  <a:pt x="1976" y="271"/>
                </a:lnTo>
                <a:lnTo>
                  <a:pt x="2008" y="283"/>
                </a:lnTo>
                <a:lnTo>
                  <a:pt x="2041" y="295"/>
                </a:lnTo>
                <a:lnTo>
                  <a:pt x="2073" y="308"/>
                </a:lnTo>
                <a:lnTo>
                  <a:pt x="2089" y="314"/>
                </a:lnTo>
                <a:lnTo>
                  <a:pt x="2104" y="321"/>
                </a:lnTo>
                <a:lnTo>
                  <a:pt x="2120" y="329"/>
                </a:lnTo>
                <a:lnTo>
                  <a:pt x="2136" y="338"/>
                </a:lnTo>
                <a:lnTo>
                  <a:pt x="2151" y="349"/>
                </a:lnTo>
                <a:lnTo>
                  <a:pt x="2167" y="362"/>
                </a:lnTo>
                <a:lnTo>
                  <a:pt x="2183" y="377"/>
                </a:lnTo>
                <a:lnTo>
                  <a:pt x="2197" y="394"/>
                </a:lnTo>
                <a:lnTo>
                  <a:pt x="2224" y="425"/>
                </a:lnTo>
                <a:lnTo>
                  <a:pt x="2246" y="449"/>
                </a:lnTo>
                <a:lnTo>
                  <a:pt x="2247" y="452"/>
                </a:lnTo>
                <a:lnTo>
                  <a:pt x="2248" y="454"/>
                </a:lnTo>
                <a:lnTo>
                  <a:pt x="2247" y="456"/>
                </a:lnTo>
                <a:lnTo>
                  <a:pt x="2246" y="458"/>
                </a:lnTo>
                <a:lnTo>
                  <a:pt x="2242" y="463"/>
                </a:lnTo>
                <a:lnTo>
                  <a:pt x="2235" y="468"/>
                </a:lnTo>
                <a:lnTo>
                  <a:pt x="2216" y="479"/>
                </a:lnTo>
                <a:lnTo>
                  <a:pt x="2193" y="492"/>
                </a:lnTo>
                <a:lnTo>
                  <a:pt x="2167" y="503"/>
                </a:lnTo>
                <a:lnTo>
                  <a:pt x="2143" y="514"/>
                </a:lnTo>
                <a:lnTo>
                  <a:pt x="2135" y="520"/>
                </a:lnTo>
                <a:lnTo>
                  <a:pt x="2127" y="524"/>
                </a:lnTo>
                <a:lnTo>
                  <a:pt x="2120" y="529"/>
                </a:lnTo>
                <a:lnTo>
                  <a:pt x="2118" y="533"/>
                </a:lnTo>
                <a:lnTo>
                  <a:pt x="2116" y="535"/>
                </a:lnTo>
                <a:lnTo>
                  <a:pt x="2112" y="537"/>
                </a:lnTo>
                <a:lnTo>
                  <a:pt x="2107" y="541"/>
                </a:lnTo>
                <a:lnTo>
                  <a:pt x="2099" y="544"/>
                </a:lnTo>
                <a:lnTo>
                  <a:pt x="2079" y="552"/>
                </a:lnTo>
                <a:lnTo>
                  <a:pt x="2055" y="561"/>
                </a:lnTo>
                <a:lnTo>
                  <a:pt x="2031" y="571"/>
                </a:lnTo>
                <a:lnTo>
                  <a:pt x="2008" y="581"/>
                </a:lnTo>
                <a:lnTo>
                  <a:pt x="1998" y="585"/>
                </a:lnTo>
                <a:lnTo>
                  <a:pt x="1991" y="590"/>
                </a:lnTo>
                <a:lnTo>
                  <a:pt x="1984" y="593"/>
                </a:lnTo>
                <a:lnTo>
                  <a:pt x="1979" y="597"/>
                </a:lnTo>
                <a:lnTo>
                  <a:pt x="1972" y="600"/>
                </a:lnTo>
                <a:lnTo>
                  <a:pt x="1955" y="608"/>
                </a:lnTo>
                <a:lnTo>
                  <a:pt x="1937" y="617"/>
                </a:lnTo>
                <a:lnTo>
                  <a:pt x="1924" y="625"/>
                </a:lnTo>
                <a:lnTo>
                  <a:pt x="1917" y="633"/>
                </a:lnTo>
                <a:lnTo>
                  <a:pt x="1909" y="646"/>
                </a:lnTo>
                <a:lnTo>
                  <a:pt x="1900" y="660"/>
                </a:lnTo>
                <a:lnTo>
                  <a:pt x="1890" y="677"/>
                </a:lnTo>
                <a:lnTo>
                  <a:pt x="1881" y="693"/>
                </a:lnTo>
                <a:lnTo>
                  <a:pt x="1871" y="709"/>
                </a:lnTo>
                <a:lnTo>
                  <a:pt x="1861" y="723"/>
                </a:lnTo>
                <a:lnTo>
                  <a:pt x="1850" y="735"/>
                </a:lnTo>
                <a:lnTo>
                  <a:pt x="1845" y="738"/>
                </a:lnTo>
                <a:lnTo>
                  <a:pt x="1840" y="742"/>
                </a:lnTo>
                <a:lnTo>
                  <a:pt x="1832" y="745"/>
                </a:lnTo>
                <a:lnTo>
                  <a:pt x="1823" y="747"/>
                </a:lnTo>
                <a:lnTo>
                  <a:pt x="1803" y="753"/>
                </a:lnTo>
                <a:lnTo>
                  <a:pt x="1782" y="758"/>
                </a:lnTo>
                <a:lnTo>
                  <a:pt x="1759" y="763"/>
                </a:lnTo>
                <a:lnTo>
                  <a:pt x="1739" y="769"/>
                </a:lnTo>
                <a:lnTo>
                  <a:pt x="1730" y="772"/>
                </a:lnTo>
                <a:lnTo>
                  <a:pt x="1723" y="775"/>
                </a:lnTo>
                <a:lnTo>
                  <a:pt x="1717" y="777"/>
                </a:lnTo>
                <a:lnTo>
                  <a:pt x="1713" y="781"/>
                </a:lnTo>
                <a:lnTo>
                  <a:pt x="1696" y="800"/>
                </a:lnTo>
                <a:lnTo>
                  <a:pt x="1676" y="822"/>
                </a:lnTo>
                <a:lnTo>
                  <a:pt x="1656" y="846"/>
                </a:lnTo>
                <a:lnTo>
                  <a:pt x="1639" y="864"/>
                </a:lnTo>
                <a:lnTo>
                  <a:pt x="1634" y="870"/>
                </a:lnTo>
                <a:lnTo>
                  <a:pt x="1630" y="877"/>
                </a:lnTo>
                <a:lnTo>
                  <a:pt x="1628" y="885"/>
                </a:lnTo>
                <a:lnTo>
                  <a:pt x="1626" y="895"/>
                </a:lnTo>
                <a:lnTo>
                  <a:pt x="1623" y="916"/>
                </a:lnTo>
                <a:lnTo>
                  <a:pt x="1623" y="942"/>
                </a:lnTo>
                <a:lnTo>
                  <a:pt x="1626" y="969"/>
                </a:lnTo>
                <a:lnTo>
                  <a:pt x="1627" y="1000"/>
                </a:lnTo>
                <a:lnTo>
                  <a:pt x="1629" y="1033"/>
                </a:lnTo>
                <a:lnTo>
                  <a:pt x="1629" y="1067"/>
                </a:lnTo>
                <a:lnTo>
                  <a:pt x="1629" y="1077"/>
                </a:lnTo>
                <a:lnTo>
                  <a:pt x="1629" y="1085"/>
                </a:lnTo>
                <a:lnTo>
                  <a:pt x="1629" y="1094"/>
                </a:lnTo>
                <a:lnTo>
                  <a:pt x="1629" y="1103"/>
                </a:lnTo>
                <a:lnTo>
                  <a:pt x="1608" y="1104"/>
                </a:lnTo>
                <a:lnTo>
                  <a:pt x="1584" y="1106"/>
                </a:lnTo>
                <a:lnTo>
                  <a:pt x="1561" y="1107"/>
                </a:lnTo>
                <a:lnTo>
                  <a:pt x="1537" y="1109"/>
                </a:lnTo>
                <a:lnTo>
                  <a:pt x="1514" y="1110"/>
                </a:lnTo>
                <a:lnTo>
                  <a:pt x="1490" y="1111"/>
                </a:lnTo>
                <a:lnTo>
                  <a:pt x="1469" y="1112"/>
                </a:lnTo>
                <a:lnTo>
                  <a:pt x="1448" y="1113"/>
                </a:lnTo>
                <a:lnTo>
                  <a:pt x="1447" y="1116"/>
                </a:lnTo>
                <a:lnTo>
                  <a:pt x="1445" y="1118"/>
                </a:lnTo>
                <a:lnTo>
                  <a:pt x="1441" y="1121"/>
                </a:lnTo>
                <a:lnTo>
                  <a:pt x="1438" y="1125"/>
                </a:lnTo>
                <a:lnTo>
                  <a:pt x="1433" y="1127"/>
                </a:lnTo>
                <a:lnTo>
                  <a:pt x="1428" y="1129"/>
                </a:lnTo>
                <a:lnTo>
                  <a:pt x="1423" y="1131"/>
                </a:lnTo>
                <a:lnTo>
                  <a:pt x="1420" y="1131"/>
                </a:lnTo>
                <a:lnTo>
                  <a:pt x="1415" y="1138"/>
                </a:lnTo>
                <a:lnTo>
                  <a:pt x="1401" y="1150"/>
                </a:lnTo>
                <a:lnTo>
                  <a:pt x="1384" y="1165"/>
                </a:lnTo>
                <a:lnTo>
                  <a:pt x="1364" y="1180"/>
                </a:lnTo>
                <a:lnTo>
                  <a:pt x="1344" y="1196"/>
                </a:lnTo>
                <a:lnTo>
                  <a:pt x="1326" y="1208"/>
                </a:lnTo>
                <a:lnTo>
                  <a:pt x="1317" y="1214"/>
                </a:lnTo>
                <a:lnTo>
                  <a:pt x="1311" y="1218"/>
                </a:lnTo>
                <a:lnTo>
                  <a:pt x="1305" y="1221"/>
                </a:lnTo>
                <a:lnTo>
                  <a:pt x="1302" y="1222"/>
                </a:lnTo>
                <a:lnTo>
                  <a:pt x="1302" y="1223"/>
                </a:lnTo>
                <a:lnTo>
                  <a:pt x="1300" y="1226"/>
                </a:lnTo>
                <a:lnTo>
                  <a:pt x="1296" y="1229"/>
                </a:lnTo>
                <a:lnTo>
                  <a:pt x="1293" y="1231"/>
                </a:lnTo>
                <a:lnTo>
                  <a:pt x="1292" y="1235"/>
                </a:lnTo>
                <a:lnTo>
                  <a:pt x="1289" y="1239"/>
                </a:lnTo>
                <a:lnTo>
                  <a:pt x="1286" y="1244"/>
                </a:lnTo>
                <a:lnTo>
                  <a:pt x="1283" y="1250"/>
                </a:lnTo>
                <a:lnTo>
                  <a:pt x="1279" y="1255"/>
                </a:lnTo>
                <a:lnTo>
                  <a:pt x="1277" y="1260"/>
                </a:lnTo>
                <a:lnTo>
                  <a:pt x="1275" y="1264"/>
                </a:lnTo>
                <a:lnTo>
                  <a:pt x="1274" y="1269"/>
                </a:lnTo>
                <a:lnTo>
                  <a:pt x="1269" y="1271"/>
                </a:lnTo>
                <a:lnTo>
                  <a:pt x="1265" y="1275"/>
                </a:lnTo>
                <a:lnTo>
                  <a:pt x="1262" y="1281"/>
                </a:lnTo>
                <a:lnTo>
                  <a:pt x="1259" y="1283"/>
                </a:lnTo>
                <a:lnTo>
                  <a:pt x="1254" y="1284"/>
                </a:lnTo>
                <a:lnTo>
                  <a:pt x="1246" y="1287"/>
                </a:lnTo>
                <a:lnTo>
                  <a:pt x="1243" y="1290"/>
                </a:lnTo>
                <a:lnTo>
                  <a:pt x="1239" y="1293"/>
                </a:lnTo>
                <a:lnTo>
                  <a:pt x="1237" y="1295"/>
                </a:lnTo>
                <a:lnTo>
                  <a:pt x="1236" y="1296"/>
                </a:lnTo>
                <a:lnTo>
                  <a:pt x="1233" y="1298"/>
                </a:lnTo>
                <a:lnTo>
                  <a:pt x="1229" y="1300"/>
                </a:lnTo>
                <a:lnTo>
                  <a:pt x="1227" y="1303"/>
                </a:lnTo>
                <a:lnTo>
                  <a:pt x="1227" y="1306"/>
                </a:lnTo>
                <a:lnTo>
                  <a:pt x="1221" y="1308"/>
                </a:lnTo>
                <a:lnTo>
                  <a:pt x="1217" y="1311"/>
                </a:lnTo>
                <a:lnTo>
                  <a:pt x="1212" y="1315"/>
                </a:lnTo>
                <a:lnTo>
                  <a:pt x="1209" y="1321"/>
                </a:lnTo>
                <a:lnTo>
                  <a:pt x="1207" y="1328"/>
                </a:lnTo>
                <a:lnTo>
                  <a:pt x="1205" y="1334"/>
                </a:lnTo>
                <a:lnTo>
                  <a:pt x="1204" y="1340"/>
                </a:lnTo>
                <a:lnTo>
                  <a:pt x="1204" y="1343"/>
                </a:lnTo>
                <a:lnTo>
                  <a:pt x="1193" y="1349"/>
                </a:lnTo>
                <a:lnTo>
                  <a:pt x="1193" y="1363"/>
                </a:lnTo>
                <a:lnTo>
                  <a:pt x="1191" y="1380"/>
                </a:lnTo>
                <a:lnTo>
                  <a:pt x="1189" y="1397"/>
                </a:lnTo>
                <a:lnTo>
                  <a:pt x="1187" y="1415"/>
                </a:lnTo>
                <a:lnTo>
                  <a:pt x="1183" y="1433"/>
                </a:lnTo>
                <a:lnTo>
                  <a:pt x="1181" y="1449"/>
                </a:lnTo>
                <a:lnTo>
                  <a:pt x="1180" y="1466"/>
                </a:lnTo>
                <a:lnTo>
                  <a:pt x="1179" y="1481"/>
                </a:lnTo>
                <a:lnTo>
                  <a:pt x="1166" y="1495"/>
                </a:lnTo>
                <a:lnTo>
                  <a:pt x="1156" y="1495"/>
                </a:lnTo>
                <a:lnTo>
                  <a:pt x="1138" y="1494"/>
                </a:lnTo>
                <a:lnTo>
                  <a:pt x="1129" y="1494"/>
                </a:lnTo>
                <a:lnTo>
                  <a:pt x="1121" y="1493"/>
                </a:lnTo>
                <a:lnTo>
                  <a:pt x="1115" y="1492"/>
                </a:lnTo>
                <a:lnTo>
                  <a:pt x="1113" y="1489"/>
                </a:lnTo>
                <a:lnTo>
                  <a:pt x="1104" y="1489"/>
                </a:lnTo>
                <a:lnTo>
                  <a:pt x="1102" y="1485"/>
                </a:lnTo>
                <a:lnTo>
                  <a:pt x="1100" y="1481"/>
                </a:lnTo>
                <a:lnTo>
                  <a:pt x="1090" y="1474"/>
                </a:lnTo>
                <a:lnTo>
                  <a:pt x="1081" y="1466"/>
                </a:lnTo>
                <a:lnTo>
                  <a:pt x="1076" y="1462"/>
                </a:lnTo>
                <a:lnTo>
                  <a:pt x="1073" y="1455"/>
                </a:lnTo>
                <a:lnTo>
                  <a:pt x="1071" y="1447"/>
                </a:lnTo>
                <a:lnTo>
                  <a:pt x="1066" y="1443"/>
                </a:lnTo>
                <a:lnTo>
                  <a:pt x="1064" y="1443"/>
                </a:lnTo>
                <a:lnTo>
                  <a:pt x="1063" y="1443"/>
                </a:lnTo>
                <a:lnTo>
                  <a:pt x="1063" y="1442"/>
                </a:lnTo>
                <a:lnTo>
                  <a:pt x="1063" y="1440"/>
                </a:lnTo>
                <a:lnTo>
                  <a:pt x="1063" y="1439"/>
                </a:lnTo>
                <a:lnTo>
                  <a:pt x="1061" y="1439"/>
                </a:lnTo>
                <a:lnTo>
                  <a:pt x="1058" y="1438"/>
                </a:lnTo>
                <a:lnTo>
                  <a:pt x="1052" y="1438"/>
                </a:lnTo>
                <a:lnTo>
                  <a:pt x="1052" y="1429"/>
                </a:lnTo>
                <a:lnTo>
                  <a:pt x="1044" y="1434"/>
                </a:lnTo>
                <a:lnTo>
                  <a:pt x="1034" y="1444"/>
                </a:lnTo>
                <a:lnTo>
                  <a:pt x="1035" y="1439"/>
                </a:lnTo>
                <a:lnTo>
                  <a:pt x="1036" y="1436"/>
                </a:lnTo>
                <a:lnTo>
                  <a:pt x="1032" y="1436"/>
                </a:lnTo>
                <a:lnTo>
                  <a:pt x="1027" y="1435"/>
                </a:lnTo>
                <a:lnTo>
                  <a:pt x="1026" y="1435"/>
                </a:lnTo>
                <a:lnTo>
                  <a:pt x="1025" y="1434"/>
                </a:lnTo>
                <a:lnTo>
                  <a:pt x="1024" y="1431"/>
                </a:lnTo>
                <a:lnTo>
                  <a:pt x="1024" y="1430"/>
                </a:lnTo>
                <a:lnTo>
                  <a:pt x="1012" y="1430"/>
                </a:lnTo>
                <a:lnTo>
                  <a:pt x="999" y="1430"/>
                </a:lnTo>
                <a:lnTo>
                  <a:pt x="993" y="1418"/>
                </a:lnTo>
                <a:lnTo>
                  <a:pt x="984" y="1415"/>
                </a:lnTo>
                <a:lnTo>
                  <a:pt x="975" y="1411"/>
                </a:lnTo>
                <a:lnTo>
                  <a:pt x="969" y="1399"/>
                </a:lnTo>
                <a:lnTo>
                  <a:pt x="965" y="1399"/>
                </a:lnTo>
                <a:lnTo>
                  <a:pt x="960" y="1399"/>
                </a:lnTo>
                <a:lnTo>
                  <a:pt x="959" y="1398"/>
                </a:lnTo>
                <a:lnTo>
                  <a:pt x="958" y="1397"/>
                </a:lnTo>
                <a:lnTo>
                  <a:pt x="957" y="1396"/>
                </a:lnTo>
                <a:lnTo>
                  <a:pt x="957" y="1394"/>
                </a:lnTo>
                <a:lnTo>
                  <a:pt x="952" y="1394"/>
                </a:lnTo>
                <a:lnTo>
                  <a:pt x="948" y="1392"/>
                </a:lnTo>
                <a:lnTo>
                  <a:pt x="947" y="1391"/>
                </a:lnTo>
                <a:lnTo>
                  <a:pt x="946" y="1390"/>
                </a:lnTo>
                <a:lnTo>
                  <a:pt x="945" y="1389"/>
                </a:lnTo>
                <a:lnTo>
                  <a:pt x="945" y="1387"/>
                </a:lnTo>
                <a:lnTo>
                  <a:pt x="935" y="1387"/>
                </a:lnTo>
                <a:lnTo>
                  <a:pt x="922" y="1386"/>
                </a:lnTo>
                <a:lnTo>
                  <a:pt x="917" y="1385"/>
                </a:lnTo>
                <a:lnTo>
                  <a:pt x="911" y="1382"/>
                </a:lnTo>
                <a:lnTo>
                  <a:pt x="907" y="1379"/>
                </a:lnTo>
                <a:lnTo>
                  <a:pt x="901" y="1375"/>
                </a:lnTo>
                <a:lnTo>
                  <a:pt x="889" y="1375"/>
                </a:lnTo>
                <a:lnTo>
                  <a:pt x="876" y="1375"/>
                </a:lnTo>
                <a:lnTo>
                  <a:pt x="871" y="1362"/>
                </a:lnTo>
                <a:lnTo>
                  <a:pt x="862" y="1361"/>
                </a:lnTo>
                <a:lnTo>
                  <a:pt x="852" y="1357"/>
                </a:lnTo>
                <a:lnTo>
                  <a:pt x="846" y="1354"/>
                </a:lnTo>
                <a:lnTo>
                  <a:pt x="841" y="1352"/>
                </a:lnTo>
                <a:lnTo>
                  <a:pt x="835" y="1351"/>
                </a:lnTo>
                <a:lnTo>
                  <a:pt x="828" y="1350"/>
                </a:lnTo>
                <a:lnTo>
                  <a:pt x="827" y="1347"/>
                </a:lnTo>
                <a:lnTo>
                  <a:pt x="824" y="1343"/>
                </a:lnTo>
                <a:lnTo>
                  <a:pt x="821" y="1341"/>
                </a:lnTo>
                <a:lnTo>
                  <a:pt x="816" y="1339"/>
                </a:lnTo>
                <a:lnTo>
                  <a:pt x="812" y="1338"/>
                </a:lnTo>
                <a:lnTo>
                  <a:pt x="807" y="1335"/>
                </a:lnTo>
                <a:lnTo>
                  <a:pt x="805" y="1334"/>
                </a:lnTo>
                <a:lnTo>
                  <a:pt x="804" y="1332"/>
                </a:lnTo>
                <a:lnTo>
                  <a:pt x="792" y="1332"/>
                </a:lnTo>
                <a:lnTo>
                  <a:pt x="787" y="1328"/>
                </a:lnTo>
                <a:lnTo>
                  <a:pt x="783" y="1323"/>
                </a:lnTo>
                <a:lnTo>
                  <a:pt x="780" y="1319"/>
                </a:lnTo>
                <a:lnTo>
                  <a:pt x="779" y="1314"/>
                </a:lnTo>
                <a:lnTo>
                  <a:pt x="767" y="1308"/>
                </a:lnTo>
                <a:lnTo>
                  <a:pt x="767" y="1303"/>
                </a:lnTo>
                <a:lnTo>
                  <a:pt x="766" y="1300"/>
                </a:lnTo>
                <a:lnTo>
                  <a:pt x="766" y="1298"/>
                </a:lnTo>
                <a:lnTo>
                  <a:pt x="765" y="1296"/>
                </a:lnTo>
                <a:lnTo>
                  <a:pt x="763" y="1295"/>
                </a:lnTo>
                <a:lnTo>
                  <a:pt x="760" y="1295"/>
                </a:lnTo>
                <a:lnTo>
                  <a:pt x="760" y="1290"/>
                </a:lnTo>
                <a:lnTo>
                  <a:pt x="760" y="1284"/>
                </a:lnTo>
                <a:lnTo>
                  <a:pt x="759" y="1282"/>
                </a:lnTo>
                <a:lnTo>
                  <a:pt x="758" y="1280"/>
                </a:lnTo>
                <a:lnTo>
                  <a:pt x="757" y="1277"/>
                </a:lnTo>
                <a:lnTo>
                  <a:pt x="755" y="1277"/>
                </a:lnTo>
                <a:lnTo>
                  <a:pt x="755" y="1265"/>
                </a:lnTo>
                <a:lnTo>
                  <a:pt x="755" y="1253"/>
                </a:lnTo>
                <a:lnTo>
                  <a:pt x="743" y="1241"/>
                </a:lnTo>
                <a:lnTo>
                  <a:pt x="743" y="1235"/>
                </a:lnTo>
                <a:lnTo>
                  <a:pt x="741" y="1229"/>
                </a:lnTo>
                <a:lnTo>
                  <a:pt x="741" y="1226"/>
                </a:lnTo>
                <a:lnTo>
                  <a:pt x="740" y="1224"/>
                </a:lnTo>
                <a:lnTo>
                  <a:pt x="738" y="1223"/>
                </a:lnTo>
                <a:lnTo>
                  <a:pt x="737" y="1222"/>
                </a:lnTo>
                <a:lnTo>
                  <a:pt x="737" y="1204"/>
                </a:lnTo>
                <a:lnTo>
                  <a:pt x="731" y="1197"/>
                </a:lnTo>
                <a:lnTo>
                  <a:pt x="725" y="1188"/>
                </a:lnTo>
                <a:lnTo>
                  <a:pt x="720" y="1180"/>
                </a:lnTo>
                <a:lnTo>
                  <a:pt x="718" y="1174"/>
                </a:lnTo>
                <a:lnTo>
                  <a:pt x="708" y="1173"/>
                </a:lnTo>
                <a:lnTo>
                  <a:pt x="696" y="1170"/>
                </a:lnTo>
                <a:lnTo>
                  <a:pt x="683" y="1168"/>
                </a:lnTo>
                <a:lnTo>
                  <a:pt x="669" y="1167"/>
                </a:lnTo>
                <a:lnTo>
                  <a:pt x="663" y="1174"/>
                </a:lnTo>
                <a:lnTo>
                  <a:pt x="663" y="1186"/>
                </a:lnTo>
                <a:lnTo>
                  <a:pt x="659" y="1187"/>
                </a:lnTo>
                <a:lnTo>
                  <a:pt x="654" y="1189"/>
                </a:lnTo>
                <a:lnTo>
                  <a:pt x="652" y="1194"/>
                </a:lnTo>
                <a:lnTo>
                  <a:pt x="651" y="1198"/>
                </a:lnTo>
                <a:lnTo>
                  <a:pt x="644" y="1204"/>
                </a:lnTo>
                <a:lnTo>
                  <a:pt x="631" y="1205"/>
                </a:lnTo>
                <a:lnTo>
                  <a:pt x="610" y="1207"/>
                </a:lnTo>
                <a:lnTo>
                  <a:pt x="586" y="1209"/>
                </a:lnTo>
                <a:lnTo>
                  <a:pt x="565" y="1210"/>
                </a:lnTo>
                <a:lnTo>
                  <a:pt x="543" y="1194"/>
                </a:lnTo>
                <a:lnTo>
                  <a:pt x="506" y="1169"/>
                </a:lnTo>
                <a:lnTo>
                  <a:pt x="487" y="1156"/>
                </a:lnTo>
                <a:lnTo>
                  <a:pt x="471" y="1144"/>
                </a:lnTo>
                <a:lnTo>
                  <a:pt x="465" y="1138"/>
                </a:lnTo>
                <a:lnTo>
                  <a:pt x="459" y="1132"/>
                </a:lnTo>
                <a:lnTo>
                  <a:pt x="457" y="1128"/>
                </a:lnTo>
                <a:lnTo>
                  <a:pt x="456" y="1125"/>
                </a:lnTo>
                <a:lnTo>
                  <a:pt x="449" y="1118"/>
                </a:lnTo>
                <a:lnTo>
                  <a:pt x="437" y="1118"/>
                </a:lnTo>
                <a:lnTo>
                  <a:pt x="424" y="1100"/>
                </a:lnTo>
                <a:lnTo>
                  <a:pt x="415" y="1097"/>
                </a:lnTo>
                <a:lnTo>
                  <a:pt x="406" y="1094"/>
                </a:lnTo>
                <a:lnTo>
                  <a:pt x="406" y="1090"/>
                </a:lnTo>
                <a:lnTo>
                  <a:pt x="405" y="1089"/>
                </a:lnTo>
                <a:lnTo>
                  <a:pt x="404" y="1088"/>
                </a:lnTo>
                <a:lnTo>
                  <a:pt x="403" y="1088"/>
                </a:lnTo>
                <a:lnTo>
                  <a:pt x="402" y="1088"/>
                </a:lnTo>
                <a:lnTo>
                  <a:pt x="401" y="1087"/>
                </a:lnTo>
                <a:lnTo>
                  <a:pt x="401" y="1085"/>
                </a:lnTo>
                <a:lnTo>
                  <a:pt x="400" y="1082"/>
                </a:lnTo>
                <a:lnTo>
                  <a:pt x="393" y="1079"/>
                </a:lnTo>
                <a:lnTo>
                  <a:pt x="383" y="1073"/>
                </a:lnTo>
                <a:lnTo>
                  <a:pt x="370" y="1063"/>
                </a:lnTo>
                <a:lnTo>
                  <a:pt x="356" y="1052"/>
                </a:lnTo>
                <a:lnTo>
                  <a:pt x="343" y="1040"/>
                </a:lnTo>
                <a:lnTo>
                  <a:pt x="332" y="1027"/>
                </a:lnTo>
                <a:lnTo>
                  <a:pt x="327" y="1022"/>
                </a:lnTo>
                <a:lnTo>
                  <a:pt x="324" y="1016"/>
                </a:lnTo>
                <a:lnTo>
                  <a:pt x="322" y="1012"/>
                </a:lnTo>
                <a:lnTo>
                  <a:pt x="321" y="1008"/>
                </a:lnTo>
                <a:lnTo>
                  <a:pt x="315" y="1006"/>
                </a:lnTo>
                <a:lnTo>
                  <a:pt x="309" y="1002"/>
                </a:lnTo>
                <a:lnTo>
                  <a:pt x="305" y="995"/>
                </a:lnTo>
                <a:lnTo>
                  <a:pt x="303" y="989"/>
                </a:lnTo>
                <a:lnTo>
                  <a:pt x="290" y="984"/>
                </a:lnTo>
                <a:lnTo>
                  <a:pt x="284" y="973"/>
                </a:lnTo>
                <a:lnTo>
                  <a:pt x="269" y="953"/>
                </a:lnTo>
                <a:lnTo>
                  <a:pt x="261" y="942"/>
                </a:lnTo>
                <a:lnTo>
                  <a:pt x="255" y="931"/>
                </a:lnTo>
                <a:lnTo>
                  <a:pt x="249" y="923"/>
                </a:lnTo>
                <a:lnTo>
                  <a:pt x="248" y="917"/>
                </a:lnTo>
                <a:lnTo>
                  <a:pt x="244" y="917"/>
                </a:lnTo>
                <a:lnTo>
                  <a:pt x="242" y="916"/>
                </a:lnTo>
                <a:lnTo>
                  <a:pt x="241" y="915"/>
                </a:lnTo>
                <a:lnTo>
                  <a:pt x="241" y="914"/>
                </a:lnTo>
                <a:lnTo>
                  <a:pt x="241" y="912"/>
                </a:lnTo>
                <a:lnTo>
                  <a:pt x="240" y="911"/>
                </a:lnTo>
                <a:lnTo>
                  <a:pt x="239" y="911"/>
                </a:lnTo>
                <a:lnTo>
                  <a:pt x="236" y="910"/>
                </a:lnTo>
                <a:lnTo>
                  <a:pt x="235" y="906"/>
                </a:lnTo>
                <a:lnTo>
                  <a:pt x="231" y="902"/>
                </a:lnTo>
                <a:lnTo>
                  <a:pt x="228" y="899"/>
                </a:lnTo>
                <a:lnTo>
                  <a:pt x="223" y="898"/>
                </a:lnTo>
                <a:lnTo>
                  <a:pt x="211" y="892"/>
                </a:lnTo>
                <a:lnTo>
                  <a:pt x="211" y="886"/>
                </a:lnTo>
                <a:lnTo>
                  <a:pt x="209" y="881"/>
                </a:lnTo>
                <a:lnTo>
                  <a:pt x="206" y="880"/>
                </a:lnTo>
                <a:lnTo>
                  <a:pt x="199" y="880"/>
                </a:lnTo>
                <a:lnTo>
                  <a:pt x="192" y="871"/>
                </a:lnTo>
                <a:lnTo>
                  <a:pt x="187" y="861"/>
                </a:lnTo>
                <a:lnTo>
                  <a:pt x="174" y="861"/>
                </a:lnTo>
                <a:lnTo>
                  <a:pt x="168" y="856"/>
                </a:lnTo>
                <a:lnTo>
                  <a:pt x="162" y="850"/>
                </a:lnTo>
                <a:lnTo>
                  <a:pt x="160" y="842"/>
                </a:lnTo>
                <a:lnTo>
                  <a:pt x="155" y="832"/>
                </a:lnTo>
                <a:lnTo>
                  <a:pt x="152" y="827"/>
                </a:lnTo>
                <a:lnTo>
                  <a:pt x="149" y="823"/>
                </a:lnTo>
                <a:lnTo>
                  <a:pt x="146" y="820"/>
                </a:lnTo>
                <a:lnTo>
                  <a:pt x="144" y="819"/>
                </a:lnTo>
                <a:lnTo>
                  <a:pt x="143" y="798"/>
                </a:lnTo>
                <a:lnTo>
                  <a:pt x="141" y="774"/>
                </a:lnTo>
                <a:lnTo>
                  <a:pt x="137" y="750"/>
                </a:lnTo>
                <a:lnTo>
                  <a:pt x="134" y="724"/>
                </a:lnTo>
                <a:lnTo>
                  <a:pt x="131" y="699"/>
                </a:lnTo>
                <a:lnTo>
                  <a:pt x="129" y="675"/>
                </a:lnTo>
                <a:lnTo>
                  <a:pt x="126" y="651"/>
                </a:lnTo>
                <a:lnTo>
                  <a:pt x="125" y="629"/>
                </a:lnTo>
                <a:lnTo>
                  <a:pt x="120" y="623"/>
                </a:lnTo>
                <a:lnTo>
                  <a:pt x="115" y="622"/>
                </a:lnTo>
                <a:lnTo>
                  <a:pt x="111" y="620"/>
                </a:lnTo>
                <a:lnTo>
                  <a:pt x="108" y="616"/>
                </a:lnTo>
                <a:lnTo>
                  <a:pt x="107" y="611"/>
                </a:lnTo>
                <a:lnTo>
                  <a:pt x="101" y="606"/>
                </a:lnTo>
                <a:lnTo>
                  <a:pt x="88" y="606"/>
                </a:lnTo>
                <a:lnTo>
                  <a:pt x="83" y="599"/>
                </a:lnTo>
                <a:lnTo>
                  <a:pt x="76" y="593"/>
                </a:lnTo>
                <a:lnTo>
                  <a:pt x="70" y="587"/>
                </a:lnTo>
                <a:lnTo>
                  <a:pt x="68" y="580"/>
                </a:lnTo>
                <a:lnTo>
                  <a:pt x="64" y="569"/>
                </a:lnTo>
                <a:lnTo>
                  <a:pt x="60" y="564"/>
                </a:lnTo>
                <a:lnTo>
                  <a:pt x="57" y="560"/>
                </a:lnTo>
                <a:lnTo>
                  <a:pt x="55" y="558"/>
                </a:lnTo>
                <a:lnTo>
                  <a:pt x="52" y="556"/>
                </a:lnTo>
                <a:lnTo>
                  <a:pt x="52" y="541"/>
                </a:lnTo>
                <a:lnTo>
                  <a:pt x="52" y="523"/>
                </a:lnTo>
                <a:lnTo>
                  <a:pt x="52" y="505"/>
                </a:lnTo>
                <a:lnTo>
                  <a:pt x="52" y="489"/>
                </a:lnTo>
                <a:lnTo>
                  <a:pt x="39" y="477"/>
                </a:lnTo>
                <a:lnTo>
                  <a:pt x="39" y="472"/>
                </a:lnTo>
                <a:lnTo>
                  <a:pt x="39" y="465"/>
                </a:lnTo>
                <a:lnTo>
                  <a:pt x="38" y="463"/>
                </a:lnTo>
                <a:lnTo>
                  <a:pt x="37" y="460"/>
                </a:lnTo>
                <a:lnTo>
                  <a:pt x="36" y="459"/>
                </a:lnTo>
                <a:lnTo>
                  <a:pt x="34" y="458"/>
                </a:lnTo>
                <a:lnTo>
                  <a:pt x="34" y="440"/>
                </a:lnTo>
                <a:lnTo>
                  <a:pt x="30" y="440"/>
                </a:lnTo>
                <a:lnTo>
                  <a:pt x="28" y="439"/>
                </a:lnTo>
                <a:lnTo>
                  <a:pt x="28" y="438"/>
                </a:lnTo>
                <a:lnTo>
                  <a:pt x="28" y="437"/>
                </a:lnTo>
                <a:lnTo>
                  <a:pt x="27" y="436"/>
                </a:lnTo>
                <a:lnTo>
                  <a:pt x="27" y="435"/>
                </a:lnTo>
                <a:lnTo>
                  <a:pt x="25" y="435"/>
                </a:lnTo>
                <a:lnTo>
                  <a:pt x="21" y="434"/>
                </a:lnTo>
                <a:lnTo>
                  <a:pt x="21" y="430"/>
                </a:lnTo>
                <a:lnTo>
                  <a:pt x="19" y="427"/>
                </a:lnTo>
                <a:lnTo>
                  <a:pt x="18" y="425"/>
                </a:lnTo>
                <a:lnTo>
                  <a:pt x="16" y="423"/>
                </a:lnTo>
                <a:lnTo>
                  <a:pt x="11" y="419"/>
                </a:lnTo>
                <a:lnTo>
                  <a:pt x="9" y="416"/>
                </a:lnTo>
                <a:lnTo>
                  <a:pt x="0" y="4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93" name="Freeform 54">
            <a:extLst>
              <a:ext uri="{FF2B5EF4-FFF2-40B4-BE49-F238E27FC236}">
                <a16:creationId xmlns:a16="http://schemas.microsoft.com/office/drawing/2014/main" id="{30F3CAA8-A931-46CA-B712-DDCEB87F64F0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618538" y="3203575"/>
            <a:ext cx="98864" cy="63500"/>
          </a:xfrm>
          <a:custGeom>
            <a:avLst/>
            <a:gdLst/>
            <a:ahLst/>
            <a:cxnLst>
              <a:cxn ang="0">
                <a:pos x="194" y="33"/>
              </a:cxn>
              <a:cxn ang="0">
                <a:pos x="150" y="56"/>
              </a:cxn>
              <a:cxn ang="0">
                <a:pos x="122" y="77"/>
              </a:cxn>
              <a:cxn ang="0">
                <a:pos x="98" y="115"/>
              </a:cxn>
              <a:cxn ang="0">
                <a:pos x="78" y="145"/>
              </a:cxn>
              <a:cxn ang="0">
                <a:pos x="56" y="159"/>
              </a:cxn>
              <a:cxn ang="0">
                <a:pos x="38" y="177"/>
              </a:cxn>
              <a:cxn ang="0">
                <a:pos x="20" y="211"/>
              </a:cxn>
              <a:cxn ang="0">
                <a:pos x="9" y="247"/>
              </a:cxn>
              <a:cxn ang="0">
                <a:pos x="6" y="286"/>
              </a:cxn>
              <a:cxn ang="0">
                <a:pos x="0" y="327"/>
              </a:cxn>
              <a:cxn ang="0">
                <a:pos x="3" y="336"/>
              </a:cxn>
              <a:cxn ang="0">
                <a:pos x="21" y="340"/>
              </a:cxn>
              <a:cxn ang="0">
                <a:pos x="46" y="337"/>
              </a:cxn>
              <a:cxn ang="0">
                <a:pos x="63" y="325"/>
              </a:cxn>
              <a:cxn ang="0">
                <a:pos x="79" y="303"/>
              </a:cxn>
              <a:cxn ang="0">
                <a:pos x="103" y="291"/>
              </a:cxn>
              <a:cxn ang="0">
                <a:pos x="130" y="291"/>
              </a:cxn>
              <a:cxn ang="0">
                <a:pos x="161" y="300"/>
              </a:cxn>
              <a:cxn ang="0">
                <a:pos x="169" y="308"/>
              </a:cxn>
              <a:cxn ang="0">
                <a:pos x="197" y="330"/>
              </a:cxn>
              <a:cxn ang="0">
                <a:pos x="236" y="364"/>
              </a:cxn>
              <a:cxn ang="0">
                <a:pos x="265" y="384"/>
              </a:cxn>
              <a:cxn ang="0">
                <a:pos x="287" y="393"/>
              </a:cxn>
              <a:cxn ang="0">
                <a:pos x="310" y="394"/>
              </a:cxn>
              <a:cxn ang="0">
                <a:pos x="381" y="380"/>
              </a:cxn>
              <a:cxn ang="0">
                <a:pos x="447" y="358"/>
              </a:cxn>
              <a:cxn ang="0">
                <a:pos x="495" y="334"/>
              </a:cxn>
              <a:cxn ang="0">
                <a:pos x="517" y="312"/>
              </a:cxn>
              <a:cxn ang="0">
                <a:pos x="529" y="286"/>
              </a:cxn>
              <a:cxn ang="0">
                <a:pos x="537" y="215"/>
              </a:cxn>
              <a:cxn ang="0">
                <a:pos x="545" y="158"/>
              </a:cxn>
              <a:cxn ang="0">
                <a:pos x="545" y="103"/>
              </a:cxn>
              <a:cxn ang="0">
                <a:pos x="539" y="80"/>
              </a:cxn>
              <a:cxn ang="0">
                <a:pos x="528" y="62"/>
              </a:cxn>
              <a:cxn ang="0">
                <a:pos x="511" y="50"/>
              </a:cxn>
              <a:cxn ang="0">
                <a:pos x="488" y="46"/>
              </a:cxn>
              <a:cxn ang="0">
                <a:pos x="462" y="41"/>
              </a:cxn>
              <a:cxn ang="0">
                <a:pos x="424" y="22"/>
              </a:cxn>
              <a:cxn ang="0">
                <a:pos x="386" y="4"/>
              </a:cxn>
              <a:cxn ang="0">
                <a:pos x="362" y="0"/>
              </a:cxn>
              <a:cxn ang="0">
                <a:pos x="328" y="4"/>
              </a:cxn>
              <a:cxn ang="0">
                <a:pos x="297" y="13"/>
              </a:cxn>
              <a:cxn ang="0">
                <a:pos x="270" y="14"/>
              </a:cxn>
              <a:cxn ang="0">
                <a:pos x="262" y="11"/>
              </a:cxn>
            </a:cxnLst>
            <a:rect l="0" t="0" r="r" b="b"/>
            <a:pathLst>
              <a:path w="546" h="394">
                <a:moveTo>
                  <a:pt x="255" y="11"/>
                </a:moveTo>
                <a:lnTo>
                  <a:pt x="225" y="21"/>
                </a:lnTo>
                <a:lnTo>
                  <a:pt x="194" y="33"/>
                </a:lnTo>
                <a:lnTo>
                  <a:pt x="179" y="41"/>
                </a:lnTo>
                <a:lnTo>
                  <a:pt x="164" y="48"/>
                </a:lnTo>
                <a:lnTo>
                  <a:pt x="150" y="56"/>
                </a:lnTo>
                <a:lnTo>
                  <a:pt x="137" y="62"/>
                </a:lnTo>
                <a:lnTo>
                  <a:pt x="130" y="69"/>
                </a:lnTo>
                <a:lnTo>
                  <a:pt x="122" y="77"/>
                </a:lnTo>
                <a:lnTo>
                  <a:pt x="115" y="86"/>
                </a:lnTo>
                <a:lnTo>
                  <a:pt x="110" y="96"/>
                </a:lnTo>
                <a:lnTo>
                  <a:pt x="98" y="115"/>
                </a:lnTo>
                <a:lnTo>
                  <a:pt x="88" y="134"/>
                </a:lnTo>
                <a:lnTo>
                  <a:pt x="84" y="139"/>
                </a:lnTo>
                <a:lnTo>
                  <a:pt x="78" y="145"/>
                </a:lnTo>
                <a:lnTo>
                  <a:pt x="70" y="151"/>
                </a:lnTo>
                <a:lnTo>
                  <a:pt x="64" y="155"/>
                </a:lnTo>
                <a:lnTo>
                  <a:pt x="56" y="159"/>
                </a:lnTo>
                <a:lnTo>
                  <a:pt x="48" y="165"/>
                </a:lnTo>
                <a:lnTo>
                  <a:pt x="43" y="171"/>
                </a:lnTo>
                <a:lnTo>
                  <a:pt x="38" y="177"/>
                </a:lnTo>
                <a:lnTo>
                  <a:pt x="31" y="187"/>
                </a:lnTo>
                <a:lnTo>
                  <a:pt x="26" y="199"/>
                </a:lnTo>
                <a:lnTo>
                  <a:pt x="20" y="211"/>
                </a:lnTo>
                <a:lnTo>
                  <a:pt x="16" y="222"/>
                </a:lnTo>
                <a:lnTo>
                  <a:pt x="11" y="234"/>
                </a:lnTo>
                <a:lnTo>
                  <a:pt x="9" y="247"/>
                </a:lnTo>
                <a:lnTo>
                  <a:pt x="7" y="259"/>
                </a:lnTo>
                <a:lnTo>
                  <a:pt x="7" y="272"/>
                </a:lnTo>
                <a:lnTo>
                  <a:pt x="6" y="286"/>
                </a:lnTo>
                <a:lnTo>
                  <a:pt x="3" y="299"/>
                </a:lnTo>
                <a:lnTo>
                  <a:pt x="1" y="313"/>
                </a:lnTo>
                <a:lnTo>
                  <a:pt x="0" y="327"/>
                </a:lnTo>
                <a:lnTo>
                  <a:pt x="0" y="330"/>
                </a:lnTo>
                <a:lnTo>
                  <a:pt x="2" y="334"/>
                </a:lnTo>
                <a:lnTo>
                  <a:pt x="3" y="336"/>
                </a:lnTo>
                <a:lnTo>
                  <a:pt x="7" y="338"/>
                </a:lnTo>
                <a:lnTo>
                  <a:pt x="14" y="340"/>
                </a:lnTo>
                <a:lnTo>
                  <a:pt x="21" y="340"/>
                </a:lnTo>
                <a:lnTo>
                  <a:pt x="30" y="340"/>
                </a:lnTo>
                <a:lnTo>
                  <a:pt x="39" y="339"/>
                </a:lnTo>
                <a:lnTo>
                  <a:pt x="46" y="337"/>
                </a:lnTo>
                <a:lnTo>
                  <a:pt x="50" y="335"/>
                </a:lnTo>
                <a:lnTo>
                  <a:pt x="57" y="330"/>
                </a:lnTo>
                <a:lnTo>
                  <a:pt x="63" y="325"/>
                </a:lnTo>
                <a:lnTo>
                  <a:pt x="68" y="318"/>
                </a:lnTo>
                <a:lnTo>
                  <a:pt x="74" y="310"/>
                </a:lnTo>
                <a:lnTo>
                  <a:pt x="79" y="303"/>
                </a:lnTo>
                <a:lnTo>
                  <a:pt x="86" y="298"/>
                </a:lnTo>
                <a:lnTo>
                  <a:pt x="94" y="293"/>
                </a:lnTo>
                <a:lnTo>
                  <a:pt x="103" y="291"/>
                </a:lnTo>
                <a:lnTo>
                  <a:pt x="110" y="290"/>
                </a:lnTo>
                <a:lnTo>
                  <a:pt x="118" y="291"/>
                </a:lnTo>
                <a:lnTo>
                  <a:pt x="130" y="291"/>
                </a:lnTo>
                <a:lnTo>
                  <a:pt x="141" y="293"/>
                </a:lnTo>
                <a:lnTo>
                  <a:pt x="152" y="296"/>
                </a:lnTo>
                <a:lnTo>
                  <a:pt x="161" y="300"/>
                </a:lnTo>
                <a:lnTo>
                  <a:pt x="164" y="302"/>
                </a:lnTo>
                <a:lnTo>
                  <a:pt x="166" y="305"/>
                </a:lnTo>
                <a:lnTo>
                  <a:pt x="169" y="308"/>
                </a:lnTo>
                <a:lnTo>
                  <a:pt x="169" y="311"/>
                </a:lnTo>
                <a:lnTo>
                  <a:pt x="183" y="320"/>
                </a:lnTo>
                <a:lnTo>
                  <a:pt x="197" y="330"/>
                </a:lnTo>
                <a:lnTo>
                  <a:pt x="209" y="341"/>
                </a:lnTo>
                <a:lnTo>
                  <a:pt x="222" y="353"/>
                </a:lnTo>
                <a:lnTo>
                  <a:pt x="236" y="364"/>
                </a:lnTo>
                <a:lnTo>
                  <a:pt x="250" y="375"/>
                </a:lnTo>
                <a:lnTo>
                  <a:pt x="257" y="379"/>
                </a:lnTo>
                <a:lnTo>
                  <a:pt x="265" y="384"/>
                </a:lnTo>
                <a:lnTo>
                  <a:pt x="273" y="387"/>
                </a:lnTo>
                <a:lnTo>
                  <a:pt x="281" y="390"/>
                </a:lnTo>
                <a:lnTo>
                  <a:pt x="287" y="393"/>
                </a:lnTo>
                <a:lnTo>
                  <a:pt x="295" y="394"/>
                </a:lnTo>
                <a:lnTo>
                  <a:pt x="303" y="394"/>
                </a:lnTo>
                <a:lnTo>
                  <a:pt x="310" y="394"/>
                </a:lnTo>
                <a:lnTo>
                  <a:pt x="327" y="393"/>
                </a:lnTo>
                <a:lnTo>
                  <a:pt x="345" y="389"/>
                </a:lnTo>
                <a:lnTo>
                  <a:pt x="381" y="380"/>
                </a:lnTo>
                <a:lnTo>
                  <a:pt x="410" y="372"/>
                </a:lnTo>
                <a:lnTo>
                  <a:pt x="428" y="366"/>
                </a:lnTo>
                <a:lnTo>
                  <a:pt x="447" y="358"/>
                </a:lnTo>
                <a:lnTo>
                  <a:pt x="467" y="350"/>
                </a:lnTo>
                <a:lnTo>
                  <a:pt x="486" y="340"/>
                </a:lnTo>
                <a:lnTo>
                  <a:pt x="495" y="334"/>
                </a:lnTo>
                <a:lnTo>
                  <a:pt x="504" y="328"/>
                </a:lnTo>
                <a:lnTo>
                  <a:pt x="511" y="320"/>
                </a:lnTo>
                <a:lnTo>
                  <a:pt x="517" y="312"/>
                </a:lnTo>
                <a:lnTo>
                  <a:pt x="523" y="305"/>
                </a:lnTo>
                <a:lnTo>
                  <a:pt x="527" y="296"/>
                </a:lnTo>
                <a:lnTo>
                  <a:pt x="529" y="286"/>
                </a:lnTo>
                <a:lnTo>
                  <a:pt x="530" y="274"/>
                </a:lnTo>
                <a:lnTo>
                  <a:pt x="533" y="249"/>
                </a:lnTo>
                <a:lnTo>
                  <a:pt x="537" y="215"/>
                </a:lnTo>
                <a:lnTo>
                  <a:pt x="540" y="196"/>
                </a:lnTo>
                <a:lnTo>
                  <a:pt x="543" y="177"/>
                </a:lnTo>
                <a:lnTo>
                  <a:pt x="545" y="158"/>
                </a:lnTo>
                <a:lnTo>
                  <a:pt x="546" y="139"/>
                </a:lnTo>
                <a:lnTo>
                  <a:pt x="546" y="120"/>
                </a:lnTo>
                <a:lnTo>
                  <a:pt x="545" y="103"/>
                </a:lnTo>
                <a:lnTo>
                  <a:pt x="544" y="95"/>
                </a:lnTo>
                <a:lnTo>
                  <a:pt x="542" y="87"/>
                </a:lnTo>
                <a:lnTo>
                  <a:pt x="539" y="80"/>
                </a:lnTo>
                <a:lnTo>
                  <a:pt x="536" y="74"/>
                </a:lnTo>
                <a:lnTo>
                  <a:pt x="533" y="67"/>
                </a:lnTo>
                <a:lnTo>
                  <a:pt x="528" y="62"/>
                </a:lnTo>
                <a:lnTo>
                  <a:pt x="524" y="57"/>
                </a:lnTo>
                <a:lnTo>
                  <a:pt x="518" y="53"/>
                </a:lnTo>
                <a:lnTo>
                  <a:pt x="511" y="50"/>
                </a:lnTo>
                <a:lnTo>
                  <a:pt x="505" y="48"/>
                </a:lnTo>
                <a:lnTo>
                  <a:pt x="497" y="46"/>
                </a:lnTo>
                <a:lnTo>
                  <a:pt x="488" y="46"/>
                </a:lnTo>
                <a:lnTo>
                  <a:pt x="479" y="44"/>
                </a:lnTo>
                <a:lnTo>
                  <a:pt x="470" y="43"/>
                </a:lnTo>
                <a:lnTo>
                  <a:pt x="462" y="41"/>
                </a:lnTo>
                <a:lnTo>
                  <a:pt x="454" y="38"/>
                </a:lnTo>
                <a:lnTo>
                  <a:pt x="439" y="31"/>
                </a:lnTo>
                <a:lnTo>
                  <a:pt x="424" y="22"/>
                </a:lnTo>
                <a:lnTo>
                  <a:pt x="410" y="14"/>
                </a:lnTo>
                <a:lnTo>
                  <a:pt x="394" y="7"/>
                </a:lnTo>
                <a:lnTo>
                  <a:pt x="386" y="4"/>
                </a:lnTo>
                <a:lnTo>
                  <a:pt x="379" y="2"/>
                </a:lnTo>
                <a:lnTo>
                  <a:pt x="370" y="0"/>
                </a:lnTo>
                <a:lnTo>
                  <a:pt x="362" y="0"/>
                </a:lnTo>
                <a:lnTo>
                  <a:pt x="350" y="0"/>
                </a:lnTo>
                <a:lnTo>
                  <a:pt x="339" y="2"/>
                </a:lnTo>
                <a:lnTo>
                  <a:pt x="328" y="4"/>
                </a:lnTo>
                <a:lnTo>
                  <a:pt x="318" y="8"/>
                </a:lnTo>
                <a:lnTo>
                  <a:pt x="307" y="10"/>
                </a:lnTo>
                <a:lnTo>
                  <a:pt x="297" y="13"/>
                </a:lnTo>
                <a:lnTo>
                  <a:pt x="286" y="14"/>
                </a:lnTo>
                <a:lnTo>
                  <a:pt x="275" y="15"/>
                </a:lnTo>
                <a:lnTo>
                  <a:pt x="270" y="14"/>
                </a:lnTo>
                <a:lnTo>
                  <a:pt x="265" y="14"/>
                </a:lnTo>
                <a:lnTo>
                  <a:pt x="264" y="12"/>
                </a:lnTo>
                <a:lnTo>
                  <a:pt x="262" y="11"/>
                </a:lnTo>
                <a:lnTo>
                  <a:pt x="262" y="9"/>
                </a:lnTo>
                <a:lnTo>
                  <a:pt x="255" y="1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94" name="Freeform 55">
            <a:extLst>
              <a:ext uri="{FF2B5EF4-FFF2-40B4-BE49-F238E27FC236}">
                <a16:creationId xmlns:a16="http://schemas.microsoft.com/office/drawing/2014/main" id="{9BB769B7-2988-43DC-8AE2-B3AE52A90890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272463" y="3068638"/>
            <a:ext cx="142875" cy="90523"/>
          </a:xfrm>
          <a:custGeom>
            <a:avLst/>
            <a:gdLst/>
            <a:ahLst/>
            <a:cxnLst>
              <a:cxn ang="0">
                <a:pos x="572" y="0"/>
              </a:cxn>
              <a:cxn ang="0">
                <a:pos x="438" y="6"/>
              </a:cxn>
              <a:cxn ang="0">
                <a:pos x="352" y="21"/>
              </a:cxn>
              <a:cxn ang="0">
                <a:pos x="303" y="35"/>
              </a:cxn>
              <a:cxn ang="0">
                <a:pos x="272" y="54"/>
              </a:cxn>
              <a:cxn ang="0">
                <a:pos x="227" y="88"/>
              </a:cxn>
              <a:cxn ang="0">
                <a:pos x="161" y="126"/>
              </a:cxn>
              <a:cxn ang="0">
                <a:pos x="155" y="183"/>
              </a:cxn>
              <a:cxn ang="0">
                <a:pos x="147" y="202"/>
              </a:cxn>
              <a:cxn ang="0">
                <a:pos x="142" y="211"/>
              </a:cxn>
              <a:cxn ang="0">
                <a:pos x="104" y="216"/>
              </a:cxn>
              <a:cxn ang="0">
                <a:pos x="67" y="227"/>
              </a:cxn>
              <a:cxn ang="0">
                <a:pos x="42" y="234"/>
              </a:cxn>
              <a:cxn ang="0">
                <a:pos x="34" y="241"/>
              </a:cxn>
              <a:cxn ang="0">
                <a:pos x="28" y="246"/>
              </a:cxn>
              <a:cxn ang="0">
                <a:pos x="24" y="252"/>
              </a:cxn>
              <a:cxn ang="0">
                <a:pos x="43" y="279"/>
              </a:cxn>
              <a:cxn ang="0">
                <a:pos x="74" y="290"/>
              </a:cxn>
              <a:cxn ang="0">
                <a:pos x="98" y="303"/>
              </a:cxn>
              <a:cxn ang="0">
                <a:pos x="103" y="333"/>
              </a:cxn>
              <a:cxn ang="0">
                <a:pos x="88" y="346"/>
              </a:cxn>
              <a:cxn ang="0">
                <a:pos x="46" y="402"/>
              </a:cxn>
              <a:cxn ang="0">
                <a:pos x="8" y="465"/>
              </a:cxn>
              <a:cxn ang="0">
                <a:pos x="0" y="489"/>
              </a:cxn>
              <a:cxn ang="0">
                <a:pos x="25" y="496"/>
              </a:cxn>
              <a:cxn ang="0">
                <a:pos x="51" y="502"/>
              </a:cxn>
              <a:cxn ang="0">
                <a:pos x="67" y="499"/>
              </a:cxn>
              <a:cxn ang="0">
                <a:pos x="103" y="475"/>
              </a:cxn>
              <a:cxn ang="0">
                <a:pos x="157" y="434"/>
              </a:cxn>
              <a:cxn ang="0">
                <a:pos x="191" y="414"/>
              </a:cxn>
              <a:cxn ang="0">
                <a:pos x="228" y="412"/>
              </a:cxn>
              <a:cxn ang="0">
                <a:pos x="287" y="417"/>
              </a:cxn>
              <a:cxn ang="0">
                <a:pos x="342" y="428"/>
              </a:cxn>
              <a:cxn ang="0">
                <a:pos x="393" y="445"/>
              </a:cxn>
              <a:cxn ang="0">
                <a:pos x="441" y="470"/>
              </a:cxn>
              <a:cxn ang="0">
                <a:pos x="491" y="499"/>
              </a:cxn>
              <a:cxn ang="0">
                <a:pos x="562" y="545"/>
              </a:cxn>
              <a:cxn ang="0">
                <a:pos x="616" y="570"/>
              </a:cxn>
              <a:cxn ang="0">
                <a:pos x="630" y="572"/>
              </a:cxn>
              <a:cxn ang="0">
                <a:pos x="641" y="568"/>
              </a:cxn>
              <a:cxn ang="0">
                <a:pos x="646" y="556"/>
              </a:cxn>
              <a:cxn ang="0">
                <a:pos x="642" y="534"/>
              </a:cxn>
              <a:cxn ang="0">
                <a:pos x="640" y="509"/>
              </a:cxn>
              <a:cxn ang="0">
                <a:pos x="645" y="490"/>
              </a:cxn>
              <a:cxn ang="0">
                <a:pos x="656" y="479"/>
              </a:cxn>
              <a:cxn ang="0">
                <a:pos x="670" y="477"/>
              </a:cxn>
              <a:cxn ang="0">
                <a:pos x="686" y="486"/>
              </a:cxn>
              <a:cxn ang="0">
                <a:pos x="695" y="495"/>
              </a:cxn>
              <a:cxn ang="0">
                <a:pos x="706" y="494"/>
              </a:cxn>
              <a:cxn ang="0">
                <a:pos x="725" y="476"/>
              </a:cxn>
              <a:cxn ang="0">
                <a:pos x="751" y="433"/>
              </a:cxn>
              <a:cxn ang="0">
                <a:pos x="777" y="369"/>
              </a:cxn>
              <a:cxn ang="0">
                <a:pos x="782" y="335"/>
              </a:cxn>
              <a:cxn ang="0">
                <a:pos x="770" y="280"/>
              </a:cxn>
              <a:cxn ang="0">
                <a:pos x="756" y="223"/>
              </a:cxn>
              <a:cxn ang="0">
                <a:pos x="758" y="188"/>
              </a:cxn>
              <a:cxn ang="0">
                <a:pos x="767" y="118"/>
              </a:cxn>
              <a:cxn ang="0">
                <a:pos x="766" y="83"/>
              </a:cxn>
              <a:cxn ang="0">
                <a:pos x="756" y="61"/>
              </a:cxn>
              <a:cxn ang="0">
                <a:pos x="729" y="27"/>
              </a:cxn>
              <a:cxn ang="0">
                <a:pos x="707" y="10"/>
              </a:cxn>
              <a:cxn ang="0">
                <a:pos x="686" y="2"/>
              </a:cxn>
              <a:cxn ang="0">
                <a:pos x="661" y="0"/>
              </a:cxn>
            </a:cxnLst>
            <a:rect l="0" t="0" r="r" b="b"/>
            <a:pathLst>
              <a:path w="782" h="572">
                <a:moveTo>
                  <a:pt x="661" y="0"/>
                </a:moveTo>
                <a:lnTo>
                  <a:pt x="617" y="0"/>
                </a:lnTo>
                <a:lnTo>
                  <a:pt x="572" y="0"/>
                </a:lnTo>
                <a:lnTo>
                  <a:pt x="526" y="1"/>
                </a:lnTo>
                <a:lnTo>
                  <a:pt x="482" y="3"/>
                </a:lnTo>
                <a:lnTo>
                  <a:pt x="438" y="6"/>
                </a:lnTo>
                <a:lnTo>
                  <a:pt x="395" y="12"/>
                </a:lnTo>
                <a:lnTo>
                  <a:pt x="373" y="16"/>
                </a:lnTo>
                <a:lnTo>
                  <a:pt x="352" y="21"/>
                </a:lnTo>
                <a:lnTo>
                  <a:pt x="331" y="27"/>
                </a:lnTo>
                <a:lnTo>
                  <a:pt x="310" y="32"/>
                </a:lnTo>
                <a:lnTo>
                  <a:pt x="303" y="35"/>
                </a:lnTo>
                <a:lnTo>
                  <a:pt x="293" y="40"/>
                </a:lnTo>
                <a:lnTo>
                  <a:pt x="283" y="47"/>
                </a:lnTo>
                <a:lnTo>
                  <a:pt x="272" y="54"/>
                </a:lnTo>
                <a:lnTo>
                  <a:pt x="252" y="70"/>
                </a:lnTo>
                <a:lnTo>
                  <a:pt x="239" y="81"/>
                </a:lnTo>
                <a:lnTo>
                  <a:pt x="227" y="88"/>
                </a:lnTo>
                <a:lnTo>
                  <a:pt x="201" y="104"/>
                </a:lnTo>
                <a:lnTo>
                  <a:pt x="175" y="119"/>
                </a:lnTo>
                <a:lnTo>
                  <a:pt x="161" y="126"/>
                </a:lnTo>
                <a:lnTo>
                  <a:pt x="160" y="144"/>
                </a:lnTo>
                <a:lnTo>
                  <a:pt x="157" y="170"/>
                </a:lnTo>
                <a:lnTo>
                  <a:pt x="155" y="183"/>
                </a:lnTo>
                <a:lnTo>
                  <a:pt x="151" y="194"/>
                </a:lnTo>
                <a:lnTo>
                  <a:pt x="149" y="198"/>
                </a:lnTo>
                <a:lnTo>
                  <a:pt x="147" y="202"/>
                </a:lnTo>
                <a:lnTo>
                  <a:pt x="145" y="203"/>
                </a:lnTo>
                <a:lnTo>
                  <a:pt x="142" y="204"/>
                </a:lnTo>
                <a:lnTo>
                  <a:pt x="142" y="211"/>
                </a:lnTo>
                <a:lnTo>
                  <a:pt x="130" y="212"/>
                </a:lnTo>
                <a:lnTo>
                  <a:pt x="118" y="214"/>
                </a:lnTo>
                <a:lnTo>
                  <a:pt x="104" y="216"/>
                </a:lnTo>
                <a:lnTo>
                  <a:pt x="92" y="221"/>
                </a:lnTo>
                <a:lnTo>
                  <a:pt x="79" y="224"/>
                </a:lnTo>
                <a:lnTo>
                  <a:pt x="67" y="227"/>
                </a:lnTo>
                <a:lnTo>
                  <a:pt x="56" y="229"/>
                </a:lnTo>
                <a:lnTo>
                  <a:pt x="45" y="230"/>
                </a:lnTo>
                <a:lnTo>
                  <a:pt x="42" y="234"/>
                </a:lnTo>
                <a:lnTo>
                  <a:pt x="37" y="236"/>
                </a:lnTo>
                <a:lnTo>
                  <a:pt x="36" y="239"/>
                </a:lnTo>
                <a:lnTo>
                  <a:pt x="34" y="241"/>
                </a:lnTo>
                <a:lnTo>
                  <a:pt x="33" y="243"/>
                </a:lnTo>
                <a:lnTo>
                  <a:pt x="33" y="246"/>
                </a:lnTo>
                <a:lnTo>
                  <a:pt x="28" y="246"/>
                </a:lnTo>
                <a:lnTo>
                  <a:pt x="26" y="247"/>
                </a:lnTo>
                <a:lnTo>
                  <a:pt x="25" y="250"/>
                </a:lnTo>
                <a:lnTo>
                  <a:pt x="24" y="252"/>
                </a:lnTo>
                <a:lnTo>
                  <a:pt x="26" y="259"/>
                </a:lnTo>
                <a:lnTo>
                  <a:pt x="31" y="265"/>
                </a:lnTo>
                <a:lnTo>
                  <a:pt x="43" y="279"/>
                </a:lnTo>
                <a:lnTo>
                  <a:pt x="48" y="284"/>
                </a:lnTo>
                <a:lnTo>
                  <a:pt x="57" y="287"/>
                </a:lnTo>
                <a:lnTo>
                  <a:pt x="74" y="290"/>
                </a:lnTo>
                <a:lnTo>
                  <a:pt x="90" y="293"/>
                </a:lnTo>
                <a:lnTo>
                  <a:pt x="98" y="294"/>
                </a:lnTo>
                <a:lnTo>
                  <a:pt x="98" y="303"/>
                </a:lnTo>
                <a:lnTo>
                  <a:pt x="100" y="314"/>
                </a:lnTo>
                <a:lnTo>
                  <a:pt x="102" y="324"/>
                </a:lnTo>
                <a:lnTo>
                  <a:pt x="103" y="333"/>
                </a:lnTo>
                <a:lnTo>
                  <a:pt x="100" y="335"/>
                </a:lnTo>
                <a:lnTo>
                  <a:pt x="94" y="339"/>
                </a:lnTo>
                <a:lnTo>
                  <a:pt x="88" y="346"/>
                </a:lnTo>
                <a:lnTo>
                  <a:pt x="81" y="354"/>
                </a:lnTo>
                <a:lnTo>
                  <a:pt x="64" y="376"/>
                </a:lnTo>
                <a:lnTo>
                  <a:pt x="46" y="402"/>
                </a:lnTo>
                <a:lnTo>
                  <a:pt x="28" y="428"/>
                </a:lnTo>
                <a:lnTo>
                  <a:pt x="14" y="454"/>
                </a:lnTo>
                <a:lnTo>
                  <a:pt x="8" y="465"/>
                </a:lnTo>
                <a:lnTo>
                  <a:pt x="4" y="475"/>
                </a:lnTo>
                <a:lnTo>
                  <a:pt x="2" y="483"/>
                </a:lnTo>
                <a:lnTo>
                  <a:pt x="0" y="489"/>
                </a:lnTo>
                <a:lnTo>
                  <a:pt x="9" y="490"/>
                </a:lnTo>
                <a:lnTo>
                  <a:pt x="17" y="492"/>
                </a:lnTo>
                <a:lnTo>
                  <a:pt x="25" y="496"/>
                </a:lnTo>
                <a:lnTo>
                  <a:pt x="33" y="500"/>
                </a:lnTo>
                <a:lnTo>
                  <a:pt x="41" y="502"/>
                </a:lnTo>
                <a:lnTo>
                  <a:pt x="51" y="502"/>
                </a:lnTo>
                <a:lnTo>
                  <a:pt x="55" y="502"/>
                </a:lnTo>
                <a:lnTo>
                  <a:pt x="61" y="501"/>
                </a:lnTo>
                <a:lnTo>
                  <a:pt x="67" y="499"/>
                </a:lnTo>
                <a:lnTo>
                  <a:pt x="74" y="495"/>
                </a:lnTo>
                <a:lnTo>
                  <a:pt x="88" y="487"/>
                </a:lnTo>
                <a:lnTo>
                  <a:pt x="103" y="475"/>
                </a:lnTo>
                <a:lnTo>
                  <a:pt x="120" y="462"/>
                </a:lnTo>
                <a:lnTo>
                  <a:pt x="138" y="447"/>
                </a:lnTo>
                <a:lnTo>
                  <a:pt x="157" y="434"/>
                </a:lnTo>
                <a:lnTo>
                  <a:pt x="175" y="422"/>
                </a:lnTo>
                <a:lnTo>
                  <a:pt x="182" y="417"/>
                </a:lnTo>
                <a:lnTo>
                  <a:pt x="191" y="414"/>
                </a:lnTo>
                <a:lnTo>
                  <a:pt x="199" y="412"/>
                </a:lnTo>
                <a:lnTo>
                  <a:pt x="207" y="412"/>
                </a:lnTo>
                <a:lnTo>
                  <a:pt x="228" y="412"/>
                </a:lnTo>
                <a:lnTo>
                  <a:pt x="248" y="413"/>
                </a:lnTo>
                <a:lnTo>
                  <a:pt x="268" y="414"/>
                </a:lnTo>
                <a:lnTo>
                  <a:pt x="287" y="417"/>
                </a:lnTo>
                <a:lnTo>
                  <a:pt x="306" y="419"/>
                </a:lnTo>
                <a:lnTo>
                  <a:pt x="324" y="424"/>
                </a:lnTo>
                <a:lnTo>
                  <a:pt x="342" y="428"/>
                </a:lnTo>
                <a:lnTo>
                  <a:pt x="360" y="433"/>
                </a:lnTo>
                <a:lnTo>
                  <a:pt x="377" y="439"/>
                </a:lnTo>
                <a:lnTo>
                  <a:pt x="393" y="445"/>
                </a:lnTo>
                <a:lnTo>
                  <a:pt x="409" y="453"/>
                </a:lnTo>
                <a:lnTo>
                  <a:pt x="426" y="461"/>
                </a:lnTo>
                <a:lnTo>
                  <a:pt x="441" y="470"/>
                </a:lnTo>
                <a:lnTo>
                  <a:pt x="458" y="479"/>
                </a:lnTo>
                <a:lnTo>
                  <a:pt x="474" y="489"/>
                </a:lnTo>
                <a:lnTo>
                  <a:pt x="491" y="499"/>
                </a:lnTo>
                <a:lnTo>
                  <a:pt x="510" y="512"/>
                </a:lnTo>
                <a:lnTo>
                  <a:pt x="534" y="529"/>
                </a:lnTo>
                <a:lnTo>
                  <a:pt x="562" y="545"/>
                </a:lnTo>
                <a:lnTo>
                  <a:pt x="590" y="561"/>
                </a:lnTo>
                <a:lnTo>
                  <a:pt x="603" y="567"/>
                </a:lnTo>
                <a:lnTo>
                  <a:pt x="616" y="570"/>
                </a:lnTo>
                <a:lnTo>
                  <a:pt x="621" y="571"/>
                </a:lnTo>
                <a:lnTo>
                  <a:pt x="626" y="572"/>
                </a:lnTo>
                <a:lnTo>
                  <a:pt x="630" y="572"/>
                </a:lnTo>
                <a:lnTo>
                  <a:pt x="635" y="571"/>
                </a:lnTo>
                <a:lnTo>
                  <a:pt x="638" y="570"/>
                </a:lnTo>
                <a:lnTo>
                  <a:pt x="641" y="568"/>
                </a:lnTo>
                <a:lnTo>
                  <a:pt x="643" y="564"/>
                </a:lnTo>
                <a:lnTo>
                  <a:pt x="645" y="560"/>
                </a:lnTo>
                <a:lnTo>
                  <a:pt x="646" y="556"/>
                </a:lnTo>
                <a:lnTo>
                  <a:pt x="646" y="550"/>
                </a:lnTo>
                <a:lnTo>
                  <a:pt x="645" y="542"/>
                </a:lnTo>
                <a:lnTo>
                  <a:pt x="642" y="534"/>
                </a:lnTo>
                <a:lnTo>
                  <a:pt x="640" y="525"/>
                </a:lnTo>
                <a:lnTo>
                  <a:pt x="640" y="516"/>
                </a:lnTo>
                <a:lnTo>
                  <a:pt x="640" y="509"/>
                </a:lnTo>
                <a:lnTo>
                  <a:pt x="640" y="501"/>
                </a:lnTo>
                <a:lnTo>
                  <a:pt x="642" y="495"/>
                </a:lnTo>
                <a:lnTo>
                  <a:pt x="645" y="490"/>
                </a:lnTo>
                <a:lnTo>
                  <a:pt x="648" y="485"/>
                </a:lnTo>
                <a:lnTo>
                  <a:pt x="651" y="482"/>
                </a:lnTo>
                <a:lnTo>
                  <a:pt x="656" y="479"/>
                </a:lnTo>
                <a:lnTo>
                  <a:pt x="660" y="477"/>
                </a:lnTo>
                <a:lnTo>
                  <a:pt x="665" y="476"/>
                </a:lnTo>
                <a:lnTo>
                  <a:pt x="670" y="477"/>
                </a:lnTo>
                <a:lnTo>
                  <a:pt x="675" y="480"/>
                </a:lnTo>
                <a:lnTo>
                  <a:pt x="680" y="482"/>
                </a:lnTo>
                <a:lnTo>
                  <a:pt x="686" y="486"/>
                </a:lnTo>
                <a:lnTo>
                  <a:pt x="690" y="492"/>
                </a:lnTo>
                <a:lnTo>
                  <a:pt x="693" y="494"/>
                </a:lnTo>
                <a:lnTo>
                  <a:pt x="695" y="495"/>
                </a:lnTo>
                <a:lnTo>
                  <a:pt x="698" y="496"/>
                </a:lnTo>
                <a:lnTo>
                  <a:pt x="700" y="496"/>
                </a:lnTo>
                <a:lnTo>
                  <a:pt x="706" y="494"/>
                </a:lnTo>
                <a:lnTo>
                  <a:pt x="712" y="490"/>
                </a:lnTo>
                <a:lnTo>
                  <a:pt x="718" y="484"/>
                </a:lnTo>
                <a:lnTo>
                  <a:pt x="725" y="476"/>
                </a:lnTo>
                <a:lnTo>
                  <a:pt x="732" y="466"/>
                </a:lnTo>
                <a:lnTo>
                  <a:pt x="738" y="456"/>
                </a:lnTo>
                <a:lnTo>
                  <a:pt x="751" y="433"/>
                </a:lnTo>
                <a:lnTo>
                  <a:pt x="762" y="408"/>
                </a:lnTo>
                <a:lnTo>
                  <a:pt x="771" y="387"/>
                </a:lnTo>
                <a:lnTo>
                  <a:pt x="777" y="369"/>
                </a:lnTo>
                <a:lnTo>
                  <a:pt x="781" y="358"/>
                </a:lnTo>
                <a:lnTo>
                  <a:pt x="782" y="346"/>
                </a:lnTo>
                <a:lnTo>
                  <a:pt x="782" y="335"/>
                </a:lnTo>
                <a:lnTo>
                  <a:pt x="781" y="323"/>
                </a:lnTo>
                <a:lnTo>
                  <a:pt x="775" y="302"/>
                </a:lnTo>
                <a:lnTo>
                  <a:pt x="770" y="280"/>
                </a:lnTo>
                <a:lnTo>
                  <a:pt x="763" y="258"/>
                </a:lnTo>
                <a:lnTo>
                  <a:pt x="757" y="235"/>
                </a:lnTo>
                <a:lnTo>
                  <a:pt x="756" y="223"/>
                </a:lnTo>
                <a:lnTo>
                  <a:pt x="755" y="212"/>
                </a:lnTo>
                <a:lnTo>
                  <a:pt x="756" y="199"/>
                </a:lnTo>
                <a:lnTo>
                  <a:pt x="758" y="188"/>
                </a:lnTo>
                <a:lnTo>
                  <a:pt x="763" y="165"/>
                </a:lnTo>
                <a:lnTo>
                  <a:pt x="765" y="143"/>
                </a:lnTo>
                <a:lnTo>
                  <a:pt x="767" y="118"/>
                </a:lnTo>
                <a:lnTo>
                  <a:pt x="769" y="93"/>
                </a:lnTo>
                <a:lnTo>
                  <a:pt x="767" y="89"/>
                </a:lnTo>
                <a:lnTo>
                  <a:pt x="766" y="83"/>
                </a:lnTo>
                <a:lnTo>
                  <a:pt x="764" y="78"/>
                </a:lnTo>
                <a:lnTo>
                  <a:pt x="762" y="72"/>
                </a:lnTo>
                <a:lnTo>
                  <a:pt x="756" y="61"/>
                </a:lnTo>
                <a:lnTo>
                  <a:pt x="748" y="51"/>
                </a:lnTo>
                <a:lnTo>
                  <a:pt x="735" y="35"/>
                </a:lnTo>
                <a:lnTo>
                  <a:pt x="729" y="27"/>
                </a:lnTo>
                <a:lnTo>
                  <a:pt x="723" y="27"/>
                </a:lnTo>
                <a:lnTo>
                  <a:pt x="715" y="18"/>
                </a:lnTo>
                <a:lnTo>
                  <a:pt x="707" y="10"/>
                </a:lnTo>
                <a:lnTo>
                  <a:pt x="699" y="8"/>
                </a:lnTo>
                <a:lnTo>
                  <a:pt x="691" y="4"/>
                </a:lnTo>
                <a:lnTo>
                  <a:pt x="686" y="2"/>
                </a:lnTo>
                <a:lnTo>
                  <a:pt x="679" y="1"/>
                </a:lnTo>
                <a:lnTo>
                  <a:pt x="671" y="0"/>
                </a:lnTo>
                <a:lnTo>
                  <a:pt x="66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95" name="Freeform 56">
            <a:extLst>
              <a:ext uri="{FF2B5EF4-FFF2-40B4-BE49-F238E27FC236}">
                <a16:creationId xmlns:a16="http://schemas.microsoft.com/office/drawing/2014/main" id="{32640506-3A4E-4BFC-B21A-6F61313F9011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7767638" y="2768600"/>
            <a:ext cx="455928" cy="274638"/>
          </a:xfrm>
          <a:custGeom>
            <a:avLst/>
            <a:gdLst/>
            <a:ahLst/>
            <a:cxnLst>
              <a:cxn ang="0">
                <a:pos x="1740" y="1661"/>
              </a:cxn>
              <a:cxn ang="0">
                <a:pos x="1849" y="1643"/>
              </a:cxn>
              <a:cxn ang="0">
                <a:pos x="1946" y="1647"/>
              </a:cxn>
              <a:cxn ang="0">
                <a:pos x="2019" y="1569"/>
              </a:cxn>
              <a:cxn ang="0">
                <a:pos x="2152" y="1480"/>
              </a:cxn>
              <a:cxn ang="0">
                <a:pos x="2216" y="1357"/>
              </a:cxn>
              <a:cxn ang="0">
                <a:pos x="2391" y="1219"/>
              </a:cxn>
              <a:cxn ang="0">
                <a:pos x="2448" y="1108"/>
              </a:cxn>
              <a:cxn ang="0">
                <a:pos x="2499" y="1084"/>
              </a:cxn>
              <a:cxn ang="0">
                <a:pos x="2466" y="1057"/>
              </a:cxn>
              <a:cxn ang="0">
                <a:pos x="2421" y="1031"/>
              </a:cxn>
              <a:cxn ang="0">
                <a:pos x="2362" y="1014"/>
              </a:cxn>
              <a:cxn ang="0">
                <a:pos x="2294" y="980"/>
              </a:cxn>
              <a:cxn ang="0">
                <a:pos x="2240" y="947"/>
              </a:cxn>
              <a:cxn ang="0">
                <a:pos x="2230" y="916"/>
              </a:cxn>
              <a:cxn ang="0">
                <a:pos x="2210" y="843"/>
              </a:cxn>
              <a:cxn ang="0">
                <a:pos x="2132" y="826"/>
              </a:cxn>
              <a:cxn ang="0">
                <a:pos x="1960" y="795"/>
              </a:cxn>
              <a:cxn ang="0">
                <a:pos x="1879" y="729"/>
              </a:cxn>
              <a:cxn ang="0">
                <a:pos x="1829" y="691"/>
              </a:cxn>
              <a:cxn ang="0">
                <a:pos x="1763" y="623"/>
              </a:cxn>
              <a:cxn ang="0">
                <a:pos x="1714" y="551"/>
              </a:cxn>
              <a:cxn ang="0">
                <a:pos x="1679" y="519"/>
              </a:cxn>
              <a:cxn ang="0">
                <a:pos x="1619" y="459"/>
              </a:cxn>
              <a:cxn ang="0">
                <a:pos x="1588" y="261"/>
              </a:cxn>
              <a:cxn ang="0">
                <a:pos x="1533" y="203"/>
              </a:cxn>
              <a:cxn ang="0">
                <a:pos x="1511" y="102"/>
              </a:cxn>
              <a:cxn ang="0">
                <a:pos x="1498" y="74"/>
              </a:cxn>
              <a:cxn ang="0">
                <a:pos x="1425" y="57"/>
              </a:cxn>
              <a:cxn ang="0">
                <a:pos x="1270" y="41"/>
              </a:cxn>
              <a:cxn ang="0">
                <a:pos x="1152" y="18"/>
              </a:cxn>
              <a:cxn ang="0">
                <a:pos x="1007" y="53"/>
              </a:cxn>
              <a:cxn ang="0">
                <a:pos x="884" y="25"/>
              </a:cxn>
              <a:cxn ang="0">
                <a:pos x="770" y="46"/>
              </a:cxn>
              <a:cxn ang="0">
                <a:pos x="759" y="77"/>
              </a:cxn>
              <a:cxn ang="0">
                <a:pos x="739" y="116"/>
              </a:cxn>
              <a:cxn ang="0">
                <a:pos x="719" y="128"/>
              </a:cxn>
              <a:cxn ang="0">
                <a:pos x="481" y="150"/>
              </a:cxn>
              <a:cxn ang="0">
                <a:pos x="108" y="257"/>
              </a:cxn>
              <a:cxn ang="0">
                <a:pos x="45" y="312"/>
              </a:cxn>
              <a:cxn ang="0">
                <a:pos x="4" y="377"/>
              </a:cxn>
              <a:cxn ang="0">
                <a:pos x="39" y="488"/>
              </a:cxn>
              <a:cxn ang="0">
                <a:pos x="137" y="594"/>
              </a:cxn>
              <a:cxn ang="0">
                <a:pos x="255" y="625"/>
              </a:cxn>
              <a:cxn ang="0">
                <a:pos x="312" y="652"/>
              </a:cxn>
              <a:cxn ang="0">
                <a:pos x="456" y="665"/>
              </a:cxn>
              <a:cxn ang="0">
                <a:pos x="519" y="702"/>
              </a:cxn>
              <a:cxn ang="0">
                <a:pos x="572" y="764"/>
              </a:cxn>
              <a:cxn ang="0">
                <a:pos x="619" y="812"/>
              </a:cxn>
              <a:cxn ang="0">
                <a:pos x="667" y="853"/>
              </a:cxn>
              <a:cxn ang="0">
                <a:pos x="740" y="919"/>
              </a:cxn>
              <a:cxn ang="0">
                <a:pos x="756" y="1014"/>
              </a:cxn>
              <a:cxn ang="0">
                <a:pos x="792" y="1114"/>
              </a:cxn>
              <a:cxn ang="0">
                <a:pos x="832" y="1217"/>
              </a:cxn>
              <a:cxn ang="0">
                <a:pos x="893" y="1299"/>
              </a:cxn>
              <a:cxn ang="0">
                <a:pos x="918" y="1324"/>
              </a:cxn>
              <a:cxn ang="0">
                <a:pos x="1022" y="1386"/>
              </a:cxn>
              <a:cxn ang="0">
                <a:pos x="1119" y="1429"/>
              </a:cxn>
              <a:cxn ang="0">
                <a:pos x="1298" y="1543"/>
              </a:cxn>
              <a:cxn ang="0">
                <a:pos x="1383" y="1577"/>
              </a:cxn>
              <a:cxn ang="0">
                <a:pos x="1451" y="1611"/>
              </a:cxn>
              <a:cxn ang="0">
                <a:pos x="1498" y="1642"/>
              </a:cxn>
              <a:cxn ang="0">
                <a:pos x="1647" y="1702"/>
              </a:cxn>
            </a:cxnLst>
            <a:rect l="0" t="0" r="r" b="b"/>
            <a:pathLst>
              <a:path w="2509" h="1707">
                <a:moveTo>
                  <a:pt x="1720" y="1707"/>
                </a:moveTo>
                <a:lnTo>
                  <a:pt x="1723" y="1705"/>
                </a:lnTo>
                <a:lnTo>
                  <a:pt x="1727" y="1703"/>
                </a:lnTo>
                <a:lnTo>
                  <a:pt x="1728" y="1701"/>
                </a:lnTo>
                <a:lnTo>
                  <a:pt x="1729" y="1699"/>
                </a:lnTo>
                <a:lnTo>
                  <a:pt x="1729" y="1685"/>
                </a:lnTo>
                <a:lnTo>
                  <a:pt x="1731" y="1675"/>
                </a:lnTo>
                <a:lnTo>
                  <a:pt x="1732" y="1671"/>
                </a:lnTo>
                <a:lnTo>
                  <a:pt x="1734" y="1668"/>
                </a:lnTo>
                <a:lnTo>
                  <a:pt x="1737" y="1663"/>
                </a:lnTo>
                <a:lnTo>
                  <a:pt x="1740" y="1661"/>
                </a:lnTo>
                <a:lnTo>
                  <a:pt x="1748" y="1654"/>
                </a:lnTo>
                <a:lnTo>
                  <a:pt x="1759" y="1650"/>
                </a:lnTo>
                <a:lnTo>
                  <a:pt x="1772" y="1643"/>
                </a:lnTo>
                <a:lnTo>
                  <a:pt x="1789" y="1637"/>
                </a:lnTo>
                <a:lnTo>
                  <a:pt x="1797" y="1635"/>
                </a:lnTo>
                <a:lnTo>
                  <a:pt x="1804" y="1633"/>
                </a:lnTo>
                <a:lnTo>
                  <a:pt x="1810" y="1633"/>
                </a:lnTo>
                <a:lnTo>
                  <a:pt x="1816" y="1633"/>
                </a:lnTo>
                <a:lnTo>
                  <a:pt x="1827" y="1635"/>
                </a:lnTo>
                <a:lnTo>
                  <a:pt x="1838" y="1639"/>
                </a:lnTo>
                <a:lnTo>
                  <a:pt x="1849" y="1643"/>
                </a:lnTo>
                <a:lnTo>
                  <a:pt x="1861" y="1649"/>
                </a:lnTo>
                <a:lnTo>
                  <a:pt x="1872" y="1653"/>
                </a:lnTo>
                <a:lnTo>
                  <a:pt x="1884" y="1655"/>
                </a:lnTo>
                <a:lnTo>
                  <a:pt x="1896" y="1658"/>
                </a:lnTo>
                <a:lnTo>
                  <a:pt x="1909" y="1659"/>
                </a:lnTo>
                <a:lnTo>
                  <a:pt x="1920" y="1659"/>
                </a:lnTo>
                <a:lnTo>
                  <a:pt x="1931" y="1656"/>
                </a:lnTo>
                <a:lnTo>
                  <a:pt x="1935" y="1655"/>
                </a:lnTo>
                <a:lnTo>
                  <a:pt x="1940" y="1653"/>
                </a:lnTo>
                <a:lnTo>
                  <a:pt x="1943" y="1651"/>
                </a:lnTo>
                <a:lnTo>
                  <a:pt x="1946" y="1647"/>
                </a:lnTo>
                <a:lnTo>
                  <a:pt x="1950" y="1643"/>
                </a:lnTo>
                <a:lnTo>
                  <a:pt x="1951" y="1639"/>
                </a:lnTo>
                <a:lnTo>
                  <a:pt x="1952" y="1633"/>
                </a:lnTo>
                <a:lnTo>
                  <a:pt x="1953" y="1626"/>
                </a:lnTo>
                <a:lnTo>
                  <a:pt x="1954" y="1622"/>
                </a:lnTo>
                <a:lnTo>
                  <a:pt x="1957" y="1617"/>
                </a:lnTo>
                <a:lnTo>
                  <a:pt x="1960" y="1613"/>
                </a:lnTo>
                <a:lnTo>
                  <a:pt x="1964" y="1607"/>
                </a:lnTo>
                <a:lnTo>
                  <a:pt x="1977" y="1597"/>
                </a:lnTo>
                <a:lnTo>
                  <a:pt x="1991" y="1587"/>
                </a:lnTo>
                <a:lnTo>
                  <a:pt x="2019" y="1569"/>
                </a:lnTo>
                <a:lnTo>
                  <a:pt x="2038" y="1559"/>
                </a:lnTo>
                <a:lnTo>
                  <a:pt x="2055" y="1553"/>
                </a:lnTo>
                <a:lnTo>
                  <a:pt x="2069" y="1545"/>
                </a:lnTo>
                <a:lnTo>
                  <a:pt x="2083" y="1538"/>
                </a:lnTo>
                <a:lnTo>
                  <a:pt x="2095" y="1531"/>
                </a:lnTo>
                <a:lnTo>
                  <a:pt x="2107" y="1524"/>
                </a:lnTo>
                <a:lnTo>
                  <a:pt x="2117" y="1516"/>
                </a:lnTo>
                <a:lnTo>
                  <a:pt x="2127" y="1508"/>
                </a:lnTo>
                <a:lnTo>
                  <a:pt x="2136" y="1499"/>
                </a:lnTo>
                <a:lnTo>
                  <a:pt x="2144" y="1490"/>
                </a:lnTo>
                <a:lnTo>
                  <a:pt x="2152" y="1480"/>
                </a:lnTo>
                <a:lnTo>
                  <a:pt x="2159" y="1469"/>
                </a:lnTo>
                <a:lnTo>
                  <a:pt x="2165" y="1457"/>
                </a:lnTo>
                <a:lnTo>
                  <a:pt x="2172" y="1444"/>
                </a:lnTo>
                <a:lnTo>
                  <a:pt x="2178" y="1431"/>
                </a:lnTo>
                <a:lnTo>
                  <a:pt x="2183" y="1415"/>
                </a:lnTo>
                <a:lnTo>
                  <a:pt x="2189" y="1399"/>
                </a:lnTo>
                <a:lnTo>
                  <a:pt x="2192" y="1392"/>
                </a:lnTo>
                <a:lnTo>
                  <a:pt x="2195" y="1384"/>
                </a:lnTo>
                <a:lnTo>
                  <a:pt x="2200" y="1377"/>
                </a:lnTo>
                <a:lnTo>
                  <a:pt x="2204" y="1371"/>
                </a:lnTo>
                <a:lnTo>
                  <a:pt x="2216" y="1357"/>
                </a:lnTo>
                <a:lnTo>
                  <a:pt x="2229" y="1344"/>
                </a:lnTo>
                <a:lnTo>
                  <a:pt x="2243" y="1332"/>
                </a:lnTo>
                <a:lnTo>
                  <a:pt x="2260" y="1320"/>
                </a:lnTo>
                <a:lnTo>
                  <a:pt x="2277" y="1308"/>
                </a:lnTo>
                <a:lnTo>
                  <a:pt x="2294" y="1296"/>
                </a:lnTo>
                <a:lnTo>
                  <a:pt x="2312" y="1285"/>
                </a:lnTo>
                <a:lnTo>
                  <a:pt x="2329" y="1272"/>
                </a:lnTo>
                <a:lnTo>
                  <a:pt x="2346" y="1260"/>
                </a:lnTo>
                <a:lnTo>
                  <a:pt x="2363" y="1247"/>
                </a:lnTo>
                <a:lnTo>
                  <a:pt x="2377" y="1233"/>
                </a:lnTo>
                <a:lnTo>
                  <a:pt x="2391" y="1219"/>
                </a:lnTo>
                <a:lnTo>
                  <a:pt x="2397" y="1212"/>
                </a:lnTo>
                <a:lnTo>
                  <a:pt x="2403" y="1204"/>
                </a:lnTo>
                <a:lnTo>
                  <a:pt x="2408" y="1197"/>
                </a:lnTo>
                <a:lnTo>
                  <a:pt x="2412" y="1189"/>
                </a:lnTo>
                <a:lnTo>
                  <a:pt x="2419" y="1170"/>
                </a:lnTo>
                <a:lnTo>
                  <a:pt x="2428" y="1143"/>
                </a:lnTo>
                <a:lnTo>
                  <a:pt x="2433" y="1130"/>
                </a:lnTo>
                <a:lnTo>
                  <a:pt x="2440" y="1118"/>
                </a:lnTo>
                <a:lnTo>
                  <a:pt x="2442" y="1114"/>
                </a:lnTo>
                <a:lnTo>
                  <a:pt x="2445" y="1111"/>
                </a:lnTo>
                <a:lnTo>
                  <a:pt x="2448" y="1108"/>
                </a:lnTo>
                <a:lnTo>
                  <a:pt x="2451" y="1108"/>
                </a:lnTo>
                <a:lnTo>
                  <a:pt x="2451" y="1104"/>
                </a:lnTo>
                <a:lnTo>
                  <a:pt x="2452" y="1104"/>
                </a:lnTo>
                <a:lnTo>
                  <a:pt x="2454" y="1104"/>
                </a:lnTo>
                <a:lnTo>
                  <a:pt x="2456" y="1103"/>
                </a:lnTo>
                <a:lnTo>
                  <a:pt x="2457" y="1101"/>
                </a:lnTo>
                <a:lnTo>
                  <a:pt x="2460" y="1101"/>
                </a:lnTo>
                <a:lnTo>
                  <a:pt x="2467" y="1098"/>
                </a:lnTo>
                <a:lnTo>
                  <a:pt x="2482" y="1093"/>
                </a:lnTo>
                <a:lnTo>
                  <a:pt x="2491" y="1088"/>
                </a:lnTo>
                <a:lnTo>
                  <a:pt x="2499" y="1084"/>
                </a:lnTo>
                <a:lnTo>
                  <a:pt x="2505" y="1079"/>
                </a:lnTo>
                <a:lnTo>
                  <a:pt x="2509" y="1075"/>
                </a:lnTo>
                <a:lnTo>
                  <a:pt x="2505" y="1075"/>
                </a:lnTo>
                <a:lnTo>
                  <a:pt x="2500" y="1074"/>
                </a:lnTo>
                <a:lnTo>
                  <a:pt x="2499" y="1074"/>
                </a:lnTo>
                <a:lnTo>
                  <a:pt x="2498" y="1073"/>
                </a:lnTo>
                <a:lnTo>
                  <a:pt x="2497" y="1070"/>
                </a:lnTo>
                <a:lnTo>
                  <a:pt x="2497" y="1069"/>
                </a:lnTo>
                <a:lnTo>
                  <a:pt x="2485" y="1069"/>
                </a:lnTo>
                <a:lnTo>
                  <a:pt x="2472" y="1069"/>
                </a:lnTo>
                <a:lnTo>
                  <a:pt x="2466" y="1057"/>
                </a:lnTo>
                <a:lnTo>
                  <a:pt x="2457" y="1054"/>
                </a:lnTo>
                <a:lnTo>
                  <a:pt x="2448" y="1050"/>
                </a:lnTo>
                <a:lnTo>
                  <a:pt x="2442" y="1038"/>
                </a:lnTo>
                <a:lnTo>
                  <a:pt x="2438" y="1038"/>
                </a:lnTo>
                <a:lnTo>
                  <a:pt x="2433" y="1038"/>
                </a:lnTo>
                <a:lnTo>
                  <a:pt x="2432" y="1037"/>
                </a:lnTo>
                <a:lnTo>
                  <a:pt x="2431" y="1036"/>
                </a:lnTo>
                <a:lnTo>
                  <a:pt x="2430" y="1035"/>
                </a:lnTo>
                <a:lnTo>
                  <a:pt x="2430" y="1033"/>
                </a:lnTo>
                <a:lnTo>
                  <a:pt x="2425" y="1033"/>
                </a:lnTo>
                <a:lnTo>
                  <a:pt x="2421" y="1031"/>
                </a:lnTo>
                <a:lnTo>
                  <a:pt x="2420" y="1030"/>
                </a:lnTo>
                <a:lnTo>
                  <a:pt x="2419" y="1029"/>
                </a:lnTo>
                <a:lnTo>
                  <a:pt x="2418" y="1028"/>
                </a:lnTo>
                <a:lnTo>
                  <a:pt x="2418" y="1026"/>
                </a:lnTo>
                <a:lnTo>
                  <a:pt x="2408" y="1026"/>
                </a:lnTo>
                <a:lnTo>
                  <a:pt x="2395" y="1025"/>
                </a:lnTo>
                <a:lnTo>
                  <a:pt x="2390" y="1024"/>
                </a:lnTo>
                <a:lnTo>
                  <a:pt x="2384" y="1021"/>
                </a:lnTo>
                <a:lnTo>
                  <a:pt x="2380" y="1018"/>
                </a:lnTo>
                <a:lnTo>
                  <a:pt x="2374" y="1014"/>
                </a:lnTo>
                <a:lnTo>
                  <a:pt x="2362" y="1014"/>
                </a:lnTo>
                <a:lnTo>
                  <a:pt x="2349" y="1014"/>
                </a:lnTo>
                <a:lnTo>
                  <a:pt x="2344" y="1001"/>
                </a:lnTo>
                <a:lnTo>
                  <a:pt x="2335" y="1000"/>
                </a:lnTo>
                <a:lnTo>
                  <a:pt x="2325" y="996"/>
                </a:lnTo>
                <a:lnTo>
                  <a:pt x="2319" y="993"/>
                </a:lnTo>
                <a:lnTo>
                  <a:pt x="2314" y="991"/>
                </a:lnTo>
                <a:lnTo>
                  <a:pt x="2308" y="990"/>
                </a:lnTo>
                <a:lnTo>
                  <a:pt x="2301" y="989"/>
                </a:lnTo>
                <a:lnTo>
                  <a:pt x="2300" y="986"/>
                </a:lnTo>
                <a:lnTo>
                  <a:pt x="2297" y="982"/>
                </a:lnTo>
                <a:lnTo>
                  <a:pt x="2294" y="980"/>
                </a:lnTo>
                <a:lnTo>
                  <a:pt x="2289" y="978"/>
                </a:lnTo>
                <a:lnTo>
                  <a:pt x="2285" y="977"/>
                </a:lnTo>
                <a:lnTo>
                  <a:pt x="2280" y="974"/>
                </a:lnTo>
                <a:lnTo>
                  <a:pt x="2278" y="973"/>
                </a:lnTo>
                <a:lnTo>
                  <a:pt x="2277" y="971"/>
                </a:lnTo>
                <a:lnTo>
                  <a:pt x="2265" y="971"/>
                </a:lnTo>
                <a:lnTo>
                  <a:pt x="2260" y="967"/>
                </a:lnTo>
                <a:lnTo>
                  <a:pt x="2256" y="962"/>
                </a:lnTo>
                <a:lnTo>
                  <a:pt x="2253" y="958"/>
                </a:lnTo>
                <a:lnTo>
                  <a:pt x="2252" y="953"/>
                </a:lnTo>
                <a:lnTo>
                  <a:pt x="2240" y="947"/>
                </a:lnTo>
                <a:lnTo>
                  <a:pt x="2240" y="942"/>
                </a:lnTo>
                <a:lnTo>
                  <a:pt x="2239" y="939"/>
                </a:lnTo>
                <a:lnTo>
                  <a:pt x="2239" y="937"/>
                </a:lnTo>
                <a:lnTo>
                  <a:pt x="2238" y="935"/>
                </a:lnTo>
                <a:lnTo>
                  <a:pt x="2236" y="934"/>
                </a:lnTo>
                <a:lnTo>
                  <a:pt x="2233" y="934"/>
                </a:lnTo>
                <a:lnTo>
                  <a:pt x="2233" y="929"/>
                </a:lnTo>
                <a:lnTo>
                  <a:pt x="2233" y="923"/>
                </a:lnTo>
                <a:lnTo>
                  <a:pt x="2232" y="921"/>
                </a:lnTo>
                <a:lnTo>
                  <a:pt x="2231" y="919"/>
                </a:lnTo>
                <a:lnTo>
                  <a:pt x="2230" y="916"/>
                </a:lnTo>
                <a:lnTo>
                  <a:pt x="2228" y="916"/>
                </a:lnTo>
                <a:lnTo>
                  <a:pt x="2228" y="904"/>
                </a:lnTo>
                <a:lnTo>
                  <a:pt x="2228" y="892"/>
                </a:lnTo>
                <a:lnTo>
                  <a:pt x="2216" y="880"/>
                </a:lnTo>
                <a:lnTo>
                  <a:pt x="2216" y="874"/>
                </a:lnTo>
                <a:lnTo>
                  <a:pt x="2214" y="868"/>
                </a:lnTo>
                <a:lnTo>
                  <a:pt x="2214" y="865"/>
                </a:lnTo>
                <a:lnTo>
                  <a:pt x="2213" y="863"/>
                </a:lnTo>
                <a:lnTo>
                  <a:pt x="2211" y="862"/>
                </a:lnTo>
                <a:lnTo>
                  <a:pt x="2210" y="861"/>
                </a:lnTo>
                <a:lnTo>
                  <a:pt x="2210" y="843"/>
                </a:lnTo>
                <a:lnTo>
                  <a:pt x="2204" y="836"/>
                </a:lnTo>
                <a:lnTo>
                  <a:pt x="2198" y="827"/>
                </a:lnTo>
                <a:lnTo>
                  <a:pt x="2193" y="819"/>
                </a:lnTo>
                <a:lnTo>
                  <a:pt x="2191" y="813"/>
                </a:lnTo>
                <a:lnTo>
                  <a:pt x="2181" y="812"/>
                </a:lnTo>
                <a:lnTo>
                  <a:pt x="2169" y="809"/>
                </a:lnTo>
                <a:lnTo>
                  <a:pt x="2156" y="807"/>
                </a:lnTo>
                <a:lnTo>
                  <a:pt x="2142" y="806"/>
                </a:lnTo>
                <a:lnTo>
                  <a:pt x="2136" y="813"/>
                </a:lnTo>
                <a:lnTo>
                  <a:pt x="2136" y="825"/>
                </a:lnTo>
                <a:lnTo>
                  <a:pt x="2132" y="826"/>
                </a:lnTo>
                <a:lnTo>
                  <a:pt x="2127" y="828"/>
                </a:lnTo>
                <a:lnTo>
                  <a:pt x="2125" y="833"/>
                </a:lnTo>
                <a:lnTo>
                  <a:pt x="2124" y="837"/>
                </a:lnTo>
                <a:lnTo>
                  <a:pt x="2117" y="843"/>
                </a:lnTo>
                <a:lnTo>
                  <a:pt x="2104" y="844"/>
                </a:lnTo>
                <a:lnTo>
                  <a:pt x="2083" y="846"/>
                </a:lnTo>
                <a:lnTo>
                  <a:pt x="2059" y="848"/>
                </a:lnTo>
                <a:lnTo>
                  <a:pt x="2038" y="849"/>
                </a:lnTo>
                <a:lnTo>
                  <a:pt x="2016" y="833"/>
                </a:lnTo>
                <a:lnTo>
                  <a:pt x="1979" y="808"/>
                </a:lnTo>
                <a:lnTo>
                  <a:pt x="1960" y="795"/>
                </a:lnTo>
                <a:lnTo>
                  <a:pt x="1944" y="783"/>
                </a:lnTo>
                <a:lnTo>
                  <a:pt x="1938" y="777"/>
                </a:lnTo>
                <a:lnTo>
                  <a:pt x="1932" y="771"/>
                </a:lnTo>
                <a:lnTo>
                  <a:pt x="1930" y="767"/>
                </a:lnTo>
                <a:lnTo>
                  <a:pt x="1929" y="764"/>
                </a:lnTo>
                <a:lnTo>
                  <a:pt x="1922" y="757"/>
                </a:lnTo>
                <a:lnTo>
                  <a:pt x="1910" y="757"/>
                </a:lnTo>
                <a:lnTo>
                  <a:pt x="1897" y="739"/>
                </a:lnTo>
                <a:lnTo>
                  <a:pt x="1888" y="736"/>
                </a:lnTo>
                <a:lnTo>
                  <a:pt x="1879" y="733"/>
                </a:lnTo>
                <a:lnTo>
                  <a:pt x="1879" y="729"/>
                </a:lnTo>
                <a:lnTo>
                  <a:pt x="1878" y="728"/>
                </a:lnTo>
                <a:lnTo>
                  <a:pt x="1877" y="727"/>
                </a:lnTo>
                <a:lnTo>
                  <a:pt x="1876" y="727"/>
                </a:lnTo>
                <a:lnTo>
                  <a:pt x="1875" y="727"/>
                </a:lnTo>
                <a:lnTo>
                  <a:pt x="1874" y="726"/>
                </a:lnTo>
                <a:lnTo>
                  <a:pt x="1874" y="724"/>
                </a:lnTo>
                <a:lnTo>
                  <a:pt x="1873" y="721"/>
                </a:lnTo>
                <a:lnTo>
                  <a:pt x="1866" y="718"/>
                </a:lnTo>
                <a:lnTo>
                  <a:pt x="1856" y="712"/>
                </a:lnTo>
                <a:lnTo>
                  <a:pt x="1843" y="702"/>
                </a:lnTo>
                <a:lnTo>
                  <a:pt x="1829" y="691"/>
                </a:lnTo>
                <a:lnTo>
                  <a:pt x="1816" y="679"/>
                </a:lnTo>
                <a:lnTo>
                  <a:pt x="1805" y="666"/>
                </a:lnTo>
                <a:lnTo>
                  <a:pt x="1800" y="661"/>
                </a:lnTo>
                <a:lnTo>
                  <a:pt x="1797" y="655"/>
                </a:lnTo>
                <a:lnTo>
                  <a:pt x="1795" y="651"/>
                </a:lnTo>
                <a:lnTo>
                  <a:pt x="1794" y="647"/>
                </a:lnTo>
                <a:lnTo>
                  <a:pt x="1788" y="645"/>
                </a:lnTo>
                <a:lnTo>
                  <a:pt x="1782" y="641"/>
                </a:lnTo>
                <a:lnTo>
                  <a:pt x="1778" y="634"/>
                </a:lnTo>
                <a:lnTo>
                  <a:pt x="1776" y="628"/>
                </a:lnTo>
                <a:lnTo>
                  <a:pt x="1763" y="623"/>
                </a:lnTo>
                <a:lnTo>
                  <a:pt x="1757" y="612"/>
                </a:lnTo>
                <a:lnTo>
                  <a:pt x="1742" y="592"/>
                </a:lnTo>
                <a:lnTo>
                  <a:pt x="1734" y="581"/>
                </a:lnTo>
                <a:lnTo>
                  <a:pt x="1728" y="570"/>
                </a:lnTo>
                <a:lnTo>
                  <a:pt x="1722" y="562"/>
                </a:lnTo>
                <a:lnTo>
                  <a:pt x="1721" y="556"/>
                </a:lnTo>
                <a:lnTo>
                  <a:pt x="1717" y="556"/>
                </a:lnTo>
                <a:lnTo>
                  <a:pt x="1715" y="555"/>
                </a:lnTo>
                <a:lnTo>
                  <a:pt x="1714" y="554"/>
                </a:lnTo>
                <a:lnTo>
                  <a:pt x="1714" y="553"/>
                </a:lnTo>
                <a:lnTo>
                  <a:pt x="1714" y="551"/>
                </a:lnTo>
                <a:lnTo>
                  <a:pt x="1713" y="550"/>
                </a:lnTo>
                <a:lnTo>
                  <a:pt x="1712" y="550"/>
                </a:lnTo>
                <a:lnTo>
                  <a:pt x="1709" y="549"/>
                </a:lnTo>
                <a:lnTo>
                  <a:pt x="1708" y="545"/>
                </a:lnTo>
                <a:lnTo>
                  <a:pt x="1704" y="541"/>
                </a:lnTo>
                <a:lnTo>
                  <a:pt x="1701" y="538"/>
                </a:lnTo>
                <a:lnTo>
                  <a:pt x="1696" y="537"/>
                </a:lnTo>
                <a:lnTo>
                  <a:pt x="1684" y="531"/>
                </a:lnTo>
                <a:lnTo>
                  <a:pt x="1684" y="525"/>
                </a:lnTo>
                <a:lnTo>
                  <a:pt x="1682" y="520"/>
                </a:lnTo>
                <a:lnTo>
                  <a:pt x="1679" y="519"/>
                </a:lnTo>
                <a:lnTo>
                  <a:pt x="1672" y="519"/>
                </a:lnTo>
                <a:lnTo>
                  <a:pt x="1665" y="510"/>
                </a:lnTo>
                <a:lnTo>
                  <a:pt x="1660" y="500"/>
                </a:lnTo>
                <a:lnTo>
                  <a:pt x="1647" y="500"/>
                </a:lnTo>
                <a:lnTo>
                  <a:pt x="1641" y="495"/>
                </a:lnTo>
                <a:lnTo>
                  <a:pt x="1635" y="489"/>
                </a:lnTo>
                <a:lnTo>
                  <a:pt x="1633" y="481"/>
                </a:lnTo>
                <a:lnTo>
                  <a:pt x="1628" y="471"/>
                </a:lnTo>
                <a:lnTo>
                  <a:pt x="1625" y="466"/>
                </a:lnTo>
                <a:lnTo>
                  <a:pt x="1622" y="462"/>
                </a:lnTo>
                <a:lnTo>
                  <a:pt x="1619" y="459"/>
                </a:lnTo>
                <a:lnTo>
                  <a:pt x="1617" y="458"/>
                </a:lnTo>
                <a:lnTo>
                  <a:pt x="1616" y="437"/>
                </a:lnTo>
                <a:lnTo>
                  <a:pt x="1614" y="413"/>
                </a:lnTo>
                <a:lnTo>
                  <a:pt x="1610" y="389"/>
                </a:lnTo>
                <a:lnTo>
                  <a:pt x="1607" y="363"/>
                </a:lnTo>
                <a:lnTo>
                  <a:pt x="1604" y="338"/>
                </a:lnTo>
                <a:lnTo>
                  <a:pt x="1602" y="314"/>
                </a:lnTo>
                <a:lnTo>
                  <a:pt x="1599" y="290"/>
                </a:lnTo>
                <a:lnTo>
                  <a:pt x="1598" y="268"/>
                </a:lnTo>
                <a:lnTo>
                  <a:pt x="1593" y="262"/>
                </a:lnTo>
                <a:lnTo>
                  <a:pt x="1588" y="261"/>
                </a:lnTo>
                <a:lnTo>
                  <a:pt x="1584" y="259"/>
                </a:lnTo>
                <a:lnTo>
                  <a:pt x="1581" y="255"/>
                </a:lnTo>
                <a:lnTo>
                  <a:pt x="1580" y="250"/>
                </a:lnTo>
                <a:lnTo>
                  <a:pt x="1574" y="245"/>
                </a:lnTo>
                <a:lnTo>
                  <a:pt x="1561" y="245"/>
                </a:lnTo>
                <a:lnTo>
                  <a:pt x="1556" y="238"/>
                </a:lnTo>
                <a:lnTo>
                  <a:pt x="1549" y="232"/>
                </a:lnTo>
                <a:lnTo>
                  <a:pt x="1543" y="226"/>
                </a:lnTo>
                <a:lnTo>
                  <a:pt x="1541" y="219"/>
                </a:lnTo>
                <a:lnTo>
                  <a:pt x="1537" y="208"/>
                </a:lnTo>
                <a:lnTo>
                  <a:pt x="1533" y="203"/>
                </a:lnTo>
                <a:lnTo>
                  <a:pt x="1530" y="199"/>
                </a:lnTo>
                <a:lnTo>
                  <a:pt x="1528" y="197"/>
                </a:lnTo>
                <a:lnTo>
                  <a:pt x="1525" y="195"/>
                </a:lnTo>
                <a:lnTo>
                  <a:pt x="1525" y="180"/>
                </a:lnTo>
                <a:lnTo>
                  <a:pt x="1525" y="162"/>
                </a:lnTo>
                <a:lnTo>
                  <a:pt x="1525" y="144"/>
                </a:lnTo>
                <a:lnTo>
                  <a:pt x="1525" y="128"/>
                </a:lnTo>
                <a:lnTo>
                  <a:pt x="1512" y="116"/>
                </a:lnTo>
                <a:lnTo>
                  <a:pt x="1512" y="111"/>
                </a:lnTo>
                <a:lnTo>
                  <a:pt x="1512" y="104"/>
                </a:lnTo>
                <a:lnTo>
                  <a:pt x="1511" y="102"/>
                </a:lnTo>
                <a:lnTo>
                  <a:pt x="1510" y="99"/>
                </a:lnTo>
                <a:lnTo>
                  <a:pt x="1509" y="98"/>
                </a:lnTo>
                <a:lnTo>
                  <a:pt x="1507" y="97"/>
                </a:lnTo>
                <a:lnTo>
                  <a:pt x="1507" y="79"/>
                </a:lnTo>
                <a:lnTo>
                  <a:pt x="1503" y="79"/>
                </a:lnTo>
                <a:lnTo>
                  <a:pt x="1501" y="78"/>
                </a:lnTo>
                <a:lnTo>
                  <a:pt x="1501" y="77"/>
                </a:lnTo>
                <a:lnTo>
                  <a:pt x="1501" y="76"/>
                </a:lnTo>
                <a:lnTo>
                  <a:pt x="1500" y="75"/>
                </a:lnTo>
                <a:lnTo>
                  <a:pt x="1500" y="74"/>
                </a:lnTo>
                <a:lnTo>
                  <a:pt x="1498" y="74"/>
                </a:lnTo>
                <a:lnTo>
                  <a:pt x="1494" y="73"/>
                </a:lnTo>
                <a:lnTo>
                  <a:pt x="1494" y="69"/>
                </a:lnTo>
                <a:lnTo>
                  <a:pt x="1492" y="66"/>
                </a:lnTo>
                <a:lnTo>
                  <a:pt x="1491" y="64"/>
                </a:lnTo>
                <a:lnTo>
                  <a:pt x="1489" y="62"/>
                </a:lnTo>
                <a:lnTo>
                  <a:pt x="1484" y="58"/>
                </a:lnTo>
                <a:lnTo>
                  <a:pt x="1482" y="55"/>
                </a:lnTo>
                <a:lnTo>
                  <a:pt x="1465" y="55"/>
                </a:lnTo>
                <a:lnTo>
                  <a:pt x="1444" y="56"/>
                </a:lnTo>
                <a:lnTo>
                  <a:pt x="1434" y="56"/>
                </a:lnTo>
                <a:lnTo>
                  <a:pt x="1425" y="57"/>
                </a:lnTo>
                <a:lnTo>
                  <a:pt x="1418" y="59"/>
                </a:lnTo>
                <a:lnTo>
                  <a:pt x="1415" y="60"/>
                </a:lnTo>
                <a:lnTo>
                  <a:pt x="1395" y="60"/>
                </a:lnTo>
                <a:lnTo>
                  <a:pt x="1372" y="60"/>
                </a:lnTo>
                <a:lnTo>
                  <a:pt x="1348" y="59"/>
                </a:lnTo>
                <a:lnTo>
                  <a:pt x="1324" y="56"/>
                </a:lnTo>
                <a:lnTo>
                  <a:pt x="1311" y="55"/>
                </a:lnTo>
                <a:lnTo>
                  <a:pt x="1300" y="51"/>
                </a:lnTo>
                <a:lnTo>
                  <a:pt x="1289" y="49"/>
                </a:lnTo>
                <a:lnTo>
                  <a:pt x="1279" y="45"/>
                </a:lnTo>
                <a:lnTo>
                  <a:pt x="1270" y="41"/>
                </a:lnTo>
                <a:lnTo>
                  <a:pt x="1262" y="36"/>
                </a:lnTo>
                <a:lnTo>
                  <a:pt x="1255" y="30"/>
                </a:lnTo>
                <a:lnTo>
                  <a:pt x="1250" y="24"/>
                </a:lnTo>
                <a:lnTo>
                  <a:pt x="1244" y="24"/>
                </a:lnTo>
                <a:lnTo>
                  <a:pt x="1238" y="20"/>
                </a:lnTo>
                <a:lnTo>
                  <a:pt x="1231" y="17"/>
                </a:lnTo>
                <a:lnTo>
                  <a:pt x="1225" y="12"/>
                </a:lnTo>
                <a:lnTo>
                  <a:pt x="1206" y="12"/>
                </a:lnTo>
                <a:lnTo>
                  <a:pt x="1186" y="15"/>
                </a:lnTo>
                <a:lnTo>
                  <a:pt x="1168" y="17"/>
                </a:lnTo>
                <a:lnTo>
                  <a:pt x="1152" y="18"/>
                </a:lnTo>
                <a:lnTo>
                  <a:pt x="1152" y="21"/>
                </a:lnTo>
                <a:lnTo>
                  <a:pt x="1149" y="25"/>
                </a:lnTo>
                <a:lnTo>
                  <a:pt x="1147" y="27"/>
                </a:lnTo>
                <a:lnTo>
                  <a:pt x="1144" y="30"/>
                </a:lnTo>
                <a:lnTo>
                  <a:pt x="1134" y="35"/>
                </a:lnTo>
                <a:lnTo>
                  <a:pt x="1120" y="39"/>
                </a:lnTo>
                <a:lnTo>
                  <a:pt x="1105" y="43"/>
                </a:lnTo>
                <a:lnTo>
                  <a:pt x="1087" y="46"/>
                </a:lnTo>
                <a:lnTo>
                  <a:pt x="1068" y="48"/>
                </a:lnTo>
                <a:lnTo>
                  <a:pt x="1048" y="50"/>
                </a:lnTo>
                <a:lnTo>
                  <a:pt x="1007" y="53"/>
                </a:lnTo>
                <a:lnTo>
                  <a:pt x="969" y="54"/>
                </a:lnTo>
                <a:lnTo>
                  <a:pt x="938" y="55"/>
                </a:lnTo>
                <a:lnTo>
                  <a:pt x="919" y="55"/>
                </a:lnTo>
                <a:lnTo>
                  <a:pt x="914" y="43"/>
                </a:lnTo>
                <a:lnTo>
                  <a:pt x="908" y="41"/>
                </a:lnTo>
                <a:lnTo>
                  <a:pt x="903" y="39"/>
                </a:lnTo>
                <a:lnTo>
                  <a:pt x="899" y="37"/>
                </a:lnTo>
                <a:lnTo>
                  <a:pt x="897" y="35"/>
                </a:lnTo>
                <a:lnTo>
                  <a:pt x="896" y="33"/>
                </a:lnTo>
                <a:lnTo>
                  <a:pt x="896" y="30"/>
                </a:lnTo>
                <a:lnTo>
                  <a:pt x="884" y="25"/>
                </a:lnTo>
                <a:lnTo>
                  <a:pt x="871" y="18"/>
                </a:lnTo>
                <a:lnTo>
                  <a:pt x="859" y="0"/>
                </a:lnTo>
                <a:lnTo>
                  <a:pt x="844" y="1"/>
                </a:lnTo>
                <a:lnTo>
                  <a:pt x="826" y="6"/>
                </a:lnTo>
                <a:lnTo>
                  <a:pt x="810" y="10"/>
                </a:lnTo>
                <a:lnTo>
                  <a:pt x="798" y="12"/>
                </a:lnTo>
                <a:lnTo>
                  <a:pt x="791" y="18"/>
                </a:lnTo>
                <a:lnTo>
                  <a:pt x="786" y="24"/>
                </a:lnTo>
                <a:lnTo>
                  <a:pt x="782" y="30"/>
                </a:lnTo>
                <a:lnTo>
                  <a:pt x="777" y="39"/>
                </a:lnTo>
                <a:lnTo>
                  <a:pt x="770" y="46"/>
                </a:lnTo>
                <a:lnTo>
                  <a:pt x="768" y="48"/>
                </a:lnTo>
                <a:lnTo>
                  <a:pt x="768" y="53"/>
                </a:lnTo>
                <a:lnTo>
                  <a:pt x="767" y="57"/>
                </a:lnTo>
                <a:lnTo>
                  <a:pt x="765" y="58"/>
                </a:lnTo>
                <a:lnTo>
                  <a:pt x="764" y="59"/>
                </a:lnTo>
                <a:lnTo>
                  <a:pt x="763" y="60"/>
                </a:lnTo>
                <a:lnTo>
                  <a:pt x="761" y="60"/>
                </a:lnTo>
                <a:lnTo>
                  <a:pt x="761" y="66"/>
                </a:lnTo>
                <a:lnTo>
                  <a:pt x="760" y="73"/>
                </a:lnTo>
                <a:lnTo>
                  <a:pt x="760" y="75"/>
                </a:lnTo>
                <a:lnTo>
                  <a:pt x="759" y="77"/>
                </a:lnTo>
                <a:lnTo>
                  <a:pt x="756" y="78"/>
                </a:lnTo>
                <a:lnTo>
                  <a:pt x="755" y="79"/>
                </a:lnTo>
                <a:lnTo>
                  <a:pt x="755" y="85"/>
                </a:lnTo>
                <a:lnTo>
                  <a:pt x="754" y="91"/>
                </a:lnTo>
                <a:lnTo>
                  <a:pt x="753" y="93"/>
                </a:lnTo>
                <a:lnTo>
                  <a:pt x="752" y="95"/>
                </a:lnTo>
                <a:lnTo>
                  <a:pt x="751" y="97"/>
                </a:lnTo>
                <a:lnTo>
                  <a:pt x="749" y="97"/>
                </a:lnTo>
                <a:lnTo>
                  <a:pt x="745" y="106"/>
                </a:lnTo>
                <a:lnTo>
                  <a:pt x="743" y="116"/>
                </a:lnTo>
                <a:lnTo>
                  <a:pt x="739" y="116"/>
                </a:lnTo>
                <a:lnTo>
                  <a:pt x="734" y="116"/>
                </a:lnTo>
                <a:lnTo>
                  <a:pt x="733" y="117"/>
                </a:lnTo>
                <a:lnTo>
                  <a:pt x="732" y="118"/>
                </a:lnTo>
                <a:lnTo>
                  <a:pt x="731" y="120"/>
                </a:lnTo>
                <a:lnTo>
                  <a:pt x="731" y="122"/>
                </a:lnTo>
                <a:lnTo>
                  <a:pt x="726" y="122"/>
                </a:lnTo>
                <a:lnTo>
                  <a:pt x="722" y="123"/>
                </a:lnTo>
                <a:lnTo>
                  <a:pt x="721" y="123"/>
                </a:lnTo>
                <a:lnTo>
                  <a:pt x="720" y="124"/>
                </a:lnTo>
                <a:lnTo>
                  <a:pt x="719" y="126"/>
                </a:lnTo>
                <a:lnTo>
                  <a:pt x="719" y="128"/>
                </a:lnTo>
                <a:lnTo>
                  <a:pt x="703" y="128"/>
                </a:lnTo>
                <a:lnTo>
                  <a:pt x="681" y="130"/>
                </a:lnTo>
                <a:lnTo>
                  <a:pt x="669" y="131"/>
                </a:lnTo>
                <a:lnTo>
                  <a:pt x="659" y="133"/>
                </a:lnTo>
                <a:lnTo>
                  <a:pt x="656" y="134"/>
                </a:lnTo>
                <a:lnTo>
                  <a:pt x="654" y="136"/>
                </a:lnTo>
                <a:lnTo>
                  <a:pt x="652" y="139"/>
                </a:lnTo>
                <a:lnTo>
                  <a:pt x="652" y="141"/>
                </a:lnTo>
                <a:lnTo>
                  <a:pt x="596" y="142"/>
                </a:lnTo>
                <a:lnTo>
                  <a:pt x="539" y="144"/>
                </a:lnTo>
                <a:lnTo>
                  <a:pt x="481" y="150"/>
                </a:lnTo>
                <a:lnTo>
                  <a:pt x="422" y="156"/>
                </a:lnTo>
                <a:lnTo>
                  <a:pt x="362" y="163"/>
                </a:lnTo>
                <a:lnTo>
                  <a:pt x="303" y="172"/>
                </a:lnTo>
                <a:lnTo>
                  <a:pt x="244" y="180"/>
                </a:lnTo>
                <a:lnTo>
                  <a:pt x="185" y="189"/>
                </a:lnTo>
                <a:lnTo>
                  <a:pt x="185" y="192"/>
                </a:lnTo>
                <a:lnTo>
                  <a:pt x="172" y="202"/>
                </a:lnTo>
                <a:lnTo>
                  <a:pt x="147" y="224"/>
                </a:lnTo>
                <a:lnTo>
                  <a:pt x="132" y="237"/>
                </a:lnTo>
                <a:lnTo>
                  <a:pt x="119" y="248"/>
                </a:lnTo>
                <a:lnTo>
                  <a:pt x="108" y="257"/>
                </a:lnTo>
                <a:lnTo>
                  <a:pt x="100" y="261"/>
                </a:lnTo>
                <a:lnTo>
                  <a:pt x="100" y="265"/>
                </a:lnTo>
                <a:lnTo>
                  <a:pt x="98" y="268"/>
                </a:lnTo>
                <a:lnTo>
                  <a:pt x="96" y="271"/>
                </a:lnTo>
                <a:lnTo>
                  <a:pt x="92" y="274"/>
                </a:lnTo>
                <a:lnTo>
                  <a:pt x="87" y="278"/>
                </a:lnTo>
                <a:lnTo>
                  <a:pt x="84" y="283"/>
                </a:lnTo>
                <a:lnTo>
                  <a:pt x="74" y="288"/>
                </a:lnTo>
                <a:lnTo>
                  <a:pt x="63" y="293"/>
                </a:lnTo>
                <a:lnTo>
                  <a:pt x="53" y="298"/>
                </a:lnTo>
                <a:lnTo>
                  <a:pt x="45" y="312"/>
                </a:lnTo>
                <a:lnTo>
                  <a:pt x="36" y="329"/>
                </a:lnTo>
                <a:lnTo>
                  <a:pt x="26" y="335"/>
                </a:lnTo>
                <a:lnTo>
                  <a:pt x="24" y="341"/>
                </a:lnTo>
                <a:lnTo>
                  <a:pt x="21" y="347"/>
                </a:lnTo>
                <a:lnTo>
                  <a:pt x="17" y="351"/>
                </a:lnTo>
                <a:lnTo>
                  <a:pt x="15" y="354"/>
                </a:lnTo>
                <a:lnTo>
                  <a:pt x="13" y="355"/>
                </a:lnTo>
                <a:lnTo>
                  <a:pt x="11" y="356"/>
                </a:lnTo>
                <a:lnTo>
                  <a:pt x="10" y="364"/>
                </a:lnTo>
                <a:lnTo>
                  <a:pt x="7" y="372"/>
                </a:lnTo>
                <a:lnTo>
                  <a:pt x="4" y="377"/>
                </a:lnTo>
                <a:lnTo>
                  <a:pt x="0" y="383"/>
                </a:lnTo>
                <a:lnTo>
                  <a:pt x="0" y="425"/>
                </a:lnTo>
                <a:lnTo>
                  <a:pt x="4" y="432"/>
                </a:lnTo>
                <a:lnTo>
                  <a:pt x="13" y="450"/>
                </a:lnTo>
                <a:lnTo>
                  <a:pt x="22" y="468"/>
                </a:lnTo>
                <a:lnTo>
                  <a:pt x="26" y="478"/>
                </a:lnTo>
                <a:lnTo>
                  <a:pt x="30" y="479"/>
                </a:lnTo>
                <a:lnTo>
                  <a:pt x="32" y="483"/>
                </a:lnTo>
                <a:lnTo>
                  <a:pt x="34" y="485"/>
                </a:lnTo>
                <a:lnTo>
                  <a:pt x="36" y="487"/>
                </a:lnTo>
                <a:lnTo>
                  <a:pt x="39" y="488"/>
                </a:lnTo>
                <a:lnTo>
                  <a:pt x="42" y="488"/>
                </a:lnTo>
                <a:lnTo>
                  <a:pt x="43" y="495"/>
                </a:lnTo>
                <a:lnTo>
                  <a:pt x="47" y="500"/>
                </a:lnTo>
                <a:lnTo>
                  <a:pt x="51" y="506"/>
                </a:lnTo>
                <a:lnTo>
                  <a:pt x="55" y="512"/>
                </a:lnTo>
                <a:lnTo>
                  <a:pt x="60" y="518"/>
                </a:lnTo>
                <a:lnTo>
                  <a:pt x="64" y="524"/>
                </a:lnTo>
                <a:lnTo>
                  <a:pt x="68" y="530"/>
                </a:lnTo>
                <a:lnTo>
                  <a:pt x="69" y="536"/>
                </a:lnTo>
                <a:lnTo>
                  <a:pt x="127" y="594"/>
                </a:lnTo>
                <a:lnTo>
                  <a:pt x="137" y="594"/>
                </a:lnTo>
                <a:lnTo>
                  <a:pt x="144" y="598"/>
                </a:lnTo>
                <a:lnTo>
                  <a:pt x="154" y="602"/>
                </a:lnTo>
                <a:lnTo>
                  <a:pt x="165" y="604"/>
                </a:lnTo>
                <a:lnTo>
                  <a:pt x="175" y="605"/>
                </a:lnTo>
                <a:lnTo>
                  <a:pt x="186" y="608"/>
                </a:lnTo>
                <a:lnTo>
                  <a:pt x="204" y="612"/>
                </a:lnTo>
                <a:lnTo>
                  <a:pt x="223" y="614"/>
                </a:lnTo>
                <a:lnTo>
                  <a:pt x="237" y="615"/>
                </a:lnTo>
                <a:lnTo>
                  <a:pt x="243" y="618"/>
                </a:lnTo>
                <a:lnTo>
                  <a:pt x="249" y="622"/>
                </a:lnTo>
                <a:lnTo>
                  <a:pt x="255" y="625"/>
                </a:lnTo>
                <a:lnTo>
                  <a:pt x="262" y="628"/>
                </a:lnTo>
                <a:lnTo>
                  <a:pt x="269" y="632"/>
                </a:lnTo>
                <a:lnTo>
                  <a:pt x="275" y="634"/>
                </a:lnTo>
                <a:lnTo>
                  <a:pt x="281" y="637"/>
                </a:lnTo>
                <a:lnTo>
                  <a:pt x="285" y="642"/>
                </a:lnTo>
                <a:lnTo>
                  <a:pt x="293" y="642"/>
                </a:lnTo>
                <a:lnTo>
                  <a:pt x="301" y="643"/>
                </a:lnTo>
                <a:lnTo>
                  <a:pt x="304" y="644"/>
                </a:lnTo>
                <a:lnTo>
                  <a:pt x="307" y="646"/>
                </a:lnTo>
                <a:lnTo>
                  <a:pt x="310" y="649"/>
                </a:lnTo>
                <a:lnTo>
                  <a:pt x="312" y="652"/>
                </a:lnTo>
                <a:lnTo>
                  <a:pt x="328" y="652"/>
                </a:lnTo>
                <a:lnTo>
                  <a:pt x="332" y="656"/>
                </a:lnTo>
                <a:lnTo>
                  <a:pt x="338" y="659"/>
                </a:lnTo>
                <a:lnTo>
                  <a:pt x="345" y="662"/>
                </a:lnTo>
                <a:lnTo>
                  <a:pt x="352" y="663"/>
                </a:lnTo>
                <a:lnTo>
                  <a:pt x="369" y="666"/>
                </a:lnTo>
                <a:lnTo>
                  <a:pt x="387" y="668"/>
                </a:lnTo>
                <a:lnTo>
                  <a:pt x="424" y="669"/>
                </a:lnTo>
                <a:lnTo>
                  <a:pt x="455" y="668"/>
                </a:lnTo>
                <a:lnTo>
                  <a:pt x="455" y="666"/>
                </a:lnTo>
                <a:lnTo>
                  <a:pt x="456" y="665"/>
                </a:lnTo>
                <a:lnTo>
                  <a:pt x="457" y="664"/>
                </a:lnTo>
                <a:lnTo>
                  <a:pt x="458" y="664"/>
                </a:lnTo>
                <a:lnTo>
                  <a:pt x="463" y="665"/>
                </a:lnTo>
                <a:lnTo>
                  <a:pt x="467" y="666"/>
                </a:lnTo>
                <a:lnTo>
                  <a:pt x="477" y="671"/>
                </a:lnTo>
                <a:lnTo>
                  <a:pt x="481" y="673"/>
                </a:lnTo>
                <a:lnTo>
                  <a:pt x="496" y="679"/>
                </a:lnTo>
                <a:lnTo>
                  <a:pt x="501" y="684"/>
                </a:lnTo>
                <a:lnTo>
                  <a:pt x="510" y="692"/>
                </a:lnTo>
                <a:lnTo>
                  <a:pt x="515" y="697"/>
                </a:lnTo>
                <a:lnTo>
                  <a:pt x="519" y="702"/>
                </a:lnTo>
                <a:lnTo>
                  <a:pt x="522" y="707"/>
                </a:lnTo>
                <a:lnTo>
                  <a:pt x="523" y="710"/>
                </a:lnTo>
                <a:lnTo>
                  <a:pt x="530" y="713"/>
                </a:lnTo>
                <a:lnTo>
                  <a:pt x="539" y="721"/>
                </a:lnTo>
                <a:lnTo>
                  <a:pt x="547" y="728"/>
                </a:lnTo>
                <a:lnTo>
                  <a:pt x="550" y="731"/>
                </a:lnTo>
                <a:lnTo>
                  <a:pt x="556" y="737"/>
                </a:lnTo>
                <a:lnTo>
                  <a:pt x="560" y="747"/>
                </a:lnTo>
                <a:lnTo>
                  <a:pt x="566" y="758"/>
                </a:lnTo>
                <a:lnTo>
                  <a:pt x="569" y="760"/>
                </a:lnTo>
                <a:lnTo>
                  <a:pt x="572" y="764"/>
                </a:lnTo>
                <a:lnTo>
                  <a:pt x="576" y="769"/>
                </a:lnTo>
                <a:lnTo>
                  <a:pt x="576" y="774"/>
                </a:lnTo>
                <a:lnTo>
                  <a:pt x="583" y="778"/>
                </a:lnTo>
                <a:lnTo>
                  <a:pt x="590" y="783"/>
                </a:lnTo>
                <a:lnTo>
                  <a:pt x="594" y="785"/>
                </a:lnTo>
                <a:lnTo>
                  <a:pt x="596" y="788"/>
                </a:lnTo>
                <a:lnTo>
                  <a:pt x="597" y="791"/>
                </a:lnTo>
                <a:lnTo>
                  <a:pt x="597" y="795"/>
                </a:lnTo>
                <a:lnTo>
                  <a:pt x="608" y="806"/>
                </a:lnTo>
                <a:lnTo>
                  <a:pt x="614" y="808"/>
                </a:lnTo>
                <a:lnTo>
                  <a:pt x="619" y="812"/>
                </a:lnTo>
                <a:lnTo>
                  <a:pt x="624" y="816"/>
                </a:lnTo>
                <a:lnTo>
                  <a:pt x="629" y="822"/>
                </a:lnTo>
                <a:lnTo>
                  <a:pt x="634" y="826"/>
                </a:lnTo>
                <a:lnTo>
                  <a:pt x="639" y="831"/>
                </a:lnTo>
                <a:lnTo>
                  <a:pt x="645" y="835"/>
                </a:lnTo>
                <a:lnTo>
                  <a:pt x="650" y="837"/>
                </a:lnTo>
                <a:lnTo>
                  <a:pt x="652" y="839"/>
                </a:lnTo>
                <a:lnTo>
                  <a:pt x="654" y="843"/>
                </a:lnTo>
                <a:lnTo>
                  <a:pt x="657" y="846"/>
                </a:lnTo>
                <a:lnTo>
                  <a:pt x="662" y="849"/>
                </a:lnTo>
                <a:lnTo>
                  <a:pt x="667" y="853"/>
                </a:lnTo>
                <a:lnTo>
                  <a:pt x="673" y="856"/>
                </a:lnTo>
                <a:lnTo>
                  <a:pt x="677" y="857"/>
                </a:lnTo>
                <a:lnTo>
                  <a:pt x="682" y="858"/>
                </a:lnTo>
                <a:lnTo>
                  <a:pt x="687" y="867"/>
                </a:lnTo>
                <a:lnTo>
                  <a:pt x="701" y="882"/>
                </a:lnTo>
                <a:lnTo>
                  <a:pt x="715" y="897"/>
                </a:lnTo>
                <a:lnTo>
                  <a:pt x="724" y="906"/>
                </a:lnTo>
                <a:lnTo>
                  <a:pt x="730" y="908"/>
                </a:lnTo>
                <a:lnTo>
                  <a:pt x="733" y="910"/>
                </a:lnTo>
                <a:lnTo>
                  <a:pt x="736" y="914"/>
                </a:lnTo>
                <a:lnTo>
                  <a:pt x="740" y="919"/>
                </a:lnTo>
                <a:lnTo>
                  <a:pt x="742" y="924"/>
                </a:lnTo>
                <a:lnTo>
                  <a:pt x="744" y="928"/>
                </a:lnTo>
                <a:lnTo>
                  <a:pt x="748" y="931"/>
                </a:lnTo>
                <a:lnTo>
                  <a:pt x="751" y="932"/>
                </a:lnTo>
                <a:lnTo>
                  <a:pt x="751" y="952"/>
                </a:lnTo>
                <a:lnTo>
                  <a:pt x="751" y="971"/>
                </a:lnTo>
                <a:lnTo>
                  <a:pt x="751" y="990"/>
                </a:lnTo>
                <a:lnTo>
                  <a:pt x="752" y="1010"/>
                </a:lnTo>
                <a:lnTo>
                  <a:pt x="753" y="1011"/>
                </a:lnTo>
                <a:lnTo>
                  <a:pt x="754" y="1012"/>
                </a:lnTo>
                <a:lnTo>
                  <a:pt x="756" y="1014"/>
                </a:lnTo>
                <a:lnTo>
                  <a:pt x="759" y="1014"/>
                </a:lnTo>
                <a:lnTo>
                  <a:pt x="762" y="1029"/>
                </a:lnTo>
                <a:lnTo>
                  <a:pt x="770" y="1054"/>
                </a:lnTo>
                <a:lnTo>
                  <a:pt x="774" y="1067"/>
                </a:lnTo>
                <a:lnTo>
                  <a:pt x="779" y="1077"/>
                </a:lnTo>
                <a:lnTo>
                  <a:pt x="781" y="1082"/>
                </a:lnTo>
                <a:lnTo>
                  <a:pt x="783" y="1085"/>
                </a:lnTo>
                <a:lnTo>
                  <a:pt x="784" y="1087"/>
                </a:lnTo>
                <a:lnTo>
                  <a:pt x="787" y="1087"/>
                </a:lnTo>
                <a:lnTo>
                  <a:pt x="789" y="1098"/>
                </a:lnTo>
                <a:lnTo>
                  <a:pt x="792" y="1114"/>
                </a:lnTo>
                <a:lnTo>
                  <a:pt x="796" y="1122"/>
                </a:lnTo>
                <a:lnTo>
                  <a:pt x="799" y="1127"/>
                </a:lnTo>
                <a:lnTo>
                  <a:pt x="802" y="1132"/>
                </a:lnTo>
                <a:lnTo>
                  <a:pt x="806" y="1134"/>
                </a:lnTo>
                <a:lnTo>
                  <a:pt x="806" y="1162"/>
                </a:lnTo>
                <a:lnTo>
                  <a:pt x="813" y="1171"/>
                </a:lnTo>
                <a:lnTo>
                  <a:pt x="822" y="1185"/>
                </a:lnTo>
                <a:lnTo>
                  <a:pt x="827" y="1193"/>
                </a:lnTo>
                <a:lnTo>
                  <a:pt x="830" y="1202"/>
                </a:lnTo>
                <a:lnTo>
                  <a:pt x="832" y="1210"/>
                </a:lnTo>
                <a:lnTo>
                  <a:pt x="832" y="1217"/>
                </a:lnTo>
                <a:lnTo>
                  <a:pt x="837" y="1219"/>
                </a:lnTo>
                <a:lnTo>
                  <a:pt x="840" y="1223"/>
                </a:lnTo>
                <a:lnTo>
                  <a:pt x="844" y="1228"/>
                </a:lnTo>
                <a:lnTo>
                  <a:pt x="847" y="1233"/>
                </a:lnTo>
                <a:lnTo>
                  <a:pt x="855" y="1247"/>
                </a:lnTo>
                <a:lnTo>
                  <a:pt x="861" y="1262"/>
                </a:lnTo>
                <a:lnTo>
                  <a:pt x="870" y="1276"/>
                </a:lnTo>
                <a:lnTo>
                  <a:pt x="878" y="1288"/>
                </a:lnTo>
                <a:lnTo>
                  <a:pt x="883" y="1293"/>
                </a:lnTo>
                <a:lnTo>
                  <a:pt x="887" y="1297"/>
                </a:lnTo>
                <a:lnTo>
                  <a:pt x="893" y="1299"/>
                </a:lnTo>
                <a:lnTo>
                  <a:pt x="897" y="1300"/>
                </a:lnTo>
                <a:lnTo>
                  <a:pt x="898" y="1305"/>
                </a:lnTo>
                <a:lnTo>
                  <a:pt x="899" y="1308"/>
                </a:lnTo>
                <a:lnTo>
                  <a:pt x="900" y="1309"/>
                </a:lnTo>
                <a:lnTo>
                  <a:pt x="903" y="1309"/>
                </a:lnTo>
                <a:lnTo>
                  <a:pt x="904" y="1309"/>
                </a:lnTo>
                <a:lnTo>
                  <a:pt x="905" y="1310"/>
                </a:lnTo>
                <a:lnTo>
                  <a:pt x="906" y="1313"/>
                </a:lnTo>
                <a:lnTo>
                  <a:pt x="907" y="1318"/>
                </a:lnTo>
                <a:lnTo>
                  <a:pt x="912" y="1320"/>
                </a:lnTo>
                <a:lnTo>
                  <a:pt x="918" y="1324"/>
                </a:lnTo>
                <a:lnTo>
                  <a:pt x="925" y="1330"/>
                </a:lnTo>
                <a:lnTo>
                  <a:pt x="933" y="1337"/>
                </a:lnTo>
                <a:lnTo>
                  <a:pt x="947" y="1349"/>
                </a:lnTo>
                <a:lnTo>
                  <a:pt x="953" y="1355"/>
                </a:lnTo>
                <a:lnTo>
                  <a:pt x="972" y="1355"/>
                </a:lnTo>
                <a:lnTo>
                  <a:pt x="981" y="1374"/>
                </a:lnTo>
                <a:lnTo>
                  <a:pt x="988" y="1375"/>
                </a:lnTo>
                <a:lnTo>
                  <a:pt x="996" y="1376"/>
                </a:lnTo>
                <a:lnTo>
                  <a:pt x="1004" y="1380"/>
                </a:lnTo>
                <a:lnTo>
                  <a:pt x="1013" y="1383"/>
                </a:lnTo>
                <a:lnTo>
                  <a:pt x="1022" y="1386"/>
                </a:lnTo>
                <a:lnTo>
                  <a:pt x="1030" y="1390"/>
                </a:lnTo>
                <a:lnTo>
                  <a:pt x="1038" y="1392"/>
                </a:lnTo>
                <a:lnTo>
                  <a:pt x="1046" y="1392"/>
                </a:lnTo>
                <a:lnTo>
                  <a:pt x="1053" y="1400"/>
                </a:lnTo>
                <a:lnTo>
                  <a:pt x="1062" y="1406"/>
                </a:lnTo>
                <a:lnTo>
                  <a:pt x="1072" y="1412"/>
                </a:lnTo>
                <a:lnTo>
                  <a:pt x="1082" y="1418"/>
                </a:lnTo>
                <a:lnTo>
                  <a:pt x="1092" y="1422"/>
                </a:lnTo>
                <a:lnTo>
                  <a:pt x="1103" y="1426"/>
                </a:lnTo>
                <a:lnTo>
                  <a:pt x="1111" y="1429"/>
                </a:lnTo>
                <a:lnTo>
                  <a:pt x="1119" y="1429"/>
                </a:lnTo>
                <a:lnTo>
                  <a:pt x="1138" y="1442"/>
                </a:lnTo>
                <a:lnTo>
                  <a:pt x="1181" y="1471"/>
                </a:lnTo>
                <a:lnTo>
                  <a:pt x="1204" y="1486"/>
                </a:lnTo>
                <a:lnTo>
                  <a:pt x="1224" y="1499"/>
                </a:lnTo>
                <a:lnTo>
                  <a:pt x="1241" y="1509"/>
                </a:lnTo>
                <a:lnTo>
                  <a:pt x="1249" y="1512"/>
                </a:lnTo>
                <a:lnTo>
                  <a:pt x="1258" y="1531"/>
                </a:lnTo>
                <a:lnTo>
                  <a:pt x="1269" y="1533"/>
                </a:lnTo>
                <a:lnTo>
                  <a:pt x="1284" y="1537"/>
                </a:lnTo>
                <a:lnTo>
                  <a:pt x="1292" y="1539"/>
                </a:lnTo>
                <a:lnTo>
                  <a:pt x="1298" y="1543"/>
                </a:lnTo>
                <a:lnTo>
                  <a:pt x="1302" y="1546"/>
                </a:lnTo>
                <a:lnTo>
                  <a:pt x="1305" y="1549"/>
                </a:lnTo>
                <a:lnTo>
                  <a:pt x="1331" y="1549"/>
                </a:lnTo>
                <a:lnTo>
                  <a:pt x="1341" y="1568"/>
                </a:lnTo>
                <a:lnTo>
                  <a:pt x="1368" y="1568"/>
                </a:lnTo>
                <a:lnTo>
                  <a:pt x="1369" y="1570"/>
                </a:lnTo>
                <a:lnTo>
                  <a:pt x="1370" y="1573"/>
                </a:lnTo>
                <a:lnTo>
                  <a:pt x="1372" y="1575"/>
                </a:lnTo>
                <a:lnTo>
                  <a:pt x="1373" y="1576"/>
                </a:lnTo>
                <a:lnTo>
                  <a:pt x="1377" y="1577"/>
                </a:lnTo>
                <a:lnTo>
                  <a:pt x="1383" y="1577"/>
                </a:lnTo>
                <a:lnTo>
                  <a:pt x="1387" y="1577"/>
                </a:lnTo>
                <a:lnTo>
                  <a:pt x="1392" y="1578"/>
                </a:lnTo>
                <a:lnTo>
                  <a:pt x="1394" y="1579"/>
                </a:lnTo>
                <a:lnTo>
                  <a:pt x="1395" y="1580"/>
                </a:lnTo>
                <a:lnTo>
                  <a:pt x="1396" y="1583"/>
                </a:lnTo>
                <a:lnTo>
                  <a:pt x="1396" y="1586"/>
                </a:lnTo>
                <a:lnTo>
                  <a:pt x="1415" y="1586"/>
                </a:lnTo>
                <a:lnTo>
                  <a:pt x="1425" y="1595"/>
                </a:lnTo>
                <a:lnTo>
                  <a:pt x="1439" y="1604"/>
                </a:lnTo>
                <a:lnTo>
                  <a:pt x="1445" y="1607"/>
                </a:lnTo>
                <a:lnTo>
                  <a:pt x="1451" y="1611"/>
                </a:lnTo>
                <a:lnTo>
                  <a:pt x="1456" y="1613"/>
                </a:lnTo>
                <a:lnTo>
                  <a:pt x="1461" y="1614"/>
                </a:lnTo>
                <a:lnTo>
                  <a:pt x="1462" y="1621"/>
                </a:lnTo>
                <a:lnTo>
                  <a:pt x="1464" y="1625"/>
                </a:lnTo>
                <a:lnTo>
                  <a:pt x="1466" y="1628"/>
                </a:lnTo>
                <a:lnTo>
                  <a:pt x="1470" y="1632"/>
                </a:lnTo>
                <a:lnTo>
                  <a:pt x="1474" y="1634"/>
                </a:lnTo>
                <a:lnTo>
                  <a:pt x="1477" y="1636"/>
                </a:lnTo>
                <a:lnTo>
                  <a:pt x="1479" y="1639"/>
                </a:lnTo>
                <a:lnTo>
                  <a:pt x="1480" y="1642"/>
                </a:lnTo>
                <a:lnTo>
                  <a:pt x="1498" y="1642"/>
                </a:lnTo>
                <a:lnTo>
                  <a:pt x="1503" y="1649"/>
                </a:lnTo>
                <a:lnTo>
                  <a:pt x="1510" y="1655"/>
                </a:lnTo>
                <a:lnTo>
                  <a:pt x="1518" y="1662"/>
                </a:lnTo>
                <a:lnTo>
                  <a:pt x="1528" y="1668"/>
                </a:lnTo>
                <a:lnTo>
                  <a:pt x="1539" y="1672"/>
                </a:lnTo>
                <a:lnTo>
                  <a:pt x="1550" y="1675"/>
                </a:lnTo>
                <a:lnTo>
                  <a:pt x="1561" y="1678"/>
                </a:lnTo>
                <a:lnTo>
                  <a:pt x="1573" y="1679"/>
                </a:lnTo>
                <a:lnTo>
                  <a:pt x="1581" y="1697"/>
                </a:lnTo>
                <a:lnTo>
                  <a:pt x="1612" y="1699"/>
                </a:lnTo>
                <a:lnTo>
                  <a:pt x="1647" y="1702"/>
                </a:lnTo>
                <a:lnTo>
                  <a:pt x="1684" y="1704"/>
                </a:lnTo>
                <a:lnTo>
                  <a:pt x="1720" y="1707"/>
                </a:lnTo>
                <a:lnTo>
                  <a:pt x="1720" y="170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96" name="Freeform 57">
            <a:extLst>
              <a:ext uri="{FF2B5EF4-FFF2-40B4-BE49-F238E27FC236}">
                <a16:creationId xmlns:a16="http://schemas.microsoft.com/office/drawing/2014/main" id="{CCD64D8D-7BF7-4CE3-8616-9F1377289435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089900" y="2874963"/>
            <a:ext cx="327604" cy="198438"/>
          </a:xfrm>
          <a:custGeom>
            <a:avLst/>
            <a:gdLst/>
            <a:ahLst/>
            <a:cxnLst>
              <a:cxn ang="0">
                <a:pos x="652" y="539"/>
              </a:cxn>
              <a:cxn ang="0">
                <a:pos x="679" y="573"/>
              </a:cxn>
              <a:cxn ang="0">
                <a:pos x="745" y="594"/>
              </a:cxn>
              <a:cxn ang="0">
                <a:pos x="782" y="462"/>
              </a:cxn>
              <a:cxn ang="0">
                <a:pos x="810" y="407"/>
              </a:cxn>
              <a:cxn ang="0">
                <a:pos x="835" y="386"/>
              </a:cxn>
              <a:cxn ang="0">
                <a:pos x="868" y="354"/>
              </a:cxn>
              <a:cxn ang="0">
                <a:pos x="891" y="321"/>
              </a:cxn>
              <a:cxn ang="0">
                <a:pos x="1004" y="237"/>
              </a:cxn>
              <a:cxn ang="0">
                <a:pos x="1037" y="212"/>
              </a:cxn>
              <a:cxn ang="0">
                <a:pos x="1231" y="199"/>
              </a:cxn>
              <a:cxn ang="0">
                <a:pos x="1287" y="145"/>
              </a:cxn>
              <a:cxn ang="0">
                <a:pos x="1303" y="123"/>
              </a:cxn>
              <a:cxn ang="0">
                <a:pos x="1325" y="66"/>
              </a:cxn>
              <a:cxn ang="0">
                <a:pos x="1366" y="49"/>
              </a:cxn>
              <a:cxn ang="0">
                <a:pos x="1402" y="11"/>
              </a:cxn>
              <a:cxn ang="0">
                <a:pos x="1470" y="4"/>
              </a:cxn>
              <a:cxn ang="0">
                <a:pos x="1537" y="28"/>
              </a:cxn>
              <a:cxn ang="0">
                <a:pos x="1572" y="57"/>
              </a:cxn>
              <a:cxn ang="0">
                <a:pos x="1596" y="93"/>
              </a:cxn>
              <a:cxn ang="0">
                <a:pos x="1626" y="193"/>
              </a:cxn>
              <a:cxn ang="0">
                <a:pos x="1658" y="237"/>
              </a:cxn>
              <a:cxn ang="0">
                <a:pos x="1717" y="276"/>
              </a:cxn>
              <a:cxn ang="0">
                <a:pos x="1747" y="298"/>
              </a:cxn>
              <a:cxn ang="0">
                <a:pos x="1774" y="346"/>
              </a:cxn>
              <a:cxn ang="0">
                <a:pos x="1749" y="448"/>
              </a:cxn>
              <a:cxn ang="0">
                <a:pos x="1722" y="559"/>
              </a:cxn>
              <a:cxn ang="0">
                <a:pos x="1764" y="622"/>
              </a:cxn>
              <a:cxn ang="0">
                <a:pos x="1795" y="769"/>
              </a:cxn>
              <a:cxn ang="0">
                <a:pos x="1792" y="938"/>
              </a:cxn>
              <a:cxn ang="0">
                <a:pos x="1701" y="919"/>
              </a:cxn>
              <a:cxn ang="0">
                <a:pos x="1640" y="897"/>
              </a:cxn>
              <a:cxn ang="0">
                <a:pos x="1607" y="880"/>
              </a:cxn>
              <a:cxn ang="0">
                <a:pos x="1506" y="854"/>
              </a:cxn>
              <a:cxn ang="0">
                <a:pos x="1434" y="842"/>
              </a:cxn>
              <a:cxn ang="0">
                <a:pos x="1348" y="825"/>
              </a:cxn>
              <a:cxn ang="0">
                <a:pos x="1274" y="766"/>
              </a:cxn>
              <a:cxn ang="0">
                <a:pos x="1217" y="713"/>
              </a:cxn>
              <a:cxn ang="0">
                <a:pos x="1174" y="687"/>
              </a:cxn>
              <a:cxn ang="0">
                <a:pos x="1054" y="713"/>
              </a:cxn>
              <a:cxn ang="0">
                <a:pos x="1001" y="756"/>
              </a:cxn>
              <a:cxn ang="0">
                <a:pos x="948" y="797"/>
              </a:cxn>
              <a:cxn ang="0">
                <a:pos x="886" y="841"/>
              </a:cxn>
              <a:cxn ang="0">
                <a:pos x="812" y="930"/>
              </a:cxn>
              <a:cxn ang="0">
                <a:pos x="797" y="976"/>
              </a:cxn>
              <a:cxn ang="0">
                <a:pos x="779" y="999"/>
              </a:cxn>
              <a:cxn ang="0">
                <a:pos x="750" y="1032"/>
              </a:cxn>
              <a:cxn ang="0">
                <a:pos x="713" y="1071"/>
              </a:cxn>
              <a:cxn ang="0">
                <a:pos x="691" y="1085"/>
              </a:cxn>
              <a:cxn ang="0">
                <a:pos x="635" y="1119"/>
              </a:cxn>
              <a:cxn ang="0">
                <a:pos x="524" y="1192"/>
              </a:cxn>
              <a:cxn ang="0">
                <a:pos x="486" y="1221"/>
              </a:cxn>
              <a:cxn ang="0">
                <a:pos x="368" y="1232"/>
              </a:cxn>
              <a:cxn ang="0">
                <a:pos x="99" y="1207"/>
              </a:cxn>
              <a:cxn ang="0">
                <a:pos x="25" y="1138"/>
              </a:cxn>
              <a:cxn ang="0">
                <a:pos x="51" y="1115"/>
              </a:cxn>
              <a:cxn ang="0">
                <a:pos x="73" y="1077"/>
              </a:cxn>
              <a:cxn ang="0">
                <a:pos x="199" y="998"/>
              </a:cxn>
              <a:cxn ang="0">
                <a:pos x="281" y="917"/>
              </a:cxn>
              <a:cxn ang="0">
                <a:pos x="332" y="817"/>
              </a:cxn>
              <a:cxn ang="0">
                <a:pos x="479" y="707"/>
              </a:cxn>
              <a:cxn ang="0">
                <a:pos x="549" y="590"/>
              </a:cxn>
              <a:cxn ang="0">
                <a:pos x="572" y="563"/>
              </a:cxn>
            </a:cxnLst>
            <a:rect l="0" t="0" r="r" b="b"/>
            <a:pathLst>
              <a:path w="1796" h="1235">
                <a:moveTo>
                  <a:pt x="613" y="545"/>
                </a:moveTo>
                <a:lnTo>
                  <a:pt x="617" y="546"/>
                </a:lnTo>
                <a:lnTo>
                  <a:pt x="630" y="537"/>
                </a:lnTo>
                <a:lnTo>
                  <a:pt x="641" y="528"/>
                </a:lnTo>
                <a:lnTo>
                  <a:pt x="641" y="537"/>
                </a:lnTo>
                <a:lnTo>
                  <a:pt x="647" y="537"/>
                </a:lnTo>
                <a:lnTo>
                  <a:pt x="650" y="538"/>
                </a:lnTo>
                <a:lnTo>
                  <a:pt x="652" y="538"/>
                </a:lnTo>
                <a:lnTo>
                  <a:pt x="652" y="539"/>
                </a:lnTo>
                <a:lnTo>
                  <a:pt x="652" y="541"/>
                </a:lnTo>
                <a:lnTo>
                  <a:pt x="652" y="542"/>
                </a:lnTo>
                <a:lnTo>
                  <a:pt x="653" y="542"/>
                </a:lnTo>
                <a:lnTo>
                  <a:pt x="655" y="542"/>
                </a:lnTo>
                <a:lnTo>
                  <a:pt x="660" y="546"/>
                </a:lnTo>
                <a:lnTo>
                  <a:pt x="662" y="554"/>
                </a:lnTo>
                <a:lnTo>
                  <a:pt x="665" y="561"/>
                </a:lnTo>
                <a:lnTo>
                  <a:pt x="670" y="565"/>
                </a:lnTo>
                <a:lnTo>
                  <a:pt x="679" y="573"/>
                </a:lnTo>
                <a:lnTo>
                  <a:pt x="689" y="580"/>
                </a:lnTo>
                <a:lnTo>
                  <a:pt x="691" y="584"/>
                </a:lnTo>
                <a:lnTo>
                  <a:pt x="693" y="588"/>
                </a:lnTo>
                <a:lnTo>
                  <a:pt x="702" y="588"/>
                </a:lnTo>
                <a:lnTo>
                  <a:pt x="704" y="591"/>
                </a:lnTo>
                <a:lnTo>
                  <a:pt x="710" y="592"/>
                </a:lnTo>
                <a:lnTo>
                  <a:pt x="718" y="593"/>
                </a:lnTo>
                <a:lnTo>
                  <a:pt x="727" y="593"/>
                </a:lnTo>
                <a:lnTo>
                  <a:pt x="745" y="594"/>
                </a:lnTo>
                <a:lnTo>
                  <a:pt x="755" y="594"/>
                </a:lnTo>
                <a:lnTo>
                  <a:pt x="768" y="580"/>
                </a:lnTo>
                <a:lnTo>
                  <a:pt x="769" y="565"/>
                </a:lnTo>
                <a:lnTo>
                  <a:pt x="770" y="548"/>
                </a:lnTo>
                <a:lnTo>
                  <a:pt x="772" y="532"/>
                </a:lnTo>
                <a:lnTo>
                  <a:pt x="776" y="514"/>
                </a:lnTo>
                <a:lnTo>
                  <a:pt x="778" y="496"/>
                </a:lnTo>
                <a:lnTo>
                  <a:pt x="780" y="479"/>
                </a:lnTo>
                <a:lnTo>
                  <a:pt x="782" y="462"/>
                </a:lnTo>
                <a:lnTo>
                  <a:pt x="782" y="448"/>
                </a:lnTo>
                <a:lnTo>
                  <a:pt x="793" y="442"/>
                </a:lnTo>
                <a:lnTo>
                  <a:pt x="793" y="439"/>
                </a:lnTo>
                <a:lnTo>
                  <a:pt x="794" y="433"/>
                </a:lnTo>
                <a:lnTo>
                  <a:pt x="796" y="427"/>
                </a:lnTo>
                <a:lnTo>
                  <a:pt x="798" y="420"/>
                </a:lnTo>
                <a:lnTo>
                  <a:pt x="801" y="414"/>
                </a:lnTo>
                <a:lnTo>
                  <a:pt x="806" y="410"/>
                </a:lnTo>
                <a:lnTo>
                  <a:pt x="810" y="407"/>
                </a:lnTo>
                <a:lnTo>
                  <a:pt x="816" y="405"/>
                </a:lnTo>
                <a:lnTo>
                  <a:pt x="816" y="402"/>
                </a:lnTo>
                <a:lnTo>
                  <a:pt x="818" y="399"/>
                </a:lnTo>
                <a:lnTo>
                  <a:pt x="822" y="397"/>
                </a:lnTo>
                <a:lnTo>
                  <a:pt x="825" y="395"/>
                </a:lnTo>
                <a:lnTo>
                  <a:pt x="826" y="394"/>
                </a:lnTo>
                <a:lnTo>
                  <a:pt x="828" y="392"/>
                </a:lnTo>
                <a:lnTo>
                  <a:pt x="832" y="389"/>
                </a:lnTo>
                <a:lnTo>
                  <a:pt x="835" y="386"/>
                </a:lnTo>
                <a:lnTo>
                  <a:pt x="843" y="383"/>
                </a:lnTo>
                <a:lnTo>
                  <a:pt x="848" y="382"/>
                </a:lnTo>
                <a:lnTo>
                  <a:pt x="851" y="380"/>
                </a:lnTo>
                <a:lnTo>
                  <a:pt x="854" y="374"/>
                </a:lnTo>
                <a:lnTo>
                  <a:pt x="858" y="370"/>
                </a:lnTo>
                <a:lnTo>
                  <a:pt x="863" y="368"/>
                </a:lnTo>
                <a:lnTo>
                  <a:pt x="864" y="363"/>
                </a:lnTo>
                <a:lnTo>
                  <a:pt x="866" y="359"/>
                </a:lnTo>
                <a:lnTo>
                  <a:pt x="868" y="354"/>
                </a:lnTo>
                <a:lnTo>
                  <a:pt x="872" y="349"/>
                </a:lnTo>
                <a:lnTo>
                  <a:pt x="875" y="343"/>
                </a:lnTo>
                <a:lnTo>
                  <a:pt x="878" y="338"/>
                </a:lnTo>
                <a:lnTo>
                  <a:pt x="881" y="334"/>
                </a:lnTo>
                <a:lnTo>
                  <a:pt x="882" y="330"/>
                </a:lnTo>
                <a:lnTo>
                  <a:pt x="885" y="328"/>
                </a:lnTo>
                <a:lnTo>
                  <a:pt x="889" y="325"/>
                </a:lnTo>
                <a:lnTo>
                  <a:pt x="891" y="322"/>
                </a:lnTo>
                <a:lnTo>
                  <a:pt x="891" y="321"/>
                </a:lnTo>
                <a:lnTo>
                  <a:pt x="894" y="320"/>
                </a:lnTo>
                <a:lnTo>
                  <a:pt x="900" y="317"/>
                </a:lnTo>
                <a:lnTo>
                  <a:pt x="906" y="313"/>
                </a:lnTo>
                <a:lnTo>
                  <a:pt x="915" y="307"/>
                </a:lnTo>
                <a:lnTo>
                  <a:pt x="933" y="295"/>
                </a:lnTo>
                <a:lnTo>
                  <a:pt x="953" y="279"/>
                </a:lnTo>
                <a:lnTo>
                  <a:pt x="973" y="264"/>
                </a:lnTo>
                <a:lnTo>
                  <a:pt x="990" y="249"/>
                </a:lnTo>
                <a:lnTo>
                  <a:pt x="1004" y="237"/>
                </a:lnTo>
                <a:lnTo>
                  <a:pt x="1009" y="230"/>
                </a:lnTo>
                <a:lnTo>
                  <a:pt x="1012" y="230"/>
                </a:lnTo>
                <a:lnTo>
                  <a:pt x="1017" y="228"/>
                </a:lnTo>
                <a:lnTo>
                  <a:pt x="1022" y="226"/>
                </a:lnTo>
                <a:lnTo>
                  <a:pt x="1027" y="224"/>
                </a:lnTo>
                <a:lnTo>
                  <a:pt x="1030" y="220"/>
                </a:lnTo>
                <a:lnTo>
                  <a:pt x="1034" y="217"/>
                </a:lnTo>
                <a:lnTo>
                  <a:pt x="1036" y="215"/>
                </a:lnTo>
                <a:lnTo>
                  <a:pt x="1037" y="212"/>
                </a:lnTo>
                <a:lnTo>
                  <a:pt x="1059" y="211"/>
                </a:lnTo>
                <a:lnTo>
                  <a:pt x="1083" y="210"/>
                </a:lnTo>
                <a:lnTo>
                  <a:pt x="1108" y="209"/>
                </a:lnTo>
                <a:lnTo>
                  <a:pt x="1134" y="207"/>
                </a:lnTo>
                <a:lnTo>
                  <a:pt x="1160" y="206"/>
                </a:lnTo>
                <a:lnTo>
                  <a:pt x="1184" y="203"/>
                </a:lnTo>
                <a:lnTo>
                  <a:pt x="1208" y="203"/>
                </a:lnTo>
                <a:lnTo>
                  <a:pt x="1230" y="202"/>
                </a:lnTo>
                <a:lnTo>
                  <a:pt x="1231" y="199"/>
                </a:lnTo>
                <a:lnTo>
                  <a:pt x="1233" y="196"/>
                </a:lnTo>
                <a:lnTo>
                  <a:pt x="1237" y="192"/>
                </a:lnTo>
                <a:lnTo>
                  <a:pt x="1240" y="190"/>
                </a:lnTo>
                <a:lnTo>
                  <a:pt x="1248" y="186"/>
                </a:lnTo>
                <a:lnTo>
                  <a:pt x="1254" y="183"/>
                </a:lnTo>
                <a:lnTo>
                  <a:pt x="1259" y="174"/>
                </a:lnTo>
                <a:lnTo>
                  <a:pt x="1275" y="164"/>
                </a:lnTo>
                <a:lnTo>
                  <a:pt x="1287" y="155"/>
                </a:lnTo>
                <a:lnTo>
                  <a:pt x="1287" y="145"/>
                </a:lnTo>
                <a:lnTo>
                  <a:pt x="1288" y="145"/>
                </a:lnTo>
                <a:lnTo>
                  <a:pt x="1289" y="144"/>
                </a:lnTo>
                <a:lnTo>
                  <a:pt x="1290" y="143"/>
                </a:lnTo>
                <a:lnTo>
                  <a:pt x="1292" y="141"/>
                </a:lnTo>
                <a:lnTo>
                  <a:pt x="1292" y="136"/>
                </a:lnTo>
                <a:lnTo>
                  <a:pt x="1292" y="132"/>
                </a:lnTo>
                <a:lnTo>
                  <a:pt x="1295" y="129"/>
                </a:lnTo>
                <a:lnTo>
                  <a:pt x="1299" y="125"/>
                </a:lnTo>
                <a:lnTo>
                  <a:pt x="1303" y="123"/>
                </a:lnTo>
                <a:lnTo>
                  <a:pt x="1306" y="122"/>
                </a:lnTo>
                <a:lnTo>
                  <a:pt x="1307" y="116"/>
                </a:lnTo>
                <a:lnTo>
                  <a:pt x="1309" y="110"/>
                </a:lnTo>
                <a:lnTo>
                  <a:pt x="1312" y="103"/>
                </a:lnTo>
                <a:lnTo>
                  <a:pt x="1315" y="96"/>
                </a:lnTo>
                <a:lnTo>
                  <a:pt x="1318" y="88"/>
                </a:lnTo>
                <a:lnTo>
                  <a:pt x="1322" y="81"/>
                </a:lnTo>
                <a:lnTo>
                  <a:pt x="1324" y="73"/>
                </a:lnTo>
                <a:lnTo>
                  <a:pt x="1325" y="66"/>
                </a:lnTo>
                <a:lnTo>
                  <a:pt x="1329" y="61"/>
                </a:lnTo>
                <a:lnTo>
                  <a:pt x="1338" y="61"/>
                </a:lnTo>
                <a:lnTo>
                  <a:pt x="1348" y="61"/>
                </a:lnTo>
                <a:lnTo>
                  <a:pt x="1350" y="58"/>
                </a:lnTo>
                <a:lnTo>
                  <a:pt x="1352" y="57"/>
                </a:lnTo>
                <a:lnTo>
                  <a:pt x="1354" y="56"/>
                </a:lnTo>
                <a:lnTo>
                  <a:pt x="1357" y="56"/>
                </a:lnTo>
                <a:lnTo>
                  <a:pt x="1362" y="53"/>
                </a:lnTo>
                <a:lnTo>
                  <a:pt x="1366" y="49"/>
                </a:lnTo>
                <a:lnTo>
                  <a:pt x="1371" y="46"/>
                </a:lnTo>
                <a:lnTo>
                  <a:pt x="1372" y="43"/>
                </a:lnTo>
                <a:lnTo>
                  <a:pt x="1381" y="43"/>
                </a:lnTo>
                <a:lnTo>
                  <a:pt x="1383" y="41"/>
                </a:lnTo>
                <a:lnTo>
                  <a:pt x="1386" y="35"/>
                </a:lnTo>
                <a:lnTo>
                  <a:pt x="1391" y="30"/>
                </a:lnTo>
                <a:lnTo>
                  <a:pt x="1395" y="28"/>
                </a:lnTo>
                <a:lnTo>
                  <a:pt x="1395" y="18"/>
                </a:lnTo>
                <a:lnTo>
                  <a:pt x="1402" y="11"/>
                </a:lnTo>
                <a:lnTo>
                  <a:pt x="1410" y="5"/>
                </a:lnTo>
                <a:lnTo>
                  <a:pt x="1429" y="5"/>
                </a:lnTo>
                <a:lnTo>
                  <a:pt x="1429" y="3"/>
                </a:lnTo>
                <a:lnTo>
                  <a:pt x="1431" y="1"/>
                </a:lnTo>
                <a:lnTo>
                  <a:pt x="1433" y="1"/>
                </a:lnTo>
                <a:lnTo>
                  <a:pt x="1436" y="0"/>
                </a:lnTo>
                <a:lnTo>
                  <a:pt x="1443" y="0"/>
                </a:lnTo>
                <a:lnTo>
                  <a:pt x="1452" y="1"/>
                </a:lnTo>
                <a:lnTo>
                  <a:pt x="1470" y="4"/>
                </a:lnTo>
                <a:lnTo>
                  <a:pt x="1480" y="5"/>
                </a:lnTo>
                <a:lnTo>
                  <a:pt x="1485" y="8"/>
                </a:lnTo>
                <a:lnTo>
                  <a:pt x="1491" y="13"/>
                </a:lnTo>
                <a:lnTo>
                  <a:pt x="1499" y="16"/>
                </a:lnTo>
                <a:lnTo>
                  <a:pt x="1507" y="19"/>
                </a:lnTo>
                <a:lnTo>
                  <a:pt x="1515" y="23"/>
                </a:lnTo>
                <a:lnTo>
                  <a:pt x="1524" y="26"/>
                </a:lnTo>
                <a:lnTo>
                  <a:pt x="1530" y="27"/>
                </a:lnTo>
                <a:lnTo>
                  <a:pt x="1537" y="28"/>
                </a:lnTo>
                <a:lnTo>
                  <a:pt x="1539" y="32"/>
                </a:lnTo>
                <a:lnTo>
                  <a:pt x="1542" y="34"/>
                </a:lnTo>
                <a:lnTo>
                  <a:pt x="1545" y="37"/>
                </a:lnTo>
                <a:lnTo>
                  <a:pt x="1549" y="38"/>
                </a:lnTo>
                <a:lnTo>
                  <a:pt x="1557" y="42"/>
                </a:lnTo>
                <a:lnTo>
                  <a:pt x="1565" y="43"/>
                </a:lnTo>
                <a:lnTo>
                  <a:pt x="1565" y="52"/>
                </a:lnTo>
                <a:lnTo>
                  <a:pt x="1568" y="53"/>
                </a:lnTo>
                <a:lnTo>
                  <a:pt x="1572" y="57"/>
                </a:lnTo>
                <a:lnTo>
                  <a:pt x="1574" y="62"/>
                </a:lnTo>
                <a:lnTo>
                  <a:pt x="1575" y="66"/>
                </a:lnTo>
                <a:lnTo>
                  <a:pt x="1584" y="71"/>
                </a:lnTo>
                <a:lnTo>
                  <a:pt x="1588" y="75"/>
                </a:lnTo>
                <a:lnTo>
                  <a:pt x="1590" y="81"/>
                </a:lnTo>
                <a:lnTo>
                  <a:pt x="1592" y="86"/>
                </a:lnTo>
                <a:lnTo>
                  <a:pt x="1593" y="90"/>
                </a:lnTo>
                <a:lnTo>
                  <a:pt x="1595" y="92"/>
                </a:lnTo>
                <a:lnTo>
                  <a:pt x="1596" y="93"/>
                </a:lnTo>
                <a:lnTo>
                  <a:pt x="1599" y="94"/>
                </a:lnTo>
                <a:lnTo>
                  <a:pt x="1600" y="105"/>
                </a:lnTo>
                <a:lnTo>
                  <a:pt x="1603" y="119"/>
                </a:lnTo>
                <a:lnTo>
                  <a:pt x="1607" y="132"/>
                </a:lnTo>
                <a:lnTo>
                  <a:pt x="1612" y="145"/>
                </a:lnTo>
                <a:lnTo>
                  <a:pt x="1617" y="159"/>
                </a:lnTo>
                <a:lnTo>
                  <a:pt x="1622" y="171"/>
                </a:lnTo>
                <a:lnTo>
                  <a:pt x="1625" y="183"/>
                </a:lnTo>
                <a:lnTo>
                  <a:pt x="1626" y="193"/>
                </a:lnTo>
                <a:lnTo>
                  <a:pt x="1631" y="199"/>
                </a:lnTo>
                <a:lnTo>
                  <a:pt x="1636" y="207"/>
                </a:lnTo>
                <a:lnTo>
                  <a:pt x="1643" y="216"/>
                </a:lnTo>
                <a:lnTo>
                  <a:pt x="1650" y="221"/>
                </a:lnTo>
                <a:lnTo>
                  <a:pt x="1650" y="226"/>
                </a:lnTo>
                <a:lnTo>
                  <a:pt x="1651" y="229"/>
                </a:lnTo>
                <a:lnTo>
                  <a:pt x="1652" y="232"/>
                </a:lnTo>
                <a:lnTo>
                  <a:pt x="1653" y="235"/>
                </a:lnTo>
                <a:lnTo>
                  <a:pt x="1658" y="237"/>
                </a:lnTo>
                <a:lnTo>
                  <a:pt x="1664" y="240"/>
                </a:lnTo>
                <a:lnTo>
                  <a:pt x="1667" y="247"/>
                </a:lnTo>
                <a:lnTo>
                  <a:pt x="1669" y="255"/>
                </a:lnTo>
                <a:lnTo>
                  <a:pt x="1683" y="259"/>
                </a:lnTo>
                <a:lnTo>
                  <a:pt x="1697" y="264"/>
                </a:lnTo>
                <a:lnTo>
                  <a:pt x="1700" y="268"/>
                </a:lnTo>
                <a:lnTo>
                  <a:pt x="1702" y="273"/>
                </a:lnTo>
                <a:lnTo>
                  <a:pt x="1716" y="273"/>
                </a:lnTo>
                <a:lnTo>
                  <a:pt x="1717" y="276"/>
                </a:lnTo>
                <a:lnTo>
                  <a:pt x="1719" y="277"/>
                </a:lnTo>
                <a:lnTo>
                  <a:pt x="1722" y="278"/>
                </a:lnTo>
                <a:lnTo>
                  <a:pt x="1726" y="278"/>
                </a:lnTo>
                <a:lnTo>
                  <a:pt x="1730" y="283"/>
                </a:lnTo>
                <a:lnTo>
                  <a:pt x="1735" y="292"/>
                </a:lnTo>
                <a:lnTo>
                  <a:pt x="1738" y="293"/>
                </a:lnTo>
                <a:lnTo>
                  <a:pt x="1741" y="294"/>
                </a:lnTo>
                <a:lnTo>
                  <a:pt x="1744" y="296"/>
                </a:lnTo>
                <a:lnTo>
                  <a:pt x="1747" y="298"/>
                </a:lnTo>
                <a:lnTo>
                  <a:pt x="1751" y="304"/>
                </a:lnTo>
                <a:lnTo>
                  <a:pt x="1756" y="311"/>
                </a:lnTo>
                <a:lnTo>
                  <a:pt x="1759" y="317"/>
                </a:lnTo>
                <a:lnTo>
                  <a:pt x="1764" y="324"/>
                </a:lnTo>
                <a:lnTo>
                  <a:pt x="1766" y="326"/>
                </a:lnTo>
                <a:lnTo>
                  <a:pt x="1768" y="328"/>
                </a:lnTo>
                <a:lnTo>
                  <a:pt x="1770" y="330"/>
                </a:lnTo>
                <a:lnTo>
                  <a:pt x="1773" y="330"/>
                </a:lnTo>
                <a:lnTo>
                  <a:pt x="1774" y="346"/>
                </a:lnTo>
                <a:lnTo>
                  <a:pt x="1777" y="365"/>
                </a:lnTo>
                <a:lnTo>
                  <a:pt x="1780" y="386"/>
                </a:lnTo>
                <a:lnTo>
                  <a:pt x="1782" y="405"/>
                </a:lnTo>
                <a:lnTo>
                  <a:pt x="1777" y="410"/>
                </a:lnTo>
                <a:lnTo>
                  <a:pt x="1768" y="414"/>
                </a:lnTo>
                <a:lnTo>
                  <a:pt x="1764" y="424"/>
                </a:lnTo>
                <a:lnTo>
                  <a:pt x="1758" y="433"/>
                </a:lnTo>
                <a:lnTo>
                  <a:pt x="1749" y="438"/>
                </a:lnTo>
                <a:lnTo>
                  <a:pt x="1749" y="448"/>
                </a:lnTo>
                <a:lnTo>
                  <a:pt x="1739" y="452"/>
                </a:lnTo>
                <a:lnTo>
                  <a:pt x="1735" y="474"/>
                </a:lnTo>
                <a:lnTo>
                  <a:pt x="1726" y="510"/>
                </a:lnTo>
                <a:lnTo>
                  <a:pt x="1721" y="529"/>
                </a:lnTo>
                <a:lnTo>
                  <a:pt x="1720" y="545"/>
                </a:lnTo>
                <a:lnTo>
                  <a:pt x="1720" y="552"/>
                </a:lnTo>
                <a:lnTo>
                  <a:pt x="1720" y="556"/>
                </a:lnTo>
                <a:lnTo>
                  <a:pt x="1721" y="558"/>
                </a:lnTo>
                <a:lnTo>
                  <a:pt x="1722" y="559"/>
                </a:lnTo>
                <a:lnTo>
                  <a:pt x="1724" y="561"/>
                </a:lnTo>
                <a:lnTo>
                  <a:pt x="1726" y="561"/>
                </a:lnTo>
                <a:lnTo>
                  <a:pt x="1726" y="575"/>
                </a:lnTo>
                <a:lnTo>
                  <a:pt x="1730" y="580"/>
                </a:lnTo>
                <a:lnTo>
                  <a:pt x="1739" y="584"/>
                </a:lnTo>
                <a:lnTo>
                  <a:pt x="1739" y="594"/>
                </a:lnTo>
                <a:lnTo>
                  <a:pt x="1750" y="605"/>
                </a:lnTo>
                <a:lnTo>
                  <a:pt x="1758" y="613"/>
                </a:lnTo>
                <a:lnTo>
                  <a:pt x="1764" y="622"/>
                </a:lnTo>
                <a:lnTo>
                  <a:pt x="1765" y="632"/>
                </a:lnTo>
                <a:lnTo>
                  <a:pt x="1768" y="645"/>
                </a:lnTo>
                <a:lnTo>
                  <a:pt x="1774" y="660"/>
                </a:lnTo>
                <a:lnTo>
                  <a:pt x="1779" y="677"/>
                </a:lnTo>
                <a:lnTo>
                  <a:pt x="1786" y="695"/>
                </a:lnTo>
                <a:lnTo>
                  <a:pt x="1791" y="712"/>
                </a:lnTo>
                <a:lnTo>
                  <a:pt x="1795" y="731"/>
                </a:lnTo>
                <a:lnTo>
                  <a:pt x="1796" y="749"/>
                </a:lnTo>
                <a:lnTo>
                  <a:pt x="1795" y="769"/>
                </a:lnTo>
                <a:lnTo>
                  <a:pt x="1793" y="807"/>
                </a:lnTo>
                <a:lnTo>
                  <a:pt x="1792" y="827"/>
                </a:lnTo>
                <a:lnTo>
                  <a:pt x="1793" y="845"/>
                </a:lnTo>
                <a:lnTo>
                  <a:pt x="1793" y="852"/>
                </a:lnTo>
                <a:lnTo>
                  <a:pt x="1794" y="857"/>
                </a:lnTo>
                <a:lnTo>
                  <a:pt x="1795" y="861"/>
                </a:lnTo>
                <a:lnTo>
                  <a:pt x="1796" y="862"/>
                </a:lnTo>
                <a:lnTo>
                  <a:pt x="1796" y="933"/>
                </a:lnTo>
                <a:lnTo>
                  <a:pt x="1792" y="938"/>
                </a:lnTo>
                <a:lnTo>
                  <a:pt x="1773" y="938"/>
                </a:lnTo>
                <a:lnTo>
                  <a:pt x="1755" y="936"/>
                </a:lnTo>
                <a:lnTo>
                  <a:pt x="1746" y="934"/>
                </a:lnTo>
                <a:lnTo>
                  <a:pt x="1738" y="932"/>
                </a:lnTo>
                <a:lnTo>
                  <a:pt x="1731" y="928"/>
                </a:lnTo>
                <a:lnTo>
                  <a:pt x="1726" y="923"/>
                </a:lnTo>
                <a:lnTo>
                  <a:pt x="1719" y="923"/>
                </a:lnTo>
                <a:lnTo>
                  <a:pt x="1710" y="921"/>
                </a:lnTo>
                <a:lnTo>
                  <a:pt x="1701" y="919"/>
                </a:lnTo>
                <a:lnTo>
                  <a:pt x="1691" y="915"/>
                </a:lnTo>
                <a:lnTo>
                  <a:pt x="1681" y="912"/>
                </a:lnTo>
                <a:lnTo>
                  <a:pt x="1672" y="908"/>
                </a:lnTo>
                <a:lnTo>
                  <a:pt x="1664" y="903"/>
                </a:lnTo>
                <a:lnTo>
                  <a:pt x="1660" y="900"/>
                </a:lnTo>
                <a:lnTo>
                  <a:pt x="1652" y="900"/>
                </a:lnTo>
                <a:lnTo>
                  <a:pt x="1645" y="899"/>
                </a:lnTo>
                <a:lnTo>
                  <a:pt x="1643" y="898"/>
                </a:lnTo>
                <a:lnTo>
                  <a:pt x="1640" y="897"/>
                </a:lnTo>
                <a:lnTo>
                  <a:pt x="1638" y="893"/>
                </a:lnTo>
                <a:lnTo>
                  <a:pt x="1636" y="891"/>
                </a:lnTo>
                <a:lnTo>
                  <a:pt x="1629" y="890"/>
                </a:lnTo>
                <a:lnTo>
                  <a:pt x="1623" y="888"/>
                </a:lnTo>
                <a:lnTo>
                  <a:pt x="1621" y="886"/>
                </a:lnTo>
                <a:lnTo>
                  <a:pt x="1619" y="884"/>
                </a:lnTo>
                <a:lnTo>
                  <a:pt x="1617" y="883"/>
                </a:lnTo>
                <a:lnTo>
                  <a:pt x="1617" y="881"/>
                </a:lnTo>
                <a:lnTo>
                  <a:pt x="1607" y="880"/>
                </a:lnTo>
                <a:lnTo>
                  <a:pt x="1595" y="878"/>
                </a:lnTo>
                <a:lnTo>
                  <a:pt x="1588" y="875"/>
                </a:lnTo>
                <a:lnTo>
                  <a:pt x="1584" y="873"/>
                </a:lnTo>
                <a:lnTo>
                  <a:pt x="1581" y="871"/>
                </a:lnTo>
                <a:lnTo>
                  <a:pt x="1580" y="868"/>
                </a:lnTo>
                <a:lnTo>
                  <a:pt x="1565" y="868"/>
                </a:lnTo>
                <a:lnTo>
                  <a:pt x="1547" y="861"/>
                </a:lnTo>
                <a:lnTo>
                  <a:pt x="1527" y="856"/>
                </a:lnTo>
                <a:lnTo>
                  <a:pt x="1506" y="854"/>
                </a:lnTo>
                <a:lnTo>
                  <a:pt x="1485" y="853"/>
                </a:lnTo>
                <a:lnTo>
                  <a:pt x="1481" y="850"/>
                </a:lnTo>
                <a:lnTo>
                  <a:pt x="1478" y="847"/>
                </a:lnTo>
                <a:lnTo>
                  <a:pt x="1473" y="846"/>
                </a:lnTo>
                <a:lnTo>
                  <a:pt x="1469" y="845"/>
                </a:lnTo>
                <a:lnTo>
                  <a:pt x="1461" y="844"/>
                </a:lnTo>
                <a:lnTo>
                  <a:pt x="1452" y="843"/>
                </a:lnTo>
                <a:lnTo>
                  <a:pt x="1443" y="843"/>
                </a:lnTo>
                <a:lnTo>
                  <a:pt x="1434" y="842"/>
                </a:lnTo>
                <a:lnTo>
                  <a:pt x="1431" y="841"/>
                </a:lnTo>
                <a:lnTo>
                  <a:pt x="1427" y="840"/>
                </a:lnTo>
                <a:lnTo>
                  <a:pt x="1423" y="837"/>
                </a:lnTo>
                <a:lnTo>
                  <a:pt x="1419" y="834"/>
                </a:lnTo>
                <a:lnTo>
                  <a:pt x="1405" y="833"/>
                </a:lnTo>
                <a:lnTo>
                  <a:pt x="1391" y="831"/>
                </a:lnTo>
                <a:lnTo>
                  <a:pt x="1379" y="828"/>
                </a:lnTo>
                <a:lnTo>
                  <a:pt x="1367" y="825"/>
                </a:lnTo>
                <a:lnTo>
                  <a:pt x="1348" y="825"/>
                </a:lnTo>
                <a:lnTo>
                  <a:pt x="1342" y="822"/>
                </a:lnTo>
                <a:lnTo>
                  <a:pt x="1334" y="820"/>
                </a:lnTo>
                <a:lnTo>
                  <a:pt x="1325" y="809"/>
                </a:lnTo>
                <a:lnTo>
                  <a:pt x="1315" y="796"/>
                </a:lnTo>
                <a:lnTo>
                  <a:pt x="1304" y="792"/>
                </a:lnTo>
                <a:lnTo>
                  <a:pt x="1292" y="787"/>
                </a:lnTo>
                <a:lnTo>
                  <a:pt x="1287" y="777"/>
                </a:lnTo>
                <a:lnTo>
                  <a:pt x="1278" y="773"/>
                </a:lnTo>
                <a:lnTo>
                  <a:pt x="1274" y="766"/>
                </a:lnTo>
                <a:lnTo>
                  <a:pt x="1265" y="755"/>
                </a:lnTo>
                <a:lnTo>
                  <a:pt x="1256" y="745"/>
                </a:lnTo>
                <a:lnTo>
                  <a:pt x="1249" y="740"/>
                </a:lnTo>
                <a:lnTo>
                  <a:pt x="1245" y="735"/>
                </a:lnTo>
                <a:lnTo>
                  <a:pt x="1240" y="726"/>
                </a:lnTo>
                <a:lnTo>
                  <a:pt x="1230" y="726"/>
                </a:lnTo>
                <a:lnTo>
                  <a:pt x="1226" y="716"/>
                </a:lnTo>
                <a:lnTo>
                  <a:pt x="1221" y="716"/>
                </a:lnTo>
                <a:lnTo>
                  <a:pt x="1217" y="713"/>
                </a:lnTo>
                <a:lnTo>
                  <a:pt x="1211" y="710"/>
                </a:lnTo>
                <a:lnTo>
                  <a:pt x="1206" y="706"/>
                </a:lnTo>
                <a:lnTo>
                  <a:pt x="1200" y="701"/>
                </a:lnTo>
                <a:lnTo>
                  <a:pt x="1194" y="697"/>
                </a:lnTo>
                <a:lnTo>
                  <a:pt x="1191" y="692"/>
                </a:lnTo>
                <a:lnTo>
                  <a:pt x="1188" y="688"/>
                </a:lnTo>
                <a:lnTo>
                  <a:pt x="1183" y="688"/>
                </a:lnTo>
                <a:lnTo>
                  <a:pt x="1177" y="688"/>
                </a:lnTo>
                <a:lnTo>
                  <a:pt x="1174" y="687"/>
                </a:lnTo>
                <a:lnTo>
                  <a:pt x="1171" y="686"/>
                </a:lnTo>
                <a:lnTo>
                  <a:pt x="1170" y="684"/>
                </a:lnTo>
                <a:lnTo>
                  <a:pt x="1169" y="683"/>
                </a:lnTo>
                <a:lnTo>
                  <a:pt x="1113" y="683"/>
                </a:lnTo>
                <a:lnTo>
                  <a:pt x="1101" y="689"/>
                </a:lnTo>
                <a:lnTo>
                  <a:pt x="1084" y="697"/>
                </a:lnTo>
                <a:lnTo>
                  <a:pt x="1067" y="703"/>
                </a:lnTo>
                <a:lnTo>
                  <a:pt x="1056" y="707"/>
                </a:lnTo>
                <a:lnTo>
                  <a:pt x="1054" y="713"/>
                </a:lnTo>
                <a:lnTo>
                  <a:pt x="1052" y="721"/>
                </a:lnTo>
                <a:lnTo>
                  <a:pt x="1041" y="721"/>
                </a:lnTo>
                <a:lnTo>
                  <a:pt x="1039" y="726"/>
                </a:lnTo>
                <a:lnTo>
                  <a:pt x="1037" y="730"/>
                </a:lnTo>
                <a:lnTo>
                  <a:pt x="1030" y="731"/>
                </a:lnTo>
                <a:lnTo>
                  <a:pt x="1024" y="735"/>
                </a:lnTo>
                <a:lnTo>
                  <a:pt x="1018" y="738"/>
                </a:lnTo>
                <a:lnTo>
                  <a:pt x="1011" y="744"/>
                </a:lnTo>
                <a:lnTo>
                  <a:pt x="1001" y="756"/>
                </a:lnTo>
                <a:lnTo>
                  <a:pt x="990" y="768"/>
                </a:lnTo>
                <a:lnTo>
                  <a:pt x="981" y="768"/>
                </a:lnTo>
                <a:lnTo>
                  <a:pt x="976" y="773"/>
                </a:lnTo>
                <a:lnTo>
                  <a:pt x="971" y="783"/>
                </a:lnTo>
                <a:lnTo>
                  <a:pt x="967" y="784"/>
                </a:lnTo>
                <a:lnTo>
                  <a:pt x="960" y="787"/>
                </a:lnTo>
                <a:lnTo>
                  <a:pt x="954" y="792"/>
                </a:lnTo>
                <a:lnTo>
                  <a:pt x="952" y="796"/>
                </a:lnTo>
                <a:lnTo>
                  <a:pt x="948" y="797"/>
                </a:lnTo>
                <a:lnTo>
                  <a:pt x="942" y="801"/>
                </a:lnTo>
                <a:lnTo>
                  <a:pt x="937" y="804"/>
                </a:lnTo>
                <a:lnTo>
                  <a:pt x="930" y="808"/>
                </a:lnTo>
                <a:lnTo>
                  <a:pt x="924" y="814"/>
                </a:lnTo>
                <a:lnTo>
                  <a:pt x="919" y="818"/>
                </a:lnTo>
                <a:lnTo>
                  <a:pt x="915" y="822"/>
                </a:lnTo>
                <a:lnTo>
                  <a:pt x="914" y="825"/>
                </a:lnTo>
                <a:lnTo>
                  <a:pt x="902" y="831"/>
                </a:lnTo>
                <a:lnTo>
                  <a:pt x="886" y="841"/>
                </a:lnTo>
                <a:lnTo>
                  <a:pt x="870" y="854"/>
                </a:lnTo>
                <a:lnTo>
                  <a:pt x="852" y="871"/>
                </a:lnTo>
                <a:lnTo>
                  <a:pt x="844" y="879"/>
                </a:lnTo>
                <a:lnTo>
                  <a:pt x="836" y="888"/>
                </a:lnTo>
                <a:lnTo>
                  <a:pt x="829" y="897"/>
                </a:lnTo>
                <a:lnTo>
                  <a:pt x="823" y="905"/>
                </a:lnTo>
                <a:lnTo>
                  <a:pt x="818" y="914"/>
                </a:lnTo>
                <a:lnTo>
                  <a:pt x="814" y="922"/>
                </a:lnTo>
                <a:lnTo>
                  <a:pt x="812" y="930"/>
                </a:lnTo>
                <a:lnTo>
                  <a:pt x="810" y="938"/>
                </a:lnTo>
                <a:lnTo>
                  <a:pt x="809" y="938"/>
                </a:lnTo>
                <a:lnTo>
                  <a:pt x="808" y="940"/>
                </a:lnTo>
                <a:lnTo>
                  <a:pt x="807" y="942"/>
                </a:lnTo>
                <a:lnTo>
                  <a:pt x="807" y="946"/>
                </a:lnTo>
                <a:lnTo>
                  <a:pt x="806" y="951"/>
                </a:lnTo>
                <a:lnTo>
                  <a:pt x="806" y="957"/>
                </a:lnTo>
                <a:lnTo>
                  <a:pt x="797" y="966"/>
                </a:lnTo>
                <a:lnTo>
                  <a:pt x="797" y="976"/>
                </a:lnTo>
                <a:lnTo>
                  <a:pt x="794" y="976"/>
                </a:lnTo>
                <a:lnTo>
                  <a:pt x="793" y="978"/>
                </a:lnTo>
                <a:lnTo>
                  <a:pt x="793" y="981"/>
                </a:lnTo>
                <a:lnTo>
                  <a:pt x="793" y="985"/>
                </a:lnTo>
                <a:lnTo>
                  <a:pt x="789" y="986"/>
                </a:lnTo>
                <a:lnTo>
                  <a:pt x="786" y="987"/>
                </a:lnTo>
                <a:lnTo>
                  <a:pt x="784" y="989"/>
                </a:lnTo>
                <a:lnTo>
                  <a:pt x="781" y="993"/>
                </a:lnTo>
                <a:lnTo>
                  <a:pt x="779" y="999"/>
                </a:lnTo>
                <a:lnTo>
                  <a:pt x="778" y="1004"/>
                </a:lnTo>
                <a:lnTo>
                  <a:pt x="775" y="1004"/>
                </a:lnTo>
                <a:lnTo>
                  <a:pt x="771" y="1006"/>
                </a:lnTo>
                <a:lnTo>
                  <a:pt x="769" y="1007"/>
                </a:lnTo>
                <a:lnTo>
                  <a:pt x="767" y="1009"/>
                </a:lnTo>
                <a:lnTo>
                  <a:pt x="765" y="1016"/>
                </a:lnTo>
                <a:lnTo>
                  <a:pt x="764" y="1023"/>
                </a:lnTo>
                <a:lnTo>
                  <a:pt x="759" y="1027"/>
                </a:lnTo>
                <a:lnTo>
                  <a:pt x="750" y="1032"/>
                </a:lnTo>
                <a:lnTo>
                  <a:pt x="749" y="1036"/>
                </a:lnTo>
                <a:lnTo>
                  <a:pt x="748" y="1039"/>
                </a:lnTo>
                <a:lnTo>
                  <a:pt x="746" y="1042"/>
                </a:lnTo>
                <a:lnTo>
                  <a:pt x="743" y="1045"/>
                </a:lnTo>
                <a:lnTo>
                  <a:pt x="738" y="1052"/>
                </a:lnTo>
                <a:lnTo>
                  <a:pt x="731" y="1057"/>
                </a:lnTo>
                <a:lnTo>
                  <a:pt x="723" y="1062"/>
                </a:lnTo>
                <a:lnTo>
                  <a:pt x="718" y="1066"/>
                </a:lnTo>
                <a:lnTo>
                  <a:pt x="713" y="1071"/>
                </a:lnTo>
                <a:lnTo>
                  <a:pt x="712" y="1074"/>
                </a:lnTo>
                <a:lnTo>
                  <a:pt x="708" y="1075"/>
                </a:lnTo>
                <a:lnTo>
                  <a:pt x="703" y="1075"/>
                </a:lnTo>
                <a:lnTo>
                  <a:pt x="701" y="1076"/>
                </a:lnTo>
                <a:lnTo>
                  <a:pt x="700" y="1078"/>
                </a:lnTo>
                <a:lnTo>
                  <a:pt x="698" y="1081"/>
                </a:lnTo>
                <a:lnTo>
                  <a:pt x="698" y="1084"/>
                </a:lnTo>
                <a:lnTo>
                  <a:pt x="694" y="1084"/>
                </a:lnTo>
                <a:lnTo>
                  <a:pt x="691" y="1085"/>
                </a:lnTo>
                <a:lnTo>
                  <a:pt x="688" y="1087"/>
                </a:lnTo>
                <a:lnTo>
                  <a:pt x="685" y="1090"/>
                </a:lnTo>
                <a:lnTo>
                  <a:pt x="681" y="1094"/>
                </a:lnTo>
                <a:lnTo>
                  <a:pt x="679" y="1099"/>
                </a:lnTo>
                <a:lnTo>
                  <a:pt x="672" y="1101"/>
                </a:lnTo>
                <a:lnTo>
                  <a:pt x="662" y="1105"/>
                </a:lnTo>
                <a:lnTo>
                  <a:pt x="652" y="1112"/>
                </a:lnTo>
                <a:lnTo>
                  <a:pt x="646" y="1116"/>
                </a:lnTo>
                <a:lnTo>
                  <a:pt x="635" y="1119"/>
                </a:lnTo>
                <a:lnTo>
                  <a:pt x="624" y="1122"/>
                </a:lnTo>
                <a:lnTo>
                  <a:pt x="613" y="1128"/>
                </a:lnTo>
                <a:lnTo>
                  <a:pt x="602" y="1133"/>
                </a:lnTo>
                <a:lnTo>
                  <a:pt x="589" y="1140"/>
                </a:lnTo>
                <a:lnTo>
                  <a:pt x="578" y="1144"/>
                </a:lnTo>
                <a:lnTo>
                  <a:pt x="567" y="1149"/>
                </a:lnTo>
                <a:lnTo>
                  <a:pt x="556" y="1150"/>
                </a:lnTo>
                <a:lnTo>
                  <a:pt x="524" y="1183"/>
                </a:lnTo>
                <a:lnTo>
                  <a:pt x="524" y="1192"/>
                </a:lnTo>
                <a:lnTo>
                  <a:pt x="513" y="1192"/>
                </a:lnTo>
                <a:lnTo>
                  <a:pt x="513" y="1201"/>
                </a:lnTo>
                <a:lnTo>
                  <a:pt x="510" y="1203"/>
                </a:lnTo>
                <a:lnTo>
                  <a:pt x="508" y="1207"/>
                </a:lnTo>
                <a:lnTo>
                  <a:pt x="506" y="1210"/>
                </a:lnTo>
                <a:lnTo>
                  <a:pt x="505" y="1211"/>
                </a:lnTo>
                <a:lnTo>
                  <a:pt x="499" y="1212"/>
                </a:lnTo>
                <a:lnTo>
                  <a:pt x="492" y="1217"/>
                </a:lnTo>
                <a:lnTo>
                  <a:pt x="486" y="1221"/>
                </a:lnTo>
                <a:lnTo>
                  <a:pt x="481" y="1226"/>
                </a:lnTo>
                <a:lnTo>
                  <a:pt x="474" y="1226"/>
                </a:lnTo>
                <a:lnTo>
                  <a:pt x="465" y="1227"/>
                </a:lnTo>
                <a:lnTo>
                  <a:pt x="460" y="1228"/>
                </a:lnTo>
                <a:lnTo>
                  <a:pt x="457" y="1229"/>
                </a:lnTo>
                <a:lnTo>
                  <a:pt x="453" y="1231"/>
                </a:lnTo>
                <a:lnTo>
                  <a:pt x="453" y="1235"/>
                </a:lnTo>
                <a:lnTo>
                  <a:pt x="411" y="1234"/>
                </a:lnTo>
                <a:lnTo>
                  <a:pt x="368" y="1232"/>
                </a:lnTo>
                <a:lnTo>
                  <a:pt x="325" y="1230"/>
                </a:lnTo>
                <a:lnTo>
                  <a:pt x="281" y="1228"/>
                </a:lnTo>
                <a:lnTo>
                  <a:pt x="239" y="1225"/>
                </a:lnTo>
                <a:lnTo>
                  <a:pt x="196" y="1222"/>
                </a:lnTo>
                <a:lnTo>
                  <a:pt x="156" y="1221"/>
                </a:lnTo>
                <a:lnTo>
                  <a:pt x="118" y="1220"/>
                </a:lnTo>
                <a:lnTo>
                  <a:pt x="113" y="1216"/>
                </a:lnTo>
                <a:lnTo>
                  <a:pt x="108" y="1207"/>
                </a:lnTo>
                <a:lnTo>
                  <a:pt x="99" y="1207"/>
                </a:lnTo>
                <a:lnTo>
                  <a:pt x="97" y="1203"/>
                </a:lnTo>
                <a:lnTo>
                  <a:pt x="95" y="1200"/>
                </a:lnTo>
                <a:lnTo>
                  <a:pt x="91" y="1198"/>
                </a:lnTo>
                <a:lnTo>
                  <a:pt x="89" y="1197"/>
                </a:lnTo>
                <a:lnTo>
                  <a:pt x="86" y="1191"/>
                </a:lnTo>
                <a:lnTo>
                  <a:pt x="78" y="1182"/>
                </a:lnTo>
                <a:lnTo>
                  <a:pt x="66" y="1172"/>
                </a:lnTo>
                <a:lnTo>
                  <a:pt x="51" y="1160"/>
                </a:lnTo>
                <a:lnTo>
                  <a:pt x="25" y="1138"/>
                </a:lnTo>
                <a:lnTo>
                  <a:pt x="10" y="1126"/>
                </a:lnTo>
                <a:lnTo>
                  <a:pt x="4" y="1121"/>
                </a:lnTo>
                <a:lnTo>
                  <a:pt x="0" y="1115"/>
                </a:lnTo>
                <a:lnTo>
                  <a:pt x="0" y="1115"/>
                </a:lnTo>
                <a:lnTo>
                  <a:pt x="12" y="1118"/>
                </a:lnTo>
                <a:lnTo>
                  <a:pt x="25" y="1119"/>
                </a:lnTo>
                <a:lnTo>
                  <a:pt x="36" y="1119"/>
                </a:lnTo>
                <a:lnTo>
                  <a:pt x="47" y="1116"/>
                </a:lnTo>
                <a:lnTo>
                  <a:pt x="51" y="1115"/>
                </a:lnTo>
                <a:lnTo>
                  <a:pt x="56" y="1113"/>
                </a:lnTo>
                <a:lnTo>
                  <a:pt x="59" y="1111"/>
                </a:lnTo>
                <a:lnTo>
                  <a:pt x="62" y="1107"/>
                </a:lnTo>
                <a:lnTo>
                  <a:pt x="66" y="1103"/>
                </a:lnTo>
                <a:lnTo>
                  <a:pt x="67" y="1099"/>
                </a:lnTo>
                <a:lnTo>
                  <a:pt x="68" y="1093"/>
                </a:lnTo>
                <a:lnTo>
                  <a:pt x="69" y="1086"/>
                </a:lnTo>
                <a:lnTo>
                  <a:pt x="70" y="1082"/>
                </a:lnTo>
                <a:lnTo>
                  <a:pt x="73" y="1077"/>
                </a:lnTo>
                <a:lnTo>
                  <a:pt x="76" y="1073"/>
                </a:lnTo>
                <a:lnTo>
                  <a:pt x="80" y="1067"/>
                </a:lnTo>
                <a:lnTo>
                  <a:pt x="93" y="1057"/>
                </a:lnTo>
                <a:lnTo>
                  <a:pt x="107" y="1047"/>
                </a:lnTo>
                <a:lnTo>
                  <a:pt x="135" y="1029"/>
                </a:lnTo>
                <a:lnTo>
                  <a:pt x="154" y="1019"/>
                </a:lnTo>
                <a:lnTo>
                  <a:pt x="171" y="1013"/>
                </a:lnTo>
                <a:lnTo>
                  <a:pt x="185" y="1005"/>
                </a:lnTo>
                <a:lnTo>
                  <a:pt x="199" y="998"/>
                </a:lnTo>
                <a:lnTo>
                  <a:pt x="211" y="991"/>
                </a:lnTo>
                <a:lnTo>
                  <a:pt x="223" y="984"/>
                </a:lnTo>
                <a:lnTo>
                  <a:pt x="233" y="976"/>
                </a:lnTo>
                <a:lnTo>
                  <a:pt x="243" y="968"/>
                </a:lnTo>
                <a:lnTo>
                  <a:pt x="252" y="959"/>
                </a:lnTo>
                <a:lnTo>
                  <a:pt x="260" y="950"/>
                </a:lnTo>
                <a:lnTo>
                  <a:pt x="268" y="940"/>
                </a:lnTo>
                <a:lnTo>
                  <a:pt x="275" y="929"/>
                </a:lnTo>
                <a:lnTo>
                  <a:pt x="281" y="917"/>
                </a:lnTo>
                <a:lnTo>
                  <a:pt x="288" y="904"/>
                </a:lnTo>
                <a:lnTo>
                  <a:pt x="294" y="891"/>
                </a:lnTo>
                <a:lnTo>
                  <a:pt x="299" y="875"/>
                </a:lnTo>
                <a:lnTo>
                  <a:pt x="305" y="859"/>
                </a:lnTo>
                <a:lnTo>
                  <a:pt x="308" y="852"/>
                </a:lnTo>
                <a:lnTo>
                  <a:pt x="311" y="844"/>
                </a:lnTo>
                <a:lnTo>
                  <a:pt x="316" y="837"/>
                </a:lnTo>
                <a:lnTo>
                  <a:pt x="320" y="831"/>
                </a:lnTo>
                <a:lnTo>
                  <a:pt x="332" y="817"/>
                </a:lnTo>
                <a:lnTo>
                  <a:pt x="345" y="804"/>
                </a:lnTo>
                <a:lnTo>
                  <a:pt x="359" y="792"/>
                </a:lnTo>
                <a:lnTo>
                  <a:pt x="376" y="780"/>
                </a:lnTo>
                <a:lnTo>
                  <a:pt x="393" y="768"/>
                </a:lnTo>
                <a:lnTo>
                  <a:pt x="410" y="756"/>
                </a:lnTo>
                <a:lnTo>
                  <a:pt x="428" y="745"/>
                </a:lnTo>
                <a:lnTo>
                  <a:pt x="445" y="732"/>
                </a:lnTo>
                <a:lnTo>
                  <a:pt x="462" y="720"/>
                </a:lnTo>
                <a:lnTo>
                  <a:pt x="479" y="707"/>
                </a:lnTo>
                <a:lnTo>
                  <a:pt x="493" y="693"/>
                </a:lnTo>
                <a:lnTo>
                  <a:pt x="507" y="679"/>
                </a:lnTo>
                <a:lnTo>
                  <a:pt x="513" y="672"/>
                </a:lnTo>
                <a:lnTo>
                  <a:pt x="519" y="664"/>
                </a:lnTo>
                <a:lnTo>
                  <a:pt x="524" y="657"/>
                </a:lnTo>
                <a:lnTo>
                  <a:pt x="528" y="649"/>
                </a:lnTo>
                <a:lnTo>
                  <a:pt x="535" y="630"/>
                </a:lnTo>
                <a:lnTo>
                  <a:pt x="544" y="603"/>
                </a:lnTo>
                <a:lnTo>
                  <a:pt x="549" y="590"/>
                </a:lnTo>
                <a:lnTo>
                  <a:pt x="556" y="578"/>
                </a:lnTo>
                <a:lnTo>
                  <a:pt x="558" y="574"/>
                </a:lnTo>
                <a:lnTo>
                  <a:pt x="561" y="571"/>
                </a:lnTo>
                <a:lnTo>
                  <a:pt x="564" y="568"/>
                </a:lnTo>
                <a:lnTo>
                  <a:pt x="567" y="568"/>
                </a:lnTo>
                <a:lnTo>
                  <a:pt x="567" y="564"/>
                </a:lnTo>
                <a:lnTo>
                  <a:pt x="568" y="564"/>
                </a:lnTo>
                <a:lnTo>
                  <a:pt x="570" y="564"/>
                </a:lnTo>
                <a:lnTo>
                  <a:pt x="572" y="563"/>
                </a:lnTo>
                <a:lnTo>
                  <a:pt x="573" y="561"/>
                </a:lnTo>
                <a:lnTo>
                  <a:pt x="576" y="561"/>
                </a:lnTo>
                <a:lnTo>
                  <a:pt x="579" y="559"/>
                </a:lnTo>
                <a:lnTo>
                  <a:pt x="589" y="556"/>
                </a:lnTo>
                <a:lnTo>
                  <a:pt x="601" y="552"/>
                </a:lnTo>
                <a:lnTo>
                  <a:pt x="613" y="5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97" name="Freeform 58">
            <a:extLst>
              <a:ext uri="{FF2B5EF4-FFF2-40B4-BE49-F238E27FC236}">
                <a16:creationId xmlns:a16="http://schemas.microsoft.com/office/drawing/2014/main" id="{DA1280D2-9325-4A7E-97BD-8F83AED1D45D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312150" y="2809875"/>
            <a:ext cx="262137" cy="234950"/>
          </a:xfrm>
          <a:custGeom>
            <a:avLst/>
            <a:gdLst/>
            <a:ahLst/>
            <a:cxnLst>
              <a:cxn ang="0">
                <a:pos x="691" y="73"/>
              </a:cxn>
              <a:cxn ang="0">
                <a:pos x="753" y="35"/>
              </a:cxn>
              <a:cxn ang="0">
                <a:pos x="833" y="10"/>
              </a:cxn>
              <a:cxn ang="0">
                <a:pos x="993" y="4"/>
              </a:cxn>
              <a:cxn ang="0">
                <a:pos x="1022" y="79"/>
              </a:cxn>
              <a:cxn ang="0">
                <a:pos x="1061" y="109"/>
              </a:cxn>
              <a:cxn ang="0">
                <a:pos x="1227" y="153"/>
              </a:cxn>
              <a:cxn ang="0">
                <a:pos x="1283" y="181"/>
              </a:cxn>
              <a:cxn ang="0">
                <a:pos x="1339" y="271"/>
              </a:cxn>
              <a:cxn ang="0">
                <a:pos x="1378" y="305"/>
              </a:cxn>
              <a:cxn ang="0">
                <a:pos x="1383" y="369"/>
              </a:cxn>
              <a:cxn ang="0">
                <a:pos x="1425" y="403"/>
              </a:cxn>
              <a:cxn ang="0">
                <a:pos x="1409" y="426"/>
              </a:cxn>
              <a:cxn ang="0">
                <a:pos x="1349" y="475"/>
              </a:cxn>
              <a:cxn ang="0">
                <a:pos x="1297" y="544"/>
              </a:cxn>
              <a:cxn ang="0">
                <a:pos x="1263" y="564"/>
              </a:cxn>
              <a:cxn ang="0">
                <a:pos x="1171" y="640"/>
              </a:cxn>
              <a:cxn ang="0">
                <a:pos x="1113" y="691"/>
              </a:cxn>
              <a:cxn ang="0">
                <a:pos x="1094" y="738"/>
              </a:cxn>
              <a:cxn ang="0">
                <a:pos x="1144" y="797"/>
              </a:cxn>
              <a:cxn ang="0">
                <a:pos x="1140" y="863"/>
              </a:cxn>
              <a:cxn ang="0">
                <a:pos x="1094" y="897"/>
              </a:cxn>
              <a:cxn ang="0">
                <a:pos x="1081" y="959"/>
              </a:cxn>
              <a:cxn ang="0">
                <a:pos x="1104" y="980"/>
              </a:cxn>
              <a:cxn ang="0">
                <a:pos x="1150" y="1010"/>
              </a:cxn>
              <a:cxn ang="0">
                <a:pos x="1157" y="1038"/>
              </a:cxn>
              <a:cxn ang="0">
                <a:pos x="1045" y="1076"/>
              </a:cxn>
              <a:cxn ang="0">
                <a:pos x="1000" y="1121"/>
              </a:cxn>
              <a:cxn ang="0">
                <a:pos x="1004" y="1170"/>
              </a:cxn>
              <a:cxn ang="0">
                <a:pos x="966" y="1236"/>
              </a:cxn>
              <a:cxn ang="0">
                <a:pos x="864" y="1260"/>
              </a:cxn>
              <a:cxn ang="0">
                <a:pos x="797" y="1297"/>
              </a:cxn>
              <a:cxn ang="0">
                <a:pos x="764" y="1324"/>
              </a:cxn>
              <a:cxn ang="0">
                <a:pos x="628" y="1426"/>
              </a:cxn>
              <a:cxn ang="0">
                <a:pos x="581" y="1392"/>
              </a:cxn>
              <a:cxn ang="0">
                <a:pos x="562" y="1207"/>
              </a:cxn>
              <a:cxn ang="0">
                <a:pos x="514" y="1122"/>
              </a:cxn>
              <a:cxn ang="0">
                <a:pos x="514" y="1057"/>
              </a:cxn>
              <a:cxn ang="0">
                <a:pos x="570" y="952"/>
              </a:cxn>
              <a:cxn ang="0">
                <a:pos x="547" y="864"/>
              </a:cxn>
              <a:cxn ang="0">
                <a:pos x="514" y="825"/>
              </a:cxn>
              <a:cxn ang="0">
                <a:pos x="457" y="802"/>
              </a:cxn>
              <a:cxn ang="0">
                <a:pos x="431" y="763"/>
              </a:cxn>
              <a:cxn ang="0">
                <a:pos x="391" y="666"/>
              </a:cxn>
              <a:cxn ang="0">
                <a:pos x="372" y="618"/>
              </a:cxn>
              <a:cxn ang="0">
                <a:pos x="333" y="584"/>
              </a:cxn>
              <a:cxn ang="0">
                <a:pos x="279" y="560"/>
              </a:cxn>
              <a:cxn ang="0">
                <a:pos x="217" y="550"/>
              </a:cxn>
              <a:cxn ang="0">
                <a:pos x="169" y="590"/>
              </a:cxn>
              <a:cxn ang="0">
                <a:pos x="136" y="608"/>
              </a:cxn>
              <a:cxn ang="0">
                <a:pos x="97" y="657"/>
              </a:cxn>
              <a:cxn ang="0">
                <a:pos x="78" y="690"/>
              </a:cxn>
              <a:cxn ang="0">
                <a:pos x="28" y="737"/>
              </a:cxn>
              <a:cxn ang="0">
                <a:pos x="6" y="723"/>
              </a:cxn>
              <a:cxn ang="0">
                <a:pos x="7" y="523"/>
              </a:cxn>
              <a:cxn ang="0">
                <a:pos x="107" y="418"/>
              </a:cxn>
              <a:cxn ang="0">
                <a:pos x="227" y="381"/>
              </a:cxn>
              <a:cxn ang="0">
                <a:pos x="314" y="263"/>
              </a:cxn>
              <a:cxn ang="0">
                <a:pos x="432" y="207"/>
              </a:cxn>
              <a:cxn ang="0">
                <a:pos x="510" y="166"/>
              </a:cxn>
              <a:cxn ang="0">
                <a:pos x="624" y="101"/>
              </a:cxn>
            </a:cxnLst>
            <a:rect l="0" t="0" r="r" b="b"/>
            <a:pathLst>
              <a:path w="1425" h="1461">
                <a:moveTo>
                  <a:pt x="624" y="98"/>
                </a:moveTo>
                <a:lnTo>
                  <a:pt x="637" y="99"/>
                </a:lnTo>
                <a:lnTo>
                  <a:pt x="649" y="99"/>
                </a:lnTo>
                <a:lnTo>
                  <a:pt x="661" y="100"/>
                </a:lnTo>
                <a:lnTo>
                  <a:pt x="675" y="100"/>
                </a:lnTo>
                <a:lnTo>
                  <a:pt x="680" y="95"/>
                </a:lnTo>
                <a:lnTo>
                  <a:pt x="680" y="85"/>
                </a:lnTo>
                <a:lnTo>
                  <a:pt x="689" y="81"/>
                </a:lnTo>
                <a:lnTo>
                  <a:pt x="691" y="73"/>
                </a:lnTo>
                <a:lnTo>
                  <a:pt x="693" y="66"/>
                </a:lnTo>
                <a:lnTo>
                  <a:pt x="699" y="62"/>
                </a:lnTo>
                <a:lnTo>
                  <a:pt x="708" y="62"/>
                </a:lnTo>
                <a:lnTo>
                  <a:pt x="712" y="57"/>
                </a:lnTo>
                <a:lnTo>
                  <a:pt x="715" y="52"/>
                </a:lnTo>
                <a:lnTo>
                  <a:pt x="718" y="47"/>
                </a:lnTo>
                <a:lnTo>
                  <a:pt x="729" y="45"/>
                </a:lnTo>
                <a:lnTo>
                  <a:pt x="745" y="40"/>
                </a:lnTo>
                <a:lnTo>
                  <a:pt x="753" y="35"/>
                </a:lnTo>
                <a:lnTo>
                  <a:pt x="759" y="32"/>
                </a:lnTo>
                <a:lnTo>
                  <a:pt x="764" y="27"/>
                </a:lnTo>
                <a:lnTo>
                  <a:pt x="765" y="24"/>
                </a:lnTo>
                <a:lnTo>
                  <a:pt x="779" y="24"/>
                </a:lnTo>
                <a:lnTo>
                  <a:pt x="786" y="18"/>
                </a:lnTo>
                <a:lnTo>
                  <a:pt x="794" y="15"/>
                </a:lnTo>
                <a:lnTo>
                  <a:pt x="803" y="12"/>
                </a:lnTo>
                <a:lnTo>
                  <a:pt x="812" y="10"/>
                </a:lnTo>
                <a:lnTo>
                  <a:pt x="833" y="10"/>
                </a:lnTo>
                <a:lnTo>
                  <a:pt x="855" y="12"/>
                </a:lnTo>
                <a:lnTo>
                  <a:pt x="878" y="14"/>
                </a:lnTo>
                <a:lnTo>
                  <a:pt x="898" y="13"/>
                </a:lnTo>
                <a:lnTo>
                  <a:pt x="908" y="12"/>
                </a:lnTo>
                <a:lnTo>
                  <a:pt x="917" y="9"/>
                </a:lnTo>
                <a:lnTo>
                  <a:pt x="925" y="5"/>
                </a:lnTo>
                <a:lnTo>
                  <a:pt x="931" y="0"/>
                </a:lnTo>
                <a:lnTo>
                  <a:pt x="988" y="0"/>
                </a:lnTo>
                <a:lnTo>
                  <a:pt x="993" y="4"/>
                </a:lnTo>
                <a:lnTo>
                  <a:pt x="997" y="8"/>
                </a:lnTo>
                <a:lnTo>
                  <a:pt x="1003" y="13"/>
                </a:lnTo>
                <a:lnTo>
                  <a:pt x="1007" y="14"/>
                </a:lnTo>
                <a:lnTo>
                  <a:pt x="1008" y="27"/>
                </a:lnTo>
                <a:lnTo>
                  <a:pt x="1009" y="42"/>
                </a:lnTo>
                <a:lnTo>
                  <a:pt x="1013" y="54"/>
                </a:lnTo>
                <a:lnTo>
                  <a:pt x="1016" y="62"/>
                </a:lnTo>
                <a:lnTo>
                  <a:pt x="1016" y="76"/>
                </a:lnTo>
                <a:lnTo>
                  <a:pt x="1022" y="79"/>
                </a:lnTo>
                <a:lnTo>
                  <a:pt x="1027" y="86"/>
                </a:lnTo>
                <a:lnTo>
                  <a:pt x="1033" y="94"/>
                </a:lnTo>
                <a:lnTo>
                  <a:pt x="1035" y="100"/>
                </a:lnTo>
                <a:lnTo>
                  <a:pt x="1045" y="100"/>
                </a:lnTo>
                <a:lnTo>
                  <a:pt x="1046" y="101"/>
                </a:lnTo>
                <a:lnTo>
                  <a:pt x="1048" y="103"/>
                </a:lnTo>
                <a:lnTo>
                  <a:pt x="1051" y="104"/>
                </a:lnTo>
                <a:lnTo>
                  <a:pt x="1054" y="106"/>
                </a:lnTo>
                <a:lnTo>
                  <a:pt x="1061" y="109"/>
                </a:lnTo>
                <a:lnTo>
                  <a:pt x="1064" y="109"/>
                </a:lnTo>
                <a:lnTo>
                  <a:pt x="1076" y="110"/>
                </a:lnTo>
                <a:lnTo>
                  <a:pt x="1090" y="111"/>
                </a:lnTo>
                <a:lnTo>
                  <a:pt x="1103" y="114"/>
                </a:lnTo>
                <a:lnTo>
                  <a:pt x="1118" y="118"/>
                </a:lnTo>
                <a:lnTo>
                  <a:pt x="1146" y="125"/>
                </a:lnTo>
                <a:lnTo>
                  <a:pt x="1174" y="135"/>
                </a:lnTo>
                <a:lnTo>
                  <a:pt x="1201" y="144"/>
                </a:lnTo>
                <a:lnTo>
                  <a:pt x="1227" y="153"/>
                </a:lnTo>
                <a:lnTo>
                  <a:pt x="1239" y="157"/>
                </a:lnTo>
                <a:lnTo>
                  <a:pt x="1252" y="159"/>
                </a:lnTo>
                <a:lnTo>
                  <a:pt x="1263" y="161"/>
                </a:lnTo>
                <a:lnTo>
                  <a:pt x="1273" y="161"/>
                </a:lnTo>
                <a:lnTo>
                  <a:pt x="1275" y="168"/>
                </a:lnTo>
                <a:lnTo>
                  <a:pt x="1277" y="176"/>
                </a:lnTo>
                <a:lnTo>
                  <a:pt x="1280" y="177"/>
                </a:lnTo>
                <a:lnTo>
                  <a:pt x="1281" y="179"/>
                </a:lnTo>
                <a:lnTo>
                  <a:pt x="1283" y="181"/>
                </a:lnTo>
                <a:lnTo>
                  <a:pt x="1284" y="186"/>
                </a:lnTo>
                <a:lnTo>
                  <a:pt x="1286" y="194"/>
                </a:lnTo>
                <a:lnTo>
                  <a:pt x="1287" y="199"/>
                </a:lnTo>
                <a:lnTo>
                  <a:pt x="1296" y="209"/>
                </a:lnTo>
                <a:lnTo>
                  <a:pt x="1296" y="223"/>
                </a:lnTo>
                <a:lnTo>
                  <a:pt x="1309" y="235"/>
                </a:lnTo>
                <a:lnTo>
                  <a:pt x="1321" y="248"/>
                </a:lnTo>
                <a:lnTo>
                  <a:pt x="1332" y="260"/>
                </a:lnTo>
                <a:lnTo>
                  <a:pt x="1339" y="271"/>
                </a:lnTo>
                <a:lnTo>
                  <a:pt x="1351" y="275"/>
                </a:lnTo>
                <a:lnTo>
                  <a:pt x="1363" y="279"/>
                </a:lnTo>
                <a:lnTo>
                  <a:pt x="1368" y="290"/>
                </a:lnTo>
                <a:lnTo>
                  <a:pt x="1371" y="291"/>
                </a:lnTo>
                <a:lnTo>
                  <a:pt x="1374" y="293"/>
                </a:lnTo>
                <a:lnTo>
                  <a:pt x="1377" y="295"/>
                </a:lnTo>
                <a:lnTo>
                  <a:pt x="1377" y="298"/>
                </a:lnTo>
                <a:lnTo>
                  <a:pt x="1378" y="301"/>
                </a:lnTo>
                <a:lnTo>
                  <a:pt x="1378" y="305"/>
                </a:lnTo>
                <a:lnTo>
                  <a:pt x="1376" y="311"/>
                </a:lnTo>
                <a:lnTo>
                  <a:pt x="1373" y="319"/>
                </a:lnTo>
                <a:lnTo>
                  <a:pt x="1368" y="334"/>
                </a:lnTo>
                <a:lnTo>
                  <a:pt x="1366" y="345"/>
                </a:lnTo>
                <a:lnTo>
                  <a:pt x="1374" y="350"/>
                </a:lnTo>
                <a:lnTo>
                  <a:pt x="1380" y="360"/>
                </a:lnTo>
                <a:lnTo>
                  <a:pt x="1380" y="363"/>
                </a:lnTo>
                <a:lnTo>
                  <a:pt x="1381" y="367"/>
                </a:lnTo>
                <a:lnTo>
                  <a:pt x="1383" y="369"/>
                </a:lnTo>
                <a:lnTo>
                  <a:pt x="1387" y="372"/>
                </a:lnTo>
                <a:lnTo>
                  <a:pt x="1393" y="377"/>
                </a:lnTo>
                <a:lnTo>
                  <a:pt x="1402" y="381"/>
                </a:lnTo>
                <a:lnTo>
                  <a:pt x="1410" y="387"/>
                </a:lnTo>
                <a:lnTo>
                  <a:pt x="1418" y="391"/>
                </a:lnTo>
                <a:lnTo>
                  <a:pt x="1420" y="393"/>
                </a:lnTo>
                <a:lnTo>
                  <a:pt x="1422" y="397"/>
                </a:lnTo>
                <a:lnTo>
                  <a:pt x="1425" y="400"/>
                </a:lnTo>
                <a:lnTo>
                  <a:pt x="1425" y="403"/>
                </a:lnTo>
                <a:lnTo>
                  <a:pt x="1424" y="403"/>
                </a:lnTo>
                <a:lnTo>
                  <a:pt x="1422" y="404"/>
                </a:lnTo>
                <a:lnTo>
                  <a:pt x="1421" y="407"/>
                </a:lnTo>
                <a:lnTo>
                  <a:pt x="1420" y="409"/>
                </a:lnTo>
                <a:lnTo>
                  <a:pt x="1420" y="413"/>
                </a:lnTo>
                <a:lnTo>
                  <a:pt x="1420" y="418"/>
                </a:lnTo>
                <a:lnTo>
                  <a:pt x="1415" y="420"/>
                </a:lnTo>
                <a:lnTo>
                  <a:pt x="1410" y="422"/>
                </a:lnTo>
                <a:lnTo>
                  <a:pt x="1409" y="426"/>
                </a:lnTo>
                <a:lnTo>
                  <a:pt x="1408" y="429"/>
                </a:lnTo>
                <a:lnTo>
                  <a:pt x="1405" y="431"/>
                </a:lnTo>
                <a:lnTo>
                  <a:pt x="1401" y="431"/>
                </a:lnTo>
                <a:lnTo>
                  <a:pt x="1396" y="441"/>
                </a:lnTo>
                <a:lnTo>
                  <a:pt x="1384" y="448"/>
                </a:lnTo>
                <a:lnTo>
                  <a:pt x="1372" y="456"/>
                </a:lnTo>
                <a:lnTo>
                  <a:pt x="1364" y="463"/>
                </a:lnTo>
                <a:lnTo>
                  <a:pt x="1353" y="469"/>
                </a:lnTo>
                <a:lnTo>
                  <a:pt x="1349" y="475"/>
                </a:lnTo>
                <a:lnTo>
                  <a:pt x="1344" y="479"/>
                </a:lnTo>
                <a:lnTo>
                  <a:pt x="1339" y="484"/>
                </a:lnTo>
                <a:lnTo>
                  <a:pt x="1336" y="500"/>
                </a:lnTo>
                <a:lnTo>
                  <a:pt x="1334" y="517"/>
                </a:lnTo>
                <a:lnTo>
                  <a:pt x="1328" y="522"/>
                </a:lnTo>
                <a:lnTo>
                  <a:pt x="1316" y="532"/>
                </a:lnTo>
                <a:lnTo>
                  <a:pt x="1311" y="536"/>
                </a:lnTo>
                <a:lnTo>
                  <a:pt x="1304" y="541"/>
                </a:lnTo>
                <a:lnTo>
                  <a:pt x="1297" y="544"/>
                </a:lnTo>
                <a:lnTo>
                  <a:pt x="1292" y="545"/>
                </a:lnTo>
                <a:lnTo>
                  <a:pt x="1291" y="550"/>
                </a:lnTo>
                <a:lnTo>
                  <a:pt x="1288" y="553"/>
                </a:lnTo>
                <a:lnTo>
                  <a:pt x="1285" y="556"/>
                </a:lnTo>
                <a:lnTo>
                  <a:pt x="1281" y="558"/>
                </a:lnTo>
                <a:lnTo>
                  <a:pt x="1276" y="561"/>
                </a:lnTo>
                <a:lnTo>
                  <a:pt x="1272" y="563"/>
                </a:lnTo>
                <a:lnTo>
                  <a:pt x="1267" y="564"/>
                </a:lnTo>
                <a:lnTo>
                  <a:pt x="1263" y="564"/>
                </a:lnTo>
                <a:lnTo>
                  <a:pt x="1258" y="571"/>
                </a:lnTo>
                <a:lnTo>
                  <a:pt x="1248" y="581"/>
                </a:lnTo>
                <a:lnTo>
                  <a:pt x="1235" y="593"/>
                </a:lnTo>
                <a:lnTo>
                  <a:pt x="1219" y="606"/>
                </a:lnTo>
                <a:lnTo>
                  <a:pt x="1204" y="619"/>
                </a:lnTo>
                <a:lnTo>
                  <a:pt x="1188" y="630"/>
                </a:lnTo>
                <a:lnTo>
                  <a:pt x="1182" y="634"/>
                </a:lnTo>
                <a:lnTo>
                  <a:pt x="1177" y="638"/>
                </a:lnTo>
                <a:lnTo>
                  <a:pt x="1171" y="640"/>
                </a:lnTo>
                <a:lnTo>
                  <a:pt x="1168" y="640"/>
                </a:lnTo>
                <a:lnTo>
                  <a:pt x="1163" y="650"/>
                </a:lnTo>
                <a:lnTo>
                  <a:pt x="1157" y="652"/>
                </a:lnTo>
                <a:lnTo>
                  <a:pt x="1149" y="654"/>
                </a:lnTo>
                <a:lnTo>
                  <a:pt x="1143" y="661"/>
                </a:lnTo>
                <a:lnTo>
                  <a:pt x="1130" y="672"/>
                </a:lnTo>
                <a:lnTo>
                  <a:pt x="1123" y="679"/>
                </a:lnTo>
                <a:lnTo>
                  <a:pt x="1118" y="686"/>
                </a:lnTo>
                <a:lnTo>
                  <a:pt x="1113" y="691"/>
                </a:lnTo>
                <a:lnTo>
                  <a:pt x="1111" y="697"/>
                </a:lnTo>
                <a:lnTo>
                  <a:pt x="1105" y="698"/>
                </a:lnTo>
                <a:lnTo>
                  <a:pt x="1101" y="701"/>
                </a:lnTo>
                <a:lnTo>
                  <a:pt x="1099" y="705"/>
                </a:lnTo>
                <a:lnTo>
                  <a:pt x="1095" y="710"/>
                </a:lnTo>
                <a:lnTo>
                  <a:pt x="1094" y="716"/>
                </a:lnTo>
                <a:lnTo>
                  <a:pt x="1094" y="723"/>
                </a:lnTo>
                <a:lnTo>
                  <a:pt x="1094" y="730"/>
                </a:lnTo>
                <a:lnTo>
                  <a:pt x="1094" y="738"/>
                </a:lnTo>
                <a:lnTo>
                  <a:pt x="1099" y="765"/>
                </a:lnTo>
                <a:lnTo>
                  <a:pt x="1102" y="778"/>
                </a:lnTo>
                <a:lnTo>
                  <a:pt x="1109" y="781"/>
                </a:lnTo>
                <a:lnTo>
                  <a:pt x="1117" y="783"/>
                </a:lnTo>
                <a:lnTo>
                  <a:pt x="1118" y="786"/>
                </a:lnTo>
                <a:lnTo>
                  <a:pt x="1121" y="790"/>
                </a:lnTo>
                <a:lnTo>
                  <a:pt x="1127" y="794"/>
                </a:lnTo>
                <a:lnTo>
                  <a:pt x="1130" y="797"/>
                </a:lnTo>
                <a:lnTo>
                  <a:pt x="1144" y="797"/>
                </a:lnTo>
                <a:lnTo>
                  <a:pt x="1146" y="800"/>
                </a:lnTo>
                <a:lnTo>
                  <a:pt x="1148" y="802"/>
                </a:lnTo>
                <a:lnTo>
                  <a:pt x="1151" y="802"/>
                </a:lnTo>
                <a:lnTo>
                  <a:pt x="1155" y="802"/>
                </a:lnTo>
                <a:lnTo>
                  <a:pt x="1153" y="817"/>
                </a:lnTo>
                <a:lnTo>
                  <a:pt x="1152" y="834"/>
                </a:lnTo>
                <a:lnTo>
                  <a:pt x="1150" y="851"/>
                </a:lnTo>
                <a:lnTo>
                  <a:pt x="1149" y="863"/>
                </a:lnTo>
                <a:lnTo>
                  <a:pt x="1140" y="863"/>
                </a:lnTo>
                <a:lnTo>
                  <a:pt x="1138" y="871"/>
                </a:lnTo>
                <a:lnTo>
                  <a:pt x="1136" y="878"/>
                </a:lnTo>
                <a:lnTo>
                  <a:pt x="1126" y="878"/>
                </a:lnTo>
                <a:lnTo>
                  <a:pt x="1121" y="882"/>
                </a:lnTo>
                <a:lnTo>
                  <a:pt x="1113" y="887"/>
                </a:lnTo>
                <a:lnTo>
                  <a:pt x="1105" y="890"/>
                </a:lnTo>
                <a:lnTo>
                  <a:pt x="1098" y="892"/>
                </a:lnTo>
                <a:lnTo>
                  <a:pt x="1096" y="894"/>
                </a:lnTo>
                <a:lnTo>
                  <a:pt x="1094" y="897"/>
                </a:lnTo>
                <a:lnTo>
                  <a:pt x="1091" y="897"/>
                </a:lnTo>
                <a:lnTo>
                  <a:pt x="1088" y="897"/>
                </a:lnTo>
                <a:lnTo>
                  <a:pt x="1083" y="901"/>
                </a:lnTo>
                <a:lnTo>
                  <a:pt x="1079" y="907"/>
                </a:lnTo>
                <a:lnTo>
                  <a:pt x="1079" y="918"/>
                </a:lnTo>
                <a:lnTo>
                  <a:pt x="1079" y="932"/>
                </a:lnTo>
                <a:lnTo>
                  <a:pt x="1079" y="946"/>
                </a:lnTo>
                <a:lnTo>
                  <a:pt x="1079" y="958"/>
                </a:lnTo>
                <a:lnTo>
                  <a:pt x="1081" y="959"/>
                </a:lnTo>
                <a:lnTo>
                  <a:pt x="1082" y="961"/>
                </a:lnTo>
                <a:lnTo>
                  <a:pt x="1083" y="965"/>
                </a:lnTo>
                <a:lnTo>
                  <a:pt x="1083" y="968"/>
                </a:lnTo>
                <a:lnTo>
                  <a:pt x="1088" y="973"/>
                </a:lnTo>
                <a:lnTo>
                  <a:pt x="1098" y="973"/>
                </a:lnTo>
                <a:lnTo>
                  <a:pt x="1098" y="975"/>
                </a:lnTo>
                <a:lnTo>
                  <a:pt x="1099" y="976"/>
                </a:lnTo>
                <a:lnTo>
                  <a:pt x="1102" y="978"/>
                </a:lnTo>
                <a:lnTo>
                  <a:pt x="1104" y="980"/>
                </a:lnTo>
                <a:lnTo>
                  <a:pt x="1112" y="984"/>
                </a:lnTo>
                <a:lnTo>
                  <a:pt x="1121" y="988"/>
                </a:lnTo>
                <a:lnTo>
                  <a:pt x="1130" y="993"/>
                </a:lnTo>
                <a:lnTo>
                  <a:pt x="1137" y="998"/>
                </a:lnTo>
                <a:lnTo>
                  <a:pt x="1140" y="1000"/>
                </a:lnTo>
                <a:lnTo>
                  <a:pt x="1142" y="1004"/>
                </a:lnTo>
                <a:lnTo>
                  <a:pt x="1144" y="1007"/>
                </a:lnTo>
                <a:lnTo>
                  <a:pt x="1144" y="1010"/>
                </a:lnTo>
                <a:lnTo>
                  <a:pt x="1150" y="1010"/>
                </a:lnTo>
                <a:lnTo>
                  <a:pt x="1153" y="1012"/>
                </a:lnTo>
                <a:lnTo>
                  <a:pt x="1155" y="1012"/>
                </a:lnTo>
                <a:lnTo>
                  <a:pt x="1156" y="1013"/>
                </a:lnTo>
                <a:lnTo>
                  <a:pt x="1156" y="1014"/>
                </a:lnTo>
                <a:lnTo>
                  <a:pt x="1156" y="1015"/>
                </a:lnTo>
                <a:lnTo>
                  <a:pt x="1157" y="1015"/>
                </a:lnTo>
                <a:lnTo>
                  <a:pt x="1159" y="1015"/>
                </a:lnTo>
                <a:lnTo>
                  <a:pt x="1158" y="1027"/>
                </a:lnTo>
                <a:lnTo>
                  <a:pt x="1157" y="1038"/>
                </a:lnTo>
                <a:lnTo>
                  <a:pt x="1155" y="1050"/>
                </a:lnTo>
                <a:lnTo>
                  <a:pt x="1155" y="1058"/>
                </a:lnTo>
                <a:lnTo>
                  <a:pt x="1141" y="1058"/>
                </a:lnTo>
                <a:lnTo>
                  <a:pt x="1127" y="1061"/>
                </a:lnTo>
                <a:lnTo>
                  <a:pt x="1111" y="1064"/>
                </a:lnTo>
                <a:lnTo>
                  <a:pt x="1094" y="1067"/>
                </a:lnTo>
                <a:lnTo>
                  <a:pt x="1078" y="1071"/>
                </a:lnTo>
                <a:lnTo>
                  <a:pt x="1062" y="1074"/>
                </a:lnTo>
                <a:lnTo>
                  <a:pt x="1045" y="1076"/>
                </a:lnTo>
                <a:lnTo>
                  <a:pt x="1031" y="1077"/>
                </a:lnTo>
                <a:lnTo>
                  <a:pt x="1028" y="1082"/>
                </a:lnTo>
                <a:lnTo>
                  <a:pt x="1026" y="1086"/>
                </a:lnTo>
                <a:lnTo>
                  <a:pt x="1016" y="1086"/>
                </a:lnTo>
                <a:lnTo>
                  <a:pt x="1012" y="1091"/>
                </a:lnTo>
                <a:lnTo>
                  <a:pt x="1007" y="1101"/>
                </a:lnTo>
                <a:lnTo>
                  <a:pt x="1003" y="1105"/>
                </a:lnTo>
                <a:lnTo>
                  <a:pt x="1003" y="1120"/>
                </a:lnTo>
                <a:lnTo>
                  <a:pt x="1000" y="1121"/>
                </a:lnTo>
                <a:lnTo>
                  <a:pt x="999" y="1125"/>
                </a:lnTo>
                <a:lnTo>
                  <a:pt x="998" y="1132"/>
                </a:lnTo>
                <a:lnTo>
                  <a:pt x="998" y="1139"/>
                </a:lnTo>
                <a:lnTo>
                  <a:pt x="997" y="1153"/>
                </a:lnTo>
                <a:lnTo>
                  <a:pt x="997" y="1162"/>
                </a:lnTo>
                <a:lnTo>
                  <a:pt x="999" y="1163"/>
                </a:lnTo>
                <a:lnTo>
                  <a:pt x="1000" y="1165"/>
                </a:lnTo>
                <a:lnTo>
                  <a:pt x="1003" y="1167"/>
                </a:lnTo>
                <a:lnTo>
                  <a:pt x="1004" y="1170"/>
                </a:lnTo>
                <a:lnTo>
                  <a:pt x="1006" y="1178"/>
                </a:lnTo>
                <a:lnTo>
                  <a:pt x="1008" y="1187"/>
                </a:lnTo>
                <a:lnTo>
                  <a:pt x="1011" y="1207"/>
                </a:lnTo>
                <a:lnTo>
                  <a:pt x="1012" y="1219"/>
                </a:lnTo>
                <a:lnTo>
                  <a:pt x="1000" y="1221"/>
                </a:lnTo>
                <a:lnTo>
                  <a:pt x="985" y="1227"/>
                </a:lnTo>
                <a:lnTo>
                  <a:pt x="977" y="1230"/>
                </a:lnTo>
                <a:lnTo>
                  <a:pt x="970" y="1234"/>
                </a:lnTo>
                <a:lnTo>
                  <a:pt x="966" y="1236"/>
                </a:lnTo>
                <a:lnTo>
                  <a:pt x="965" y="1238"/>
                </a:lnTo>
                <a:lnTo>
                  <a:pt x="952" y="1239"/>
                </a:lnTo>
                <a:lnTo>
                  <a:pt x="938" y="1240"/>
                </a:lnTo>
                <a:lnTo>
                  <a:pt x="922" y="1243"/>
                </a:lnTo>
                <a:lnTo>
                  <a:pt x="906" y="1246"/>
                </a:lnTo>
                <a:lnTo>
                  <a:pt x="890" y="1249"/>
                </a:lnTo>
                <a:lnTo>
                  <a:pt x="877" y="1255"/>
                </a:lnTo>
                <a:lnTo>
                  <a:pt x="870" y="1257"/>
                </a:lnTo>
                <a:lnTo>
                  <a:pt x="864" y="1260"/>
                </a:lnTo>
                <a:lnTo>
                  <a:pt x="859" y="1264"/>
                </a:lnTo>
                <a:lnTo>
                  <a:pt x="855" y="1267"/>
                </a:lnTo>
                <a:lnTo>
                  <a:pt x="841" y="1267"/>
                </a:lnTo>
                <a:lnTo>
                  <a:pt x="834" y="1273"/>
                </a:lnTo>
                <a:lnTo>
                  <a:pt x="822" y="1281"/>
                </a:lnTo>
                <a:lnTo>
                  <a:pt x="811" y="1287"/>
                </a:lnTo>
                <a:lnTo>
                  <a:pt x="803" y="1291"/>
                </a:lnTo>
                <a:lnTo>
                  <a:pt x="802" y="1294"/>
                </a:lnTo>
                <a:lnTo>
                  <a:pt x="797" y="1297"/>
                </a:lnTo>
                <a:lnTo>
                  <a:pt x="793" y="1300"/>
                </a:lnTo>
                <a:lnTo>
                  <a:pt x="788" y="1300"/>
                </a:lnTo>
                <a:lnTo>
                  <a:pt x="786" y="1305"/>
                </a:lnTo>
                <a:lnTo>
                  <a:pt x="784" y="1310"/>
                </a:lnTo>
                <a:lnTo>
                  <a:pt x="775" y="1310"/>
                </a:lnTo>
                <a:lnTo>
                  <a:pt x="769" y="1314"/>
                </a:lnTo>
                <a:lnTo>
                  <a:pt x="769" y="1317"/>
                </a:lnTo>
                <a:lnTo>
                  <a:pt x="767" y="1321"/>
                </a:lnTo>
                <a:lnTo>
                  <a:pt x="764" y="1324"/>
                </a:lnTo>
                <a:lnTo>
                  <a:pt x="758" y="1326"/>
                </a:lnTo>
                <a:lnTo>
                  <a:pt x="747" y="1333"/>
                </a:lnTo>
                <a:lnTo>
                  <a:pt x="733" y="1339"/>
                </a:lnTo>
                <a:lnTo>
                  <a:pt x="718" y="1345"/>
                </a:lnTo>
                <a:lnTo>
                  <a:pt x="702" y="1352"/>
                </a:lnTo>
                <a:lnTo>
                  <a:pt x="689" y="1360"/>
                </a:lnTo>
                <a:lnTo>
                  <a:pt x="679" y="1369"/>
                </a:lnTo>
                <a:lnTo>
                  <a:pt x="652" y="1398"/>
                </a:lnTo>
                <a:lnTo>
                  <a:pt x="628" y="1426"/>
                </a:lnTo>
                <a:lnTo>
                  <a:pt x="616" y="1437"/>
                </a:lnTo>
                <a:lnTo>
                  <a:pt x="605" y="1448"/>
                </a:lnTo>
                <a:lnTo>
                  <a:pt x="594" y="1456"/>
                </a:lnTo>
                <a:lnTo>
                  <a:pt x="584" y="1461"/>
                </a:lnTo>
                <a:lnTo>
                  <a:pt x="584" y="1409"/>
                </a:lnTo>
                <a:lnTo>
                  <a:pt x="583" y="1408"/>
                </a:lnTo>
                <a:lnTo>
                  <a:pt x="582" y="1404"/>
                </a:lnTo>
                <a:lnTo>
                  <a:pt x="581" y="1399"/>
                </a:lnTo>
                <a:lnTo>
                  <a:pt x="581" y="1392"/>
                </a:lnTo>
                <a:lnTo>
                  <a:pt x="580" y="1374"/>
                </a:lnTo>
                <a:lnTo>
                  <a:pt x="581" y="1354"/>
                </a:lnTo>
                <a:lnTo>
                  <a:pt x="583" y="1316"/>
                </a:lnTo>
                <a:lnTo>
                  <a:pt x="584" y="1296"/>
                </a:lnTo>
                <a:lnTo>
                  <a:pt x="583" y="1278"/>
                </a:lnTo>
                <a:lnTo>
                  <a:pt x="579" y="1259"/>
                </a:lnTo>
                <a:lnTo>
                  <a:pt x="574" y="1242"/>
                </a:lnTo>
                <a:lnTo>
                  <a:pt x="567" y="1224"/>
                </a:lnTo>
                <a:lnTo>
                  <a:pt x="562" y="1207"/>
                </a:lnTo>
                <a:lnTo>
                  <a:pt x="556" y="1192"/>
                </a:lnTo>
                <a:lnTo>
                  <a:pt x="553" y="1179"/>
                </a:lnTo>
                <a:lnTo>
                  <a:pt x="552" y="1169"/>
                </a:lnTo>
                <a:lnTo>
                  <a:pt x="546" y="1160"/>
                </a:lnTo>
                <a:lnTo>
                  <a:pt x="538" y="1152"/>
                </a:lnTo>
                <a:lnTo>
                  <a:pt x="527" y="1141"/>
                </a:lnTo>
                <a:lnTo>
                  <a:pt x="527" y="1131"/>
                </a:lnTo>
                <a:lnTo>
                  <a:pt x="518" y="1127"/>
                </a:lnTo>
                <a:lnTo>
                  <a:pt x="514" y="1122"/>
                </a:lnTo>
                <a:lnTo>
                  <a:pt x="514" y="1108"/>
                </a:lnTo>
                <a:lnTo>
                  <a:pt x="512" y="1108"/>
                </a:lnTo>
                <a:lnTo>
                  <a:pt x="510" y="1106"/>
                </a:lnTo>
                <a:lnTo>
                  <a:pt x="509" y="1105"/>
                </a:lnTo>
                <a:lnTo>
                  <a:pt x="508" y="1103"/>
                </a:lnTo>
                <a:lnTo>
                  <a:pt x="508" y="1099"/>
                </a:lnTo>
                <a:lnTo>
                  <a:pt x="508" y="1092"/>
                </a:lnTo>
                <a:lnTo>
                  <a:pt x="509" y="1076"/>
                </a:lnTo>
                <a:lnTo>
                  <a:pt x="514" y="1057"/>
                </a:lnTo>
                <a:lnTo>
                  <a:pt x="523" y="1021"/>
                </a:lnTo>
                <a:lnTo>
                  <a:pt x="527" y="999"/>
                </a:lnTo>
                <a:lnTo>
                  <a:pt x="537" y="995"/>
                </a:lnTo>
                <a:lnTo>
                  <a:pt x="537" y="985"/>
                </a:lnTo>
                <a:lnTo>
                  <a:pt x="546" y="980"/>
                </a:lnTo>
                <a:lnTo>
                  <a:pt x="552" y="971"/>
                </a:lnTo>
                <a:lnTo>
                  <a:pt x="556" y="961"/>
                </a:lnTo>
                <a:lnTo>
                  <a:pt x="565" y="957"/>
                </a:lnTo>
                <a:lnTo>
                  <a:pt x="570" y="952"/>
                </a:lnTo>
                <a:lnTo>
                  <a:pt x="568" y="933"/>
                </a:lnTo>
                <a:lnTo>
                  <a:pt x="565" y="912"/>
                </a:lnTo>
                <a:lnTo>
                  <a:pt x="562" y="893"/>
                </a:lnTo>
                <a:lnTo>
                  <a:pt x="561" y="877"/>
                </a:lnTo>
                <a:lnTo>
                  <a:pt x="558" y="877"/>
                </a:lnTo>
                <a:lnTo>
                  <a:pt x="556" y="875"/>
                </a:lnTo>
                <a:lnTo>
                  <a:pt x="554" y="873"/>
                </a:lnTo>
                <a:lnTo>
                  <a:pt x="552" y="871"/>
                </a:lnTo>
                <a:lnTo>
                  <a:pt x="547" y="864"/>
                </a:lnTo>
                <a:lnTo>
                  <a:pt x="544" y="858"/>
                </a:lnTo>
                <a:lnTo>
                  <a:pt x="539" y="851"/>
                </a:lnTo>
                <a:lnTo>
                  <a:pt x="535" y="845"/>
                </a:lnTo>
                <a:lnTo>
                  <a:pt x="532" y="843"/>
                </a:lnTo>
                <a:lnTo>
                  <a:pt x="529" y="841"/>
                </a:lnTo>
                <a:lnTo>
                  <a:pt x="526" y="840"/>
                </a:lnTo>
                <a:lnTo>
                  <a:pt x="523" y="839"/>
                </a:lnTo>
                <a:lnTo>
                  <a:pt x="518" y="830"/>
                </a:lnTo>
                <a:lnTo>
                  <a:pt x="514" y="825"/>
                </a:lnTo>
                <a:lnTo>
                  <a:pt x="510" y="825"/>
                </a:lnTo>
                <a:lnTo>
                  <a:pt x="507" y="824"/>
                </a:lnTo>
                <a:lnTo>
                  <a:pt x="505" y="823"/>
                </a:lnTo>
                <a:lnTo>
                  <a:pt x="504" y="820"/>
                </a:lnTo>
                <a:lnTo>
                  <a:pt x="490" y="820"/>
                </a:lnTo>
                <a:lnTo>
                  <a:pt x="488" y="815"/>
                </a:lnTo>
                <a:lnTo>
                  <a:pt x="485" y="811"/>
                </a:lnTo>
                <a:lnTo>
                  <a:pt x="471" y="806"/>
                </a:lnTo>
                <a:lnTo>
                  <a:pt x="457" y="802"/>
                </a:lnTo>
                <a:lnTo>
                  <a:pt x="455" y="794"/>
                </a:lnTo>
                <a:lnTo>
                  <a:pt x="452" y="787"/>
                </a:lnTo>
                <a:lnTo>
                  <a:pt x="446" y="784"/>
                </a:lnTo>
                <a:lnTo>
                  <a:pt x="441" y="782"/>
                </a:lnTo>
                <a:lnTo>
                  <a:pt x="440" y="779"/>
                </a:lnTo>
                <a:lnTo>
                  <a:pt x="439" y="776"/>
                </a:lnTo>
                <a:lnTo>
                  <a:pt x="438" y="773"/>
                </a:lnTo>
                <a:lnTo>
                  <a:pt x="438" y="768"/>
                </a:lnTo>
                <a:lnTo>
                  <a:pt x="431" y="763"/>
                </a:lnTo>
                <a:lnTo>
                  <a:pt x="424" y="754"/>
                </a:lnTo>
                <a:lnTo>
                  <a:pt x="419" y="746"/>
                </a:lnTo>
                <a:lnTo>
                  <a:pt x="414" y="740"/>
                </a:lnTo>
                <a:lnTo>
                  <a:pt x="413" y="730"/>
                </a:lnTo>
                <a:lnTo>
                  <a:pt x="410" y="718"/>
                </a:lnTo>
                <a:lnTo>
                  <a:pt x="405" y="706"/>
                </a:lnTo>
                <a:lnTo>
                  <a:pt x="400" y="692"/>
                </a:lnTo>
                <a:lnTo>
                  <a:pt x="395" y="679"/>
                </a:lnTo>
                <a:lnTo>
                  <a:pt x="391" y="666"/>
                </a:lnTo>
                <a:lnTo>
                  <a:pt x="388" y="652"/>
                </a:lnTo>
                <a:lnTo>
                  <a:pt x="387" y="641"/>
                </a:lnTo>
                <a:lnTo>
                  <a:pt x="384" y="640"/>
                </a:lnTo>
                <a:lnTo>
                  <a:pt x="383" y="639"/>
                </a:lnTo>
                <a:lnTo>
                  <a:pt x="381" y="637"/>
                </a:lnTo>
                <a:lnTo>
                  <a:pt x="380" y="633"/>
                </a:lnTo>
                <a:lnTo>
                  <a:pt x="378" y="628"/>
                </a:lnTo>
                <a:lnTo>
                  <a:pt x="376" y="622"/>
                </a:lnTo>
                <a:lnTo>
                  <a:pt x="372" y="618"/>
                </a:lnTo>
                <a:lnTo>
                  <a:pt x="363" y="613"/>
                </a:lnTo>
                <a:lnTo>
                  <a:pt x="362" y="609"/>
                </a:lnTo>
                <a:lnTo>
                  <a:pt x="360" y="604"/>
                </a:lnTo>
                <a:lnTo>
                  <a:pt x="356" y="600"/>
                </a:lnTo>
                <a:lnTo>
                  <a:pt x="353" y="599"/>
                </a:lnTo>
                <a:lnTo>
                  <a:pt x="353" y="590"/>
                </a:lnTo>
                <a:lnTo>
                  <a:pt x="345" y="589"/>
                </a:lnTo>
                <a:lnTo>
                  <a:pt x="337" y="585"/>
                </a:lnTo>
                <a:lnTo>
                  <a:pt x="333" y="584"/>
                </a:lnTo>
                <a:lnTo>
                  <a:pt x="330" y="581"/>
                </a:lnTo>
                <a:lnTo>
                  <a:pt x="327" y="579"/>
                </a:lnTo>
                <a:lnTo>
                  <a:pt x="325" y="575"/>
                </a:lnTo>
                <a:lnTo>
                  <a:pt x="318" y="574"/>
                </a:lnTo>
                <a:lnTo>
                  <a:pt x="312" y="573"/>
                </a:lnTo>
                <a:lnTo>
                  <a:pt x="303" y="570"/>
                </a:lnTo>
                <a:lnTo>
                  <a:pt x="295" y="566"/>
                </a:lnTo>
                <a:lnTo>
                  <a:pt x="287" y="563"/>
                </a:lnTo>
                <a:lnTo>
                  <a:pt x="279" y="560"/>
                </a:lnTo>
                <a:lnTo>
                  <a:pt x="273" y="555"/>
                </a:lnTo>
                <a:lnTo>
                  <a:pt x="268" y="552"/>
                </a:lnTo>
                <a:lnTo>
                  <a:pt x="258" y="551"/>
                </a:lnTo>
                <a:lnTo>
                  <a:pt x="240" y="548"/>
                </a:lnTo>
                <a:lnTo>
                  <a:pt x="231" y="547"/>
                </a:lnTo>
                <a:lnTo>
                  <a:pt x="224" y="547"/>
                </a:lnTo>
                <a:lnTo>
                  <a:pt x="221" y="548"/>
                </a:lnTo>
                <a:lnTo>
                  <a:pt x="219" y="548"/>
                </a:lnTo>
                <a:lnTo>
                  <a:pt x="217" y="550"/>
                </a:lnTo>
                <a:lnTo>
                  <a:pt x="217" y="552"/>
                </a:lnTo>
                <a:lnTo>
                  <a:pt x="198" y="552"/>
                </a:lnTo>
                <a:lnTo>
                  <a:pt x="190" y="558"/>
                </a:lnTo>
                <a:lnTo>
                  <a:pt x="183" y="565"/>
                </a:lnTo>
                <a:lnTo>
                  <a:pt x="183" y="575"/>
                </a:lnTo>
                <a:lnTo>
                  <a:pt x="179" y="577"/>
                </a:lnTo>
                <a:lnTo>
                  <a:pt x="174" y="582"/>
                </a:lnTo>
                <a:lnTo>
                  <a:pt x="171" y="588"/>
                </a:lnTo>
                <a:lnTo>
                  <a:pt x="169" y="590"/>
                </a:lnTo>
                <a:lnTo>
                  <a:pt x="160" y="590"/>
                </a:lnTo>
                <a:lnTo>
                  <a:pt x="159" y="593"/>
                </a:lnTo>
                <a:lnTo>
                  <a:pt x="154" y="596"/>
                </a:lnTo>
                <a:lnTo>
                  <a:pt x="150" y="600"/>
                </a:lnTo>
                <a:lnTo>
                  <a:pt x="145" y="603"/>
                </a:lnTo>
                <a:lnTo>
                  <a:pt x="142" y="603"/>
                </a:lnTo>
                <a:lnTo>
                  <a:pt x="140" y="604"/>
                </a:lnTo>
                <a:lnTo>
                  <a:pt x="138" y="605"/>
                </a:lnTo>
                <a:lnTo>
                  <a:pt x="136" y="608"/>
                </a:lnTo>
                <a:lnTo>
                  <a:pt x="126" y="608"/>
                </a:lnTo>
                <a:lnTo>
                  <a:pt x="117" y="608"/>
                </a:lnTo>
                <a:lnTo>
                  <a:pt x="113" y="613"/>
                </a:lnTo>
                <a:lnTo>
                  <a:pt x="112" y="620"/>
                </a:lnTo>
                <a:lnTo>
                  <a:pt x="110" y="628"/>
                </a:lnTo>
                <a:lnTo>
                  <a:pt x="106" y="635"/>
                </a:lnTo>
                <a:lnTo>
                  <a:pt x="103" y="643"/>
                </a:lnTo>
                <a:lnTo>
                  <a:pt x="100" y="650"/>
                </a:lnTo>
                <a:lnTo>
                  <a:pt x="97" y="657"/>
                </a:lnTo>
                <a:lnTo>
                  <a:pt x="95" y="663"/>
                </a:lnTo>
                <a:lnTo>
                  <a:pt x="94" y="669"/>
                </a:lnTo>
                <a:lnTo>
                  <a:pt x="91" y="670"/>
                </a:lnTo>
                <a:lnTo>
                  <a:pt x="87" y="672"/>
                </a:lnTo>
                <a:lnTo>
                  <a:pt x="83" y="676"/>
                </a:lnTo>
                <a:lnTo>
                  <a:pt x="80" y="679"/>
                </a:lnTo>
                <a:lnTo>
                  <a:pt x="80" y="683"/>
                </a:lnTo>
                <a:lnTo>
                  <a:pt x="80" y="688"/>
                </a:lnTo>
                <a:lnTo>
                  <a:pt x="78" y="690"/>
                </a:lnTo>
                <a:lnTo>
                  <a:pt x="77" y="691"/>
                </a:lnTo>
                <a:lnTo>
                  <a:pt x="76" y="692"/>
                </a:lnTo>
                <a:lnTo>
                  <a:pt x="75" y="692"/>
                </a:lnTo>
                <a:lnTo>
                  <a:pt x="75" y="702"/>
                </a:lnTo>
                <a:lnTo>
                  <a:pt x="63" y="711"/>
                </a:lnTo>
                <a:lnTo>
                  <a:pt x="47" y="721"/>
                </a:lnTo>
                <a:lnTo>
                  <a:pt x="42" y="730"/>
                </a:lnTo>
                <a:lnTo>
                  <a:pt x="36" y="733"/>
                </a:lnTo>
                <a:lnTo>
                  <a:pt x="28" y="737"/>
                </a:lnTo>
                <a:lnTo>
                  <a:pt x="25" y="739"/>
                </a:lnTo>
                <a:lnTo>
                  <a:pt x="21" y="743"/>
                </a:lnTo>
                <a:lnTo>
                  <a:pt x="19" y="746"/>
                </a:lnTo>
                <a:lnTo>
                  <a:pt x="18" y="749"/>
                </a:lnTo>
                <a:lnTo>
                  <a:pt x="13" y="749"/>
                </a:lnTo>
                <a:lnTo>
                  <a:pt x="6" y="749"/>
                </a:lnTo>
                <a:lnTo>
                  <a:pt x="6" y="740"/>
                </a:lnTo>
                <a:lnTo>
                  <a:pt x="6" y="731"/>
                </a:lnTo>
                <a:lnTo>
                  <a:pt x="6" y="723"/>
                </a:lnTo>
                <a:lnTo>
                  <a:pt x="6" y="713"/>
                </a:lnTo>
                <a:lnTo>
                  <a:pt x="6" y="679"/>
                </a:lnTo>
                <a:lnTo>
                  <a:pt x="4" y="646"/>
                </a:lnTo>
                <a:lnTo>
                  <a:pt x="3" y="615"/>
                </a:lnTo>
                <a:lnTo>
                  <a:pt x="0" y="588"/>
                </a:lnTo>
                <a:lnTo>
                  <a:pt x="0" y="562"/>
                </a:lnTo>
                <a:lnTo>
                  <a:pt x="3" y="541"/>
                </a:lnTo>
                <a:lnTo>
                  <a:pt x="5" y="531"/>
                </a:lnTo>
                <a:lnTo>
                  <a:pt x="7" y="523"/>
                </a:lnTo>
                <a:lnTo>
                  <a:pt x="11" y="516"/>
                </a:lnTo>
                <a:lnTo>
                  <a:pt x="16" y="510"/>
                </a:lnTo>
                <a:lnTo>
                  <a:pt x="33" y="492"/>
                </a:lnTo>
                <a:lnTo>
                  <a:pt x="53" y="468"/>
                </a:lnTo>
                <a:lnTo>
                  <a:pt x="73" y="446"/>
                </a:lnTo>
                <a:lnTo>
                  <a:pt x="90" y="427"/>
                </a:lnTo>
                <a:lnTo>
                  <a:pt x="94" y="423"/>
                </a:lnTo>
                <a:lnTo>
                  <a:pt x="100" y="421"/>
                </a:lnTo>
                <a:lnTo>
                  <a:pt x="107" y="418"/>
                </a:lnTo>
                <a:lnTo>
                  <a:pt x="116" y="415"/>
                </a:lnTo>
                <a:lnTo>
                  <a:pt x="136" y="409"/>
                </a:lnTo>
                <a:lnTo>
                  <a:pt x="159" y="404"/>
                </a:lnTo>
                <a:lnTo>
                  <a:pt x="180" y="399"/>
                </a:lnTo>
                <a:lnTo>
                  <a:pt x="200" y="393"/>
                </a:lnTo>
                <a:lnTo>
                  <a:pt x="209" y="391"/>
                </a:lnTo>
                <a:lnTo>
                  <a:pt x="217" y="388"/>
                </a:lnTo>
                <a:lnTo>
                  <a:pt x="222" y="384"/>
                </a:lnTo>
                <a:lnTo>
                  <a:pt x="227" y="381"/>
                </a:lnTo>
                <a:lnTo>
                  <a:pt x="238" y="369"/>
                </a:lnTo>
                <a:lnTo>
                  <a:pt x="248" y="355"/>
                </a:lnTo>
                <a:lnTo>
                  <a:pt x="258" y="339"/>
                </a:lnTo>
                <a:lnTo>
                  <a:pt x="267" y="323"/>
                </a:lnTo>
                <a:lnTo>
                  <a:pt x="277" y="306"/>
                </a:lnTo>
                <a:lnTo>
                  <a:pt x="286" y="292"/>
                </a:lnTo>
                <a:lnTo>
                  <a:pt x="294" y="279"/>
                </a:lnTo>
                <a:lnTo>
                  <a:pt x="301" y="271"/>
                </a:lnTo>
                <a:lnTo>
                  <a:pt x="314" y="263"/>
                </a:lnTo>
                <a:lnTo>
                  <a:pt x="332" y="254"/>
                </a:lnTo>
                <a:lnTo>
                  <a:pt x="349" y="246"/>
                </a:lnTo>
                <a:lnTo>
                  <a:pt x="356" y="243"/>
                </a:lnTo>
                <a:lnTo>
                  <a:pt x="361" y="239"/>
                </a:lnTo>
                <a:lnTo>
                  <a:pt x="368" y="236"/>
                </a:lnTo>
                <a:lnTo>
                  <a:pt x="375" y="231"/>
                </a:lnTo>
                <a:lnTo>
                  <a:pt x="385" y="227"/>
                </a:lnTo>
                <a:lnTo>
                  <a:pt x="408" y="217"/>
                </a:lnTo>
                <a:lnTo>
                  <a:pt x="432" y="207"/>
                </a:lnTo>
                <a:lnTo>
                  <a:pt x="456" y="198"/>
                </a:lnTo>
                <a:lnTo>
                  <a:pt x="476" y="190"/>
                </a:lnTo>
                <a:lnTo>
                  <a:pt x="484" y="187"/>
                </a:lnTo>
                <a:lnTo>
                  <a:pt x="489" y="183"/>
                </a:lnTo>
                <a:lnTo>
                  <a:pt x="493" y="181"/>
                </a:lnTo>
                <a:lnTo>
                  <a:pt x="495" y="179"/>
                </a:lnTo>
                <a:lnTo>
                  <a:pt x="497" y="175"/>
                </a:lnTo>
                <a:lnTo>
                  <a:pt x="503" y="171"/>
                </a:lnTo>
                <a:lnTo>
                  <a:pt x="510" y="166"/>
                </a:lnTo>
                <a:lnTo>
                  <a:pt x="520" y="161"/>
                </a:lnTo>
                <a:lnTo>
                  <a:pt x="543" y="150"/>
                </a:lnTo>
                <a:lnTo>
                  <a:pt x="567" y="138"/>
                </a:lnTo>
                <a:lnTo>
                  <a:pt x="591" y="127"/>
                </a:lnTo>
                <a:lnTo>
                  <a:pt x="610" y="115"/>
                </a:lnTo>
                <a:lnTo>
                  <a:pt x="618" y="110"/>
                </a:lnTo>
                <a:lnTo>
                  <a:pt x="622" y="105"/>
                </a:lnTo>
                <a:lnTo>
                  <a:pt x="624" y="103"/>
                </a:lnTo>
                <a:lnTo>
                  <a:pt x="624" y="101"/>
                </a:lnTo>
                <a:lnTo>
                  <a:pt x="624" y="99"/>
                </a:lnTo>
                <a:lnTo>
                  <a:pt x="624" y="9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98" name="Freeform 59">
            <a:extLst>
              <a:ext uri="{FF2B5EF4-FFF2-40B4-BE49-F238E27FC236}">
                <a16:creationId xmlns:a16="http://schemas.microsoft.com/office/drawing/2014/main" id="{FAE48A8F-949F-4492-BE31-C4DF27DC855F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453438" y="2854325"/>
            <a:ext cx="308709" cy="203200"/>
          </a:xfrm>
          <a:custGeom>
            <a:avLst/>
            <a:gdLst/>
            <a:ahLst/>
            <a:cxnLst>
              <a:cxn ang="0">
                <a:pos x="427" y="228"/>
              </a:cxn>
              <a:cxn ang="0">
                <a:pos x="507" y="245"/>
              </a:cxn>
              <a:cxn ang="0">
                <a:pos x="620" y="228"/>
              </a:cxn>
              <a:cxn ang="0">
                <a:pos x="666" y="207"/>
              </a:cxn>
              <a:cxn ang="0">
                <a:pos x="845" y="206"/>
              </a:cxn>
              <a:cxn ang="0">
                <a:pos x="909" y="169"/>
              </a:cxn>
              <a:cxn ang="0">
                <a:pos x="952" y="138"/>
              </a:cxn>
              <a:cxn ang="0">
                <a:pos x="990" y="109"/>
              </a:cxn>
              <a:cxn ang="0">
                <a:pos x="1063" y="99"/>
              </a:cxn>
              <a:cxn ang="0">
                <a:pos x="1381" y="64"/>
              </a:cxn>
              <a:cxn ang="0">
                <a:pos x="1513" y="21"/>
              </a:cxn>
              <a:cxn ang="0">
                <a:pos x="1570" y="2"/>
              </a:cxn>
              <a:cxn ang="0">
                <a:pos x="1614" y="23"/>
              </a:cxn>
              <a:cxn ang="0">
                <a:pos x="1628" y="51"/>
              </a:cxn>
              <a:cxn ang="0">
                <a:pos x="1636" y="224"/>
              </a:cxn>
              <a:cxn ang="0">
                <a:pos x="1632" y="425"/>
              </a:cxn>
              <a:cxn ang="0">
                <a:pos x="1652" y="473"/>
              </a:cxn>
              <a:cxn ang="0">
                <a:pos x="1689" y="516"/>
              </a:cxn>
              <a:cxn ang="0">
                <a:pos x="1693" y="548"/>
              </a:cxn>
              <a:cxn ang="0">
                <a:pos x="1655" y="604"/>
              </a:cxn>
              <a:cxn ang="0">
                <a:pos x="1564" y="736"/>
              </a:cxn>
              <a:cxn ang="0">
                <a:pos x="1501" y="879"/>
              </a:cxn>
              <a:cxn ang="0">
                <a:pos x="1487" y="943"/>
              </a:cxn>
              <a:cxn ang="0">
                <a:pos x="1177" y="960"/>
              </a:cxn>
              <a:cxn ang="0">
                <a:pos x="1178" y="1110"/>
              </a:cxn>
              <a:cxn ang="0">
                <a:pos x="1176" y="1198"/>
              </a:cxn>
              <a:cxn ang="0">
                <a:pos x="1151" y="1258"/>
              </a:cxn>
              <a:cxn ang="0">
                <a:pos x="1076" y="1253"/>
              </a:cxn>
              <a:cxn ang="0">
                <a:pos x="1022" y="1233"/>
              </a:cxn>
              <a:cxn ang="0">
                <a:pos x="903" y="1205"/>
              </a:cxn>
              <a:cxn ang="0">
                <a:pos x="739" y="1197"/>
              </a:cxn>
              <a:cxn ang="0">
                <a:pos x="719" y="1187"/>
              </a:cxn>
              <a:cxn ang="0">
                <a:pos x="653" y="1149"/>
              </a:cxn>
              <a:cxn ang="0">
                <a:pos x="534" y="1136"/>
              </a:cxn>
              <a:cxn ang="0">
                <a:pos x="484" y="1093"/>
              </a:cxn>
              <a:cxn ang="0">
                <a:pos x="451" y="1071"/>
              </a:cxn>
              <a:cxn ang="0">
                <a:pos x="386" y="1036"/>
              </a:cxn>
              <a:cxn ang="0">
                <a:pos x="311" y="1062"/>
              </a:cxn>
              <a:cxn ang="0">
                <a:pos x="225" y="1079"/>
              </a:cxn>
              <a:cxn ang="0">
                <a:pos x="182" y="1072"/>
              </a:cxn>
              <a:cxn ang="0">
                <a:pos x="138" y="1007"/>
              </a:cxn>
              <a:cxn ang="0">
                <a:pos x="131" y="976"/>
              </a:cxn>
              <a:cxn ang="0">
                <a:pos x="152" y="879"/>
              </a:cxn>
              <a:cxn ang="0">
                <a:pos x="136" y="722"/>
              </a:cxn>
              <a:cxn ang="0">
                <a:pos x="83" y="667"/>
              </a:cxn>
              <a:cxn ang="0">
                <a:pos x="52" y="635"/>
              </a:cxn>
              <a:cxn ang="0">
                <a:pos x="15" y="616"/>
              </a:cxn>
              <a:cxn ang="0">
                <a:pos x="1" y="545"/>
              </a:cxn>
              <a:cxn ang="0">
                <a:pos x="29" y="514"/>
              </a:cxn>
              <a:cxn ang="0">
                <a:pos x="77" y="475"/>
              </a:cxn>
              <a:cxn ang="0">
                <a:pos x="154" y="416"/>
              </a:cxn>
              <a:cxn ang="0">
                <a:pos x="191" y="391"/>
              </a:cxn>
              <a:cxn ang="0">
                <a:pos x="222" y="367"/>
              </a:cxn>
              <a:cxn ang="0">
                <a:pos x="259" y="304"/>
              </a:cxn>
              <a:cxn ang="0">
                <a:pos x="314" y="264"/>
              </a:cxn>
              <a:cxn ang="0">
                <a:pos x="327" y="242"/>
              </a:cxn>
              <a:cxn ang="0">
                <a:pos x="317" y="222"/>
              </a:cxn>
            </a:cxnLst>
            <a:rect l="0" t="0" r="r" b="b"/>
            <a:pathLst>
              <a:path w="1694" h="1266">
                <a:moveTo>
                  <a:pt x="294" y="208"/>
                </a:moveTo>
                <a:lnTo>
                  <a:pt x="325" y="215"/>
                </a:lnTo>
                <a:lnTo>
                  <a:pt x="357" y="222"/>
                </a:lnTo>
                <a:lnTo>
                  <a:pt x="374" y="224"/>
                </a:lnTo>
                <a:lnTo>
                  <a:pt x="391" y="226"/>
                </a:lnTo>
                <a:lnTo>
                  <a:pt x="409" y="228"/>
                </a:lnTo>
                <a:lnTo>
                  <a:pt x="427" y="228"/>
                </a:lnTo>
                <a:lnTo>
                  <a:pt x="437" y="229"/>
                </a:lnTo>
                <a:lnTo>
                  <a:pt x="448" y="232"/>
                </a:lnTo>
                <a:lnTo>
                  <a:pt x="459" y="234"/>
                </a:lnTo>
                <a:lnTo>
                  <a:pt x="472" y="237"/>
                </a:lnTo>
                <a:lnTo>
                  <a:pt x="485" y="241"/>
                </a:lnTo>
                <a:lnTo>
                  <a:pt x="497" y="244"/>
                </a:lnTo>
                <a:lnTo>
                  <a:pt x="507" y="245"/>
                </a:lnTo>
                <a:lnTo>
                  <a:pt x="517" y="246"/>
                </a:lnTo>
                <a:lnTo>
                  <a:pt x="531" y="245"/>
                </a:lnTo>
                <a:lnTo>
                  <a:pt x="546" y="244"/>
                </a:lnTo>
                <a:lnTo>
                  <a:pt x="561" y="241"/>
                </a:lnTo>
                <a:lnTo>
                  <a:pt x="575" y="237"/>
                </a:lnTo>
                <a:lnTo>
                  <a:pt x="602" y="232"/>
                </a:lnTo>
                <a:lnTo>
                  <a:pt x="620" y="228"/>
                </a:lnTo>
                <a:lnTo>
                  <a:pt x="621" y="225"/>
                </a:lnTo>
                <a:lnTo>
                  <a:pt x="622" y="223"/>
                </a:lnTo>
                <a:lnTo>
                  <a:pt x="625" y="219"/>
                </a:lnTo>
                <a:lnTo>
                  <a:pt x="629" y="217"/>
                </a:lnTo>
                <a:lnTo>
                  <a:pt x="638" y="213"/>
                </a:lnTo>
                <a:lnTo>
                  <a:pt x="650" y="209"/>
                </a:lnTo>
                <a:lnTo>
                  <a:pt x="666" y="207"/>
                </a:lnTo>
                <a:lnTo>
                  <a:pt x="682" y="206"/>
                </a:lnTo>
                <a:lnTo>
                  <a:pt x="700" y="205"/>
                </a:lnTo>
                <a:lnTo>
                  <a:pt x="719" y="204"/>
                </a:lnTo>
                <a:lnTo>
                  <a:pt x="758" y="204"/>
                </a:lnTo>
                <a:lnTo>
                  <a:pt x="795" y="205"/>
                </a:lnTo>
                <a:lnTo>
                  <a:pt x="825" y="205"/>
                </a:lnTo>
                <a:lnTo>
                  <a:pt x="845" y="206"/>
                </a:lnTo>
                <a:lnTo>
                  <a:pt x="846" y="204"/>
                </a:lnTo>
                <a:lnTo>
                  <a:pt x="849" y="200"/>
                </a:lnTo>
                <a:lnTo>
                  <a:pt x="853" y="197"/>
                </a:lnTo>
                <a:lnTo>
                  <a:pt x="860" y="194"/>
                </a:lnTo>
                <a:lnTo>
                  <a:pt x="874" y="186"/>
                </a:lnTo>
                <a:lnTo>
                  <a:pt x="892" y="178"/>
                </a:lnTo>
                <a:lnTo>
                  <a:pt x="909" y="169"/>
                </a:lnTo>
                <a:lnTo>
                  <a:pt x="925" y="160"/>
                </a:lnTo>
                <a:lnTo>
                  <a:pt x="930" y="156"/>
                </a:lnTo>
                <a:lnTo>
                  <a:pt x="935" y="151"/>
                </a:lnTo>
                <a:lnTo>
                  <a:pt x="938" y="147"/>
                </a:lnTo>
                <a:lnTo>
                  <a:pt x="939" y="143"/>
                </a:lnTo>
                <a:lnTo>
                  <a:pt x="946" y="141"/>
                </a:lnTo>
                <a:lnTo>
                  <a:pt x="952" y="138"/>
                </a:lnTo>
                <a:lnTo>
                  <a:pt x="958" y="133"/>
                </a:lnTo>
                <a:lnTo>
                  <a:pt x="964" y="128"/>
                </a:lnTo>
                <a:lnTo>
                  <a:pt x="969" y="121"/>
                </a:lnTo>
                <a:lnTo>
                  <a:pt x="976" y="117"/>
                </a:lnTo>
                <a:lnTo>
                  <a:pt x="981" y="113"/>
                </a:lnTo>
                <a:lnTo>
                  <a:pt x="988" y="111"/>
                </a:lnTo>
                <a:lnTo>
                  <a:pt x="990" y="109"/>
                </a:lnTo>
                <a:lnTo>
                  <a:pt x="994" y="106"/>
                </a:lnTo>
                <a:lnTo>
                  <a:pt x="1000" y="103"/>
                </a:lnTo>
                <a:lnTo>
                  <a:pt x="1006" y="102"/>
                </a:lnTo>
                <a:lnTo>
                  <a:pt x="1012" y="101"/>
                </a:lnTo>
                <a:lnTo>
                  <a:pt x="1024" y="100"/>
                </a:lnTo>
                <a:lnTo>
                  <a:pt x="1042" y="99"/>
                </a:lnTo>
                <a:lnTo>
                  <a:pt x="1063" y="99"/>
                </a:lnTo>
                <a:lnTo>
                  <a:pt x="1105" y="98"/>
                </a:lnTo>
                <a:lnTo>
                  <a:pt x="1132" y="98"/>
                </a:lnTo>
                <a:lnTo>
                  <a:pt x="1162" y="97"/>
                </a:lnTo>
                <a:lnTo>
                  <a:pt x="1213" y="91"/>
                </a:lnTo>
                <a:lnTo>
                  <a:pt x="1277" y="82"/>
                </a:lnTo>
                <a:lnTo>
                  <a:pt x="1347" y="71"/>
                </a:lnTo>
                <a:lnTo>
                  <a:pt x="1381" y="64"/>
                </a:lnTo>
                <a:lnTo>
                  <a:pt x="1415" y="56"/>
                </a:lnTo>
                <a:lnTo>
                  <a:pt x="1445" y="49"/>
                </a:lnTo>
                <a:lnTo>
                  <a:pt x="1473" y="40"/>
                </a:lnTo>
                <a:lnTo>
                  <a:pt x="1484" y="35"/>
                </a:lnTo>
                <a:lnTo>
                  <a:pt x="1495" y="30"/>
                </a:lnTo>
                <a:lnTo>
                  <a:pt x="1504" y="25"/>
                </a:lnTo>
                <a:lnTo>
                  <a:pt x="1513" y="21"/>
                </a:lnTo>
                <a:lnTo>
                  <a:pt x="1518" y="15"/>
                </a:lnTo>
                <a:lnTo>
                  <a:pt x="1524" y="10"/>
                </a:lnTo>
                <a:lnTo>
                  <a:pt x="1526" y="5"/>
                </a:lnTo>
                <a:lnTo>
                  <a:pt x="1527" y="0"/>
                </a:lnTo>
                <a:lnTo>
                  <a:pt x="1541" y="0"/>
                </a:lnTo>
                <a:lnTo>
                  <a:pt x="1555" y="0"/>
                </a:lnTo>
                <a:lnTo>
                  <a:pt x="1570" y="2"/>
                </a:lnTo>
                <a:lnTo>
                  <a:pt x="1584" y="4"/>
                </a:lnTo>
                <a:lnTo>
                  <a:pt x="1591" y="6"/>
                </a:lnTo>
                <a:lnTo>
                  <a:pt x="1598" y="8"/>
                </a:lnTo>
                <a:lnTo>
                  <a:pt x="1603" y="11"/>
                </a:lnTo>
                <a:lnTo>
                  <a:pt x="1608" y="14"/>
                </a:lnTo>
                <a:lnTo>
                  <a:pt x="1612" y="18"/>
                </a:lnTo>
                <a:lnTo>
                  <a:pt x="1614" y="23"/>
                </a:lnTo>
                <a:lnTo>
                  <a:pt x="1617" y="29"/>
                </a:lnTo>
                <a:lnTo>
                  <a:pt x="1618" y="35"/>
                </a:lnTo>
                <a:lnTo>
                  <a:pt x="1619" y="35"/>
                </a:lnTo>
                <a:lnTo>
                  <a:pt x="1621" y="37"/>
                </a:lnTo>
                <a:lnTo>
                  <a:pt x="1623" y="40"/>
                </a:lnTo>
                <a:lnTo>
                  <a:pt x="1624" y="42"/>
                </a:lnTo>
                <a:lnTo>
                  <a:pt x="1628" y="51"/>
                </a:lnTo>
                <a:lnTo>
                  <a:pt x="1630" y="61"/>
                </a:lnTo>
                <a:lnTo>
                  <a:pt x="1633" y="88"/>
                </a:lnTo>
                <a:lnTo>
                  <a:pt x="1635" y="119"/>
                </a:lnTo>
                <a:lnTo>
                  <a:pt x="1636" y="152"/>
                </a:lnTo>
                <a:lnTo>
                  <a:pt x="1636" y="183"/>
                </a:lnTo>
                <a:lnTo>
                  <a:pt x="1636" y="208"/>
                </a:lnTo>
                <a:lnTo>
                  <a:pt x="1636" y="224"/>
                </a:lnTo>
                <a:lnTo>
                  <a:pt x="1635" y="241"/>
                </a:lnTo>
                <a:lnTo>
                  <a:pt x="1635" y="268"/>
                </a:lnTo>
                <a:lnTo>
                  <a:pt x="1633" y="304"/>
                </a:lnTo>
                <a:lnTo>
                  <a:pt x="1632" y="342"/>
                </a:lnTo>
                <a:lnTo>
                  <a:pt x="1631" y="379"/>
                </a:lnTo>
                <a:lnTo>
                  <a:pt x="1631" y="411"/>
                </a:lnTo>
                <a:lnTo>
                  <a:pt x="1632" y="425"/>
                </a:lnTo>
                <a:lnTo>
                  <a:pt x="1632" y="435"/>
                </a:lnTo>
                <a:lnTo>
                  <a:pt x="1633" y="441"/>
                </a:lnTo>
                <a:lnTo>
                  <a:pt x="1636" y="444"/>
                </a:lnTo>
                <a:lnTo>
                  <a:pt x="1636" y="453"/>
                </a:lnTo>
                <a:lnTo>
                  <a:pt x="1640" y="456"/>
                </a:lnTo>
                <a:lnTo>
                  <a:pt x="1646" y="463"/>
                </a:lnTo>
                <a:lnTo>
                  <a:pt x="1652" y="473"/>
                </a:lnTo>
                <a:lnTo>
                  <a:pt x="1660" y="484"/>
                </a:lnTo>
                <a:lnTo>
                  <a:pt x="1669" y="496"/>
                </a:lnTo>
                <a:lnTo>
                  <a:pt x="1677" y="506"/>
                </a:lnTo>
                <a:lnTo>
                  <a:pt x="1680" y="510"/>
                </a:lnTo>
                <a:lnTo>
                  <a:pt x="1684" y="513"/>
                </a:lnTo>
                <a:lnTo>
                  <a:pt x="1687" y="515"/>
                </a:lnTo>
                <a:lnTo>
                  <a:pt x="1689" y="516"/>
                </a:lnTo>
                <a:lnTo>
                  <a:pt x="1689" y="534"/>
                </a:lnTo>
                <a:lnTo>
                  <a:pt x="1690" y="534"/>
                </a:lnTo>
                <a:lnTo>
                  <a:pt x="1691" y="535"/>
                </a:lnTo>
                <a:lnTo>
                  <a:pt x="1693" y="536"/>
                </a:lnTo>
                <a:lnTo>
                  <a:pt x="1693" y="539"/>
                </a:lnTo>
                <a:lnTo>
                  <a:pt x="1694" y="543"/>
                </a:lnTo>
                <a:lnTo>
                  <a:pt x="1693" y="548"/>
                </a:lnTo>
                <a:lnTo>
                  <a:pt x="1690" y="559"/>
                </a:lnTo>
                <a:lnTo>
                  <a:pt x="1689" y="565"/>
                </a:lnTo>
                <a:lnTo>
                  <a:pt x="1686" y="566"/>
                </a:lnTo>
                <a:lnTo>
                  <a:pt x="1681" y="571"/>
                </a:lnTo>
                <a:lnTo>
                  <a:pt x="1676" y="577"/>
                </a:lnTo>
                <a:lnTo>
                  <a:pt x="1669" y="584"/>
                </a:lnTo>
                <a:lnTo>
                  <a:pt x="1655" y="604"/>
                </a:lnTo>
                <a:lnTo>
                  <a:pt x="1638" y="628"/>
                </a:lnTo>
                <a:lnTo>
                  <a:pt x="1606" y="674"/>
                </a:lnTo>
                <a:lnTo>
                  <a:pt x="1587" y="700"/>
                </a:lnTo>
                <a:lnTo>
                  <a:pt x="1581" y="706"/>
                </a:lnTo>
                <a:lnTo>
                  <a:pt x="1576" y="714"/>
                </a:lnTo>
                <a:lnTo>
                  <a:pt x="1570" y="724"/>
                </a:lnTo>
                <a:lnTo>
                  <a:pt x="1564" y="736"/>
                </a:lnTo>
                <a:lnTo>
                  <a:pt x="1551" y="764"/>
                </a:lnTo>
                <a:lnTo>
                  <a:pt x="1536" y="794"/>
                </a:lnTo>
                <a:lnTo>
                  <a:pt x="1524" y="822"/>
                </a:lnTo>
                <a:lnTo>
                  <a:pt x="1513" y="847"/>
                </a:lnTo>
                <a:lnTo>
                  <a:pt x="1505" y="864"/>
                </a:lnTo>
                <a:lnTo>
                  <a:pt x="1501" y="870"/>
                </a:lnTo>
                <a:lnTo>
                  <a:pt x="1501" y="879"/>
                </a:lnTo>
                <a:lnTo>
                  <a:pt x="1498" y="888"/>
                </a:lnTo>
                <a:lnTo>
                  <a:pt x="1496" y="896"/>
                </a:lnTo>
                <a:lnTo>
                  <a:pt x="1494" y="905"/>
                </a:lnTo>
                <a:lnTo>
                  <a:pt x="1492" y="914"/>
                </a:lnTo>
                <a:lnTo>
                  <a:pt x="1489" y="923"/>
                </a:lnTo>
                <a:lnTo>
                  <a:pt x="1488" y="933"/>
                </a:lnTo>
                <a:lnTo>
                  <a:pt x="1487" y="943"/>
                </a:lnTo>
                <a:lnTo>
                  <a:pt x="1479" y="946"/>
                </a:lnTo>
                <a:lnTo>
                  <a:pt x="1465" y="954"/>
                </a:lnTo>
                <a:lnTo>
                  <a:pt x="1457" y="958"/>
                </a:lnTo>
                <a:lnTo>
                  <a:pt x="1448" y="962"/>
                </a:lnTo>
                <a:lnTo>
                  <a:pt x="1440" y="964"/>
                </a:lnTo>
                <a:lnTo>
                  <a:pt x="1434" y="965"/>
                </a:lnTo>
                <a:lnTo>
                  <a:pt x="1177" y="960"/>
                </a:lnTo>
                <a:lnTo>
                  <a:pt x="1168" y="972"/>
                </a:lnTo>
                <a:lnTo>
                  <a:pt x="1159" y="983"/>
                </a:lnTo>
                <a:lnTo>
                  <a:pt x="1160" y="1010"/>
                </a:lnTo>
                <a:lnTo>
                  <a:pt x="1163" y="1035"/>
                </a:lnTo>
                <a:lnTo>
                  <a:pt x="1168" y="1061"/>
                </a:lnTo>
                <a:lnTo>
                  <a:pt x="1172" y="1085"/>
                </a:lnTo>
                <a:lnTo>
                  <a:pt x="1178" y="1110"/>
                </a:lnTo>
                <a:lnTo>
                  <a:pt x="1182" y="1135"/>
                </a:lnTo>
                <a:lnTo>
                  <a:pt x="1185" y="1160"/>
                </a:lnTo>
                <a:lnTo>
                  <a:pt x="1186" y="1185"/>
                </a:lnTo>
                <a:lnTo>
                  <a:pt x="1184" y="1186"/>
                </a:lnTo>
                <a:lnTo>
                  <a:pt x="1180" y="1188"/>
                </a:lnTo>
                <a:lnTo>
                  <a:pt x="1178" y="1193"/>
                </a:lnTo>
                <a:lnTo>
                  <a:pt x="1176" y="1198"/>
                </a:lnTo>
                <a:lnTo>
                  <a:pt x="1172" y="1210"/>
                </a:lnTo>
                <a:lnTo>
                  <a:pt x="1168" y="1225"/>
                </a:lnTo>
                <a:lnTo>
                  <a:pt x="1166" y="1233"/>
                </a:lnTo>
                <a:lnTo>
                  <a:pt x="1162" y="1241"/>
                </a:lnTo>
                <a:lnTo>
                  <a:pt x="1159" y="1247"/>
                </a:lnTo>
                <a:lnTo>
                  <a:pt x="1156" y="1253"/>
                </a:lnTo>
                <a:lnTo>
                  <a:pt x="1151" y="1258"/>
                </a:lnTo>
                <a:lnTo>
                  <a:pt x="1146" y="1263"/>
                </a:lnTo>
                <a:lnTo>
                  <a:pt x="1139" y="1265"/>
                </a:lnTo>
                <a:lnTo>
                  <a:pt x="1132" y="1266"/>
                </a:lnTo>
                <a:lnTo>
                  <a:pt x="1118" y="1265"/>
                </a:lnTo>
                <a:lnTo>
                  <a:pt x="1103" y="1262"/>
                </a:lnTo>
                <a:lnTo>
                  <a:pt x="1090" y="1257"/>
                </a:lnTo>
                <a:lnTo>
                  <a:pt x="1076" y="1253"/>
                </a:lnTo>
                <a:lnTo>
                  <a:pt x="1064" y="1247"/>
                </a:lnTo>
                <a:lnTo>
                  <a:pt x="1051" y="1243"/>
                </a:lnTo>
                <a:lnTo>
                  <a:pt x="1037" y="1241"/>
                </a:lnTo>
                <a:lnTo>
                  <a:pt x="1025" y="1238"/>
                </a:lnTo>
                <a:lnTo>
                  <a:pt x="1024" y="1237"/>
                </a:lnTo>
                <a:lnTo>
                  <a:pt x="1023" y="1235"/>
                </a:lnTo>
                <a:lnTo>
                  <a:pt x="1022" y="1233"/>
                </a:lnTo>
                <a:lnTo>
                  <a:pt x="1018" y="1231"/>
                </a:lnTo>
                <a:lnTo>
                  <a:pt x="1013" y="1227"/>
                </a:lnTo>
                <a:lnTo>
                  <a:pt x="1004" y="1224"/>
                </a:lnTo>
                <a:lnTo>
                  <a:pt x="981" y="1217"/>
                </a:lnTo>
                <a:lnTo>
                  <a:pt x="956" y="1213"/>
                </a:lnTo>
                <a:lnTo>
                  <a:pt x="929" y="1208"/>
                </a:lnTo>
                <a:lnTo>
                  <a:pt x="903" y="1205"/>
                </a:lnTo>
                <a:lnTo>
                  <a:pt x="882" y="1204"/>
                </a:lnTo>
                <a:lnTo>
                  <a:pt x="868" y="1203"/>
                </a:lnTo>
                <a:lnTo>
                  <a:pt x="837" y="1204"/>
                </a:lnTo>
                <a:lnTo>
                  <a:pt x="791" y="1203"/>
                </a:lnTo>
                <a:lnTo>
                  <a:pt x="767" y="1202"/>
                </a:lnTo>
                <a:lnTo>
                  <a:pt x="747" y="1199"/>
                </a:lnTo>
                <a:lnTo>
                  <a:pt x="739" y="1197"/>
                </a:lnTo>
                <a:lnTo>
                  <a:pt x="734" y="1195"/>
                </a:lnTo>
                <a:lnTo>
                  <a:pt x="731" y="1194"/>
                </a:lnTo>
                <a:lnTo>
                  <a:pt x="729" y="1193"/>
                </a:lnTo>
                <a:lnTo>
                  <a:pt x="728" y="1191"/>
                </a:lnTo>
                <a:lnTo>
                  <a:pt x="728" y="1189"/>
                </a:lnTo>
                <a:lnTo>
                  <a:pt x="724" y="1189"/>
                </a:lnTo>
                <a:lnTo>
                  <a:pt x="719" y="1187"/>
                </a:lnTo>
                <a:lnTo>
                  <a:pt x="714" y="1186"/>
                </a:lnTo>
                <a:lnTo>
                  <a:pt x="709" y="1183"/>
                </a:lnTo>
                <a:lnTo>
                  <a:pt x="698" y="1175"/>
                </a:lnTo>
                <a:lnTo>
                  <a:pt x="686" y="1167"/>
                </a:lnTo>
                <a:lnTo>
                  <a:pt x="673" y="1159"/>
                </a:lnTo>
                <a:lnTo>
                  <a:pt x="660" y="1151"/>
                </a:lnTo>
                <a:lnTo>
                  <a:pt x="653" y="1149"/>
                </a:lnTo>
                <a:lnTo>
                  <a:pt x="648" y="1147"/>
                </a:lnTo>
                <a:lnTo>
                  <a:pt x="640" y="1145"/>
                </a:lnTo>
                <a:lnTo>
                  <a:pt x="633" y="1145"/>
                </a:lnTo>
                <a:lnTo>
                  <a:pt x="539" y="1145"/>
                </a:lnTo>
                <a:lnTo>
                  <a:pt x="538" y="1142"/>
                </a:lnTo>
                <a:lnTo>
                  <a:pt x="537" y="1139"/>
                </a:lnTo>
                <a:lnTo>
                  <a:pt x="534" y="1136"/>
                </a:lnTo>
                <a:lnTo>
                  <a:pt x="531" y="1132"/>
                </a:lnTo>
                <a:lnTo>
                  <a:pt x="520" y="1125"/>
                </a:lnTo>
                <a:lnTo>
                  <a:pt x="510" y="1117"/>
                </a:lnTo>
                <a:lnTo>
                  <a:pt x="499" y="1109"/>
                </a:lnTo>
                <a:lnTo>
                  <a:pt x="490" y="1101"/>
                </a:lnTo>
                <a:lnTo>
                  <a:pt x="486" y="1097"/>
                </a:lnTo>
                <a:lnTo>
                  <a:pt x="484" y="1093"/>
                </a:lnTo>
                <a:lnTo>
                  <a:pt x="481" y="1090"/>
                </a:lnTo>
                <a:lnTo>
                  <a:pt x="481" y="1087"/>
                </a:lnTo>
                <a:lnTo>
                  <a:pt x="477" y="1085"/>
                </a:lnTo>
                <a:lnTo>
                  <a:pt x="474" y="1084"/>
                </a:lnTo>
                <a:lnTo>
                  <a:pt x="468" y="1082"/>
                </a:lnTo>
                <a:lnTo>
                  <a:pt x="464" y="1079"/>
                </a:lnTo>
                <a:lnTo>
                  <a:pt x="451" y="1071"/>
                </a:lnTo>
                <a:lnTo>
                  <a:pt x="439" y="1062"/>
                </a:lnTo>
                <a:lnTo>
                  <a:pt x="426" y="1052"/>
                </a:lnTo>
                <a:lnTo>
                  <a:pt x="412" y="1044"/>
                </a:lnTo>
                <a:lnTo>
                  <a:pt x="405" y="1041"/>
                </a:lnTo>
                <a:lnTo>
                  <a:pt x="399" y="1039"/>
                </a:lnTo>
                <a:lnTo>
                  <a:pt x="393" y="1037"/>
                </a:lnTo>
                <a:lnTo>
                  <a:pt x="386" y="1036"/>
                </a:lnTo>
                <a:lnTo>
                  <a:pt x="371" y="1040"/>
                </a:lnTo>
                <a:lnTo>
                  <a:pt x="345" y="1046"/>
                </a:lnTo>
                <a:lnTo>
                  <a:pt x="332" y="1051"/>
                </a:lnTo>
                <a:lnTo>
                  <a:pt x="321" y="1055"/>
                </a:lnTo>
                <a:lnTo>
                  <a:pt x="316" y="1058"/>
                </a:lnTo>
                <a:lnTo>
                  <a:pt x="313" y="1060"/>
                </a:lnTo>
                <a:lnTo>
                  <a:pt x="311" y="1062"/>
                </a:lnTo>
                <a:lnTo>
                  <a:pt x="311" y="1064"/>
                </a:lnTo>
                <a:lnTo>
                  <a:pt x="298" y="1064"/>
                </a:lnTo>
                <a:lnTo>
                  <a:pt x="285" y="1066"/>
                </a:lnTo>
                <a:lnTo>
                  <a:pt x="270" y="1070"/>
                </a:lnTo>
                <a:lnTo>
                  <a:pt x="255" y="1073"/>
                </a:lnTo>
                <a:lnTo>
                  <a:pt x="240" y="1077"/>
                </a:lnTo>
                <a:lnTo>
                  <a:pt x="225" y="1079"/>
                </a:lnTo>
                <a:lnTo>
                  <a:pt x="209" y="1081"/>
                </a:lnTo>
                <a:lnTo>
                  <a:pt x="193" y="1082"/>
                </a:lnTo>
                <a:lnTo>
                  <a:pt x="192" y="1079"/>
                </a:lnTo>
                <a:lnTo>
                  <a:pt x="191" y="1078"/>
                </a:lnTo>
                <a:lnTo>
                  <a:pt x="188" y="1078"/>
                </a:lnTo>
                <a:lnTo>
                  <a:pt x="184" y="1078"/>
                </a:lnTo>
                <a:lnTo>
                  <a:pt x="182" y="1072"/>
                </a:lnTo>
                <a:lnTo>
                  <a:pt x="177" y="1064"/>
                </a:lnTo>
                <a:lnTo>
                  <a:pt x="169" y="1055"/>
                </a:lnTo>
                <a:lnTo>
                  <a:pt x="160" y="1043"/>
                </a:lnTo>
                <a:lnTo>
                  <a:pt x="151" y="1032"/>
                </a:lnTo>
                <a:lnTo>
                  <a:pt x="143" y="1020"/>
                </a:lnTo>
                <a:lnTo>
                  <a:pt x="140" y="1013"/>
                </a:lnTo>
                <a:lnTo>
                  <a:pt x="138" y="1007"/>
                </a:lnTo>
                <a:lnTo>
                  <a:pt x="135" y="1002"/>
                </a:lnTo>
                <a:lnTo>
                  <a:pt x="135" y="996"/>
                </a:lnTo>
                <a:lnTo>
                  <a:pt x="133" y="996"/>
                </a:lnTo>
                <a:lnTo>
                  <a:pt x="131" y="994"/>
                </a:lnTo>
                <a:lnTo>
                  <a:pt x="131" y="991"/>
                </a:lnTo>
                <a:lnTo>
                  <a:pt x="130" y="986"/>
                </a:lnTo>
                <a:lnTo>
                  <a:pt x="131" y="976"/>
                </a:lnTo>
                <a:lnTo>
                  <a:pt x="132" y="965"/>
                </a:lnTo>
                <a:lnTo>
                  <a:pt x="136" y="944"/>
                </a:lnTo>
                <a:lnTo>
                  <a:pt x="140" y="934"/>
                </a:lnTo>
                <a:lnTo>
                  <a:pt x="144" y="921"/>
                </a:lnTo>
                <a:lnTo>
                  <a:pt x="149" y="908"/>
                </a:lnTo>
                <a:lnTo>
                  <a:pt x="151" y="893"/>
                </a:lnTo>
                <a:lnTo>
                  <a:pt x="152" y="879"/>
                </a:lnTo>
                <a:lnTo>
                  <a:pt x="152" y="863"/>
                </a:lnTo>
                <a:lnTo>
                  <a:pt x="152" y="847"/>
                </a:lnTo>
                <a:lnTo>
                  <a:pt x="151" y="831"/>
                </a:lnTo>
                <a:lnTo>
                  <a:pt x="149" y="814"/>
                </a:lnTo>
                <a:lnTo>
                  <a:pt x="144" y="782"/>
                </a:lnTo>
                <a:lnTo>
                  <a:pt x="140" y="751"/>
                </a:lnTo>
                <a:lnTo>
                  <a:pt x="136" y="722"/>
                </a:lnTo>
                <a:lnTo>
                  <a:pt x="135" y="696"/>
                </a:lnTo>
                <a:lnTo>
                  <a:pt x="131" y="691"/>
                </a:lnTo>
                <a:lnTo>
                  <a:pt x="122" y="684"/>
                </a:lnTo>
                <a:lnTo>
                  <a:pt x="112" y="675"/>
                </a:lnTo>
                <a:lnTo>
                  <a:pt x="109" y="668"/>
                </a:lnTo>
                <a:lnTo>
                  <a:pt x="95" y="668"/>
                </a:lnTo>
                <a:lnTo>
                  <a:pt x="83" y="667"/>
                </a:lnTo>
                <a:lnTo>
                  <a:pt x="71" y="666"/>
                </a:lnTo>
                <a:lnTo>
                  <a:pt x="58" y="665"/>
                </a:lnTo>
                <a:lnTo>
                  <a:pt x="59" y="650"/>
                </a:lnTo>
                <a:lnTo>
                  <a:pt x="61" y="637"/>
                </a:lnTo>
                <a:lnTo>
                  <a:pt x="57" y="637"/>
                </a:lnTo>
                <a:lnTo>
                  <a:pt x="54" y="637"/>
                </a:lnTo>
                <a:lnTo>
                  <a:pt x="52" y="635"/>
                </a:lnTo>
                <a:lnTo>
                  <a:pt x="50" y="632"/>
                </a:lnTo>
                <a:lnTo>
                  <a:pt x="36" y="632"/>
                </a:lnTo>
                <a:lnTo>
                  <a:pt x="33" y="629"/>
                </a:lnTo>
                <a:lnTo>
                  <a:pt x="27" y="625"/>
                </a:lnTo>
                <a:lnTo>
                  <a:pt x="24" y="621"/>
                </a:lnTo>
                <a:lnTo>
                  <a:pt x="23" y="618"/>
                </a:lnTo>
                <a:lnTo>
                  <a:pt x="15" y="616"/>
                </a:lnTo>
                <a:lnTo>
                  <a:pt x="8" y="613"/>
                </a:lnTo>
                <a:lnTo>
                  <a:pt x="5" y="600"/>
                </a:lnTo>
                <a:lnTo>
                  <a:pt x="0" y="573"/>
                </a:lnTo>
                <a:lnTo>
                  <a:pt x="0" y="565"/>
                </a:lnTo>
                <a:lnTo>
                  <a:pt x="0" y="558"/>
                </a:lnTo>
                <a:lnTo>
                  <a:pt x="0" y="551"/>
                </a:lnTo>
                <a:lnTo>
                  <a:pt x="1" y="545"/>
                </a:lnTo>
                <a:lnTo>
                  <a:pt x="5" y="540"/>
                </a:lnTo>
                <a:lnTo>
                  <a:pt x="7" y="536"/>
                </a:lnTo>
                <a:lnTo>
                  <a:pt x="11" y="533"/>
                </a:lnTo>
                <a:lnTo>
                  <a:pt x="17" y="532"/>
                </a:lnTo>
                <a:lnTo>
                  <a:pt x="19" y="526"/>
                </a:lnTo>
                <a:lnTo>
                  <a:pt x="24" y="521"/>
                </a:lnTo>
                <a:lnTo>
                  <a:pt x="29" y="514"/>
                </a:lnTo>
                <a:lnTo>
                  <a:pt x="36" y="507"/>
                </a:lnTo>
                <a:lnTo>
                  <a:pt x="49" y="496"/>
                </a:lnTo>
                <a:lnTo>
                  <a:pt x="55" y="489"/>
                </a:lnTo>
                <a:lnTo>
                  <a:pt x="63" y="487"/>
                </a:lnTo>
                <a:lnTo>
                  <a:pt x="69" y="485"/>
                </a:lnTo>
                <a:lnTo>
                  <a:pt x="74" y="475"/>
                </a:lnTo>
                <a:lnTo>
                  <a:pt x="77" y="475"/>
                </a:lnTo>
                <a:lnTo>
                  <a:pt x="83" y="473"/>
                </a:lnTo>
                <a:lnTo>
                  <a:pt x="88" y="469"/>
                </a:lnTo>
                <a:lnTo>
                  <a:pt x="94" y="465"/>
                </a:lnTo>
                <a:lnTo>
                  <a:pt x="110" y="454"/>
                </a:lnTo>
                <a:lnTo>
                  <a:pt x="125" y="441"/>
                </a:lnTo>
                <a:lnTo>
                  <a:pt x="141" y="428"/>
                </a:lnTo>
                <a:lnTo>
                  <a:pt x="154" y="416"/>
                </a:lnTo>
                <a:lnTo>
                  <a:pt x="164" y="406"/>
                </a:lnTo>
                <a:lnTo>
                  <a:pt x="169" y="399"/>
                </a:lnTo>
                <a:lnTo>
                  <a:pt x="173" y="399"/>
                </a:lnTo>
                <a:lnTo>
                  <a:pt x="178" y="398"/>
                </a:lnTo>
                <a:lnTo>
                  <a:pt x="182" y="396"/>
                </a:lnTo>
                <a:lnTo>
                  <a:pt x="187" y="393"/>
                </a:lnTo>
                <a:lnTo>
                  <a:pt x="191" y="391"/>
                </a:lnTo>
                <a:lnTo>
                  <a:pt x="194" y="388"/>
                </a:lnTo>
                <a:lnTo>
                  <a:pt x="197" y="385"/>
                </a:lnTo>
                <a:lnTo>
                  <a:pt x="198" y="380"/>
                </a:lnTo>
                <a:lnTo>
                  <a:pt x="203" y="379"/>
                </a:lnTo>
                <a:lnTo>
                  <a:pt x="210" y="376"/>
                </a:lnTo>
                <a:lnTo>
                  <a:pt x="217" y="371"/>
                </a:lnTo>
                <a:lnTo>
                  <a:pt x="222" y="367"/>
                </a:lnTo>
                <a:lnTo>
                  <a:pt x="234" y="357"/>
                </a:lnTo>
                <a:lnTo>
                  <a:pt x="240" y="352"/>
                </a:lnTo>
                <a:lnTo>
                  <a:pt x="242" y="335"/>
                </a:lnTo>
                <a:lnTo>
                  <a:pt x="245" y="319"/>
                </a:lnTo>
                <a:lnTo>
                  <a:pt x="250" y="314"/>
                </a:lnTo>
                <a:lnTo>
                  <a:pt x="255" y="310"/>
                </a:lnTo>
                <a:lnTo>
                  <a:pt x="259" y="304"/>
                </a:lnTo>
                <a:lnTo>
                  <a:pt x="270" y="298"/>
                </a:lnTo>
                <a:lnTo>
                  <a:pt x="278" y="291"/>
                </a:lnTo>
                <a:lnTo>
                  <a:pt x="290" y="283"/>
                </a:lnTo>
                <a:lnTo>
                  <a:pt x="302" y="276"/>
                </a:lnTo>
                <a:lnTo>
                  <a:pt x="307" y="266"/>
                </a:lnTo>
                <a:lnTo>
                  <a:pt x="311" y="266"/>
                </a:lnTo>
                <a:lnTo>
                  <a:pt x="314" y="264"/>
                </a:lnTo>
                <a:lnTo>
                  <a:pt x="315" y="261"/>
                </a:lnTo>
                <a:lnTo>
                  <a:pt x="316" y="257"/>
                </a:lnTo>
                <a:lnTo>
                  <a:pt x="321" y="255"/>
                </a:lnTo>
                <a:lnTo>
                  <a:pt x="326" y="253"/>
                </a:lnTo>
                <a:lnTo>
                  <a:pt x="326" y="248"/>
                </a:lnTo>
                <a:lnTo>
                  <a:pt x="326" y="244"/>
                </a:lnTo>
                <a:lnTo>
                  <a:pt x="327" y="242"/>
                </a:lnTo>
                <a:lnTo>
                  <a:pt x="328" y="239"/>
                </a:lnTo>
                <a:lnTo>
                  <a:pt x="330" y="238"/>
                </a:lnTo>
                <a:lnTo>
                  <a:pt x="331" y="238"/>
                </a:lnTo>
                <a:lnTo>
                  <a:pt x="330" y="234"/>
                </a:lnTo>
                <a:lnTo>
                  <a:pt x="327" y="229"/>
                </a:lnTo>
                <a:lnTo>
                  <a:pt x="323" y="225"/>
                </a:lnTo>
                <a:lnTo>
                  <a:pt x="317" y="222"/>
                </a:lnTo>
                <a:lnTo>
                  <a:pt x="305" y="215"/>
                </a:lnTo>
                <a:lnTo>
                  <a:pt x="294" y="20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199" name="Freeform 60">
            <a:extLst>
              <a:ext uri="{FF2B5EF4-FFF2-40B4-BE49-F238E27FC236}">
                <a16:creationId xmlns:a16="http://schemas.microsoft.com/office/drawing/2014/main" id="{C54251D4-8202-4A3E-A056-8C93549E2FC1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653463" y="2700338"/>
            <a:ext cx="354524" cy="427038"/>
          </a:xfrm>
          <a:custGeom>
            <a:avLst/>
            <a:gdLst/>
            <a:ahLst/>
            <a:cxnLst>
              <a:cxn ang="0">
                <a:pos x="683" y="1014"/>
              </a:cxn>
              <a:cxn ang="0">
                <a:pos x="729" y="976"/>
              </a:cxn>
              <a:cxn ang="0">
                <a:pos x="774" y="963"/>
              </a:cxn>
              <a:cxn ang="0">
                <a:pos x="864" y="927"/>
              </a:cxn>
              <a:cxn ang="0">
                <a:pos x="920" y="877"/>
              </a:cxn>
              <a:cxn ang="0">
                <a:pos x="964" y="809"/>
              </a:cxn>
              <a:cxn ang="0">
                <a:pos x="945" y="514"/>
              </a:cxn>
              <a:cxn ang="0">
                <a:pos x="903" y="454"/>
              </a:cxn>
              <a:cxn ang="0">
                <a:pos x="871" y="409"/>
              </a:cxn>
              <a:cxn ang="0">
                <a:pos x="833" y="364"/>
              </a:cxn>
              <a:cxn ang="0">
                <a:pos x="789" y="237"/>
              </a:cxn>
              <a:cxn ang="0">
                <a:pos x="814" y="75"/>
              </a:cxn>
              <a:cxn ang="0">
                <a:pos x="894" y="12"/>
              </a:cxn>
              <a:cxn ang="0">
                <a:pos x="1082" y="5"/>
              </a:cxn>
              <a:cxn ang="0">
                <a:pos x="1322" y="56"/>
              </a:cxn>
              <a:cxn ang="0">
                <a:pos x="1371" y="94"/>
              </a:cxn>
              <a:cxn ang="0">
                <a:pos x="1411" y="118"/>
              </a:cxn>
              <a:cxn ang="0">
                <a:pos x="1537" y="171"/>
              </a:cxn>
              <a:cxn ang="0">
                <a:pos x="1676" y="234"/>
              </a:cxn>
              <a:cxn ang="0">
                <a:pos x="1716" y="290"/>
              </a:cxn>
              <a:cxn ang="0">
                <a:pos x="1753" y="340"/>
              </a:cxn>
              <a:cxn ang="0">
                <a:pos x="1792" y="410"/>
              </a:cxn>
              <a:cxn ang="0">
                <a:pos x="1811" y="646"/>
              </a:cxn>
              <a:cxn ang="0">
                <a:pos x="1861" y="759"/>
              </a:cxn>
              <a:cxn ang="0">
                <a:pos x="1927" y="879"/>
              </a:cxn>
              <a:cxn ang="0">
                <a:pos x="1934" y="1107"/>
              </a:cxn>
              <a:cxn ang="0">
                <a:pos x="1660" y="1163"/>
              </a:cxn>
              <a:cxn ang="0">
                <a:pos x="1598" y="1227"/>
              </a:cxn>
              <a:cxn ang="0">
                <a:pos x="1552" y="1268"/>
              </a:cxn>
              <a:cxn ang="0">
                <a:pos x="1484" y="1303"/>
              </a:cxn>
              <a:cxn ang="0">
                <a:pos x="1387" y="1331"/>
              </a:cxn>
              <a:cxn ang="0">
                <a:pos x="1322" y="1355"/>
              </a:cxn>
              <a:cxn ang="0">
                <a:pos x="1288" y="1396"/>
              </a:cxn>
              <a:cxn ang="0">
                <a:pos x="1268" y="1450"/>
              </a:cxn>
              <a:cxn ang="0">
                <a:pos x="1249" y="1553"/>
              </a:cxn>
              <a:cxn ang="0">
                <a:pos x="1320" y="1652"/>
              </a:cxn>
              <a:cxn ang="0">
                <a:pos x="1450" y="1868"/>
              </a:cxn>
              <a:cxn ang="0">
                <a:pos x="1437" y="2057"/>
              </a:cxn>
              <a:cxn ang="0">
                <a:pos x="1325" y="2159"/>
              </a:cxn>
              <a:cxn ang="0">
                <a:pos x="1205" y="2198"/>
              </a:cxn>
              <a:cxn ang="0">
                <a:pos x="1112" y="2245"/>
              </a:cxn>
              <a:cxn ang="0">
                <a:pos x="1069" y="2277"/>
              </a:cxn>
              <a:cxn ang="0">
                <a:pos x="1029" y="2368"/>
              </a:cxn>
              <a:cxn ang="0">
                <a:pos x="988" y="2569"/>
              </a:cxn>
              <a:cxn ang="0">
                <a:pos x="967" y="2599"/>
              </a:cxn>
              <a:cxn ang="0">
                <a:pos x="889" y="2638"/>
              </a:cxn>
              <a:cxn ang="0">
                <a:pos x="754" y="2610"/>
              </a:cxn>
              <a:cxn ang="0">
                <a:pos x="722" y="2450"/>
              </a:cxn>
              <a:cxn ang="0">
                <a:pos x="637" y="2384"/>
              </a:cxn>
              <a:cxn ang="0">
                <a:pos x="581" y="2419"/>
              </a:cxn>
              <a:cxn ang="0">
                <a:pos x="504" y="2466"/>
              </a:cxn>
              <a:cxn ang="0">
                <a:pos x="412" y="2443"/>
              </a:cxn>
              <a:cxn ang="0">
                <a:pos x="256" y="2342"/>
              </a:cxn>
              <a:cxn ang="0">
                <a:pos x="26" y="2320"/>
              </a:cxn>
              <a:cxn ang="0">
                <a:pos x="65" y="2239"/>
              </a:cxn>
              <a:cxn ang="0">
                <a:pos x="327" y="2010"/>
              </a:cxn>
              <a:cxn ang="0">
                <a:pos x="400" y="1893"/>
              </a:cxn>
              <a:cxn ang="0">
                <a:pos x="573" y="1612"/>
              </a:cxn>
              <a:cxn ang="0">
                <a:pos x="556" y="1542"/>
              </a:cxn>
              <a:cxn ang="0">
                <a:pos x="522" y="1287"/>
              </a:cxn>
              <a:cxn ang="0">
                <a:pos x="503" y="1071"/>
              </a:cxn>
            </a:cxnLst>
            <a:rect l="0" t="0" r="r" b="b"/>
            <a:pathLst>
              <a:path w="1956" h="2656">
                <a:moveTo>
                  <a:pt x="498" y="1063"/>
                </a:moveTo>
                <a:lnTo>
                  <a:pt x="518" y="1060"/>
                </a:lnTo>
                <a:lnTo>
                  <a:pt x="554" y="1053"/>
                </a:lnTo>
                <a:lnTo>
                  <a:pt x="589" y="1048"/>
                </a:lnTo>
                <a:lnTo>
                  <a:pt x="609" y="1046"/>
                </a:lnTo>
                <a:lnTo>
                  <a:pt x="615" y="1042"/>
                </a:lnTo>
                <a:lnTo>
                  <a:pt x="628" y="1039"/>
                </a:lnTo>
                <a:lnTo>
                  <a:pt x="640" y="1027"/>
                </a:lnTo>
                <a:lnTo>
                  <a:pt x="652" y="1027"/>
                </a:lnTo>
                <a:lnTo>
                  <a:pt x="653" y="1024"/>
                </a:lnTo>
                <a:lnTo>
                  <a:pt x="657" y="1022"/>
                </a:lnTo>
                <a:lnTo>
                  <a:pt x="660" y="1020"/>
                </a:lnTo>
                <a:lnTo>
                  <a:pt x="666" y="1018"/>
                </a:lnTo>
                <a:lnTo>
                  <a:pt x="676" y="1015"/>
                </a:lnTo>
                <a:lnTo>
                  <a:pt x="683" y="1014"/>
                </a:lnTo>
                <a:lnTo>
                  <a:pt x="685" y="1011"/>
                </a:lnTo>
                <a:lnTo>
                  <a:pt x="687" y="1009"/>
                </a:lnTo>
                <a:lnTo>
                  <a:pt x="689" y="1005"/>
                </a:lnTo>
                <a:lnTo>
                  <a:pt x="693" y="1002"/>
                </a:lnTo>
                <a:lnTo>
                  <a:pt x="701" y="998"/>
                </a:lnTo>
                <a:lnTo>
                  <a:pt x="708" y="995"/>
                </a:lnTo>
                <a:lnTo>
                  <a:pt x="709" y="993"/>
                </a:lnTo>
                <a:lnTo>
                  <a:pt x="710" y="991"/>
                </a:lnTo>
                <a:lnTo>
                  <a:pt x="712" y="989"/>
                </a:lnTo>
                <a:lnTo>
                  <a:pt x="715" y="986"/>
                </a:lnTo>
                <a:lnTo>
                  <a:pt x="721" y="984"/>
                </a:lnTo>
                <a:lnTo>
                  <a:pt x="727" y="983"/>
                </a:lnTo>
                <a:lnTo>
                  <a:pt x="727" y="980"/>
                </a:lnTo>
                <a:lnTo>
                  <a:pt x="728" y="977"/>
                </a:lnTo>
                <a:lnTo>
                  <a:pt x="729" y="976"/>
                </a:lnTo>
                <a:lnTo>
                  <a:pt x="730" y="976"/>
                </a:lnTo>
                <a:lnTo>
                  <a:pt x="731" y="976"/>
                </a:lnTo>
                <a:lnTo>
                  <a:pt x="733" y="976"/>
                </a:lnTo>
                <a:lnTo>
                  <a:pt x="733" y="974"/>
                </a:lnTo>
                <a:lnTo>
                  <a:pt x="733" y="971"/>
                </a:lnTo>
                <a:lnTo>
                  <a:pt x="751" y="971"/>
                </a:lnTo>
                <a:lnTo>
                  <a:pt x="751" y="969"/>
                </a:lnTo>
                <a:lnTo>
                  <a:pt x="753" y="967"/>
                </a:lnTo>
                <a:lnTo>
                  <a:pt x="754" y="966"/>
                </a:lnTo>
                <a:lnTo>
                  <a:pt x="756" y="965"/>
                </a:lnTo>
                <a:lnTo>
                  <a:pt x="759" y="964"/>
                </a:lnTo>
                <a:lnTo>
                  <a:pt x="764" y="964"/>
                </a:lnTo>
                <a:lnTo>
                  <a:pt x="768" y="964"/>
                </a:lnTo>
                <a:lnTo>
                  <a:pt x="773" y="963"/>
                </a:lnTo>
                <a:lnTo>
                  <a:pt x="774" y="963"/>
                </a:lnTo>
                <a:lnTo>
                  <a:pt x="775" y="962"/>
                </a:lnTo>
                <a:lnTo>
                  <a:pt x="776" y="960"/>
                </a:lnTo>
                <a:lnTo>
                  <a:pt x="776" y="958"/>
                </a:lnTo>
                <a:lnTo>
                  <a:pt x="814" y="958"/>
                </a:lnTo>
                <a:lnTo>
                  <a:pt x="826" y="945"/>
                </a:lnTo>
                <a:lnTo>
                  <a:pt x="839" y="945"/>
                </a:lnTo>
                <a:lnTo>
                  <a:pt x="840" y="944"/>
                </a:lnTo>
                <a:lnTo>
                  <a:pt x="841" y="942"/>
                </a:lnTo>
                <a:lnTo>
                  <a:pt x="843" y="941"/>
                </a:lnTo>
                <a:lnTo>
                  <a:pt x="845" y="941"/>
                </a:lnTo>
                <a:lnTo>
                  <a:pt x="852" y="939"/>
                </a:lnTo>
                <a:lnTo>
                  <a:pt x="858" y="939"/>
                </a:lnTo>
                <a:lnTo>
                  <a:pt x="863" y="933"/>
                </a:lnTo>
                <a:lnTo>
                  <a:pt x="864" y="929"/>
                </a:lnTo>
                <a:lnTo>
                  <a:pt x="864" y="927"/>
                </a:lnTo>
                <a:lnTo>
                  <a:pt x="865" y="927"/>
                </a:lnTo>
                <a:lnTo>
                  <a:pt x="866" y="927"/>
                </a:lnTo>
                <a:lnTo>
                  <a:pt x="868" y="927"/>
                </a:lnTo>
                <a:lnTo>
                  <a:pt x="869" y="926"/>
                </a:lnTo>
                <a:lnTo>
                  <a:pt x="870" y="924"/>
                </a:lnTo>
                <a:lnTo>
                  <a:pt x="870" y="921"/>
                </a:lnTo>
                <a:lnTo>
                  <a:pt x="882" y="921"/>
                </a:lnTo>
                <a:lnTo>
                  <a:pt x="889" y="915"/>
                </a:lnTo>
                <a:lnTo>
                  <a:pt x="890" y="909"/>
                </a:lnTo>
                <a:lnTo>
                  <a:pt x="892" y="905"/>
                </a:lnTo>
                <a:lnTo>
                  <a:pt x="897" y="900"/>
                </a:lnTo>
                <a:lnTo>
                  <a:pt x="901" y="896"/>
                </a:lnTo>
                <a:lnTo>
                  <a:pt x="913" y="896"/>
                </a:lnTo>
                <a:lnTo>
                  <a:pt x="920" y="889"/>
                </a:lnTo>
                <a:lnTo>
                  <a:pt x="920" y="877"/>
                </a:lnTo>
                <a:lnTo>
                  <a:pt x="926" y="871"/>
                </a:lnTo>
                <a:lnTo>
                  <a:pt x="932" y="865"/>
                </a:lnTo>
                <a:lnTo>
                  <a:pt x="936" y="865"/>
                </a:lnTo>
                <a:lnTo>
                  <a:pt x="938" y="864"/>
                </a:lnTo>
                <a:lnTo>
                  <a:pt x="938" y="862"/>
                </a:lnTo>
                <a:lnTo>
                  <a:pt x="938" y="861"/>
                </a:lnTo>
                <a:lnTo>
                  <a:pt x="938" y="860"/>
                </a:lnTo>
                <a:lnTo>
                  <a:pt x="939" y="859"/>
                </a:lnTo>
                <a:lnTo>
                  <a:pt x="941" y="859"/>
                </a:lnTo>
                <a:lnTo>
                  <a:pt x="945" y="858"/>
                </a:lnTo>
                <a:lnTo>
                  <a:pt x="946" y="849"/>
                </a:lnTo>
                <a:lnTo>
                  <a:pt x="948" y="840"/>
                </a:lnTo>
                <a:lnTo>
                  <a:pt x="950" y="830"/>
                </a:lnTo>
                <a:lnTo>
                  <a:pt x="950" y="821"/>
                </a:lnTo>
                <a:lnTo>
                  <a:pt x="964" y="809"/>
                </a:lnTo>
                <a:lnTo>
                  <a:pt x="964" y="775"/>
                </a:lnTo>
                <a:lnTo>
                  <a:pt x="964" y="742"/>
                </a:lnTo>
                <a:lnTo>
                  <a:pt x="964" y="707"/>
                </a:lnTo>
                <a:lnTo>
                  <a:pt x="964" y="672"/>
                </a:lnTo>
                <a:lnTo>
                  <a:pt x="964" y="637"/>
                </a:lnTo>
                <a:lnTo>
                  <a:pt x="964" y="602"/>
                </a:lnTo>
                <a:lnTo>
                  <a:pt x="964" y="568"/>
                </a:lnTo>
                <a:lnTo>
                  <a:pt x="964" y="535"/>
                </a:lnTo>
                <a:lnTo>
                  <a:pt x="959" y="530"/>
                </a:lnTo>
                <a:lnTo>
                  <a:pt x="955" y="525"/>
                </a:lnTo>
                <a:lnTo>
                  <a:pt x="951" y="521"/>
                </a:lnTo>
                <a:lnTo>
                  <a:pt x="950" y="517"/>
                </a:lnTo>
                <a:lnTo>
                  <a:pt x="947" y="517"/>
                </a:lnTo>
                <a:lnTo>
                  <a:pt x="946" y="515"/>
                </a:lnTo>
                <a:lnTo>
                  <a:pt x="945" y="514"/>
                </a:lnTo>
                <a:lnTo>
                  <a:pt x="945" y="513"/>
                </a:lnTo>
                <a:lnTo>
                  <a:pt x="945" y="512"/>
                </a:lnTo>
                <a:lnTo>
                  <a:pt x="943" y="511"/>
                </a:lnTo>
                <a:lnTo>
                  <a:pt x="942" y="511"/>
                </a:lnTo>
                <a:lnTo>
                  <a:pt x="938" y="510"/>
                </a:lnTo>
                <a:lnTo>
                  <a:pt x="937" y="505"/>
                </a:lnTo>
                <a:lnTo>
                  <a:pt x="935" y="502"/>
                </a:lnTo>
                <a:lnTo>
                  <a:pt x="930" y="499"/>
                </a:lnTo>
                <a:lnTo>
                  <a:pt x="926" y="498"/>
                </a:lnTo>
                <a:lnTo>
                  <a:pt x="923" y="491"/>
                </a:lnTo>
                <a:lnTo>
                  <a:pt x="919" y="482"/>
                </a:lnTo>
                <a:lnTo>
                  <a:pt x="912" y="473"/>
                </a:lnTo>
                <a:lnTo>
                  <a:pt x="907" y="466"/>
                </a:lnTo>
                <a:lnTo>
                  <a:pt x="907" y="454"/>
                </a:lnTo>
                <a:lnTo>
                  <a:pt x="903" y="454"/>
                </a:lnTo>
                <a:lnTo>
                  <a:pt x="902" y="453"/>
                </a:lnTo>
                <a:lnTo>
                  <a:pt x="901" y="452"/>
                </a:lnTo>
                <a:lnTo>
                  <a:pt x="901" y="451"/>
                </a:lnTo>
                <a:lnTo>
                  <a:pt x="901" y="450"/>
                </a:lnTo>
                <a:lnTo>
                  <a:pt x="900" y="448"/>
                </a:lnTo>
                <a:lnTo>
                  <a:pt x="899" y="448"/>
                </a:lnTo>
                <a:lnTo>
                  <a:pt x="894" y="448"/>
                </a:lnTo>
                <a:lnTo>
                  <a:pt x="894" y="429"/>
                </a:lnTo>
                <a:lnTo>
                  <a:pt x="890" y="428"/>
                </a:lnTo>
                <a:lnTo>
                  <a:pt x="887" y="425"/>
                </a:lnTo>
                <a:lnTo>
                  <a:pt x="883" y="422"/>
                </a:lnTo>
                <a:lnTo>
                  <a:pt x="882" y="417"/>
                </a:lnTo>
                <a:lnTo>
                  <a:pt x="878" y="416"/>
                </a:lnTo>
                <a:lnTo>
                  <a:pt x="874" y="413"/>
                </a:lnTo>
                <a:lnTo>
                  <a:pt x="871" y="409"/>
                </a:lnTo>
                <a:lnTo>
                  <a:pt x="870" y="405"/>
                </a:lnTo>
                <a:lnTo>
                  <a:pt x="865" y="404"/>
                </a:lnTo>
                <a:lnTo>
                  <a:pt x="861" y="400"/>
                </a:lnTo>
                <a:lnTo>
                  <a:pt x="859" y="396"/>
                </a:lnTo>
                <a:lnTo>
                  <a:pt x="858" y="392"/>
                </a:lnTo>
                <a:lnTo>
                  <a:pt x="855" y="392"/>
                </a:lnTo>
                <a:lnTo>
                  <a:pt x="853" y="390"/>
                </a:lnTo>
                <a:lnTo>
                  <a:pt x="851" y="388"/>
                </a:lnTo>
                <a:lnTo>
                  <a:pt x="849" y="385"/>
                </a:lnTo>
                <a:lnTo>
                  <a:pt x="846" y="379"/>
                </a:lnTo>
                <a:lnTo>
                  <a:pt x="845" y="374"/>
                </a:lnTo>
                <a:lnTo>
                  <a:pt x="842" y="373"/>
                </a:lnTo>
                <a:lnTo>
                  <a:pt x="840" y="370"/>
                </a:lnTo>
                <a:lnTo>
                  <a:pt x="836" y="367"/>
                </a:lnTo>
                <a:lnTo>
                  <a:pt x="833" y="364"/>
                </a:lnTo>
                <a:lnTo>
                  <a:pt x="829" y="355"/>
                </a:lnTo>
                <a:lnTo>
                  <a:pt x="826" y="348"/>
                </a:lnTo>
                <a:lnTo>
                  <a:pt x="824" y="348"/>
                </a:lnTo>
                <a:lnTo>
                  <a:pt x="822" y="347"/>
                </a:lnTo>
                <a:lnTo>
                  <a:pt x="820" y="345"/>
                </a:lnTo>
                <a:lnTo>
                  <a:pt x="817" y="341"/>
                </a:lnTo>
                <a:lnTo>
                  <a:pt x="813" y="333"/>
                </a:lnTo>
                <a:lnTo>
                  <a:pt x="810" y="325"/>
                </a:lnTo>
                <a:lnTo>
                  <a:pt x="806" y="316"/>
                </a:lnTo>
                <a:lnTo>
                  <a:pt x="804" y="307"/>
                </a:lnTo>
                <a:lnTo>
                  <a:pt x="802" y="299"/>
                </a:lnTo>
                <a:lnTo>
                  <a:pt x="802" y="292"/>
                </a:lnTo>
                <a:lnTo>
                  <a:pt x="789" y="280"/>
                </a:lnTo>
                <a:lnTo>
                  <a:pt x="789" y="259"/>
                </a:lnTo>
                <a:lnTo>
                  <a:pt x="789" y="237"/>
                </a:lnTo>
                <a:lnTo>
                  <a:pt x="789" y="215"/>
                </a:lnTo>
                <a:lnTo>
                  <a:pt x="789" y="194"/>
                </a:lnTo>
                <a:lnTo>
                  <a:pt x="789" y="173"/>
                </a:lnTo>
                <a:lnTo>
                  <a:pt x="789" y="152"/>
                </a:lnTo>
                <a:lnTo>
                  <a:pt x="789" y="131"/>
                </a:lnTo>
                <a:lnTo>
                  <a:pt x="789" y="112"/>
                </a:lnTo>
                <a:lnTo>
                  <a:pt x="802" y="106"/>
                </a:lnTo>
                <a:lnTo>
                  <a:pt x="802" y="94"/>
                </a:lnTo>
                <a:lnTo>
                  <a:pt x="804" y="94"/>
                </a:lnTo>
                <a:lnTo>
                  <a:pt x="805" y="92"/>
                </a:lnTo>
                <a:lnTo>
                  <a:pt x="806" y="91"/>
                </a:lnTo>
                <a:lnTo>
                  <a:pt x="807" y="89"/>
                </a:lnTo>
                <a:lnTo>
                  <a:pt x="807" y="86"/>
                </a:lnTo>
                <a:lnTo>
                  <a:pt x="807" y="81"/>
                </a:lnTo>
                <a:lnTo>
                  <a:pt x="814" y="75"/>
                </a:lnTo>
                <a:lnTo>
                  <a:pt x="820" y="69"/>
                </a:lnTo>
                <a:lnTo>
                  <a:pt x="826" y="62"/>
                </a:lnTo>
                <a:lnTo>
                  <a:pt x="833" y="56"/>
                </a:lnTo>
                <a:lnTo>
                  <a:pt x="839" y="50"/>
                </a:lnTo>
                <a:lnTo>
                  <a:pt x="851" y="50"/>
                </a:lnTo>
                <a:lnTo>
                  <a:pt x="851" y="38"/>
                </a:lnTo>
                <a:lnTo>
                  <a:pt x="863" y="38"/>
                </a:lnTo>
                <a:lnTo>
                  <a:pt x="864" y="35"/>
                </a:lnTo>
                <a:lnTo>
                  <a:pt x="864" y="33"/>
                </a:lnTo>
                <a:lnTo>
                  <a:pt x="866" y="32"/>
                </a:lnTo>
                <a:lnTo>
                  <a:pt x="868" y="32"/>
                </a:lnTo>
                <a:lnTo>
                  <a:pt x="872" y="31"/>
                </a:lnTo>
                <a:lnTo>
                  <a:pt x="877" y="31"/>
                </a:lnTo>
                <a:lnTo>
                  <a:pt x="885" y="22"/>
                </a:lnTo>
                <a:lnTo>
                  <a:pt x="894" y="12"/>
                </a:lnTo>
                <a:lnTo>
                  <a:pt x="907" y="12"/>
                </a:lnTo>
                <a:lnTo>
                  <a:pt x="908" y="11"/>
                </a:lnTo>
                <a:lnTo>
                  <a:pt x="910" y="9"/>
                </a:lnTo>
                <a:lnTo>
                  <a:pt x="913" y="8"/>
                </a:lnTo>
                <a:lnTo>
                  <a:pt x="918" y="6"/>
                </a:lnTo>
                <a:lnTo>
                  <a:pt x="926" y="6"/>
                </a:lnTo>
                <a:lnTo>
                  <a:pt x="932" y="6"/>
                </a:lnTo>
                <a:lnTo>
                  <a:pt x="932" y="4"/>
                </a:lnTo>
                <a:lnTo>
                  <a:pt x="936" y="3"/>
                </a:lnTo>
                <a:lnTo>
                  <a:pt x="939" y="2"/>
                </a:lnTo>
                <a:lnTo>
                  <a:pt x="945" y="1"/>
                </a:lnTo>
                <a:lnTo>
                  <a:pt x="959" y="1"/>
                </a:lnTo>
                <a:lnTo>
                  <a:pt x="978" y="0"/>
                </a:lnTo>
                <a:lnTo>
                  <a:pt x="1026" y="2"/>
                </a:lnTo>
                <a:lnTo>
                  <a:pt x="1082" y="5"/>
                </a:lnTo>
                <a:lnTo>
                  <a:pt x="1138" y="10"/>
                </a:lnTo>
                <a:lnTo>
                  <a:pt x="1189" y="14"/>
                </a:lnTo>
                <a:lnTo>
                  <a:pt x="1228" y="18"/>
                </a:lnTo>
                <a:lnTo>
                  <a:pt x="1249" y="19"/>
                </a:lnTo>
                <a:lnTo>
                  <a:pt x="1255" y="23"/>
                </a:lnTo>
                <a:lnTo>
                  <a:pt x="1263" y="28"/>
                </a:lnTo>
                <a:lnTo>
                  <a:pt x="1271" y="32"/>
                </a:lnTo>
                <a:lnTo>
                  <a:pt x="1280" y="37"/>
                </a:lnTo>
                <a:lnTo>
                  <a:pt x="1296" y="44"/>
                </a:lnTo>
                <a:lnTo>
                  <a:pt x="1305" y="50"/>
                </a:lnTo>
                <a:lnTo>
                  <a:pt x="1317" y="50"/>
                </a:lnTo>
                <a:lnTo>
                  <a:pt x="1319" y="52"/>
                </a:lnTo>
                <a:lnTo>
                  <a:pt x="1319" y="53"/>
                </a:lnTo>
                <a:lnTo>
                  <a:pt x="1320" y="54"/>
                </a:lnTo>
                <a:lnTo>
                  <a:pt x="1322" y="56"/>
                </a:lnTo>
                <a:lnTo>
                  <a:pt x="1325" y="56"/>
                </a:lnTo>
                <a:lnTo>
                  <a:pt x="1330" y="56"/>
                </a:lnTo>
                <a:lnTo>
                  <a:pt x="1331" y="60"/>
                </a:lnTo>
                <a:lnTo>
                  <a:pt x="1332" y="63"/>
                </a:lnTo>
                <a:lnTo>
                  <a:pt x="1334" y="66"/>
                </a:lnTo>
                <a:lnTo>
                  <a:pt x="1336" y="68"/>
                </a:lnTo>
                <a:lnTo>
                  <a:pt x="1341" y="71"/>
                </a:lnTo>
                <a:lnTo>
                  <a:pt x="1343" y="75"/>
                </a:lnTo>
                <a:lnTo>
                  <a:pt x="1355" y="75"/>
                </a:lnTo>
                <a:lnTo>
                  <a:pt x="1361" y="81"/>
                </a:lnTo>
                <a:lnTo>
                  <a:pt x="1368" y="87"/>
                </a:lnTo>
                <a:lnTo>
                  <a:pt x="1368" y="90"/>
                </a:lnTo>
                <a:lnTo>
                  <a:pt x="1369" y="92"/>
                </a:lnTo>
                <a:lnTo>
                  <a:pt x="1370" y="94"/>
                </a:lnTo>
                <a:lnTo>
                  <a:pt x="1371" y="94"/>
                </a:lnTo>
                <a:lnTo>
                  <a:pt x="1372" y="94"/>
                </a:lnTo>
                <a:lnTo>
                  <a:pt x="1373" y="95"/>
                </a:lnTo>
                <a:lnTo>
                  <a:pt x="1373" y="96"/>
                </a:lnTo>
                <a:lnTo>
                  <a:pt x="1374" y="99"/>
                </a:lnTo>
                <a:lnTo>
                  <a:pt x="1387" y="99"/>
                </a:lnTo>
                <a:lnTo>
                  <a:pt x="1392" y="106"/>
                </a:lnTo>
                <a:lnTo>
                  <a:pt x="1392" y="109"/>
                </a:lnTo>
                <a:lnTo>
                  <a:pt x="1393" y="111"/>
                </a:lnTo>
                <a:lnTo>
                  <a:pt x="1394" y="111"/>
                </a:lnTo>
                <a:lnTo>
                  <a:pt x="1396" y="112"/>
                </a:lnTo>
                <a:lnTo>
                  <a:pt x="1397" y="112"/>
                </a:lnTo>
                <a:lnTo>
                  <a:pt x="1398" y="112"/>
                </a:lnTo>
                <a:lnTo>
                  <a:pt x="1399" y="115"/>
                </a:lnTo>
                <a:lnTo>
                  <a:pt x="1399" y="118"/>
                </a:lnTo>
                <a:lnTo>
                  <a:pt x="1411" y="118"/>
                </a:lnTo>
                <a:lnTo>
                  <a:pt x="1412" y="120"/>
                </a:lnTo>
                <a:lnTo>
                  <a:pt x="1415" y="121"/>
                </a:lnTo>
                <a:lnTo>
                  <a:pt x="1418" y="123"/>
                </a:lnTo>
                <a:lnTo>
                  <a:pt x="1421" y="124"/>
                </a:lnTo>
                <a:lnTo>
                  <a:pt x="1429" y="125"/>
                </a:lnTo>
                <a:lnTo>
                  <a:pt x="1436" y="125"/>
                </a:lnTo>
                <a:lnTo>
                  <a:pt x="1448" y="134"/>
                </a:lnTo>
                <a:lnTo>
                  <a:pt x="1461" y="143"/>
                </a:lnTo>
                <a:lnTo>
                  <a:pt x="1479" y="143"/>
                </a:lnTo>
                <a:lnTo>
                  <a:pt x="1483" y="146"/>
                </a:lnTo>
                <a:lnTo>
                  <a:pt x="1489" y="149"/>
                </a:lnTo>
                <a:lnTo>
                  <a:pt x="1499" y="155"/>
                </a:lnTo>
                <a:lnTo>
                  <a:pt x="1513" y="159"/>
                </a:lnTo>
                <a:lnTo>
                  <a:pt x="1525" y="165"/>
                </a:lnTo>
                <a:lnTo>
                  <a:pt x="1537" y="171"/>
                </a:lnTo>
                <a:lnTo>
                  <a:pt x="1547" y="175"/>
                </a:lnTo>
                <a:lnTo>
                  <a:pt x="1554" y="181"/>
                </a:lnTo>
                <a:lnTo>
                  <a:pt x="1573" y="181"/>
                </a:lnTo>
                <a:lnTo>
                  <a:pt x="1581" y="186"/>
                </a:lnTo>
                <a:lnTo>
                  <a:pt x="1593" y="192"/>
                </a:lnTo>
                <a:lnTo>
                  <a:pt x="1608" y="198"/>
                </a:lnTo>
                <a:lnTo>
                  <a:pt x="1624" y="205"/>
                </a:lnTo>
                <a:lnTo>
                  <a:pt x="1640" y="212"/>
                </a:lnTo>
                <a:lnTo>
                  <a:pt x="1653" y="219"/>
                </a:lnTo>
                <a:lnTo>
                  <a:pt x="1659" y="222"/>
                </a:lnTo>
                <a:lnTo>
                  <a:pt x="1662" y="225"/>
                </a:lnTo>
                <a:lnTo>
                  <a:pt x="1666" y="227"/>
                </a:lnTo>
                <a:lnTo>
                  <a:pt x="1666" y="230"/>
                </a:lnTo>
                <a:lnTo>
                  <a:pt x="1671" y="231"/>
                </a:lnTo>
                <a:lnTo>
                  <a:pt x="1676" y="234"/>
                </a:lnTo>
                <a:lnTo>
                  <a:pt x="1680" y="239"/>
                </a:lnTo>
                <a:lnTo>
                  <a:pt x="1685" y="243"/>
                </a:lnTo>
                <a:lnTo>
                  <a:pt x="1685" y="255"/>
                </a:lnTo>
                <a:lnTo>
                  <a:pt x="1691" y="261"/>
                </a:lnTo>
                <a:lnTo>
                  <a:pt x="1694" y="262"/>
                </a:lnTo>
                <a:lnTo>
                  <a:pt x="1697" y="264"/>
                </a:lnTo>
                <a:lnTo>
                  <a:pt x="1699" y="268"/>
                </a:lnTo>
                <a:lnTo>
                  <a:pt x="1703" y="271"/>
                </a:lnTo>
                <a:lnTo>
                  <a:pt x="1708" y="280"/>
                </a:lnTo>
                <a:lnTo>
                  <a:pt x="1709" y="287"/>
                </a:lnTo>
                <a:lnTo>
                  <a:pt x="1714" y="287"/>
                </a:lnTo>
                <a:lnTo>
                  <a:pt x="1715" y="287"/>
                </a:lnTo>
                <a:lnTo>
                  <a:pt x="1716" y="288"/>
                </a:lnTo>
                <a:lnTo>
                  <a:pt x="1716" y="289"/>
                </a:lnTo>
                <a:lnTo>
                  <a:pt x="1716" y="290"/>
                </a:lnTo>
                <a:lnTo>
                  <a:pt x="1717" y="291"/>
                </a:lnTo>
                <a:lnTo>
                  <a:pt x="1718" y="292"/>
                </a:lnTo>
                <a:lnTo>
                  <a:pt x="1723" y="292"/>
                </a:lnTo>
                <a:lnTo>
                  <a:pt x="1723" y="304"/>
                </a:lnTo>
                <a:lnTo>
                  <a:pt x="1726" y="306"/>
                </a:lnTo>
                <a:lnTo>
                  <a:pt x="1729" y="307"/>
                </a:lnTo>
                <a:lnTo>
                  <a:pt x="1732" y="309"/>
                </a:lnTo>
                <a:lnTo>
                  <a:pt x="1734" y="311"/>
                </a:lnTo>
                <a:lnTo>
                  <a:pt x="1737" y="316"/>
                </a:lnTo>
                <a:lnTo>
                  <a:pt x="1741" y="317"/>
                </a:lnTo>
                <a:lnTo>
                  <a:pt x="1741" y="330"/>
                </a:lnTo>
                <a:lnTo>
                  <a:pt x="1745" y="331"/>
                </a:lnTo>
                <a:lnTo>
                  <a:pt x="1748" y="336"/>
                </a:lnTo>
                <a:lnTo>
                  <a:pt x="1749" y="338"/>
                </a:lnTo>
                <a:lnTo>
                  <a:pt x="1753" y="340"/>
                </a:lnTo>
                <a:lnTo>
                  <a:pt x="1755" y="341"/>
                </a:lnTo>
                <a:lnTo>
                  <a:pt x="1760" y="342"/>
                </a:lnTo>
                <a:lnTo>
                  <a:pt x="1763" y="351"/>
                </a:lnTo>
                <a:lnTo>
                  <a:pt x="1766" y="361"/>
                </a:lnTo>
                <a:lnTo>
                  <a:pt x="1768" y="361"/>
                </a:lnTo>
                <a:lnTo>
                  <a:pt x="1771" y="362"/>
                </a:lnTo>
                <a:lnTo>
                  <a:pt x="1773" y="365"/>
                </a:lnTo>
                <a:lnTo>
                  <a:pt x="1775" y="368"/>
                </a:lnTo>
                <a:lnTo>
                  <a:pt x="1780" y="374"/>
                </a:lnTo>
                <a:lnTo>
                  <a:pt x="1784" y="379"/>
                </a:lnTo>
                <a:lnTo>
                  <a:pt x="1784" y="398"/>
                </a:lnTo>
                <a:lnTo>
                  <a:pt x="1786" y="399"/>
                </a:lnTo>
                <a:lnTo>
                  <a:pt x="1789" y="402"/>
                </a:lnTo>
                <a:lnTo>
                  <a:pt x="1790" y="406"/>
                </a:lnTo>
                <a:lnTo>
                  <a:pt x="1792" y="410"/>
                </a:lnTo>
                <a:lnTo>
                  <a:pt x="1793" y="415"/>
                </a:lnTo>
                <a:lnTo>
                  <a:pt x="1796" y="419"/>
                </a:lnTo>
                <a:lnTo>
                  <a:pt x="1799" y="422"/>
                </a:lnTo>
                <a:lnTo>
                  <a:pt x="1803" y="423"/>
                </a:lnTo>
                <a:lnTo>
                  <a:pt x="1804" y="433"/>
                </a:lnTo>
                <a:lnTo>
                  <a:pt x="1806" y="442"/>
                </a:lnTo>
                <a:lnTo>
                  <a:pt x="1809" y="451"/>
                </a:lnTo>
                <a:lnTo>
                  <a:pt x="1810" y="461"/>
                </a:lnTo>
                <a:lnTo>
                  <a:pt x="1822" y="466"/>
                </a:lnTo>
                <a:lnTo>
                  <a:pt x="1821" y="492"/>
                </a:lnTo>
                <a:lnTo>
                  <a:pt x="1820" y="520"/>
                </a:lnTo>
                <a:lnTo>
                  <a:pt x="1818" y="549"/>
                </a:lnTo>
                <a:lnTo>
                  <a:pt x="1815" y="581"/>
                </a:lnTo>
                <a:lnTo>
                  <a:pt x="1813" y="614"/>
                </a:lnTo>
                <a:lnTo>
                  <a:pt x="1811" y="646"/>
                </a:lnTo>
                <a:lnTo>
                  <a:pt x="1810" y="678"/>
                </a:lnTo>
                <a:lnTo>
                  <a:pt x="1810" y="710"/>
                </a:lnTo>
                <a:lnTo>
                  <a:pt x="1812" y="710"/>
                </a:lnTo>
                <a:lnTo>
                  <a:pt x="1814" y="711"/>
                </a:lnTo>
                <a:lnTo>
                  <a:pt x="1816" y="713"/>
                </a:lnTo>
                <a:lnTo>
                  <a:pt x="1818" y="716"/>
                </a:lnTo>
                <a:lnTo>
                  <a:pt x="1821" y="722"/>
                </a:lnTo>
                <a:lnTo>
                  <a:pt x="1822" y="727"/>
                </a:lnTo>
                <a:lnTo>
                  <a:pt x="1828" y="734"/>
                </a:lnTo>
                <a:lnTo>
                  <a:pt x="1834" y="741"/>
                </a:lnTo>
                <a:lnTo>
                  <a:pt x="1847" y="746"/>
                </a:lnTo>
                <a:lnTo>
                  <a:pt x="1859" y="753"/>
                </a:lnTo>
                <a:lnTo>
                  <a:pt x="1859" y="756"/>
                </a:lnTo>
                <a:lnTo>
                  <a:pt x="1860" y="759"/>
                </a:lnTo>
                <a:lnTo>
                  <a:pt x="1861" y="759"/>
                </a:lnTo>
                <a:lnTo>
                  <a:pt x="1862" y="759"/>
                </a:lnTo>
                <a:lnTo>
                  <a:pt x="1863" y="759"/>
                </a:lnTo>
                <a:lnTo>
                  <a:pt x="1864" y="760"/>
                </a:lnTo>
                <a:lnTo>
                  <a:pt x="1866" y="762"/>
                </a:lnTo>
                <a:lnTo>
                  <a:pt x="1866" y="765"/>
                </a:lnTo>
                <a:lnTo>
                  <a:pt x="1878" y="765"/>
                </a:lnTo>
                <a:lnTo>
                  <a:pt x="1885" y="778"/>
                </a:lnTo>
                <a:lnTo>
                  <a:pt x="1890" y="790"/>
                </a:lnTo>
                <a:lnTo>
                  <a:pt x="1902" y="802"/>
                </a:lnTo>
                <a:lnTo>
                  <a:pt x="1915" y="814"/>
                </a:lnTo>
                <a:lnTo>
                  <a:pt x="1916" y="826"/>
                </a:lnTo>
                <a:lnTo>
                  <a:pt x="1917" y="837"/>
                </a:lnTo>
                <a:lnTo>
                  <a:pt x="1918" y="848"/>
                </a:lnTo>
                <a:lnTo>
                  <a:pt x="1920" y="858"/>
                </a:lnTo>
                <a:lnTo>
                  <a:pt x="1927" y="879"/>
                </a:lnTo>
                <a:lnTo>
                  <a:pt x="1934" y="899"/>
                </a:lnTo>
                <a:lnTo>
                  <a:pt x="1940" y="922"/>
                </a:lnTo>
                <a:lnTo>
                  <a:pt x="1947" y="944"/>
                </a:lnTo>
                <a:lnTo>
                  <a:pt x="1950" y="956"/>
                </a:lnTo>
                <a:lnTo>
                  <a:pt x="1953" y="970"/>
                </a:lnTo>
                <a:lnTo>
                  <a:pt x="1955" y="982"/>
                </a:lnTo>
                <a:lnTo>
                  <a:pt x="1956" y="996"/>
                </a:lnTo>
                <a:lnTo>
                  <a:pt x="1955" y="1008"/>
                </a:lnTo>
                <a:lnTo>
                  <a:pt x="1953" y="1021"/>
                </a:lnTo>
                <a:lnTo>
                  <a:pt x="1949" y="1037"/>
                </a:lnTo>
                <a:lnTo>
                  <a:pt x="1946" y="1052"/>
                </a:lnTo>
                <a:lnTo>
                  <a:pt x="1941" y="1069"/>
                </a:lnTo>
                <a:lnTo>
                  <a:pt x="1937" y="1083"/>
                </a:lnTo>
                <a:lnTo>
                  <a:pt x="1935" y="1097"/>
                </a:lnTo>
                <a:lnTo>
                  <a:pt x="1934" y="1107"/>
                </a:lnTo>
                <a:lnTo>
                  <a:pt x="1897" y="1133"/>
                </a:lnTo>
                <a:lnTo>
                  <a:pt x="1899" y="1123"/>
                </a:lnTo>
                <a:lnTo>
                  <a:pt x="1902" y="1114"/>
                </a:lnTo>
                <a:lnTo>
                  <a:pt x="1892" y="1117"/>
                </a:lnTo>
                <a:lnTo>
                  <a:pt x="1866" y="1123"/>
                </a:lnTo>
                <a:lnTo>
                  <a:pt x="1828" y="1128"/>
                </a:lnTo>
                <a:lnTo>
                  <a:pt x="1784" y="1135"/>
                </a:lnTo>
                <a:lnTo>
                  <a:pt x="1741" y="1140"/>
                </a:lnTo>
                <a:lnTo>
                  <a:pt x="1704" y="1146"/>
                </a:lnTo>
                <a:lnTo>
                  <a:pt x="1677" y="1149"/>
                </a:lnTo>
                <a:lnTo>
                  <a:pt x="1666" y="1150"/>
                </a:lnTo>
                <a:lnTo>
                  <a:pt x="1666" y="1154"/>
                </a:lnTo>
                <a:lnTo>
                  <a:pt x="1665" y="1157"/>
                </a:lnTo>
                <a:lnTo>
                  <a:pt x="1662" y="1160"/>
                </a:lnTo>
                <a:lnTo>
                  <a:pt x="1660" y="1163"/>
                </a:lnTo>
                <a:lnTo>
                  <a:pt x="1655" y="1168"/>
                </a:lnTo>
                <a:lnTo>
                  <a:pt x="1648" y="1173"/>
                </a:lnTo>
                <a:lnTo>
                  <a:pt x="1641" y="1177"/>
                </a:lnTo>
                <a:lnTo>
                  <a:pt x="1634" y="1183"/>
                </a:lnTo>
                <a:lnTo>
                  <a:pt x="1632" y="1185"/>
                </a:lnTo>
                <a:lnTo>
                  <a:pt x="1630" y="1188"/>
                </a:lnTo>
                <a:lnTo>
                  <a:pt x="1629" y="1191"/>
                </a:lnTo>
                <a:lnTo>
                  <a:pt x="1629" y="1194"/>
                </a:lnTo>
                <a:lnTo>
                  <a:pt x="1617" y="1201"/>
                </a:lnTo>
                <a:lnTo>
                  <a:pt x="1617" y="1213"/>
                </a:lnTo>
                <a:lnTo>
                  <a:pt x="1610" y="1220"/>
                </a:lnTo>
                <a:lnTo>
                  <a:pt x="1604" y="1225"/>
                </a:lnTo>
                <a:lnTo>
                  <a:pt x="1601" y="1226"/>
                </a:lnTo>
                <a:lnTo>
                  <a:pt x="1599" y="1226"/>
                </a:lnTo>
                <a:lnTo>
                  <a:pt x="1598" y="1227"/>
                </a:lnTo>
                <a:lnTo>
                  <a:pt x="1598" y="1229"/>
                </a:lnTo>
                <a:lnTo>
                  <a:pt x="1598" y="1230"/>
                </a:lnTo>
                <a:lnTo>
                  <a:pt x="1597" y="1231"/>
                </a:lnTo>
                <a:lnTo>
                  <a:pt x="1595" y="1232"/>
                </a:lnTo>
                <a:lnTo>
                  <a:pt x="1592" y="1232"/>
                </a:lnTo>
                <a:lnTo>
                  <a:pt x="1590" y="1235"/>
                </a:lnTo>
                <a:lnTo>
                  <a:pt x="1586" y="1240"/>
                </a:lnTo>
                <a:lnTo>
                  <a:pt x="1581" y="1244"/>
                </a:lnTo>
                <a:lnTo>
                  <a:pt x="1575" y="1250"/>
                </a:lnTo>
                <a:lnTo>
                  <a:pt x="1569" y="1254"/>
                </a:lnTo>
                <a:lnTo>
                  <a:pt x="1563" y="1259"/>
                </a:lnTo>
                <a:lnTo>
                  <a:pt x="1557" y="1262"/>
                </a:lnTo>
                <a:lnTo>
                  <a:pt x="1554" y="1263"/>
                </a:lnTo>
                <a:lnTo>
                  <a:pt x="1554" y="1265"/>
                </a:lnTo>
                <a:lnTo>
                  <a:pt x="1552" y="1268"/>
                </a:lnTo>
                <a:lnTo>
                  <a:pt x="1550" y="1270"/>
                </a:lnTo>
                <a:lnTo>
                  <a:pt x="1547" y="1271"/>
                </a:lnTo>
                <a:lnTo>
                  <a:pt x="1541" y="1274"/>
                </a:lnTo>
                <a:lnTo>
                  <a:pt x="1535" y="1275"/>
                </a:lnTo>
                <a:lnTo>
                  <a:pt x="1526" y="1284"/>
                </a:lnTo>
                <a:lnTo>
                  <a:pt x="1517" y="1294"/>
                </a:lnTo>
                <a:lnTo>
                  <a:pt x="1505" y="1294"/>
                </a:lnTo>
                <a:lnTo>
                  <a:pt x="1504" y="1296"/>
                </a:lnTo>
                <a:lnTo>
                  <a:pt x="1503" y="1298"/>
                </a:lnTo>
                <a:lnTo>
                  <a:pt x="1501" y="1299"/>
                </a:lnTo>
                <a:lnTo>
                  <a:pt x="1497" y="1299"/>
                </a:lnTo>
                <a:lnTo>
                  <a:pt x="1492" y="1300"/>
                </a:lnTo>
                <a:lnTo>
                  <a:pt x="1486" y="1300"/>
                </a:lnTo>
                <a:lnTo>
                  <a:pt x="1485" y="1302"/>
                </a:lnTo>
                <a:lnTo>
                  <a:pt x="1484" y="1303"/>
                </a:lnTo>
                <a:lnTo>
                  <a:pt x="1482" y="1304"/>
                </a:lnTo>
                <a:lnTo>
                  <a:pt x="1479" y="1306"/>
                </a:lnTo>
                <a:lnTo>
                  <a:pt x="1473" y="1307"/>
                </a:lnTo>
                <a:lnTo>
                  <a:pt x="1467" y="1307"/>
                </a:lnTo>
                <a:lnTo>
                  <a:pt x="1467" y="1309"/>
                </a:lnTo>
                <a:lnTo>
                  <a:pt x="1465" y="1311"/>
                </a:lnTo>
                <a:lnTo>
                  <a:pt x="1463" y="1312"/>
                </a:lnTo>
                <a:lnTo>
                  <a:pt x="1459" y="1314"/>
                </a:lnTo>
                <a:lnTo>
                  <a:pt x="1451" y="1318"/>
                </a:lnTo>
                <a:lnTo>
                  <a:pt x="1442" y="1321"/>
                </a:lnTo>
                <a:lnTo>
                  <a:pt x="1434" y="1323"/>
                </a:lnTo>
                <a:lnTo>
                  <a:pt x="1425" y="1327"/>
                </a:lnTo>
                <a:lnTo>
                  <a:pt x="1419" y="1329"/>
                </a:lnTo>
                <a:lnTo>
                  <a:pt x="1418" y="1331"/>
                </a:lnTo>
                <a:lnTo>
                  <a:pt x="1387" y="1331"/>
                </a:lnTo>
                <a:lnTo>
                  <a:pt x="1386" y="1333"/>
                </a:lnTo>
                <a:lnTo>
                  <a:pt x="1384" y="1335"/>
                </a:lnTo>
                <a:lnTo>
                  <a:pt x="1382" y="1336"/>
                </a:lnTo>
                <a:lnTo>
                  <a:pt x="1379" y="1337"/>
                </a:lnTo>
                <a:lnTo>
                  <a:pt x="1373" y="1338"/>
                </a:lnTo>
                <a:lnTo>
                  <a:pt x="1368" y="1338"/>
                </a:lnTo>
                <a:lnTo>
                  <a:pt x="1365" y="1340"/>
                </a:lnTo>
                <a:lnTo>
                  <a:pt x="1362" y="1342"/>
                </a:lnTo>
                <a:lnTo>
                  <a:pt x="1355" y="1345"/>
                </a:lnTo>
                <a:lnTo>
                  <a:pt x="1349" y="1346"/>
                </a:lnTo>
                <a:lnTo>
                  <a:pt x="1333" y="1349"/>
                </a:lnTo>
                <a:lnTo>
                  <a:pt x="1324" y="1350"/>
                </a:lnTo>
                <a:lnTo>
                  <a:pt x="1324" y="1352"/>
                </a:lnTo>
                <a:lnTo>
                  <a:pt x="1323" y="1354"/>
                </a:lnTo>
                <a:lnTo>
                  <a:pt x="1322" y="1355"/>
                </a:lnTo>
                <a:lnTo>
                  <a:pt x="1320" y="1356"/>
                </a:lnTo>
                <a:lnTo>
                  <a:pt x="1316" y="1356"/>
                </a:lnTo>
                <a:lnTo>
                  <a:pt x="1312" y="1356"/>
                </a:lnTo>
                <a:lnTo>
                  <a:pt x="1312" y="1368"/>
                </a:lnTo>
                <a:lnTo>
                  <a:pt x="1310" y="1369"/>
                </a:lnTo>
                <a:lnTo>
                  <a:pt x="1309" y="1369"/>
                </a:lnTo>
                <a:lnTo>
                  <a:pt x="1307" y="1371"/>
                </a:lnTo>
                <a:lnTo>
                  <a:pt x="1306" y="1373"/>
                </a:lnTo>
                <a:lnTo>
                  <a:pt x="1305" y="1377"/>
                </a:lnTo>
                <a:lnTo>
                  <a:pt x="1305" y="1381"/>
                </a:lnTo>
                <a:lnTo>
                  <a:pt x="1293" y="1381"/>
                </a:lnTo>
                <a:lnTo>
                  <a:pt x="1293" y="1394"/>
                </a:lnTo>
                <a:lnTo>
                  <a:pt x="1291" y="1394"/>
                </a:lnTo>
                <a:lnTo>
                  <a:pt x="1290" y="1395"/>
                </a:lnTo>
                <a:lnTo>
                  <a:pt x="1288" y="1396"/>
                </a:lnTo>
                <a:lnTo>
                  <a:pt x="1287" y="1397"/>
                </a:lnTo>
                <a:lnTo>
                  <a:pt x="1287" y="1402"/>
                </a:lnTo>
                <a:lnTo>
                  <a:pt x="1286" y="1406"/>
                </a:lnTo>
                <a:lnTo>
                  <a:pt x="1285" y="1406"/>
                </a:lnTo>
                <a:lnTo>
                  <a:pt x="1283" y="1407"/>
                </a:lnTo>
                <a:lnTo>
                  <a:pt x="1282" y="1408"/>
                </a:lnTo>
                <a:lnTo>
                  <a:pt x="1282" y="1409"/>
                </a:lnTo>
                <a:lnTo>
                  <a:pt x="1281" y="1414"/>
                </a:lnTo>
                <a:lnTo>
                  <a:pt x="1281" y="1418"/>
                </a:lnTo>
                <a:lnTo>
                  <a:pt x="1278" y="1419"/>
                </a:lnTo>
                <a:lnTo>
                  <a:pt x="1276" y="1423"/>
                </a:lnTo>
                <a:lnTo>
                  <a:pt x="1274" y="1426"/>
                </a:lnTo>
                <a:lnTo>
                  <a:pt x="1272" y="1432"/>
                </a:lnTo>
                <a:lnTo>
                  <a:pt x="1269" y="1442"/>
                </a:lnTo>
                <a:lnTo>
                  <a:pt x="1268" y="1450"/>
                </a:lnTo>
                <a:lnTo>
                  <a:pt x="1266" y="1451"/>
                </a:lnTo>
                <a:lnTo>
                  <a:pt x="1265" y="1455"/>
                </a:lnTo>
                <a:lnTo>
                  <a:pt x="1264" y="1462"/>
                </a:lnTo>
                <a:lnTo>
                  <a:pt x="1263" y="1469"/>
                </a:lnTo>
                <a:lnTo>
                  <a:pt x="1262" y="1484"/>
                </a:lnTo>
                <a:lnTo>
                  <a:pt x="1262" y="1493"/>
                </a:lnTo>
                <a:lnTo>
                  <a:pt x="1259" y="1494"/>
                </a:lnTo>
                <a:lnTo>
                  <a:pt x="1258" y="1499"/>
                </a:lnTo>
                <a:lnTo>
                  <a:pt x="1257" y="1505"/>
                </a:lnTo>
                <a:lnTo>
                  <a:pt x="1256" y="1512"/>
                </a:lnTo>
                <a:lnTo>
                  <a:pt x="1256" y="1528"/>
                </a:lnTo>
                <a:lnTo>
                  <a:pt x="1256" y="1537"/>
                </a:lnTo>
                <a:lnTo>
                  <a:pt x="1254" y="1539"/>
                </a:lnTo>
                <a:lnTo>
                  <a:pt x="1252" y="1544"/>
                </a:lnTo>
                <a:lnTo>
                  <a:pt x="1249" y="1553"/>
                </a:lnTo>
                <a:lnTo>
                  <a:pt x="1247" y="1563"/>
                </a:lnTo>
                <a:lnTo>
                  <a:pt x="1244" y="1583"/>
                </a:lnTo>
                <a:lnTo>
                  <a:pt x="1243" y="1599"/>
                </a:lnTo>
                <a:lnTo>
                  <a:pt x="1248" y="1601"/>
                </a:lnTo>
                <a:lnTo>
                  <a:pt x="1255" y="1606"/>
                </a:lnTo>
                <a:lnTo>
                  <a:pt x="1259" y="1611"/>
                </a:lnTo>
                <a:lnTo>
                  <a:pt x="1262" y="1617"/>
                </a:lnTo>
                <a:lnTo>
                  <a:pt x="1268" y="1624"/>
                </a:lnTo>
                <a:lnTo>
                  <a:pt x="1276" y="1625"/>
                </a:lnTo>
                <a:lnTo>
                  <a:pt x="1284" y="1626"/>
                </a:lnTo>
                <a:lnTo>
                  <a:pt x="1292" y="1629"/>
                </a:lnTo>
                <a:lnTo>
                  <a:pt x="1298" y="1634"/>
                </a:lnTo>
                <a:lnTo>
                  <a:pt x="1306" y="1638"/>
                </a:lnTo>
                <a:lnTo>
                  <a:pt x="1313" y="1645"/>
                </a:lnTo>
                <a:lnTo>
                  <a:pt x="1320" y="1652"/>
                </a:lnTo>
                <a:lnTo>
                  <a:pt x="1326" y="1658"/>
                </a:lnTo>
                <a:lnTo>
                  <a:pt x="1340" y="1676"/>
                </a:lnTo>
                <a:lnTo>
                  <a:pt x="1352" y="1695"/>
                </a:lnTo>
                <a:lnTo>
                  <a:pt x="1363" y="1715"/>
                </a:lnTo>
                <a:lnTo>
                  <a:pt x="1374" y="1735"/>
                </a:lnTo>
                <a:lnTo>
                  <a:pt x="1396" y="1777"/>
                </a:lnTo>
                <a:lnTo>
                  <a:pt x="1415" y="1812"/>
                </a:lnTo>
                <a:lnTo>
                  <a:pt x="1424" y="1827"/>
                </a:lnTo>
                <a:lnTo>
                  <a:pt x="1431" y="1838"/>
                </a:lnTo>
                <a:lnTo>
                  <a:pt x="1436" y="1842"/>
                </a:lnTo>
                <a:lnTo>
                  <a:pt x="1440" y="1845"/>
                </a:lnTo>
                <a:lnTo>
                  <a:pt x="1445" y="1847"/>
                </a:lnTo>
                <a:lnTo>
                  <a:pt x="1448" y="1848"/>
                </a:lnTo>
                <a:lnTo>
                  <a:pt x="1448" y="1866"/>
                </a:lnTo>
                <a:lnTo>
                  <a:pt x="1450" y="1868"/>
                </a:lnTo>
                <a:lnTo>
                  <a:pt x="1453" y="1873"/>
                </a:lnTo>
                <a:lnTo>
                  <a:pt x="1454" y="1878"/>
                </a:lnTo>
                <a:lnTo>
                  <a:pt x="1454" y="1886"/>
                </a:lnTo>
                <a:lnTo>
                  <a:pt x="1455" y="1900"/>
                </a:lnTo>
                <a:lnTo>
                  <a:pt x="1455" y="1909"/>
                </a:lnTo>
                <a:lnTo>
                  <a:pt x="1456" y="1910"/>
                </a:lnTo>
                <a:lnTo>
                  <a:pt x="1457" y="1912"/>
                </a:lnTo>
                <a:lnTo>
                  <a:pt x="1458" y="1914"/>
                </a:lnTo>
                <a:lnTo>
                  <a:pt x="1459" y="1917"/>
                </a:lnTo>
                <a:lnTo>
                  <a:pt x="1459" y="1926"/>
                </a:lnTo>
                <a:lnTo>
                  <a:pt x="1459" y="1937"/>
                </a:lnTo>
                <a:lnTo>
                  <a:pt x="1455" y="1965"/>
                </a:lnTo>
                <a:lnTo>
                  <a:pt x="1449" y="1996"/>
                </a:lnTo>
                <a:lnTo>
                  <a:pt x="1442" y="2029"/>
                </a:lnTo>
                <a:lnTo>
                  <a:pt x="1437" y="2057"/>
                </a:lnTo>
                <a:lnTo>
                  <a:pt x="1431" y="2077"/>
                </a:lnTo>
                <a:lnTo>
                  <a:pt x="1430" y="2083"/>
                </a:lnTo>
                <a:lnTo>
                  <a:pt x="1418" y="2090"/>
                </a:lnTo>
                <a:lnTo>
                  <a:pt x="1411" y="2102"/>
                </a:lnTo>
                <a:lnTo>
                  <a:pt x="1410" y="2105"/>
                </a:lnTo>
                <a:lnTo>
                  <a:pt x="1409" y="2108"/>
                </a:lnTo>
                <a:lnTo>
                  <a:pt x="1407" y="2111"/>
                </a:lnTo>
                <a:lnTo>
                  <a:pt x="1403" y="2115"/>
                </a:lnTo>
                <a:lnTo>
                  <a:pt x="1396" y="2123"/>
                </a:lnTo>
                <a:lnTo>
                  <a:pt x="1386" y="2130"/>
                </a:lnTo>
                <a:lnTo>
                  <a:pt x="1367" y="2144"/>
                </a:lnTo>
                <a:lnTo>
                  <a:pt x="1355" y="2153"/>
                </a:lnTo>
                <a:lnTo>
                  <a:pt x="1344" y="2154"/>
                </a:lnTo>
                <a:lnTo>
                  <a:pt x="1331" y="2157"/>
                </a:lnTo>
                <a:lnTo>
                  <a:pt x="1325" y="2159"/>
                </a:lnTo>
                <a:lnTo>
                  <a:pt x="1320" y="2163"/>
                </a:lnTo>
                <a:lnTo>
                  <a:pt x="1315" y="2167"/>
                </a:lnTo>
                <a:lnTo>
                  <a:pt x="1312" y="2172"/>
                </a:lnTo>
                <a:lnTo>
                  <a:pt x="1302" y="2172"/>
                </a:lnTo>
                <a:lnTo>
                  <a:pt x="1291" y="2173"/>
                </a:lnTo>
                <a:lnTo>
                  <a:pt x="1285" y="2174"/>
                </a:lnTo>
                <a:lnTo>
                  <a:pt x="1281" y="2176"/>
                </a:lnTo>
                <a:lnTo>
                  <a:pt x="1277" y="2179"/>
                </a:lnTo>
                <a:lnTo>
                  <a:pt x="1274" y="2184"/>
                </a:lnTo>
                <a:lnTo>
                  <a:pt x="1256" y="2184"/>
                </a:lnTo>
                <a:lnTo>
                  <a:pt x="1249" y="2188"/>
                </a:lnTo>
                <a:lnTo>
                  <a:pt x="1238" y="2192"/>
                </a:lnTo>
                <a:lnTo>
                  <a:pt x="1226" y="2195"/>
                </a:lnTo>
                <a:lnTo>
                  <a:pt x="1213" y="2196"/>
                </a:lnTo>
                <a:lnTo>
                  <a:pt x="1205" y="2198"/>
                </a:lnTo>
                <a:lnTo>
                  <a:pt x="1189" y="2202"/>
                </a:lnTo>
                <a:lnTo>
                  <a:pt x="1170" y="2206"/>
                </a:lnTo>
                <a:lnTo>
                  <a:pt x="1156" y="2208"/>
                </a:lnTo>
                <a:lnTo>
                  <a:pt x="1150" y="2221"/>
                </a:lnTo>
                <a:lnTo>
                  <a:pt x="1138" y="2221"/>
                </a:lnTo>
                <a:lnTo>
                  <a:pt x="1137" y="2223"/>
                </a:lnTo>
                <a:lnTo>
                  <a:pt x="1137" y="2224"/>
                </a:lnTo>
                <a:lnTo>
                  <a:pt x="1136" y="2225"/>
                </a:lnTo>
                <a:lnTo>
                  <a:pt x="1133" y="2226"/>
                </a:lnTo>
                <a:lnTo>
                  <a:pt x="1130" y="2227"/>
                </a:lnTo>
                <a:lnTo>
                  <a:pt x="1125" y="2227"/>
                </a:lnTo>
                <a:lnTo>
                  <a:pt x="1120" y="2232"/>
                </a:lnTo>
                <a:lnTo>
                  <a:pt x="1117" y="2236"/>
                </a:lnTo>
                <a:lnTo>
                  <a:pt x="1113" y="2241"/>
                </a:lnTo>
                <a:lnTo>
                  <a:pt x="1112" y="2245"/>
                </a:lnTo>
                <a:lnTo>
                  <a:pt x="1100" y="2245"/>
                </a:lnTo>
                <a:lnTo>
                  <a:pt x="1098" y="2251"/>
                </a:lnTo>
                <a:lnTo>
                  <a:pt x="1091" y="2255"/>
                </a:lnTo>
                <a:lnTo>
                  <a:pt x="1088" y="2259"/>
                </a:lnTo>
                <a:lnTo>
                  <a:pt x="1084" y="2262"/>
                </a:lnTo>
                <a:lnTo>
                  <a:pt x="1082" y="2266"/>
                </a:lnTo>
                <a:lnTo>
                  <a:pt x="1082" y="2271"/>
                </a:lnTo>
                <a:lnTo>
                  <a:pt x="1077" y="2271"/>
                </a:lnTo>
                <a:lnTo>
                  <a:pt x="1076" y="2272"/>
                </a:lnTo>
                <a:lnTo>
                  <a:pt x="1075" y="2272"/>
                </a:lnTo>
                <a:lnTo>
                  <a:pt x="1075" y="2273"/>
                </a:lnTo>
                <a:lnTo>
                  <a:pt x="1075" y="2275"/>
                </a:lnTo>
                <a:lnTo>
                  <a:pt x="1074" y="2275"/>
                </a:lnTo>
                <a:lnTo>
                  <a:pt x="1073" y="2277"/>
                </a:lnTo>
                <a:lnTo>
                  <a:pt x="1069" y="2277"/>
                </a:lnTo>
                <a:lnTo>
                  <a:pt x="1066" y="2287"/>
                </a:lnTo>
                <a:lnTo>
                  <a:pt x="1063" y="2302"/>
                </a:lnTo>
                <a:lnTo>
                  <a:pt x="1044" y="2314"/>
                </a:lnTo>
                <a:lnTo>
                  <a:pt x="1044" y="2323"/>
                </a:lnTo>
                <a:lnTo>
                  <a:pt x="1044" y="2332"/>
                </a:lnTo>
                <a:lnTo>
                  <a:pt x="1042" y="2333"/>
                </a:lnTo>
                <a:lnTo>
                  <a:pt x="1041" y="2335"/>
                </a:lnTo>
                <a:lnTo>
                  <a:pt x="1039" y="2337"/>
                </a:lnTo>
                <a:lnTo>
                  <a:pt x="1038" y="2340"/>
                </a:lnTo>
                <a:lnTo>
                  <a:pt x="1038" y="2346"/>
                </a:lnTo>
                <a:lnTo>
                  <a:pt x="1038" y="2351"/>
                </a:lnTo>
                <a:lnTo>
                  <a:pt x="1035" y="2352"/>
                </a:lnTo>
                <a:lnTo>
                  <a:pt x="1033" y="2357"/>
                </a:lnTo>
                <a:lnTo>
                  <a:pt x="1032" y="2361"/>
                </a:lnTo>
                <a:lnTo>
                  <a:pt x="1029" y="2368"/>
                </a:lnTo>
                <a:lnTo>
                  <a:pt x="1026" y="2380"/>
                </a:lnTo>
                <a:lnTo>
                  <a:pt x="1025" y="2389"/>
                </a:lnTo>
                <a:lnTo>
                  <a:pt x="1024" y="2389"/>
                </a:lnTo>
                <a:lnTo>
                  <a:pt x="1022" y="2391"/>
                </a:lnTo>
                <a:lnTo>
                  <a:pt x="1021" y="2395"/>
                </a:lnTo>
                <a:lnTo>
                  <a:pt x="1019" y="2399"/>
                </a:lnTo>
                <a:lnTo>
                  <a:pt x="1019" y="2407"/>
                </a:lnTo>
                <a:lnTo>
                  <a:pt x="1019" y="2414"/>
                </a:lnTo>
                <a:lnTo>
                  <a:pt x="1000" y="2532"/>
                </a:lnTo>
                <a:lnTo>
                  <a:pt x="998" y="2533"/>
                </a:lnTo>
                <a:lnTo>
                  <a:pt x="996" y="2537"/>
                </a:lnTo>
                <a:lnTo>
                  <a:pt x="994" y="2542"/>
                </a:lnTo>
                <a:lnTo>
                  <a:pt x="991" y="2548"/>
                </a:lnTo>
                <a:lnTo>
                  <a:pt x="989" y="2561"/>
                </a:lnTo>
                <a:lnTo>
                  <a:pt x="988" y="2569"/>
                </a:lnTo>
                <a:lnTo>
                  <a:pt x="986" y="2570"/>
                </a:lnTo>
                <a:lnTo>
                  <a:pt x="985" y="2570"/>
                </a:lnTo>
                <a:lnTo>
                  <a:pt x="984" y="2571"/>
                </a:lnTo>
                <a:lnTo>
                  <a:pt x="983" y="2573"/>
                </a:lnTo>
                <a:lnTo>
                  <a:pt x="981" y="2577"/>
                </a:lnTo>
                <a:lnTo>
                  <a:pt x="981" y="2581"/>
                </a:lnTo>
                <a:lnTo>
                  <a:pt x="980" y="2582"/>
                </a:lnTo>
                <a:lnTo>
                  <a:pt x="978" y="2582"/>
                </a:lnTo>
                <a:lnTo>
                  <a:pt x="977" y="2583"/>
                </a:lnTo>
                <a:lnTo>
                  <a:pt x="976" y="2586"/>
                </a:lnTo>
                <a:lnTo>
                  <a:pt x="976" y="2589"/>
                </a:lnTo>
                <a:lnTo>
                  <a:pt x="976" y="2595"/>
                </a:lnTo>
                <a:lnTo>
                  <a:pt x="973" y="2595"/>
                </a:lnTo>
                <a:lnTo>
                  <a:pt x="970" y="2596"/>
                </a:lnTo>
                <a:lnTo>
                  <a:pt x="967" y="2599"/>
                </a:lnTo>
                <a:lnTo>
                  <a:pt x="964" y="2602"/>
                </a:lnTo>
                <a:lnTo>
                  <a:pt x="961" y="2606"/>
                </a:lnTo>
                <a:lnTo>
                  <a:pt x="959" y="2610"/>
                </a:lnTo>
                <a:lnTo>
                  <a:pt x="958" y="2615"/>
                </a:lnTo>
                <a:lnTo>
                  <a:pt x="957" y="2619"/>
                </a:lnTo>
                <a:lnTo>
                  <a:pt x="950" y="2620"/>
                </a:lnTo>
                <a:lnTo>
                  <a:pt x="942" y="2623"/>
                </a:lnTo>
                <a:lnTo>
                  <a:pt x="938" y="2625"/>
                </a:lnTo>
                <a:lnTo>
                  <a:pt x="935" y="2627"/>
                </a:lnTo>
                <a:lnTo>
                  <a:pt x="932" y="2629"/>
                </a:lnTo>
                <a:lnTo>
                  <a:pt x="932" y="2631"/>
                </a:lnTo>
                <a:lnTo>
                  <a:pt x="922" y="2633"/>
                </a:lnTo>
                <a:lnTo>
                  <a:pt x="910" y="2635"/>
                </a:lnTo>
                <a:lnTo>
                  <a:pt x="899" y="2637"/>
                </a:lnTo>
                <a:lnTo>
                  <a:pt x="889" y="2638"/>
                </a:lnTo>
                <a:lnTo>
                  <a:pt x="882" y="2650"/>
                </a:lnTo>
                <a:lnTo>
                  <a:pt x="863" y="2652"/>
                </a:lnTo>
                <a:lnTo>
                  <a:pt x="845" y="2653"/>
                </a:lnTo>
                <a:lnTo>
                  <a:pt x="826" y="2655"/>
                </a:lnTo>
                <a:lnTo>
                  <a:pt x="807" y="2656"/>
                </a:lnTo>
                <a:lnTo>
                  <a:pt x="802" y="2650"/>
                </a:lnTo>
                <a:lnTo>
                  <a:pt x="799" y="2647"/>
                </a:lnTo>
                <a:lnTo>
                  <a:pt x="796" y="2644"/>
                </a:lnTo>
                <a:lnTo>
                  <a:pt x="792" y="2639"/>
                </a:lnTo>
                <a:lnTo>
                  <a:pt x="785" y="2635"/>
                </a:lnTo>
                <a:lnTo>
                  <a:pt x="773" y="2628"/>
                </a:lnTo>
                <a:lnTo>
                  <a:pt x="764" y="2625"/>
                </a:lnTo>
                <a:lnTo>
                  <a:pt x="758" y="2619"/>
                </a:lnTo>
                <a:lnTo>
                  <a:pt x="757" y="2615"/>
                </a:lnTo>
                <a:lnTo>
                  <a:pt x="754" y="2610"/>
                </a:lnTo>
                <a:lnTo>
                  <a:pt x="750" y="2608"/>
                </a:lnTo>
                <a:lnTo>
                  <a:pt x="746" y="2607"/>
                </a:lnTo>
                <a:lnTo>
                  <a:pt x="745" y="2602"/>
                </a:lnTo>
                <a:lnTo>
                  <a:pt x="741" y="2597"/>
                </a:lnTo>
                <a:lnTo>
                  <a:pt x="737" y="2592"/>
                </a:lnTo>
                <a:lnTo>
                  <a:pt x="733" y="2588"/>
                </a:lnTo>
                <a:lnTo>
                  <a:pt x="733" y="2563"/>
                </a:lnTo>
                <a:lnTo>
                  <a:pt x="731" y="2559"/>
                </a:lnTo>
                <a:lnTo>
                  <a:pt x="729" y="2548"/>
                </a:lnTo>
                <a:lnTo>
                  <a:pt x="728" y="2531"/>
                </a:lnTo>
                <a:lnTo>
                  <a:pt x="728" y="2512"/>
                </a:lnTo>
                <a:lnTo>
                  <a:pt x="727" y="2474"/>
                </a:lnTo>
                <a:lnTo>
                  <a:pt x="727" y="2451"/>
                </a:lnTo>
                <a:lnTo>
                  <a:pt x="725" y="2451"/>
                </a:lnTo>
                <a:lnTo>
                  <a:pt x="722" y="2450"/>
                </a:lnTo>
                <a:lnTo>
                  <a:pt x="720" y="2447"/>
                </a:lnTo>
                <a:lnTo>
                  <a:pt x="718" y="2444"/>
                </a:lnTo>
                <a:lnTo>
                  <a:pt x="716" y="2438"/>
                </a:lnTo>
                <a:lnTo>
                  <a:pt x="715" y="2433"/>
                </a:lnTo>
                <a:lnTo>
                  <a:pt x="699" y="2419"/>
                </a:lnTo>
                <a:lnTo>
                  <a:pt x="683" y="2407"/>
                </a:lnTo>
                <a:lnTo>
                  <a:pt x="682" y="2404"/>
                </a:lnTo>
                <a:lnTo>
                  <a:pt x="681" y="2400"/>
                </a:lnTo>
                <a:lnTo>
                  <a:pt x="679" y="2398"/>
                </a:lnTo>
                <a:lnTo>
                  <a:pt x="677" y="2396"/>
                </a:lnTo>
                <a:lnTo>
                  <a:pt x="672" y="2393"/>
                </a:lnTo>
                <a:lnTo>
                  <a:pt x="671" y="2389"/>
                </a:lnTo>
                <a:lnTo>
                  <a:pt x="659" y="2388"/>
                </a:lnTo>
                <a:lnTo>
                  <a:pt x="650" y="2386"/>
                </a:lnTo>
                <a:lnTo>
                  <a:pt x="637" y="2384"/>
                </a:lnTo>
                <a:lnTo>
                  <a:pt x="615" y="2383"/>
                </a:lnTo>
                <a:lnTo>
                  <a:pt x="609" y="2402"/>
                </a:lnTo>
                <a:lnTo>
                  <a:pt x="605" y="2402"/>
                </a:lnTo>
                <a:lnTo>
                  <a:pt x="603" y="2403"/>
                </a:lnTo>
                <a:lnTo>
                  <a:pt x="602" y="2404"/>
                </a:lnTo>
                <a:lnTo>
                  <a:pt x="602" y="2405"/>
                </a:lnTo>
                <a:lnTo>
                  <a:pt x="602" y="2406"/>
                </a:lnTo>
                <a:lnTo>
                  <a:pt x="602" y="2406"/>
                </a:lnTo>
                <a:lnTo>
                  <a:pt x="600" y="2407"/>
                </a:lnTo>
                <a:lnTo>
                  <a:pt x="596" y="2407"/>
                </a:lnTo>
                <a:lnTo>
                  <a:pt x="595" y="2409"/>
                </a:lnTo>
                <a:lnTo>
                  <a:pt x="594" y="2412"/>
                </a:lnTo>
                <a:lnTo>
                  <a:pt x="592" y="2414"/>
                </a:lnTo>
                <a:lnTo>
                  <a:pt x="589" y="2416"/>
                </a:lnTo>
                <a:lnTo>
                  <a:pt x="581" y="2419"/>
                </a:lnTo>
                <a:lnTo>
                  <a:pt x="571" y="2423"/>
                </a:lnTo>
                <a:lnTo>
                  <a:pt x="562" y="2426"/>
                </a:lnTo>
                <a:lnTo>
                  <a:pt x="554" y="2431"/>
                </a:lnTo>
                <a:lnTo>
                  <a:pt x="551" y="2432"/>
                </a:lnTo>
                <a:lnTo>
                  <a:pt x="548" y="2434"/>
                </a:lnTo>
                <a:lnTo>
                  <a:pt x="547" y="2436"/>
                </a:lnTo>
                <a:lnTo>
                  <a:pt x="546" y="2438"/>
                </a:lnTo>
                <a:lnTo>
                  <a:pt x="534" y="2438"/>
                </a:lnTo>
                <a:lnTo>
                  <a:pt x="533" y="2445"/>
                </a:lnTo>
                <a:lnTo>
                  <a:pt x="530" y="2451"/>
                </a:lnTo>
                <a:lnTo>
                  <a:pt x="527" y="2455"/>
                </a:lnTo>
                <a:lnTo>
                  <a:pt x="523" y="2460"/>
                </a:lnTo>
                <a:lnTo>
                  <a:pt x="517" y="2462"/>
                </a:lnTo>
                <a:lnTo>
                  <a:pt x="510" y="2465"/>
                </a:lnTo>
                <a:lnTo>
                  <a:pt x="504" y="2466"/>
                </a:lnTo>
                <a:lnTo>
                  <a:pt x="497" y="2468"/>
                </a:lnTo>
                <a:lnTo>
                  <a:pt x="466" y="2470"/>
                </a:lnTo>
                <a:lnTo>
                  <a:pt x="440" y="2470"/>
                </a:lnTo>
                <a:lnTo>
                  <a:pt x="440" y="2467"/>
                </a:lnTo>
                <a:lnTo>
                  <a:pt x="439" y="2466"/>
                </a:lnTo>
                <a:lnTo>
                  <a:pt x="438" y="2465"/>
                </a:lnTo>
                <a:lnTo>
                  <a:pt x="437" y="2464"/>
                </a:lnTo>
                <a:lnTo>
                  <a:pt x="432" y="2464"/>
                </a:lnTo>
                <a:lnTo>
                  <a:pt x="428" y="2463"/>
                </a:lnTo>
                <a:lnTo>
                  <a:pt x="427" y="2458"/>
                </a:lnTo>
                <a:lnTo>
                  <a:pt x="424" y="2455"/>
                </a:lnTo>
                <a:lnTo>
                  <a:pt x="420" y="2452"/>
                </a:lnTo>
                <a:lnTo>
                  <a:pt x="415" y="2451"/>
                </a:lnTo>
                <a:lnTo>
                  <a:pt x="414" y="2447"/>
                </a:lnTo>
                <a:lnTo>
                  <a:pt x="412" y="2443"/>
                </a:lnTo>
                <a:lnTo>
                  <a:pt x="408" y="2438"/>
                </a:lnTo>
                <a:lnTo>
                  <a:pt x="403" y="2433"/>
                </a:lnTo>
                <a:lnTo>
                  <a:pt x="390" y="2422"/>
                </a:lnTo>
                <a:lnTo>
                  <a:pt x="375" y="2409"/>
                </a:lnTo>
                <a:lnTo>
                  <a:pt x="361" y="2397"/>
                </a:lnTo>
                <a:lnTo>
                  <a:pt x="347" y="2386"/>
                </a:lnTo>
                <a:lnTo>
                  <a:pt x="342" y="2379"/>
                </a:lnTo>
                <a:lnTo>
                  <a:pt x="338" y="2374"/>
                </a:lnTo>
                <a:lnTo>
                  <a:pt x="335" y="2369"/>
                </a:lnTo>
                <a:lnTo>
                  <a:pt x="335" y="2364"/>
                </a:lnTo>
                <a:lnTo>
                  <a:pt x="325" y="2361"/>
                </a:lnTo>
                <a:lnTo>
                  <a:pt x="316" y="2358"/>
                </a:lnTo>
                <a:lnTo>
                  <a:pt x="309" y="2346"/>
                </a:lnTo>
                <a:lnTo>
                  <a:pt x="285" y="2345"/>
                </a:lnTo>
                <a:lnTo>
                  <a:pt x="256" y="2342"/>
                </a:lnTo>
                <a:lnTo>
                  <a:pt x="227" y="2340"/>
                </a:lnTo>
                <a:lnTo>
                  <a:pt x="198" y="2339"/>
                </a:lnTo>
                <a:lnTo>
                  <a:pt x="194" y="2341"/>
                </a:lnTo>
                <a:lnTo>
                  <a:pt x="186" y="2342"/>
                </a:lnTo>
                <a:lnTo>
                  <a:pt x="172" y="2343"/>
                </a:lnTo>
                <a:lnTo>
                  <a:pt x="158" y="2345"/>
                </a:lnTo>
                <a:lnTo>
                  <a:pt x="130" y="2345"/>
                </a:lnTo>
                <a:lnTo>
                  <a:pt x="117" y="2346"/>
                </a:lnTo>
                <a:lnTo>
                  <a:pt x="104" y="2332"/>
                </a:lnTo>
                <a:lnTo>
                  <a:pt x="92" y="2332"/>
                </a:lnTo>
                <a:lnTo>
                  <a:pt x="78" y="2331"/>
                </a:lnTo>
                <a:lnTo>
                  <a:pt x="65" y="2329"/>
                </a:lnTo>
                <a:lnTo>
                  <a:pt x="53" y="2327"/>
                </a:lnTo>
                <a:lnTo>
                  <a:pt x="39" y="2323"/>
                </a:lnTo>
                <a:lnTo>
                  <a:pt x="26" y="2320"/>
                </a:lnTo>
                <a:lnTo>
                  <a:pt x="14" y="2316"/>
                </a:lnTo>
                <a:lnTo>
                  <a:pt x="0" y="2310"/>
                </a:lnTo>
                <a:lnTo>
                  <a:pt x="9" y="2311"/>
                </a:lnTo>
                <a:lnTo>
                  <a:pt x="19" y="2312"/>
                </a:lnTo>
                <a:lnTo>
                  <a:pt x="26" y="2311"/>
                </a:lnTo>
                <a:lnTo>
                  <a:pt x="33" y="2309"/>
                </a:lnTo>
                <a:lnTo>
                  <a:pt x="38" y="2304"/>
                </a:lnTo>
                <a:lnTo>
                  <a:pt x="43" y="2299"/>
                </a:lnTo>
                <a:lnTo>
                  <a:pt x="46" y="2293"/>
                </a:lnTo>
                <a:lnTo>
                  <a:pt x="49" y="2287"/>
                </a:lnTo>
                <a:lnTo>
                  <a:pt x="53" y="2279"/>
                </a:lnTo>
                <a:lnTo>
                  <a:pt x="55" y="2271"/>
                </a:lnTo>
                <a:lnTo>
                  <a:pt x="59" y="2256"/>
                </a:lnTo>
                <a:lnTo>
                  <a:pt x="63" y="2244"/>
                </a:lnTo>
                <a:lnTo>
                  <a:pt x="65" y="2239"/>
                </a:lnTo>
                <a:lnTo>
                  <a:pt x="67" y="2234"/>
                </a:lnTo>
                <a:lnTo>
                  <a:pt x="71" y="2232"/>
                </a:lnTo>
                <a:lnTo>
                  <a:pt x="73" y="2231"/>
                </a:lnTo>
                <a:lnTo>
                  <a:pt x="72" y="2206"/>
                </a:lnTo>
                <a:lnTo>
                  <a:pt x="69" y="2181"/>
                </a:lnTo>
                <a:lnTo>
                  <a:pt x="65" y="2156"/>
                </a:lnTo>
                <a:lnTo>
                  <a:pt x="59" y="2131"/>
                </a:lnTo>
                <a:lnTo>
                  <a:pt x="55" y="2107"/>
                </a:lnTo>
                <a:lnTo>
                  <a:pt x="50" y="2081"/>
                </a:lnTo>
                <a:lnTo>
                  <a:pt x="47" y="2056"/>
                </a:lnTo>
                <a:lnTo>
                  <a:pt x="46" y="2029"/>
                </a:lnTo>
                <a:lnTo>
                  <a:pt x="55" y="2018"/>
                </a:lnTo>
                <a:lnTo>
                  <a:pt x="64" y="2006"/>
                </a:lnTo>
                <a:lnTo>
                  <a:pt x="321" y="2011"/>
                </a:lnTo>
                <a:lnTo>
                  <a:pt x="327" y="2010"/>
                </a:lnTo>
                <a:lnTo>
                  <a:pt x="335" y="2008"/>
                </a:lnTo>
                <a:lnTo>
                  <a:pt x="344" y="2004"/>
                </a:lnTo>
                <a:lnTo>
                  <a:pt x="352" y="2000"/>
                </a:lnTo>
                <a:lnTo>
                  <a:pt x="366" y="1992"/>
                </a:lnTo>
                <a:lnTo>
                  <a:pt x="374" y="1989"/>
                </a:lnTo>
                <a:lnTo>
                  <a:pt x="375" y="1979"/>
                </a:lnTo>
                <a:lnTo>
                  <a:pt x="376" y="1969"/>
                </a:lnTo>
                <a:lnTo>
                  <a:pt x="379" y="1960"/>
                </a:lnTo>
                <a:lnTo>
                  <a:pt x="381" y="1951"/>
                </a:lnTo>
                <a:lnTo>
                  <a:pt x="383" y="1942"/>
                </a:lnTo>
                <a:lnTo>
                  <a:pt x="385" y="1934"/>
                </a:lnTo>
                <a:lnTo>
                  <a:pt x="388" y="1925"/>
                </a:lnTo>
                <a:lnTo>
                  <a:pt x="388" y="1916"/>
                </a:lnTo>
                <a:lnTo>
                  <a:pt x="392" y="1910"/>
                </a:lnTo>
                <a:lnTo>
                  <a:pt x="400" y="1893"/>
                </a:lnTo>
                <a:lnTo>
                  <a:pt x="411" y="1868"/>
                </a:lnTo>
                <a:lnTo>
                  <a:pt x="423" y="1840"/>
                </a:lnTo>
                <a:lnTo>
                  <a:pt x="438" y="1810"/>
                </a:lnTo>
                <a:lnTo>
                  <a:pt x="451" y="1782"/>
                </a:lnTo>
                <a:lnTo>
                  <a:pt x="457" y="1770"/>
                </a:lnTo>
                <a:lnTo>
                  <a:pt x="463" y="1760"/>
                </a:lnTo>
                <a:lnTo>
                  <a:pt x="468" y="1752"/>
                </a:lnTo>
                <a:lnTo>
                  <a:pt x="474" y="1746"/>
                </a:lnTo>
                <a:lnTo>
                  <a:pt x="493" y="1720"/>
                </a:lnTo>
                <a:lnTo>
                  <a:pt x="525" y="1674"/>
                </a:lnTo>
                <a:lnTo>
                  <a:pt x="542" y="1650"/>
                </a:lnTo>
                <a:lnTo>
                  <a:pt x="556" y="1630"/>
                </a:lnTo>
                <a:lnTo>
                  <a:pt x="563" y="1623"/>
                </a:lnTo>
                <a:lnTo>
                  <a:pt x="568" y="1617"/>
                </a:lnTo>
                <a:lnTo>
                  <a:pt x="573" y="1612"/>
                </a:lnTo>
                <a:lnTo>
                  <a:pt x="576" y="1611"/>
                </a:lnTo>
                <a:lnTo>
                  <a:pt x="577" y="1605"/>
                </a:lnTo>
                <a:lnTo>
                  <a:pt x="580" y="1594"/>
                </a:lnTo>
                <a:lnTo>
                  <a:pt x="581" y="1589"/>
                </a:lnTo>
                <a:lnTo>
                  <a:pt x="580" y="1585"/>
                </a:lnTo>
                <a:lnTo>
                  <a:pt x="580" y="1582"/>
                </a:lnTo>
                <a:lnTo>
                  <a:pt x="578" y="1581"/>
                </a:lnTo>
                <a:lnTo>
                  <a:pt x="577" y="1580"/>
                </a:lnTo>
                <a:lnTo>
                  <a:pt x="576" y="1580"/>
                </a:lnTo>
                <a:lnTo>
                  <a:pt x="576" y="1562"/>
                </a:lnTo>
                <a:lnTo>
                  <a:pt x="574" y="1561"/>
                </a:lnTo>
                <a:lnTo>
                  <a:pt x="571" y="1559"/>
                </a:lnTo>
                <a:lnTo>
                  <a:pt x="567" y="1556"/>
                </a:lnTo>
                <a:lnTo>
                  <a:pt x="564" y="1552"/>
                </a:lnTo>
                <a:lnTo>
                  <a:pt x="556" y="1542"/>
                </a:lnTo>
                <a:lnTo>
                  <a:pt x="547" y="1530"/>
                </a:lnTo>
                <a:lnTo>
                  <a:pt x="539" y="1519"/>
                </a:lnTo>
                <a:lnTo>
                  <a:pt x="533" y="1509"/>
                </a:lnTo>
                <a:lnTo>
                  <a:pt x="527" y="1502"/>
                </a:lnTo>
                <a:lnTo>
                  <a:pt x="523" y="1499"/>
                </a:lnTo>
                <a:lnTo>
                  <a:pt x="523" y="1490"/>
                </a:lnTo>
                <a:lnTo>
                  <a:pt x="520" y="1487"/>
                </a:lnTo>
                <a:lnTo>
                  <a:pt x="519" y="1481"/>
                </a:lnTo>
                <a:lnTo>
                  <a:pt x="519" y="1471"/>
                </a:lnTo>
                <a:lnTo>
                  <a:pt x="518" y="1457"/>
                </a:lnTo>
                <a:lnTo>
                  <a:pt x="518" y="1425"/>
                </a:lnTo>
                <a:lnTo>
                  <a:pt x="519" y="1388"/>
                </a:lnTo>
                <a:lnTo>
                  <a:pt x="520" y="1350"/>
                </a:lnTo>
                <a:lnTo>
                  <a:pt x="522" y="1314"/>
                </a:lnTo>
                <a:lnTo>
                  <a:pt x="522" y="1287"/>
                </a:lnTo>
                <a:lnTo>
                  <a:pt x="523" y="1270"/>
                </a:lnTo>
                <a:lnTo>
                  <a:pt x="523" y="1254"/>
                </a:lnTo>
                <a:lnTo>
                  <a:pt x="523" y="1229"/>
                </a:lnTo>
                <a:lnTo>
                  <a:pt x="523" y="1198"/>
                </a:lnTo>
                <a:lnTo>
                  <a:pt x="522" y="1165"/>
                </a:lnTo>
                <a:lnTo>
                  <a:pt x="520" y="1134"/>
                </a:lnTo>
                <a:lnTo>
                  <a:pt x="517" y="1107"/>
                </a:lnTo>
                <a:lnTo>
                  <a:pt x="515" y="1097"/>
                </a:lnTo>
                <a:lnTo>
                  <a:pt x="511" y="1088"/>
                </a:lnTo>
                <a:lnTo>
                  <a:pt x="510" y="1086"/>
                </a:lnTo>
                <a:lnTo>
                  <a:pt x="508" y="1083"/>
                </a:lnTo>
                <a:lnTo>
                  <a:pt x="506" y="1081"/>
                </a:lnTo>
                <a:lnTo>
                  <a:pt x="505" y="1081"/>
                </a:lnTo>
                <a:lnTo>
                  <a:pt x="504" y="1076"/>
                </a:lnTo>
                <a:lnTo>
                  <a:pt x="503" y="1071"/>
                </a:lnTo>
                <a:lnTo>
                  <a:pt x="500" y="1067"/>
                </a:lnTo>
                <a:lnTo>
                  <a:pt x="498" y="1063"/>
                </a:lnTo>
                <a:close/>
              </a:path>
            </a:pathLst>
          </a:custGeom>
          <a:solidFill>
            <a:srgbClr val="D9D9D9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00" name="Freeform 61">
            <a:extLst>
              <a:ext uri="{FF2B5EF4-FFF2-40B4-BE49-F238E27FC236}">
                <a16:creationId xmlns:a16="http://schemas.microsoft.com/office/drawing/2014/main" id="{283DF96E-7A82-44C8-9B17-EF638DAF08AB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9053513" y="5138738"/>
            <a:ext cx="82550" cy="168294"/>
          </a:xfrm>
          <a:custGeom>
            <a:avLst/>
            <a:gdLst/>
            <a:ahLst/>
            <a:cxnLst>
              <a:cxn ang="0">
                <a:pos x="294" y="31"/>
              </a:cxn>
              <a:cxn ang="0">
                <a:pos x="275" y="62"/>
              </a:cxn>
              <a:cxn ang="0">
                <a:pos x="244" y="90"/>
              </a:cxn>
              <a:cxn ang="0">
                <a:pos x="214" y="106"/>
              </a:cxn>
              <a:cxn ang="0">
                <a:pos x="175" y="140"/>
              </a:cxn>
              <a:cxn ang="0">
                <a:pos x="140" y="164"/>
              </a:cxn>
              <a:cxn ang="0">
                <a:pos x="149" y="200"/>
              </a:cxn>
              <a:cxn ang="0">
                <a:pos x="175" y="215"/>
              </a:cxn>
              <a:cxn ang="0">
                <a:pos x="179" y="304"/>
              </a:cxn>
              <a:cxn ang="0">
                <a:pos x="157" y="375"/>
              </a:cxn>
              <a:cxn ang="0">
                <a:pos x="150" y="390"/>
              </a:cxn>
              <a:cxn ang="0">
                <a:pos x="141" y="404"/>
              </a:cxn>
              <a:cxn ang="0">
                <a:pos x="124" y="431"/>
              </a:cxn>
              <a:cxn ang="0">
                <a:pos x="84" y="474"/>
              </a:cxn>
              <a:cxn ang="0">
                <a:pos x="35" y="528"/>
              </a:cxn>
              <a:cxn ang="0">
                <a:pos x="9" y="579"/>
              </a:cxn>
              <a:cxn ang="0">
                <a:pos x="17" y="642"/>
              </a:cxn>
              <a:cxn ang="0">
                <a:pos x="100" y="663"/>
              </a:cxn>
              <a:cxn ang="0">
                <a:pos x="104" y="678"/>
              </a:cxn>
              <a:cxn ang="0">
                <a:pos x="106" y="750"/>
              </a:cxn>
              <a:cxn ang="0">
                <a:pos x="100" y="843"/>
              </a:cxn>
              <a:cxn ang="0">
                <a:pos x="90" y="885"/>
              </a:cxn>
              <a:cxn ang="0">
                <a:pos x="80" y="902"/>
              </a:cxn>
              <a:cxn ang="0">
                <a:pos x="75" y="932"/>
              </a:cxn>
              <a:cxn ang="0">
                <a:pos x="94" y="957"/>
              </a:cxn>
              <a:cxn ang="0">
                <a:pos x="168" y="1000"/>
              </a:cxn>
              <a:cxn ang="0">
                <a:pos x="185" y="1022"/>
              </a:cxn>
              <a:cxn ang="0">
                <a:pos x="219" y="1022"/>
              </a:cxn>
              <a:cxn ang="0">
                <a:pos x="239" y="983"/>
              </a:cxn>
              <a:cxn ang="0">
                <a:pos x="252" y="966"/>
              </a:cxn>
              <a:cxn ang="0">
                <a:pos x="274" y="951"/>
              </a:cxn>
              <a:cxn ang="0">
                <a:pos x="313" y="936"/>
              </a:cxn>
              <a:cxn ang="0">
                <a:pos x="353" y="914"/>
              </a:cxn>
              <a:cxn ang="0">
                <a:pos x="387" y="901"/>
              </a:cxn>
              <a:cxn ang="0">
                <a:pos x="390" y="887"/>
              </a:cxn>
              <a:cxn ang="0">
                <a:pos x="399" y="861"/>
              </a:cxn>
              <a:cxn ang="0">
                <a:pos x="431" y="840"/>
              </a:cxn>
              <a:cxn ang="0">
                <a:pos x="459" y="794"/>
              </a:cxn>
              <a:cxn ang="0">
                <a:pos x="370" y="814"/>
              </a:cxn>
              <a:cxn ang="0">
                <a:pos x="281" y="808"/>
              </a:cxn>
              <a:cxn ang="0">
                <a:pos x="274" y="738"/>
              </a:cxn>
              <a:cxn ang="0">
                <a:pos x="304" y="704"/>
              </a:cxn>
              <a:cxn ang="0">
                <a:pos x="294" y="613"/>
              </a:cxn>
              <a:cxn ang="0">
                <a:pos x="264" y="589"/>
              </a:cxn>
              <a:cxn ang="0">
                <a:pos x="228" y="558"/>
              </a:cxn>
              <a:cxn ang="0">
                <a:pos x="195" y="524"/>
              </a:cxn>
              <a:cxn ang="0">
                <a:pos x="199" y="469"/>
              </a:cxn>
              <a:cxn ang="0">
                <a:pos x="229" y="443"/>
              </a:cxn>
              <a:cxn ang="0">
                <a:pos x="309" y="384"/>
              </a:cxn>
              <a:cxn ang="0">
                <a:pos x="329" y="369"/>
              </a:cxn>
              <a:cxn ang="0">
                <a:pos x="354" y="354"/>
              </a:cxn>
              <a:cxn ang="0">
                <a:pos x="383" y="350"/>
              </a:cxn>
              <a:cxn ang="0">
                <a:pos x="390" y="320"/>
              </a:cxn>
              <a:cxn ang="0">
                <a:pos x="367" y="312"/>
              </a:cxn>
              <a:cxn ang="0">
                <a:pos x="341" y="297"/>
              </a:cxn>
              <a:cxn ang="0">
                <a:pos x="319" y="259"/>
              </a:cxn>
              <a:cxn ang="0">
                <a:pos x="292" y="217"/>
              </a:cxn>
              <a:cxn ang="0">
                <a:pos x="302" y="119"/>
              </a:cxn>
              <a:cxn ang="0">
                <a:pos x="314" y="90"/>
              </a:cxn>
              <a:cxn ang="0">
                <a:pos x="319" y="10"/>
              </a:cxn>
            </a:cxnLst>
            <a:rect l="0" t="0" r="r" b="b"/>
            <a:pathLst>
              <a:path w="465" h="1027">
                <a:moveTo>
                  <a:pt x="304" y="0"/>
                </a:moveTo>
                <a:lnTo>
                  <a:pt x="303" y="5"/>
                </a:lnTo>
                <a:lnTo>
                  <a:pt x="301" y="10"/>
                </a:lnTo>
                <a:lnTo>
                  <a:pt x="297" y="16"/>
                </a:lnTo>
                <a:lnTo>
                  <a:pt x="294" y="21"/>
                </a:lnTo>
                <a:lnTo>
                  <a:pt x="294" y="31"/>
                </a:lnTo>
                <a:lnTo>
                  <a:pt x="290" y="35"/>
                </a:lnTo>
                <a:lnTo>
                  <a:pt x="285" y="41"/>
                </a:lnTo>
                <a:lnTo>
                  <a:pt x="281" y="46"/>
                </a:lnTo>
                <a:lnTo>
                  <a:pt x="279" y="51"/>
                </a:lnTo>
                <a:lnTo>
                  <a:pt x="279" y="61"/>
                </a:lnTo>
                <a:lnTo>
                  <a:pt x="275" y="62"/>
                </a:lnTo>
                <a:lnTo>
                  <a:pt x="272" y="66"/>
                </a:lnTo>
                <a:lnTo>
                  <a:pt x="269" y="71"/>
                </a:lnTo>
                <a:lnTo>
                  <a:pt x="269" y="75"/>
                </a:lnTo>
                <a:lnTo>
                  <a:pt x="259" y="75"/>
                </a:lnTo>
                <a:lnTo>
                  <a:pt x="249" y="80"/>
                </a:lnTo>
                <a:lnTo>
                  <a:pt x="244" y="90"/>
                </a:lnTo>
                <a:lnTo>
                  <a:pt x="240" y="91"/>
                </a:lnTo>
                <a:lnTo>
                  <a:pt x="235" y="93"/>
                </a:lnTo>
                <a:lnTo>
                  <a:pt x="229" y="96"/>
                </a:lnTo>
                <a:lnTo>
                  <a:pt x="224" y="100"/>
                </a:lnTo>
                <a:lnTo>
                  <a:pt x="218" y="104"/>
                </a:lnTo>
                <a:lnTo>
                  <a:pt x="214" y="106"/>
                </a:lnTo>
                <a:lnTo>
                  <a:pt x="208" y="109"/>
                </a:lnTo>
                <a:lnTo>
                  <a:pt x="205" y="110"/>
                </a:lnTo>
                <a:lnTo>
                  <a:pt x="195" y="125"/>
                </a:lnTo>
                <a:lnTo>
                  <a:pt x="187" y="128"/>
                </a:lnTo>
                <a:lnTo>
                  <a:pt x="179" y="130"/>
                </a:lnTo>
                <a:lnTo>
                  <a:pt x="175" y="140"/>
                </a:lnTo>
                <a:lnTo>
                  <a:pt x="167" y="142"/>
                </a:lnTo>
                <a:lnTo>
                  <a:pt x="159" y="144"/>
                </a:lnTo>
                <a:lnTo>
                  <a:pt x="157" y="150"/>
                </a:lnTo>
                <a:lnTo>
                  <a:pt x="154" y="154"/>
                </a:lnTo>
                <a:lnTo>
                  <a:pt x="146" y="160"/>
                </a:lnTo>
                <a:lnTo>
                  <a:pt x="140" y="164"/>
                </a:lnTo>
                <a:lnTo>
                  <a:pt x="140" y="175"/>
                </a:lnTo>
                <a:lnTo>
                  <a:pt x="134" y="177"/>
                </a:lnTo>
                <a:lnTo>
                  <a:pt x="130" y="180"/>
                </a:lnTo>
                <a:lnTo>
                  <a:pt x="130" y="190"/>
                </a:lnTo>
                <a:lnTo>
                  <a:pt x="140" y="195"/>
                </a:lnTo>
                <a:lnTo>
                  <a:pt x="149" y="200"/>
                </a:lnTo>
                <a:lnTo>
                  <a:pt x="159" y="200"/>
                </a:lnTo>
                <a:lnTo>
                  <a:pt x="160" y="204"/>
                </a:lnTo>
                <a:lnTo>
                  <a:pt x="162" y="207"/>
                </a:lnTo>
                <a:lnTo>
                  <a:pt x="166" y="209"/>
                </a:lnTo>
                <a:lnTo>
                  <a:pt x="169" y="209"/>
                </a:lnTo>
                <a:lnTo>
                  <a:pt x="175" y="215"/>
                </a:lnTo>
                <a:lnTo>
                  <a:pt x="175" y="223"/>
                </a:lnTo>
                <a:lnTo>
                  <a:pt x="175" y="229"/>
                </a:lnTo>
                <a:lnTo>
                  <a:pt x="177" y="245"/>
                </a:lnTo>
                <a:lnTo>
                  <a:pt x="179" y="265"/>
                </a:lnTo>
                <a:lnTo>
                  <a:pt x="179" y="286"/>
                </a:lnTo>
                <a:lnTo>
                  <a:pt x="179" y="304"/>
                </a:lnTo>
                <a:lnTo>
                  <a:pt x="175" y="314"/>
                </a:lnTo>
                <a:lnTo>
                  <a:pt x="169" y="326"/>
                </a:lnTo>
                <a:lnTo>
                  <a:pt x="163" y="337"/>
                </a:lnTo>
                <a:lnTo>
                  <a:pt x="159" y="344"/>
                </a:lnTo>
                <a:lnTo>
                  <a:pt x="159" y="374"/>
                </a:lnTo>
                <a:lnTo>
                  <a:pt x="157" y="375"/>
                </a:lnTo>
                <a:lnTo>
                  <a:pt x="156" y="378"/>
                </a:lnTo>
                <a:lnTo>
                  <a:pt x="154" y="381"/>
                </a:lnTo>
                <a:lnTo>
                  <a:pt x="154" y="384"/>
                </a:lnTo>
                <a:lnTo>
                  <a:pt x="151" y="385"/>
                </a:lnTo>
                <a:lnTo>
                  <a:pt x="150" y="388"/>
                </a:lnTo>
                <a:lnTo>
                  <a:pt x="150" y="390"/>
                </a:lnTo>
                <a:lnTo>
                  <a:pt x="149" y="394"/>
                </a:lnTo>
                <a:lnTo>
                  <a:pt x="147" y="394"/>
                </a:lnTo>
                <a:lnTo>
                  <a:pt x="146" y="397"/>
                </a:lnTo>
                <a:lnTo>
                  <a:pt x="144" y="400"/>
                </a:lnTo>
                <a:lnTo>
                  <a:pt x="144" y="404"/>
                </a:lnTo>
                <a:lnTo>
                  <a:pt x="141" y="404"/>
                </a:lnTo>
                <a:lnTo>
                  <a:pt x="140" y="407"/>
                </a:lnTo>
                <a:lnTo>
                  <a:pt x="140" y="410"/>
                </a:lnTo>
                <a:lnTo>
                  <a:pt x="140" y="414"/>
                </a:lnTo>
                <a:lnTo>
                  <a:pt x="130" y="419"/>
                </a:lnTo>
                <a:lnTo>
                  <a:pt x="128" y="425"/>
                </a:lnTo>
                <a:lnTo>
                  <a:pt x="124" y="431"/>
                </a:lnTo>
                <a:lnTo>
                  <a:pt x="118" y="441"/>
                </a:lnTo>
                <a:lnTo>
                  <a:pt x="111" y="450"/>
                </a:lnTo>
                <a:lnTo>
                  <a:pt x="103" y="459"/>
                </a:lnTo>
                <a:lnTo>
                  <a:pt x="95" y="467"/>
                </a:lnTo>
                <a:lnTo>
                  <a:pt x="90" y="471"/>
                </a:lnTo>
                <a:lnTo>
                  <a:pt x="84" y="474"/>
                </a:lnTo>
                <a:lnTo>
                  <a:pt x="83" y="479"/>
                </a:lnTo>
                <a:lnTo>
                  <a:pt x="76" y="487"/>
                </a:lnTo>
                <a:lnTo>
                  <a:pt x="69" y="496"/>
                </a:lnTo>
                <a:lnTo>
                  <a:pt x="60" y="505"/>
                </a:lnTo>
                <a:lnTo>
                  <a:pt x="43" y="522"/>
                </a:lnTo>
                <a:lnTo>
                  <a:pt x="35" y="528"/>
                </a:lnTo>
                <a:lnTo>
                  <a:pt x="35" y="538"/>
                </a:lnTo>
                <a:lnTo>
                  <a:pt x="29" y="544"/>
                </a:lnTo>
                <a:lnTo>
                  <a:pt x="23" y="552"/>
                </a:lnTo>
                <a:lnTo>
                  <a:pt x="15" y="561"/>
                </a:lnTo>
                <a:lnTo>
                  <a:pt x="9" y="568"/>
                </a:lnTo>
                <a:lnTo>
                  <a:pt x="9" y="579"/>
                </a:lnTo>
                <a:lnTo>
                  <a:pt x="5" y="586"/>
                </a:lnTo>
                <a:lnTo>
                  <a:pt x="0" y="593"/>
                </a:lnTo>
                <a:lnTo>
                  <a:pt x="0" y="633"/>
                </a:lnTo>
                <a:lnTo>
                  <a:pt x="5" y="637"/>
                </a:lnTo>
                <a:lnTo>
                  <a:pt x="10" y="640"/>
                </a:lnTo>
                <a:lnTo>
                  <a:pt x="17" y="642"/>
                </a:lnTo>
                <a:lnTo>
                  <a:pt x="25" y="643"/>
                </a:lnTo>
                <a:lnTo>
                  <a:pt x="31" y="649"/>
                </a:lnTo>
                <a:lnTo>
                  <a:pt x="37" y="656"/>
                </a:lnTo>
                <a:lnTo>
                  <a:pt x="44" y="661"/>
                </a:lnTo>
                <a:lnTo>
                  <a:pt x="50" y="663"/>
                </a:lnTo>
                <a:lnTo>
                  <a:pt x="100" y="663"/>
                </a:lnTo>
                <a:lnTo>
                  <a:pt x="100" y="668"/>
                </a:lnTo>
                <a:lnTo>
                  <a:pt x="100" y="672"/>
                </a:lnTo>
                <a:lnTo>
                  <a:pt x="101" y="675"/>
                </a:lnTo>
                <a:lnTo>
                  <a:pt x="102" y="677"/>
                </a:lnTo>
                <a:lnTo>
                  <a:pt x="103" y="678"/>
                </a:lnTo>
                <a:lnTo>
                  <a:pt x="104" y="678"/>
                </a:lnTo>
                <a:lnTo>
                  <a:pt x="105" y="693"/>
                </a:lnTo>
                <a:lnTo>
                  <a:pt x="108" y="708"/>
                </a:lnTo>
                <a:lnTo>
                  <a:pt x="109" y="723"/>
                </a:lnTo>
                <a:lnTo>
                  <a:pt x="110" y="738"/>
                </a:lnTo>
                <a:lnTo>
                  <a:pt x="108" y="741"/>
                </a:lnTo>
                <a:lnTo>
                  <a:pt x="106" y="750"/>
                </a:lnTo>
                <a:lnTo>
                  <a:pt x="105" y="764"/>
                </a:lnTo>
                <a:lnTo>
                  <a:pt x="105" y="779"/>
                </a:lnTo>
                <a:lnTo>
                  <a:pt x="104" y="810"/>
                </a:lnTo>
                <a:lnTo>
                  <a:pt x="104" y="827"/>
                </a:lnTo>
                <a:lnTo>
                  <a:pt x="102" y="835"/>
                </a:lnTo>
                <a:lnTo>
                  <a:pt x="100" y="843"/>
                </a:lnTo>
                <a:lnTo>
                  <a:pt x="100" y="850"/>
                </a:lnTo>
                <a:lnTo>
                  <a:pt x="100" y="858"/>
                </a:lnTo>
                <a:lnTo>
                  <a:pt x="98" y="868"/>
                </a:lnTo>
                <a:lnTo>
                  <a:pt x="94" y="882"/>
                </a:lnTo>
                <a:lnTo>
                  <a:pt x="92" y="883"/>
                </a:lnTo>
                <a:lnTo>
                  <a:pt x="90" y="885"/>
                </a:lnTo>
                <a:lnTo>
                  <a:pt x="90" y="889"/>
                </a:lnTo>
                <a:lnTo>
                  <a:pt x="90" y="892"/>
                </a:lnTo>
                <a:lnTo>
                  <a:pt x="89" y="894"/>
                </a:lnTo>
                <a:lnTo>
                  <a:pt x="86" y="898"/>
                </a:lnTo>
                <a:lnTo>
                  <a:pt x="83" y="901"/>
                </a:lnTo>
                <a:lnTo>
                  <a:pt x="80" y="902"/>
                </a:lnTo>
                <a:lnTo>
                  <a:pt x="80" y="922"/>
                </a:lnTo>
                <a:lnTo>
                  <a:pt x="77" y="922"/>
                </a:lnTo>
                <a:lnTo>
                  <a:pt x="76" y="923"/>
                </a:lnTo>
                <a:lnTo>
                  <a:pt x="76" y="926"/>
                </a:lnTo>
                <a:lnTo>
                  <a:pt x="75" y="928"/>
                </a:lnTo>
                <a:lnTo>
                  <a:pt x="75" y="932"/>
                </a:lnTo>
                <a:lnTo>
                  <a:pt x="75" y="937"/>
                </a:lnTo>
                <a:lnTo>
                  <a:pt x="70" y="940"/>
                </a:lnTo>
                <a:lnTo>
                  <a:pt x="65" y="942"/>
                </a:lnTo>
                <a:lnTo>
                  <a:pt x="65" y="957"/>
                </a:lnTo>
                <a:lnTo>
                  <a:pt x="80" y="957"/>
                </a:lnTo>
                <a:lnTo>
                  <a:pt x="94" y="957"/>
                </a:lnTo>
                <a:lnTo>
                  <a:pt x="110" y="957"/>
                </a:lnTo>
                <a:lnTo>
                  <a:pt x="124" y="957"/>
                </a:lnTo>
                <a:lnTo>
                  <a:pt x="137" y="967"/>
                </a:lnTo>
                <a:lnTo>
                  <a:pt x="153" y="983"/>
                </a:lnTo>
                <a:lnTo>
                  <a:pt x="161" y="991"/>
                </a:lnTo>
                <a:lnTo>
                  <a:pt x="168" y="1000"/>
                </a:lnTo>
                <a:lnTo>
                  <a:pt x="172" y="1007"/>
                </a:lnTo>
                <a:lnTo>
                  <a:pt x="175" y="1012"/>
                </a:lnTo>
                <a:lnTo>
                  <a:pt x="176" y="1013"/>
                </a:lnTo>
                <a:lnTo>
                  <a:pt x="179" y="1015"/>
                </a:lnTo>
                <a:lnTo>
                  <a:pt x="182" y="1018"/>
                </a:lnTo>
                <a:lnTo>
                  <a:pt x="185" y="1022"/>
                </a:lnTo>
                <a:lnTo>
                  <a:pt x="188" y="1022"/>
                </a:lnTo>
                <a:lnTo>
                  <a:pt x="191" y="1023"/>
                </a:lnTo>
                <a:lnTo>
                  <a:pt x="194" y="1024"/>
                </a:lnTo>
                <a:lnTo>
                  <a:pt x="195" y="1027"/>
                </a:lnTo>
                <a:lnTo>
                  <a:pt x="215" y="1027"/>
                </a:lnTo>
                <a:lnTo>
                  <a:pt x="219" y="1022"/>
                </a:lnTo>
                <a:lnTo>
                  <a:pt x="220" y="1018"/>
                </a:lnTo>
                <a:lnTo>
                  <a:pt x="221" y="1013"/>
                </a:lnTo>
                <a:lnTo>
                  <a:pt x="224" y="1007"/>
                </a:lnTo>
                <a:lnTo>
                  <a:pt x="227" y="1002"/>
                </a:lnTo>
                <a:lnTo>
                  <a:pt x="234" y="991"/>
                </a:lnTo>
                <a:lnTo>
                  <a:pt x="239" y="983"/>
                </a:lnTo>
                <a:lnTo>
                  <a:pt x="239" y="973"/>
                </a:lnTo>
                <a:lnTo>
                  <a:pt x="243" y="971"/>
                </a:lnTo>
                <a:lnTo>
                  <a:pt x="246" y="971"/>
                </a:lnTo>
                <a:lnTo>
                  <a:pt x="248" y="970"/>
                </a:lnTo>
                <a:lnTo>
                  <a:pt x="250" y="968"/>
                </a:lnTo>
                <a:lnTo>
                  <a:pt x="252" y="966"/>
                </a:lnTo>
                <a:lnTo>
                  <a:pt x="253" y="964"/>
                </a:lnTo>
                <a:lnTo>
                  <a:pt x="254" y="960"/>
                </a:lnTo>
                <a:lnTo>
                  <a:pt x="254" y="957"/>
                </a:lnTo>
                <a:lnTo>
                  <a:pt x="264" y="957"/>
                </a:lnTo>
                <a:lnTo>
                  <a:pt x="268" y="956"/>
                </a:lnTo>
                <a:lnTo>
                  <a:pt x="274" y="951"/>
                </a:lnTo>
                <a:lnTo>
                  <a:pt x="279" y="947"/>
                </a:lnTo>
                <a:lnTo>
                  <a:pt x="284" y="942"/>
                </a:lnTo>
                <a:lnTo>
                  <a:pt x="291" y="941"/>
                </a:lnTo>
                <a:lnTo>
                  <a:pt x="297" y="940"/>
                </a:lnTo>
                <a:lnTo>
                  <a:pt x="305" y="938"/>
                </a:lnTo>
                <a:lnTo>
                  <a:pt x="313" y="936"/>
                </a:lnTo>
                <a:lnTo>
                  <a:pt x="321" y="931"/>
                </a:lnTo>
                <a:lnTo>
                  <a:pt x="329" y="928"/>
                </a:lnTo>
                <a:lnTo>
                  <a:pt x="334" y="922"/>
                </a:lnTo>
                <a:lnTo>
                  <a:pt x="339" y="918"/>
                </a:lnTo>
                <a:lnTo>
                  <a:pt x="346" y="917"/>
                </a:lnTo>
                <a:lnTo>
                  <a:pt x="353" y="914"/>
                </a:lnTo>
                <a:lnTo>
                  <a:pt x="359" y="911"/>
                </a:lnTo>
                <a:lnTo>
                  <a:pt x="363" y="908"/>
                </a:lnTo>
                <a:lnTo>
                  <a:pt x="379" y="908"/>
                </a:lnTo>
                <a:lnTo>
                  <a:pt x="380" y="907"/>
                </a:lnTo>
                <a:lnTo>
                  <a:pt x="383" y="904"/>
                </a:lnTo>
                <a:lnTo>
                  <a:pt x="387" y="901"/>
                </a:lnTo>
                <a:lnTo>
                  <a:pt x="389" y="898"/>
                </a:lnTo>
                <a:lnTo>
                  <a:pt x="390" y="897"/>
                </a:lnTo>
                <a:lnTo>
                  <a:pt x="391" y="895"/>
                </a:lnTo>
                <a:lnTo>
                  <a:pt x="391" y="894"/>
                </a:lnTo>
                <a:lnTo>
                  <a:pt x="391" y="892"/>
                </a:lnTo>
                <a:lnTo>
                  <a:pt x="390" y="887"/>
                </a:lnTo>
                <a:lnTo>
                  <a:pt x="389" y="881"/>
                </a:lnTo>
                <a:lnTo>
                  <a:pt x="389" y="874"/>
                </a:lnTo>
                <a:lnTo>
                  <a:pt x="390" y="868"/>
                </a:lnTo>
                <a:lnTo>
                  <a:pt x="392" y="865"/>
                </a:lnTo>
                <a:lnTo>
                  <a:pt x="396" y="863"/>
                </a:lnTo>
                <a:lnTo>
                  <a:pt x="399" y="861"/>
                </a:lnTo>
                <a:lnTo>
                  <a:pt x="403" y="860"/>
                </a:lnTo>
                <a:lnTo>
                  <a:pt x="409" y="858"/>
                </a:lnTo>
                <a:lnTo>
                  <a:pt x="415" y="855"/>
                </a:lnTo>
                <a:lnTo>
                  <a:pt x="419" y="852"/>
                </a:lnTo>
                <a:lnTo>
                  <a:pt x="423" y="849"/>
                </a:lnTo>
                <a:lnTo>
                  <a:pt x="431" y="840"/>
                </a:lnTo>
                <a:lnTo>
                  <a:pt x="438" y="830"/>
                </a:lnTo>
                <a:lnTo>
                  <a:pt x="449" y="810"/>
                </a:lnTo>
                <a:lnTo>
                  <a:pt x="457" y="797"/>
                </a:lnTo>
                <a:lnTo>
                  <a:pt x="464" y="792"/>
                </a:lnTo>
                <a:lnTo>
                  <a:pt x="465" y="791"/>
                </a:lnTo>
                <a:lnTo>
                  <a:pt x="459" y="794"/>
                </a:lnTo>
                <a:lnTo>
                  <a:pt x="446" y="798"/>
                </a:lnTo>
                <a:lnTo>
                  <a:pt x="436" y="802"/>
                </a:lnTo>
                <a:lnTo>
                  <a:pt x="423" y="805"/>
                </a:lnTo>
                <a:lnTo>
                  <a:pt x="408" y="808"/>
                </a:lnTo>
                <a:lnTo>
                  <a:pt x="391" y="811"/>
                </a:lnTo>
                <a:lnTo>
                  <a:pt x="370" y="814"/>
                </a:lnTo>
                <a:lnTo>
                  <a:pt x="346" y="816"/>
                </a:lnTo>
                <a:lnTo>
                  <a:pt x="320" y="817"/>
                </a:lnTo>
                <a:lnTo>
                  <a:pt x="290" y="817"/>
                </a:lnTo>
                <a:lnTo>
                  <a:pt x="287" y="814"/>
                </a:lnTo>
                <a:lnTo>
                  <a:pt x="284" y="811"/>
                </a:lnTo>
                <a:lnTo>
                  <a:pt x="281" y="808"/>
                </a:lnTo>
                <a:lnTo>
                  <a:pt x="279" y="807"/>
                </a:lnTo>
                <a:lnTo>
                  <a:pt x="274" y="797"/>
                </a:lnTo>
                <a:lnTo>
                  <a:pt x="269" y="783"/>
                </a:lnTo>
                <a:lnTo>
                  <a:pt x="269" y="753"/>
                </a:lnTo>
                <a:lnTo>
                  <a:pt x="272" y="745"/>
                </a:lnTo>
                <a:lnTo>
                  <a:pt x="274" y="738"/>
                </a:lnTo>
                <a:lnTo>
                  <a:pt x="279" y="737"/>
                </a:lnTo>
                <a:lnTo>
                  <a:pt x="284" y="734"/>
                </a:lnTo>
                <a:lnTo>
                  <a:pt x="287" y="729"/>
                </a:lnTo>
                <a:lnTo>
                  <a:pt x="291" y="724"/>
                </a:lnTo>
                <a:lnTo>
                  <a:pt x="297" y="712"/>
                </a:lnTo>
                <a:lnTo>
                  <a:pt x="304" y="704"/>
                </a:lnTo>
                <a:lnTo>
                  <a:pt x="304" y="678"/>
                </a:lnTo>
                <a:lnTo>
                  <a:pt x="306" y="668"/>
                </a:lnTo>
                <a:lnTo>
                  <a:pt x="309" y="656"/>
                </a:lnTo>
                <a:lnTo>
                  <a:pt x="309" y="641"/>
                </a:lnTo>
                <a:lnTo>
                  <a:pt x="309" y="629"/>
                </a:lnTo>
                <a:lnTo>
                  <a:pt x="294" y="613"/>
                </a:lnTo>
                <a:lnTo>
                  <a:pt x="294" y="603"/>
                </a:lnTo>
                <a:lnTo>
                  <a:pt x="290" y="599"/>
                </a:lnTo>
                <a:lnTo>
                  <a:pt x="279" y="599"/>
                </a:lnTo>
                <a:lnTo>
                  <a:pt x="276" y="593"/>
                </a:lnTo>
                <a:lnTo>
                  <a:pt x="274" y="589"/>
                </a:lnTo>
                <a:lnTo>
                  <a:pt x="264" y="589"/>
                </a:lnTo>
                <a:lnTo>
                  <a:pt x="263" y="585"/>
                </a:lnTo>
                <a:lnTo>
                  <a:pt x="258" y="582"/>
                </a:lnTo>
                <a:lnTo>
                  <a:pt x="254" y="580"/>
                </a:lnTo>
                <a:lnTo>
                  <a:pt x="249" y="579"/>
                </a:lnTo>
                <a:lnTo>
                  <a:pt x="243" y="572"/>
                </a:lnTo>
                <a:lnTo>
                  <a:pt x="228" y="558"/>
                </a:lnTo>
                <a:lnTo>
                  <a:pt x="219" y="551"/>
                </a:lnTo>
                <a:lnTo>
                  <a:pt x="211" y="545"/>
                </a:lnTo>
                <a:lnTo>
                  <a:pt x="205" y="541"/>
                </a:lnTo>
                <a:lnTo>
                  <a:pt x="199" y="538"/>
                </a:lnTo>
                <a:lnTo>
                  <a:pt x="195" y="534"/>
                </a:lnTo>
                <a:lnTo>
                  <a:pt x="195" y="524"/>
                </a:lnTo>
                <a:lnTo>
                  <a:pt x="191" y="515"/>
                </a:lnTo>
                <a:lnTo>
                  <a:pt x="190" y="503"/>
                </a:lnTo>
                <a:lnTo>
                  <a:pt x="189" y="490"/>
                </a:lnTo>
                <a:lnTo>
                  <a:pt x="189" y="479"/>
                </a:lnTo>
                <a:lnTo>
                  <a:pt x="194" y="475"/>
                </a:lnTo>
                <a:lnTo>
                  <a:pt x="199" y="469"/>
                </a:lnTo>
                <a:lnTo>
                  <a:pt x="205" y="466"/>
                </a:lnTo>
                <a:lnTo>
                  <a:pt x="209" y="464"/>
                </a:lnTo>
                <a:lnTo>
                  <a:pt x="213" y="457"/>
                </a:lnTo>
                <a:lnTo>
                  <a:pt x="217" y="452"/>
                </a:lnTo>
                <a:lnTo>
                  <a:pt x="223" y="448"/>
                </a:lnTo>
                <a:lnTo>
                  <a:pt x="229" y="443"/>
                </a:lnTo>
                <a:lnTo>
                  <a:pt x="233" y="440"/>
                </a:lnTo>
                <a:lnTo>
                  <a:pt x="240" y="432"/>
                </a:lnTo>
                <a:lnTo>
                  <a:pt x="253" y="422"/>
                </a:lnTo>
                <a:lnTo>
                  <a:pt x="267" y="412"/>
                </a:lnTo>
                <a:lnTo>
                  <a:pt x="294" y="393"/>
                </a:lnTo>
                <a:lnTo>
                  <a:pt x="309" y="384"/>
                </a:lnTo>
                <a:lnTo>
                  <a:pt x="311" y="380"/>
                </a:lnTo>
                <a:lnTo>
                  <a:pt x="315" y="374"/>
                </a:lnTo>
                <a:lnTo>
                  <a:pt x="319" y="372"/>
                </a:lnTo>
                <a:lnTo>
                  <a:pt x="322" y="371"/>
                </a:lnTo>
                <a:lnTo>
                  <a:pt x="325" y="370"/>
                </a:lnTo>
                <a:lnTo>
                  <a:pt x="329" y="369"/>
                </a:lnTo>
                <a:lnTo>
                  <a:pt x="334" y="359"/>
                </a:lnTo>
                <a:lnTo>
                  <a:pt x="344" y="359"/>
                </a:lnTo>
                <a:lnTo>
                  <a:pt x="344" y="356"/>
                </a:lnTo>
                <a:lnTo>
                  <a:pt x="346" y="355"/>
                </a:lnTo>
                <a:lnTo>
                  <a:pt x="350" y="354"/>
                </a:lnTo>
                <a:lnTo>
                  <a:pt x="354" y="354"/>
                </a:lnTo>
                <a:lnTo>
                  <a:pt x="355" y="353"/>
                </a:lnTo>
                <a:lnTo>
                  <a:pt x="358" y="351"/>
                </a:lnTo>
                <a:lnTo>
                  <a:pt x="362" y="351"/>
                </a:lnTo>
                <a:lnTo>
                  <a:pt x="367" y="350"/>
                </a:lnTo>
                <a:lnTo>
                  <a:pt x="377" y="350"/>
                </a:lnTo>
                <a:lnTo>
                  <a:pt x="383" y="350"/>
                </a:lnTo>
                <a:lnTo>
                  <a:pt x="393" y="340"/>
                </a:lnTo>
                <a:lnTo>
                  <a:pt x="403" y="340"/>
                </a:lnTo>
                <a:lnTo>
                  <a:pt x="403" y="332"/>
                </a:lnTo>
                <a:lnTo>
                  <a:pt x="403" y="324"/>
                </a:lnTo>
                <a:lnTo>
                  <a:pt x="393" y="320"/>
                </a:lnTo>
                <a:lnTo>
                  <a:pt x="390" y="320"/>
                </a:lnTo>
                <a:lnTo>
                  <a:pt x="387" y="318"/>
                </a:lnTo>
                <a:lnTo>
                  <a:pt x="384" y="317"/>
                </a:lnTo>
                <a:lnTo>
                  <a:pt x="383" y="314"/>
                </a:lnTo>
                <a:lnTo>
                  <a:pt x="369" y="314"/>
                </a:lnTo>
                <a:lnTo>
                  <a:pt x="369" y="313"/>
                </a:lnTo>
                <a:lnTo>
                  <a:pt x="367" y="312"/>
                </a:lnTo>
                <a:lnTo>
                  <a:pt x="365" y="311"/>
                </a:lnTo>
                <a:lnTo>
                  <a:pt x="363" y="310"/>
                </a:lnTo>
                <a:lnTo>
                  <a:pt x="359" y="310"/>
                </a:lnTo>
                <a:lnTo>
                  <a:pt x="354" y="310"/>
                </a:lnTo>
                <a:lnTo>
                  <a:pt x="344" y="304"/>
                </a:lnTo>
                <a:lnTo>
                  <a:pt x="341" y="297"/>
                </a:lnTo>
                <a:lnTo>
                  <a:pt x="339" y="289"/>
                </a:lnTo>
                <a:lnTo>
                  <a:pt x="334" y="287"/>
                </a:lnTo>
                <a:lnTo>
                  <a:pt x="329" y="284"/>
                </a:lnTo>
                <a:lnTo>
                  <a:pt x="329" y="275"/>
                </a:lnTo>
                <a:lnTo>
                  <a:pt x="324" y="267"/>
                </a:lnTo>
                <a:lnTo>
                  <a:pt x="319" y="259"/>
                </a:lnTo>
                <a:lnTo>
                  <a:pt x="319" y="249"/>
                </a:lnTo>
                <a:lnTo>
                  <a:pt x="314" y="247"/>
                </a:lnTo>
                <a:lnTo>
                  <a:pt x="309" y="245"/>
                </a:lnTo>
                <a:lnTo>
                  <a:pt x="304" y="235"/>
                </a:lnTo>
                <a:lnTo>
                  <a:pt x="298" y="225"/>
                </a:lnTo>
                <a:lnTo>
                  <a:pt x="292" y="217"/>
                </a:lnTo>
                <a:lnTo>
                  <a:pt x="284" y="209"/>
                </a:lnTo>
                <a:lnTo>
                  <a:pt x="284" y="154"/>
                </a:lnTo>
                <a:lnTo>
                  <a:pt x="292" y="142"/>
                </a:lnTo>
                <a:lnTo>
                  <a:pt x="298" y="130"/>
                </a:lnTo>
                <a:lnTo>
                  <a:pt x="298" y="120"/>
                </a:lnTo>
                <a:lnTo>
                  <a:pt x="302" y="119"/>
                </a:lnTo>
                <a:lnTo>
                  <a:pt x="303" y="116"/>
                </a:lnTo>
                <a:lnTo>
                  <a:pt x="304" y="114"/>
                </a:lnTo>
                <a:lnTo>
                  <a:pt x="304" y="110"/>
                </a:lnTo>
                <a:lnTo>
                  <a:pt x="314" y="110"/>
                </a:lnTo>
                <a:lnTo>
                  <a:pt x="314" y="100"/>
                </a:lnTo>
                <a:lnTo>
                  <a:pt x="314" y="90"/>
                </a:lnTo>
                <a:lnTo>
                  <a:pt x="315" y="87"/>
                </a:lnTo>
                <a:lnTo>
                  <a:pt x="316" y="79"/>
                </a:lnTo>
                <a:lnTo>
                  <a:pt x="317" y="67"/>
                </a:lnTo>
                <a:lnTo>
                  <a:pt x="319" y="54"/>
                </a:lnTo>
                <a:lnTo>
                  <a:pt x="319" y="27"/>
                </a:lnTo>
                <a:lnTo>
                  <a:pt x="319" y="10"/>
                </a:lnTo>
                <a:lnTo>
                  <a:pt x="304" y="0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01" name="Freeform 62">
            <a:extLst>
              <a:ext uri="{FF2B5EF4-FFF2-40B4-BE49-F238E27FC236}">
                <a16:creationId xmlns:a16="http://schemas.microsoft.com/office/drawing/2014/main" id="{AB4EAF81-0AF4-4894-98B3-D5704904BD66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967788" y="5275263"/>
            <a:ext cx="67670" cy="50800"/>
          </a:xfrm>
          <a:custGeom>
            <a:avLst/>
            <a:gdLst/>
            <a:ahLst/>
            <a:cxnLst>
              <a:cxn ang="0">
                <a:pos x="304" y="17"/>
              </a:cxn>
              <a:cxn ang="0">
                <a:pos x="289" y="20"/>
              </a:cxn>
              <a:cxn ang="0">
                <a:pos x="266" y="24"/>
              </a:cxn>
              <a:cxn ang="0">
                <a:pos x="235" y="34"/>
              </a:cxn>
              <a:cxn ang="0">
                <a:pos x="200" y="39"/>
              </a:cxn>
              <a:cxn ang="0">
                <a:pos x="164" y="46"/>
              </a:cxn>
              <a:cxn ang="0">
                <a:pos x="141" y="56"/>
              </a:cxn>
              <a:cxn ang="0">
                <a:pos x="127" y="66"/>
              </a:cxn>
              <a:cxn ang="0">
                <a:pos x="116" y="81"/>
              </a:cxn>
              <a:cxn ang="0">
                <a:pos x="105" y="100"/>
              </a:cxn>
              <a:cxn ang="0">
                <a:pos x="87" y="119"/>
              </a:cxn>
              <a:cxn ang="0">
                <a:pos x="57" y="141"/>
              </a:cxn>
              <a:cxn ang="0">
                <a:pos x="32" y="159"/>
              </a:cxn>
              <a:cxn ang="0">
                <a:pos x="18" y="171"/>
              </a:cxn>
              <a:cxn ang="0">
                <a:pos x="7" y="186"/>
              </a:cxn>
              <a:cxn ang="0">
                <a:pos x="1" y="200"/>
              </a:cxn>
              <a:cxn ang="0">
                <a:pos x="9" y="214"/>
              </a:cxn>
              <a:cxn ang="0">
                <a:pos x="20" y="227"/>
              </a:cxn>
              <a:cxn ang="0">
                <a:pos x="31" y="253"/>
              </a:cxn>
              <a:cxn ang="0">
                <a:pos x="39" y="279"/>
              </a:cxn>
              <a:cxn ang="0">
                <a:pos x="47" y="292"/>
              </a:cxn>
              <a:cxn ang="0">
                <a:pos x="57" y="301"/>
              </a:cxn>
              <a:cxn ang="0">
                <a:pos x="68" y="306"/>
              </a:cxn>
              <a:cxn ang="0">
                <a:pos x="88" y="311"/>
              </a:cxn>
              <a:cxn ang="0">
                <a:pos x="117" y="311"/>
              </a:cxn>
              <a:cxn ang="0">
                <a:pos x="143" y="308"/>
              </a:cxn>
              <a:cxn ang="0">
                <a:pos x="163" y="303"/>
              </a:cxn>
              <a:cxn ang="0">
                <a:pos x="181" y="294"/>
              </a:cxn>
              <a:cxn ang="0">
                <a:pos x="192" y="284"/>
              </a:cxn>
              <a:cxn ang="0">
                <a:pos x="196" y="275"/>
              </a:cxn>
              <a:cxn ang="0">
                <a:pos x="201" y="263"/>
              </a:cxn>
              <a:cxn ang="0">
                <a:pos x="209" y="250"/>
              </a:cxn>
              <a:cxn ang="0">
                <a:pos x="225" y="236"/>
              </a:cxn>
              <a:cxn ang="0">
                <a:pos x="268" y="211"/>
              </a:cxn>
              <a:cxn ang="0">
                <a:pos x="302" y="190"/>
              </a:cxn>
              <a:cxn ang="0">
                <a:pos x="317" y="172"/>
              </a:cxn>
              <a:cxn ang="0">
                <a:pos x="327" y="151"/>
              </a:cxn>
              <a:cxn ang="0">
                <a:pos x="333" y="128"/>
              </a:cxn>
              <a:cxn ang="0">
                <a:pos x="334" y="100"/>
              </a:cxn>
              <a:cxn ang="0">
                <a:pos x="338" y="81"/>
              </a:cxn>
              <a:cxn ang="0">
                <a:pos x="345" y="68"/>
              </a:cxn>
              <a:cxn ang="0">
                <a:pos x="356" y="52"/>
              </a:cxn>
              <a:cxn ang="0">
                <a:pos x="364" y="37"/>
              </a:cxn>
              <a:cxn ang="0">
                <a:pos x="368" y="25"/>
              </a:cxn>
              <a:cxn ang="0">
                <a:pos x="367" y="16"/>
              </a:cxn>
              <a:cxn ang="0">
                <a:pos x="363" y="9"/>
              </a:cxn>
              <a:cxn ang="0">
                <a:pos x="356" y="5"/>
              </a:cxn>
              <a:cxn ang="0">
                <a:pos x="338" y="0"/>
              </a:cxn>
              <a:cxn ang="0">
                <a:pos x="318" y="6"/>
              </a:cxn>
            </a:cxnLst>
            <a:rect l="0" t="0" r="r" b="b"/>
            <a:pathLst>
              <a:path w="368" h="311">
                <a:moveTo>
                  <a:pt x="310" y="14"/>
                </a:moveTo>
                <a:lnTo>
                  <a:pt x="304" y="17"/>
                </a:lnTo>
                <a:lnTo>
                  <a:pt x="297" y="19"/>
                </a:lnTo>
                <a:lnTo>
                  <a:pt x="289" y="20"/>
                </a:lnTo>
                <a:lnTo>
                  <a:pt x="281" y="22"/>
                </a:lnTo>
                <a:lnTo>
                  <a:pt x="266" y="24"/>
                </a:lnTo>
                <a:lnTo>
                  <a:pt x="251" y="28"/>
                </a:lnTo>
                <a:lnTo>
                  <a:pt x="235" y="34"/>
                </a:lnTo>
                <a:lnTo>
                  <a:pt x="218" y="37"/>
                </a:lnTo>
                <a:lnTo>
                  <a:pt x="200" y="39"/>
                </a:lnTo>
                <a:lnTo>
                  <a:pt x="182" y="43"/>
                </a:lnTo>
                <a:lnTo>
                  <a:pt x="164" y="46"/>
                </a:lnTo>
                <a:lnTo>
                  <a:pt x="148" y="52"/>
                </a:lnTo>
                <a:lnTo>
                  <a:pt x="141" y="56"/>
                </a:lnTo>
                <a:lnTo>
                  <a:pt x="134" y="61"/>
                </a:lnTo>
                <a:lnTo>
                  <a:pt x="127" y="66"/>
                </a:lnTo>
                <a:lnTo>
                  <a:pt x="122" y="72"/>
                </a:lnTo>
                <a:lnTo>
                  <a:pt x="116" y="81"/>
                </a:lnTo>
                <a:lnTo>
                  <a:pt x="110" y="91"/>
                </a:lnTo>
                <a:lnTo>
                  <a:pt x="105" y="100"/>
                </a:lnTo>
                <a:lnTo>
                  <a:pt x="99" y="107"/>
                </a:lnTo>
                <a:lnTo>
                  <a:pt x="87" y="119"/>
                </a:lnTo>
                <a:lnTo>
                  <a:pt x="72" y="130"/>
                </a:lnTo>
                <a:lnTo>
                  <a:pt x="57" y="141"/>
                </a:lnTo>
                <a:lnTo>
                  <a:pt x="40" y="152"/>
                </a:lnTo>
                <a:lnTo>
                  <a:pt x="32" y="159"/>
                </a:lnTo>
                <a:lnTo>
                  <a:pt x="24" y="164"/>
                </a:lnTo>
                <a:lnTo>
                  <a:pt x="18" y="171"/>
                </a:lnTo>
                <a:lnTo>
                  <a:pt x="12" y="178"/>
                </a:lnTo>
                <a:lnTo>
                  <a:pt x="7" y="186"/>
                </a:lnTo>
                <a:lnTo>
                  <a:pt x="3" y="192"/>
                </a:lnTo>
                <a:lnTo>
                  <a:pt x="1" y="200"/>
                </a:lnTo>
                <a:lnTo>
                  <a:pt x="0" y="208"/>
                </a:lnTo>
                <a:lnTo>
                  <a:pt x="9" y="214"/>
                </a:lnTo>
                <a:lnTo>
                  <a:pt x="16" y="219"/>
                </a:lnTo>
                <a:lnTo>
                  <a:pt x="20" y="227"/>
                </a:lnTo>
                <a:lnTo>
                  <a:pt x="24" y="235"/>
                </a:lnTo>
                <a:lnTo>
                  <a:pt x="31" y="253"/>
                </a:lnTo>
                <a:lnTo>
                  <a:pt x="37" y="272"/>
                </a:lnTo>
                <a:lnTo>
                  <a:pt x="39" y="279"/>
                </a:lnTo>
                <a:lnTo>
                  <a:pt x="42" y="286"/>
                </a:lnTo>
                <a:lnTo>
                  <a:pt x="47" y="292"/>
                </a:lnTo>
                <a:lnTo>
                  <a:pt x="51" y="297"/>
                </a:lnTo>
                <a:lnTo>
                  <a:pt x="57" y="301"/>
                </a:lnTo>
                <a:lnTo>
                  <a:pt x="62" y="304"/>
                </a:lnTo>
                <a:lnTo>
                  <a:pt x="68" y="306"/>
                </a:lnTo>
                <a:lnTo>
                  <a:pt x="75" y="308"/>
                </a:lnTo>
                <a:lnTo>
                  <a:pt x="88" y="311"/>
                </a:lnTo>
                <a:lnTo>
                  <a:pt x="103" y="311"/>
                </a:lnTo>
                <a:lnTo>
                  <a:pt x="117" y="311"/>
                </a:lnTo>
                <a:lnTo>
                  <a:pt x="132" y="310"/>
                </a:lnTo>
                <a:lnTo>
                  <a:pt x="143" y="308"/>
                </a:lnTo>
                <a:lnTo>
                  <a:pt x="153" y="306"/>
                </a:lnTo>
                <a:lnTo>
                  <a:pt x="163" y="303"/>
                </a:lnTo>
                <a:lnTo>
                  <a:pt x="173" y="299"/>
                </a:lnTo>
                <a:lnTo>
                  <a:pt x="181" y="294"/>
                </a:lnTo>
                <a:lnTo>
                  <a:pt x="189" y="287"/>
                </a:lnTo>
                <a:lnTo>
                  <a:pt x="192" y="284"/>
                </a:lnTo>
                <a:lnTo>
                  <a:pt x="194" y="279"/>
                </a:lnTo>
                <a:lnTo>
                  <a:pt x="196" y="275"/>
                </a:lnTo>
                <a:lnTo>
                  <a:pt x="199" y="269"/>
                </a:lnTo>
                <a:lnTo>
                  <a:pt x="201" y="263"/>
                </a:lnTo>
                <a:lnTo>
                  <a:pt x="204" y="256"/>
                </a:lnTo>
                <a:lnTo>
                  <a:pt x="209" y="250"/>
                </a:lnTo>
                <a:lnTo>
                  <a:pt x="213" y="245"/>
                </a:lnTo>
                <a:lnTo>
                  <a:pt x="225" y="236"/>
                </a:lnTo>
                <a:lnTo>
                  <a:pt x="239" y="227"/>
                </a:lnTo>
                <a:lnTo>
                  <a:pt x="268" y="211"/>
                </a:lnTo>
                <a:lnTo>
                  <a:pt x="294" y="197"/>
                </a:lnTo>
                <a:lnTo>
                  <a:pt x="302" y="190"/>
                </a:lnTo>
                <a:lnTo>
                  <a:pt x="309" y="182"/>
                </a:lnTo>
                <a:lnTo>
                  <a:pt x="317" y="172"/>
                </a:lnTo>
                <a:lnTo>
                  <a:pt x="323" y="162"/>
                </a:lnTo>
                <a:lnTo>
                  <a:pt x="327" y="151"/>
                </a:lnTo>
                <a:lnTo>
                  <a:pt x="330" y="139"/>
                </a:lnTo>
                <a:lnTo>
                  <a:pt x="333" y="128"/>
                </a:lnTo>
                <a:lnTo>
                  <a:pt x="334" y="116"/>
                </a:lnTo>
                <a:lnTo>
                  <a:pt x="334" y="100"/>
                </a:lnTo>
                <a:lnTo>
                  <a:pt x="336" y="87"/>
                </a:lnTo>
                <a:lnTo>
                  <a:pt x="338" y="81"/>
                </a:lnTo>
                <a:lnTo>
                  <a:pt x="340" y="75"/>
                </a:lnTo>
                <a:lnTo>
                  <a:pt x="345" y="68"/>
                </a:lnTo>
                <a:lnTo>
                  <a:pt x="349" y="61"/>
                </a:lnTo>
                <a:lnTo>
                  <a:pt x="356" y="52"/>
                </a:lnTo>
                <a:lnTo>
                  <a:pt x="360" y="44"/>
                </a:lnTo>
                <a:lnTo>
                  <a:pt x="364" y="37"/>
                </a:lnTo>
                <a:lnTo>
                  <a:pt x="367" y="30"/>
                </a:lnTo>
                <a:lnTo>
                  <a:pt x="368" y="25"/>
                </a:lnTo>
                <a:lnTo>
                  <a:pt x="368" y="20"/>
                </a:lnTo>
                <a:lnTo>
                  <a:pt x="367" y="16"/>
                </a:lnTo>
                <a:lnTo>
                  <a:pt x="366" y="13"/>
                </a:lnTo>
                <a:lnTo>
                  <a:pt x="363" y="9"/>
                </a:lnTo>
                <a:lnTo>
                  <a:pt x="359" y="6"/>
                </a:lnTo>
                <a:lnTo>
                  <a:pt x="356" y="5"/>
                </a:lnTo>
                <a:lnTo>
                  <a:pt x="350" y="3"/>
                </a:lnTo>
                <a:lnTo>
                  <a:pt x="338" y="0"/>
                </a:lnTo>
                <a:lnTo>
                  <a:pt x="324" y="0"/>
                </a:lnTo>
                <a:lnTo>
                  <a:pt x="318" y="6"/>
                </a:lnTo>
                <a:lnTo>
                  <a:pt x="310" y="14"/>
                </a:lnTo>
                <a:close/>
              </a:path>
            </a:pathLst>
          </a:cu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02" name="Freeform 63">
            <a:extLst>
              <a:ext uri="{FF2B5EF4-FFF2-40B4-BE49-F238E27FC236}">
                <a16:creationId xmlns:a16="http://schemas.microsoft.com/office/drawing/2014/main" id="{320E35D4-CD76-45C9-900D-E1FB6CA2F1B8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9291638" y="4913313"/>
            <a:ext cx="192091" cy="234950"/>
          </a:xfrm>
          <a:custGeom>
            <a:avLst/>
            <a:gdLst/>
            <a:ahLst/>
            <a:cxnLst>
              <a:cxn ang="0">
                <a:pos x="121" y="679"/>
              </a:cxn>
              <a:cxn ang="0">
                <a:pos x="50" y="765"/>
              </a:cxn>
              <a:cxn ang="0">
                <a:pos x="5" y="807"/>
              </a:cxn>
              <a:cxn ang="0">
                <a:pos x="43" y="817"/>
              </a:cxn>
              <a:cxn ang="0">
                <a:pos x="84" y="841"/>
              </a:cxn>
              <a:cxn ang="0">
                <a:pos x="115" y="893"/>
              </a:cxn>
              <a:cxn ang="0">
                <a:pos x="137" y="969"/>
              </a:cxn>
              <a:cxn ang="0">
                <a:pos x="115" y="1035"/>
              </a:cxn>
              <a:cxn ang="0">
                <a:pos x="95" y="1093"/>
              </a:cxn>
              <a:cxn ang="0">
                <a:pos x="65" y="1106"/>
              </a:cxn>
              <a:cxn ang="0">
                <a:pos x="0" y="1132"/>
              </a:cxn>
              <a:cxn ang="0">
                <a:pos x="29" y="1152"/>
              </a:cxn>
              <a:cxn ang="0">
                <a:pos x="52" y="1181"/>
              </a:cxn>
              <a:cxn ang="0">
                <a:pos x="85" y="1284"/>
              </a:cxn>
              <a:cxn ang="0">
                <a:pos x="148" y="1385"/>
              </a:cxn>
              <a:cxn ang="0">
                <a:pos x="206" y="1437"/>
              </a:cxn>
              <a:cxn ang="0">
                <a:pos x="249" y="1447"/>
              </a:cxn>
              <a:cxn ang="0">
                <a:pos x="290" y="1430"/>
              </a:cxn>
              <a:cxn ang="0">
                <a:pos x="331" y="1382"/>
              </a:cxn>
              <a:cxn ang="0">
                <a:pos x="379" y="1277"/>
              </a:cxn>
              <a:cxn ang="0">
                <a:pos x="430" y="1177"/>
              </a:cxn>
              <a:cxn ang="0">
                <a:pos x="504" y="1103"/>
              </a:cxn>
              <a:cxn ang="0">
                <a:pos x="589" y="1043"/>
              </a:cxn>
              <a:cxn ang="0">
                <a:pos x="629" y="1030"/>
              </a:cxn>
              <a:cxn ang="0">
                <a:pos x="776" y="1021"/>
              </a:cxn>
              <a:cxn ang="0">
                <a:pos x="807" y="1005"/>
              </a:cxn>
              <a:cxn ang="0">
                <a:pos x="826" y="973"/>
              </a:cxn>
              <a:cxn ang="0">
                <a:pos x="838" y="869"/>
              </a:cxn>
              <a:cxn ang="0">
                <a:pos x="839" y="748"/>
              </a:cxn>
              <a:cxn ang="0">
                <a:pos x="854" y="683"/>
              </a:cxn>
              <a:cxn ang="0">
                <a:pos x="900" y="631"/>
              </a:cxn>
              <a:cxn ang="0">
                <a:pos x="968" y="556"/>
              </a:cxn>
              <a:cxn ang="0">
                <a:pos x="985" y="536"/>
              </a:cxn>
              <a:cxn ang="0">
                <a:pos x="1004" y="507"/>
              </a:cxn>
              <a:cxn ang="0">
                <a:pos x="1029" y="405"/>
              </a:cxn>
              <a:cxn ang="0">
                <a:pos x="1035" y="303"/>
              </a:cxn>
              <a:cxn ang="0">
                <a:pos x="1017" y="202"/>
              </a:cxn>
              <a:cxn ang="0">
                <a:pos x="1009" y="64"/>
              </a:cxn>
              <a:cxn ang="0">
                <a:pos x="999" y="36"/>
              </a:cxn>
              <a:cxn ang="0">
                <a:pos x="983" y="5"/>
              </a:cxn>
              <a:cxn ang="0">
                <a:pos x="951" y="0"/>
              </a:cxn>
              <a:cxn ang="0">
                <a:pos x="873" y="33"/>
              </a:cxn>
              <a:cxn ang="0">
                <a:pos x="783" y="100"/>
              </a:cxn>
              <a:cxn ang="0">
                <a:pos x="615" y="238"/>
              </a:cxn>
              <a:cxn ang="0">
                <a:pos x="574" y="264"/>
              </a:cxn>
              <a:cxn ang="0">
                <a:pos x="532" y="271"/>
              </a:cxn>
              <a:cxn ang="0">
                <a:pos x="433" y="296"/>
              </a:cxn>
              <a:cxn ang="0">
                <a:pos x="373" y="347"/>
              </a:cxn>
              <a:cxn ang="0">
                <a:pos x="295" y="458"/>
              </a:cxn>
              <a:cxn ang="0">
                <a:pos x="252" y="498"/>
              </a:cxn>
              <a:cxn ang="0">
                <a:pos x="193" y="554"/>
              </a:cxn>
              <a:cxn ang="0">
                <a:pos x="177" y="568"/>
              </a:cxn>
              <a:cxn ang="0">
                <a:pos x="167" y="581"/>
              </a:cxn>
            </a:cxnLst>
            <a:rect l="0" t="0" r="r" b="b"/>
            <a:pathLst>
              <a:path w="1035" h="1447">
                <a:moveTo>
                  <a:pt x="157" y="593"/>
                </a:moveTo>
                <a:lnTo>
                  <a:pt x="150" y="615"/>
                </a:lnTo>
                <a:lnTo>
                  <a:pt x="142" y="636"/>
                </a:lnTo>
                <a:lnTo>
                  <a:pt x="133" y="659"/>
                </a:lnTo>
                <a:lnTo>
                  <a:pt x="121" y="679"/>
                </a:lnTo>
                <a:lnTo>
                  <a:pt x="108" y="699"/>
                </a:lnTo>
                <a:lnTo>
                  <a:pt x="96" y="718"/>
                </a:lnTo>
                <a:lnTo>
                  <a:pt x="81" y="735"/>
                </a:lnTo>
                <a:lnTo>
                  <a:pt x="67" y="750"/>
                </a:lnTo>
                <a:lnTo>
                  <a:pt x="50" y="765"/>
                </a:lnTo>
                <a:lnTo>
                  <a:pt x="30" y="781"/>
                </a:lnTo>
                <a:lnTo>
                  <a:pt x="20" y="790"/>
                </a:lnTo>
                <a:lnTo>
                  <a:pt x="11" y="799"/>
                </a:lnTo>
                <a:lnTo>
                  <a:pt x="9" y="803"/>
                </a:lnTo>
                <a:lnTo>
                  <a:pt x="5" y="807"/>
                </a:lnTo>
                <a:lnTo>
                  <a:pt x="4" y="810"/>
                </a:lnTo>
                <a:lnTo>
                  <a:pt x="4" y="814"/>
                </a:lnTo>
                <a:lnTo>
                  <a:pt x="19" y="814"/>
                </a:lnTo>
                <a:lnTo>
                  <a:pt x="31" y="815"/>
                </a:lnTo>
                <a:lnTo>
                  <a:pt x="43" y="817"/>
                </a:lnTo>
                <a:lnTo>
                  <a:pt x="53" y="821"/>
                </a:lnTo>
                <a:lnTo>
                  <a:pt x="62" y="824"/>
                </a:lnTo>
                <a:lnTo>
                  <a:pt x="70" y="829"/>
                </a:lnTo>
                <a:lnTo>
                  <a:pt x="78" y="835"/>
                </a:lnTo>
                <a:lnTo>
                  <a:pt x="84" y="841"/>
                </a:lnTo>
                <a:lnTo>
                  <a:pt x="90" y="848"/>
                </a:lnTo>
                <a:lnTo>
                  <a:pt x="95" y="855"/>
                </a:lnTo>
                <a:lnTo>
                  <a:pt x="100" y="864"/>
                </a:lnTo>
                <a:lnTo>
                  <a:pt x="105" y="873"/>
                </a:lnTo>
                <a:lnTo>
                  <a:pt x="115" y="893"/>
                </a:lnTo>
                <a:lnTo>
                  <a:pt x="126" y="915"/>
                </a:lnTo>
                <a:lnTo>
                  <a:pt x="132" y="930"/>
                </a:lnTo>
                <a:lnTo>
                  <a:pt x="136" y="943"/>
                </a:lnTo>
                <a:lnTo>
                  <a:pt x="137" y="957"/>
                </a:lnTo>
                <a:lnTo>
                  <a:pt x="137" y="969"/>
                </a:lnTo>
                <a:lnTo>
                  <a:pt x="136" y="981"/>
                </a:lnTo>
                <a:lnTo>
                  <a:pt x="133" y="992"/>
                </a:lnTo>
                <a:lnTo>
                  <a:pt x="129" y="1004"/>
                </a:lnTo>
                <a:lnTo>
                  <a:pt x="125" y="1015"/>
                </a:lnTo>
                <a:lnTo>
                  <a:pt x="115" y="1035"/>
                </a:lnTo>
                <a:lnTo>
                  <a:pt x="105" y="1055"/>
                </a:lnTo>
                <a:lnTo>
                  <a:pt x="100" y="1064"/>
                </a:lnTo>
                <a:lnTo>
                  <a:pt x="97" y="1074"/>
                </a:lnTo>
                <a:lnTo>
                  <a:pt x="95" y="1083"/>
                </a:lnTo>
                <a:lnTo>
                  <a:pt x="95" y="1093"/>
                </a:lnTo>
                <a:lnTo>
                  <a:pt x="89" y="1094"/>
                </a:lnTo>
                <a:lnTo>
                  <a:pt x="84" y="1097"/>
                </a:lnTo>
                <a:lnTo>
                  <a:pt x="77" y="1101"/>
                </a:lnTo>
                <a:lnTo>
                  <a:pt x="75" y="1105"/>
                </a:lnTo>
                <a:lnTo>
                  <a:pt x="65" y="1106"/>
                </a:lnTo>
                <a:lnTo>
                  <a:pt x="54" y="1108"/>
                </a:lnTo>
                <a:lnTo>
                  <a:pt x="42" y="1113"/>
                </a:lnTo>
                <a:lnTo>
                  <a:pt x="31" y="1119"/>
                </a:lnTo>
                <a:lnTo>
                  <a:pt x="12" y="1127"/>
                </a:lnTo>
                <a:lnTo>
                  <a:pt x="0" y="1132"/>
                </a:lnTo>
                <a:lnTo>
                  <a:pt x="0" y="1140"/>
                </a:lnTo>
                <a:lnTo>
                  <a:pt x="8" y="1141"/>
                </a:lnTo>
                <a:lnTo>
                  <a:pt x="14" y="1144"/>
                </a:lnTo>
                <a:lnTo>
                  <a:pt x="22" y="1148"/>
                </a:lnTo>
                <a:lnTo>
                  <a:pt x="29" y="1152"/>
                </a:lnTo>
                <a:lnTo>
                  <a:pt x="34" y="1156"/>
                </a:lnTo>
                <a:lnTo>
                  <a:pt x="41" y="1160"/>
                </a:lnTo>
                <a:lnTo>
                  <a:pt x="47" y="1163"/>
                </a:lnTo>
                <a:lnTo>
                  <a:pt x="51" y="1163"/>
                </a:lnTo>
                <a:lnTo>
                  <a:pt x="52" y="1181"/>
                </a:lnTo>
                <a:lnTo>
                  <a:pt x="56" y="1200"/>
                </a:lnTo>
                <a:lnTo>
                  <a:pt x="60" y="1220"/>
                </a:lnTo>
                <a:lnTo>
                  <a:pt x="67" y="1240"/>
                </a:lnTo>
                <a:lnTo>
                  <a:pt x="76" y="1262"/>
                </a:lnTo>
                <a:lnTo>
                  <a:pt x="85" y="1284"/>
                </a:lnTo>
                <a:lnTo>
                  <a:pt x="96" y="1306"/>
                </a:lnTo>
                <a:lnTo>
                  <a:pt x="108" y="1327"/>
                </a:lnTo>
                <a:lnTo>
                  <a:pt x="120" y="1347"/>
                </a:lnTo>
                <a:lnTo>
                  <a:pt x="134" y="1367"/>
                </a:lnTo>
                <a:lnTo>
                  <a:pt x="148" y="1385"/>
                </a:lnTo>
                <a:lnTo>
                  <a:pt x="163" y="1402"/>
                </a:lnTo>
                <a:lnTo>
                  <a:pt x="177" y="1415"/>
                </a:lnTo>
                <a:lnTo>
                  <a:pt x="192" y="1428"/>
                </a:lnTo>
                <a:lnTo>
                  <a:pt x="198" y="1433"/>
                </a:lnTo>
                <a:lnTo>
                  <a:pt x="206" y="1437"/>
                </a:lnTo>
                <a:lnTo>
                  <a:pt x="213" y="1440"/>
                </a:lnTo>
                <a:lnTo>
                  <a:pt x="221" y="1443"/>
                </a:lnTo>
                <a:lnTo>
                  <a:pt x="230" y="1446"/>
                </a:lnTo>
                <a:lnTo>
                  <a:pt x="240" y="1447"/>
                </a:lnTo>
                <a:lnTo>
                  <a:pt x="249" y="1447"/>
                </a:lnTo>
                <a:lnTo>
                  <a:pt x="258" y="1446"/>
                </a:lnTo>
                <a:lnTo>
                  <a:pt x="267" y="1443"/>
                </a:lnTo>
                <a:lnTo>
                  <a:pt x="274" y="1440"/>
                </a:lnTo>
                <a:lnTo>
                  <a:pt x="282" y="1435"/>
                </a:lnTo>
                <a:lnTo>
                  <a:pt x="290" y="1430"/>
                </a:lnTo>
                <a:lnTo>
                  <a:pt x="298" y="1424"/>
                </a:lnTo>
                <a:lnTo>
                  <a:pt x="305" y="1416"/>
                </a:lnTo>
                <a:lnTo>
                  <a:pt x="311" y="1409"/>
                </a:lnTo>
                <a:lnTo>
                  <a:pt x="318" y="1401"/>
                </a:lnTo>
                <a:lnTo>
                  <a:pt x="331" y="1382"/>
                </a:lnTo>
                <a:lnTo>
                  <a:pt x="343" y="1362"/>
                </a:lnTo>
                <a:lnTo>
                  <a:pt x="353" y="1342"/>
                </a:lnTo>
                <a:lnTo>
                  <a:pt x="363" y="1319"/>
                </a:lnTo>
                <a:lnTo>
                  <a:pt x="372" y="1298"/>
                </a:lnTo>
                <a:lnTo>
                  <a:pt x="379" y="1277"/>
                </a:lnTo>
                <a:lnTo>
                  <a:pt x="394" y="1239"/>
                </a:lnTo>
                <a:lnTo>
                  <a:pt x="405" y="1211"/>
                </a:lnTo>
                <a:lnTo>
                  <a:pt x="411" y="1201"/>
                </a:lnTo>
                <a:lnTo>
                  <a:pt x="420" y="1190"/>
                </a:lnTo>
                <a:lnTo>
                  <a:pt x="430" y="1177"/>
                </a:lnTo>
                <a:lnTo>
                  <a:pt x="442" y="1163"/>
                </a:lnTo>
                <a:lnTo>
                  <a:pt x="456" y="1148"/>
                </a:lnTo>
                <a:lnTo>
                  <a:pt x="471" y="1133"/>
                </a:lnTo>
                <a:lnTo>
                  <a:pt x="488" y="1117"/>
                </a:lnTo>
                <a:lnTo>
                  <a:pt x="504" y="1103"/>
                </a:lnTo>
                <a:lnTo>
                  <a:pt x="521" y="1088"/>
                </a:lnTo>
                <a:lnTo>
                  <a:pt x="539" y="1075"/>
                </a:lnTo>
                <a:lnTo>
                  <a:pt x="556" y="1063"/>
                </a:lnTo>
                <a:lnTo>
                  <a:pt x="574" y="1052"/>
                </a:lnTo>
                <a:lnTo>
                  <a:pt x="589" y="1043"/>
                </a:lnTo>
                <a:lnTo>
                  <a:pt x="604" y="1036"/>
                </a:lnTo>
                <a:lnTo>
                  <a:pt x="612" y="1034"/>
                </a:lnTo>
                <a:lnTo>
                  <a:pt x="618" y="1031"/>
                </a:lnTo>
                <a:lnTo>
                  <a:pt x="624" y="1030"/>
                </a:lnTo>
                <a:lnTo>
                  <a:pt x="629" y="1030"/>
                </a:lnTo>
                <a:lnTo>
                  <a:pt x="686" y="1030"/>
                </a:lnTo>
                <a:lnTo>
                  <a:pt x="732" y="1028"/>
                </a:lnTo>
                <a:lnTo>
                  <a:pt x="751" y="1027"/>
                </a:lnTo>
                <a:lnTo>
                  <a:pt x="768" y="1024"/>
                </a:lnTo>
                <a:lnTo>
                  <a:pt x="776" y="1021"/>
                </a:lnTo>
                <a:lnTo>
                  <a:pt x="783" y="1019"/>
                </a:lnTo>
                <a:lnTo>
                  <a:pt x="790" y="1016"/>
                </a:lnTo>
                <a:lnTo>
                  <a:pt x="796" y="1012"/>
                </a:lnTo>
                <a:lnTo>
                  <a:pt x="801" y="1009"/>
                </a:lnTo>
                <a:lnTo>
                  <a:pt x="807" y="1005"/>
                </a:lnTo>
                <a:lnTo>
                  <a:pt x="811" y="999"/>
                </a:lnTo>
                <a:lnTo>
                  <a:pt x="816" y="994"/>
                </a:lnTo>
                <a:lnTo>
                  <a:pt x="820" y="988"/>
                </a:lnTo>
                <a:lnTo>
                  <a:pt x="824" y="981"/>
                </a:lnTo>
                <a:lnTo>
                  <a:pt x="826" y="973"/>
                </a:lnTo>
                <a:lnTo>
                  <a:pt x="829" y="964"/>
                </a:lnTo>
                <a:lnTo>
                  <a:pt x="834" y="947"/>
                </a:lnTo>
                <a:lnTo>
                  <a:pt x="836" y="924"/>
                </a:lnTo>
                <a:lnTo>
                  <a:pt x="838" y="899"/>
                </a:lnTo>
                <a:lnTo>
                  <a:pt x="838" y="869"/>
                </a:lnTo>
                <a:lnTo>
                  <a:pt x="838" y="846"/>
                </a:lnTo>
                <a:lnTo>
                  <a:pt x="837" y="823"/>
                </a:lnTo>
                <a:lnTo>
                  <a:pt x="837" y="798"/>
                </a:lnTo>
                <a:lnTo>
                  <a:pt x="837" y="773"/>
                </a:lnTo>
                <a:lnTo>
                  <a:pt x="839" y="748"/>
                </a:lnTo>
                <a:lnTo>
                  <a:pt x="841" y="725"/>
                </a:lnTo>
                <a:lnTo>
                  <a:pt x="844" y="713"/>
                </a:lnTo>
                <a:lnTo>
                  <a:pt x="847" y="702"/>
                </a:lnTo>
                <a:lnTo>
                  <a:pt x="850" y="692"/>
                </a:lnTo>
                <a:lnTo>
                  <a:pt x="854" y="683"/>
                </a:lnTo>
                <a:lnTo>
                  <a:pt x="858" y="675"/>
                </a:lnTo>
                <a:lnTo>
                  <a:pt x="865" y="668"/>
                </a:lnTo>
                <a:lnTo>
                  <a:pt x="873" y="659"/>
                </a:lnTo>
                <a:lnTo>
                  <a:pt x="881" y="650"/>
                </a:lnTo>
                <a:lnTo>
                  <a:pt x="900" y="631"/>
                </a:lnTo>
                <a:lnTo>
                  <a:pt x="921" y="611"/>
                </a:lnTo>
                <a:lnTo>
                  <a:pt x="940" y="592"/>
                </a:lnTo>
                <a:lnTo>
                  <a:pt x="956" y="574"/>
                </a:lnTo>
                <a:lnTo>
                  <a:pt x="963" y="565"/>
                </a:lnTo>
                <a:lnTo>
                  <a:pt x="968" y="556"/>
                </a:lnTo>
                <a:lnTo>
                  <a:pt x="971" y="549"/>
                </a:lnTo>
                <a:lnTo>
                  <a:pt x="972" y="542"/>
                </a:lnTo>
                <a:lnTo>
                  <a:pt x="977" y="542"/>
                </a:lnTo>
                <a:lnTo>
                  <a:pt x="981" y="539"/>
                </a:lnTo>
                <a:lnTo>
                  <a:pt x="985" y="536"/>
                </a:lnTo>
                <a:lnTo>
                  <a:pt x="990" y="533"/>
                </a:lnTo>
                <a:lnTo>
                  <a:pt x="993" y="527"/>
                </a:lnTo>
                <a:lnTo>
                  <a:pt x="998" y="521"/>
                </a:lnTo>
                <a:lnTo>
                  <a:pt x="1001" y="515"/>
                </a:lnTo>
                <a:lnTo>
                  <a:pt x="1004" y="507"/>
                </a:lnTo>
                <a:lnTo>
                  <a:pt x="1011" y="490"/>
                </a:lnTo>
                <a:lnTo>
                  <a:pt x="1017" y="471"/>
                </a:lnTo>
                <a:lnTo>
                  <a:pt x="1021" y="450"/>
                </a:lnTo>
                <a:lnTo>
                  <a:pt x="1026" y="428"/>
                </a:lnTo>
                <a:lnTo>
                  <a:pt x="1029" y="405"/>
                </a:lnTo>
                <a:lnTo>
                  <a:pt x="1031" y="382"/>
                </a:lnTo>
                <a:lnTo>
                  <a:pt x="1033" y="361"/>
                </a:lnTo>
                <a:lnTo>
                  <a:pt x="1035" y="339"/>
                </a:lnTo>
                <a:lnTo>
                  <a:pt x="1035" y="321"/>
                </a:lnTo>
                <a:lnTo>
                  <a:pt x="1035" y="303"/>
                </a:lnTo>
                <a:lnTo>
                  <a:pt x="1033" y="289"/>
                </a:lnTo>
                <a:lnTo>
                  <a:pt x="1031" y="278"/>
                </a:lnTo>
                <a:lnTo>
                  <a:pt x="1026" y="252"/>
                </a:lnTo>
                <a:lnTo>
                  <a:pt x="1021" y="227"/>
                </a:lnTo>
                <a:lnTo>
                  <a:pt x="1017" y="202"/>
                </a:lnTo>
                <a:lnTo>
                  <a:pt x="1011" y="175"/>
                </a:lnTo>
                <a:lnTo>
                  <a:pt x="1011" y="148"/>
                </a:lnTo>
                <a:lnTo>
                  <a:pt x="1011" y="103"/>
                </a:lnTo>
                <a:lnTo>
                  <a:pt x="1011" y="82"/>
                </a:lnTo>
                <a:lnTo>
                  <a:pt x="1009" y="64"/>
                </a:lnTo>
                <a:lnTo>
                  <a:pt x="1008" y="56"/>
                </a:lnTo>
                <a:lnTo>
                  <a:pt x="1006" y="50"/>
                </a:lnTo>
                <a:lnTo>
                  <a:pt x="1003" y="47"/>
                </a:lnTo>
                <a:lnTo>
                  <a:pt x="1000" y="46"/>
                </a:lnTo>
                <a:lnTo>
                  <a:pt x="999" y="36"/>
                </a:lnTo>
                <a:lnTo>
                  <a:pt x="998" y="27"/>
                </a:lnTo>
                <a:lnTo>
                  <a:pt x="996" y="20"/>
                </a:lnTo>
                <a:lnTo>
                  <a:pt x="992" y="14"/>
                </a:lnTo>
                <a:lnTo>
                  <a:pt x="988" y="9"/>
                </a:lnTo>
                <a:lnTo>
                  <a:pt x="983" y="5"/>
                </a:lnTo>
                <a:lnTo>
                  <a:pt x="978" y="2"/>
                </a:lnTo>
                <a:lnTo>
                  <a:pt x="972" y="0"/>
                </a:lnTo>
                <a:lnTo>
                  <a:pt x="965" y="0"/>
                </a:lnTo>
                <a:lnTo>
                  <a:pt x="958" y="0"/>
                </a:lnTo>
                <a:lnTo>
                  <a:pt x="951" y="0"/>
                </a:lnTo>
                <a:lnTo>
                  <a:pt x="942" y="2"/>
                </a:lnTo>
                <a:lnTo>
                  <a:pt x="925" y="7"/>
                </a:lnTo>
                <a:lnTo>
                  <a:pt x="908" y="14"/>
                </a:lnTo>
                <a:lnTo>
                  <a:pt x="891" y="23"/>
                </a:lnTo>
                <a:lnTo>
                  <a:pt x="873" y="33"/>
                </a:lnTo>
                <a:lnTo>
                  <a:pt x="856" y="43"/>
                </a:lnTo>
                <a:lnTo>
                  <a:pt x="840" y="53"/>
                </a:lnTo>
                <a:lnTo>
                  <a:pt x="815" y="72"/>
                </a:lnTo>
                <a:lnTo>
                  <a:pt x="799" y="85"/>
                </a:lnTo>
                <a:lnTo>
                  <a:pt x="783" y="100"/>
                </a:lnTo>
                <a:lnTo>
                  <a:pt x="757" y="123"/>
                </a:lnTo>
                <a:lnTo>
                  <a:pt x="723" y="152"/>
                </a:lnTo>
                <a:lnTo>
                  <a:pt x="685" y="182"/>
                </a:lnTo>
                <a:lnTo>
                  <a:pt x="648" y="212"/>
                </a:lnTo>
                <a:lnTo>
                  <a:pt x="615" y="238"/>
                </a:lnTo>
                <a:lnTo>
                  <a:pt x="600" y="248"/>
                </a:lnTo>
                <a:lnTo>
                  <a:pt x="589" y="256"/>
                </a:lnTo>
                <a:lnTo>
                  <a:pt x="580" y="260"/>
                </a:lnTo>
                <a:lnTo>
                  <a:pt x="575" y="262"/>
                </a:lnTo>
                <a:lnTo>
                  <a:pt x="574" y="264"/>
                </a:lnTo>
                <a:lnTo>
                  <a:pt x="571" y="265"/>
                </a:lnTo>
                <a:lnTo>
                  <a:pt x="567" y="266"/>
                </a:lnTo>
                <a:lnTo>
                  <a:pt x="561" y="268"/>
                </a:lnTo>
                <a:lnTo>
                  <a:pt x="548" y="269"/>
                </a:lnTo>
                <a:lnTo>
                  <a:pt x="532" y="271"/>
                </a:lnTo>
                <a:lnTo>
                  <a:pt x="501" y="274"/>
                </a:lnTo>
                <a:lnTo>
                  <a:pt x="484" y="274"/>
                </a:lnTo>
                <a:lnTo>
                  <a:pt x="468" y="279"/>
                </a:lnTo>
                <a:lnTo>
                  <a:pt x="450" y="287"/>
                </a:lnTo>
                <a:lnTo>
                  <a:pt x="433" y="296"/>
                </a:lnTo>
                <a:lnTo>
                  <a:pt x="416" y="306"/>
                </a:lnTo>
                <a:lnTo>
                  <a:pt x="399" y="318"/>
                </a:lnTo>
                <a:lnTo>
                  <a:pt x="385" y="333"/>
                </a:lnTo>
                <a:lnTo>
                  <a:pt x="378" y="339"/>
                </a:lnTo>
                <a:lnTo>
                  <a:pt x="373" y="347"/>
                </a:lnTo>
                <a:lnTo>
                  <a:pt x="367" y="356"/>
                </a:lnTo>
                <a:lnTo>
                  <a:pt x="363" y="365"/>
                </a:lnTo>
                <a:lnTo>
                  <a:pt x="346" y="389"/>
                </a:lnTo>
                <a:lnTo>
                  <a:pt x="312" y="434"/>
                </a:lnTo>
                <a:lnTo>
                  <a:pt x="295" y="458"/>
                </a:lnTo>
                <a:lnTo>
                  <a:pt x="277" y="479"/>
                </a:lnTo>
                <a:lnTo>
                  <a:pt x="269" y="487"/>
                </a:lnTo>
                <a:lnTo>
                  <a:pt x="262" y="494"/>
                </a:lnTo>
                <a:lnTo>
                  <a:pt x="257" y="497"/>
                </a:lnTo>
                <a:lnTo>
                  <a:pt x="252" y="498"/>
                </a:lnTo>
                <a:lnTo>
                  <a:pt x="242" y="508"/>
                </a:lnTo>
                <a:lnTo>
                  <a:pt x="222" y="524"/>
                </a:lnTo>
                <a:lnTo>
                  <a:pt x="202" y="539"/>
                </a:lnTo>
                <a:lnTo>
                  <a:pt x="193" y="546"/>
                </a:lnTo>
                <a:lnTo>
                  <a:pt x="193" y="554"/>
                </a:lnTo>
                <a:lnTo>
                  <a:pt x="185" y="554"/>
                </a:lnTo>
                <a:lnTo>
                  <a:pt x="181" y="557"/>
                </a:lnTo>
                <a:lnTo>
                  <a:pt x="181" y="565"/>
                </a:lnTo>
                <a:lnTo>
                  <a:pt x="178" y="566"/>
                </a:lnTo>
                <a:lnTo>
                  <a:pt x="177" y="568"/>
                </a:lnTo>
                <a:lnTo>
                  <a:pt x="177" y="571"/>
                </a:lnTo>
                <a:lnTo>
                  <a:pt x="177" y="573"/>
                </a:lnTo>
                <a:lnTo>
                  <a:pt x="169" y="573"/>
                </a:lnTo>
                <a:lnTo>
                  <a:pt x="169" y="576"/>
                </a:lnTo>
                <a:lnTo>
                  <a:pt x="167" y="581"/>
                </a:lnTo>
                <a:lnTo>
                  <a:pt x="164" y="585"/>
                </a:lnTo>
                <a:lnTo>
                  <a:pt x="157" y="59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03" name="Freeform 64">
            <a:extLst>
              <a:ext uri="{FF2B5EF4-FFF2-40B4-BE49-F238E27FC236}">
                <a16:creationId xmlns:a16="http://schemas.microsoft.com/office/drawing/2014/main" id="{47F0B6EA-A7E9-4DF2-AC54-E94E262245EF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9236075" y="4976813"/>
            <a:ext cx="55430" cy="39688"/>
          </a:xfrm>
          <a:custGeom>
            <a:avLst/>
            <a:gdLst/>
            <a:ahLst/>
            <a:cxnLst>
              <a:cxn ang="0">
                <a:pos x="61" y="3"/>
              </a:cxn>
              <a:cxn ang="0">
                <a:pos x="40" y="5"/>
              </a:cxn>
              <a:cxn ang="0">
                <a:pos x="30" y="26"/>
              </a:cxn>
              <a:cxn ang="0">
                <a:pos x="24" y="39"/>
              </a:cxn>
              <a:cxn ang="0">
                <a:pos x="24" y="51"/>
              </a:cxn>
              <a:cxn ang="0">
                <a:pos x="24" y="63"/>
              </a:cxn>
              <a:cxn ang="0">
                <a:pos x="24" y="81"/>
              </a:cxn>
              <a:cxn ang="0">
                <a:pos x="24" y="109"/>
              </a:cxn>
              <a:cxn ang="0">
                <a:pos x="24" y="145"/>
              </a:cxn>
              <a:cxn ang="0">
                <a:pos x="24" y="169"/>
              </a:cxn>
              <a:cxn ang="0">
                <a:pos x="24" y="184"/>
              </a:cxn>
              <a:cxn ang="0">
                <a:pos x="15" y="212"/>
              </a:cxn>
              <a:cxn ang="0">
                <a:pos x="6" y="225"/>
              </a:cxn>
              <a:cxn ang="0">
                <a:pos x="6" y="228"/>
              </a:cxn>
              <a:cxn ang="0">
                <a:pos x="0" y="229"/>
              </a:cxn>
              <a:cxn ang="0">
                <a:pos x="12" y="238"/>
              </a:cxn>
              <a:cxn ang="0">
                <a:pos x="24" y="224"/>
              </a:cxn>
              <a:cxn ang="0">
                <a:pos x="54" y="205"/>
              </a:cxn>
              <a:cxn ang="0">
                <a:pos x="91" y="199"/>
              </a:cxn>
              <a:cxn ang="0">
                <a:pos x="118" y="199"/>
              </a:cxn>
              <a:cxn ang="0">
                <a:pos x="139" y="199"/>
              </a:cxn>
              <a:cxn ang="0">
                <a:pos x="158" y="205"/>
              </a:cxn>
              <a:cxn ang="0">
                <a:pos x="188" y="205"/>
              </a:cxn>
              <a:cxn ang="0">
                <a:pos x="195" y="188"/>
              </a:cxn>
              <a:cxn ang="0">
                <a:pos x="202" y="181"/>
              </a:cxn>
              <a:cxn ang="0">
                <a:pos x="215" y="166"/>
              </a:cxn>
              <a:cxn ang="0">
                <a:pos x="231" y="154"/>
              </a:cxn>
              <a:cxn ang="0">
                <a:pos x="243" y="151"/>
              </a:cxn>
              <a:cxn ang="0">
                <a:pos x="253" y="143"/>
              </a:cxn>
              <a:cxn ang="0">
                <a:pos x="273" y="139"/>
              </a:cxn>
              <a:cxn ang="0">
                <a:pos x="275" y="135"/>
              </a:cxn>
              <a:cxn ang="0">
                <a:pos x="285" y="132"/>
              </a:cxn>
              <a:cxn ang="0">
                <a:pos x="288" y="128"/>
              </a:cxn>
              <a:cxn ang="0">
                <a:pos x="296" y="127"/>
              </a:cxn>
              <a:cxn ang="0">
                <a:pos x="303" y="102"/>
              </a:cxn>
              <a:cxn ang="0">
                <a:pos x="308" y="98"/>
              </a:cxn>
              <a:cxn ang="0">
                <a:pos x="309" y="84"/>
              </a:cxn>
              <a:cxn ang="0">
                <a:pos x="285" y="72"/>
              </a:cxn>
              <a:cxn ang="0">
                <a:pos x="283" y="66"/>
              </a:cxn>
              <a:cxn ang="0">
                <a:pos x="280" y="65"/>
              </a:cxn>
              <a:cxn ang="0">
                <a:pos x="266" y="60"/>
              </a:cxn>
              <a:cxn ang="0">
                <a:pos x="236" y="60"/>
              </a:cxn>
              <a:cxn ang="0">
                <a:pos x="218" y="60"/>
              </a:cxn>
              <a:cxn ang="0">
                <a:pos x="206" y="54"/>
              </a:cxn>
              <a:cxn ang="0">
                <a:pos x="176" y="48"/>
              </a:cxn>
              <a:cxn ang="0">
                <a:pos x="169" y="35"/>
              </a:cxn>
              <a:cxn ang="0">
                <a:pos x="154" y="25"/>
              </a:cxn>
              <a:cxn ang="0">
                <a:pos x="146" y="0"/>
              </a:cxn>
              <a:cxn ang="0">
                <a:pos x="134" y="0"/>
              </a:cxn>
              <a:cxn ang="0">
                <a:pos x="103" y="0"/>
              </a:cxn>
            </a:cxnLst>
            <a:rect l="0" t="0" r="r" b="b"/>
            <a:pathLst>
              <a:path w="309" h="242">
                <a:moveTo>
                  <a:pt x="79" y="5"/>
                </a:moveTo>
                <a:lnTo>
                  <a:pt x="70" y="4"/>
                </a:lnTo>
                <a:lnTo>
                  <a:pt x="61" y="3"/>
                </a:lnTo>
                <a:lnTo>
                  <a:pt x="51" y="1"/>
                </a:lnTo>
                <a:lnTo>
                  <a:pt x="42" y="0"/>
                </a:lnTo>
                <a:lnTo>
                  <a:pt x="40" y="5"/>
                </a:lnTo>
                <a:lnTo>
                  <a:pt x="36" y="12"/>
                </a:lnTo>
                <a:lnTo>
                  <a:pt x="30" y="24"/>
                </a:lnTo>
                <a:lnTo>
                  <a:pt x="30" y="26"/>
                </a:lnTo>
                <a:lnTo>
                  <a:pt x="30" y="30"/>
                </a:lnTo>
                <a:lnTo>
                  <a:pt x="24" y="35"/>
                </a:lnTo>
                <a:lnTo>
                  <a:pt x="24" y="39"/>
                </a:lnTo>
                <a:lnTo>
                  <a:pt x="24" y="42"/>
                </a:lnTo>
                <a:lnTo>
                  <a:pt x="24" y="48"/>
                </a:lnTo>
                <a:lnTo>
                  <a:pt x="24" y="51"/>
                </a:lnTo>
                <a:lnTo>
                  <a:pt x="24" y="54"/>
                </a:lnTo>
                <a:lnTo>
                  <a:pt x="24" y="60"/>
                </a:lnTo>
                <a:lnTo>
                  <a:pt x="24" y="63"/>
                </a:lnTo>
                <a:lnTo>
                  <a:pt x="24" y="66"/>
                </a:lnTo>
                <a:lnTo>
                  <a:pt x="24" y="72"/>
                </a:lnTo>
                <a:lnTo>
                  <a:pt x="24" y="81"/>
                </a:lnTo>
                <a:lnTo>
                  <a:pt x="24" y="90"/>
                </a:lnTo>
                <a:lnTo>
                  <a:pt x="24" y="97"/>
                </a:lnTo>
                <a:lnTo>
                  <a:pt x="24" y="109"/>
                </a:lnTo>
                <a:lnTo>
                  <a:pt x="24" y="120"/>
                </a:lnTo>
                <a:lnTo>
                  <a:pt x="24" y="132"/>
                </a:lnTo>
                <a:lnTo>
                  <a:pt x="24" y="145"/>
                </a:lnTo>
                <a:lnTo>
                  <a:pt x="24" y="154"/>
                </a:lnTo>
                <a:lnTo>
                  <a:pt x="24" y="162"/>
                </a:lnTo>
                <a:lnTo>
                  <a:pt x="24" y="169"/>
                </a:lnTo>
                <a:lnTo>
                  <a:pt x="24" y="175"/>
                </a:lnTo>
                <a:lnTo>
                  <a:pt x="24" y="181"/>
                </a:lnTo>
                <a:lnTo>
                  <a:pt x="24" y="184"/>
                </a:lnTo>
                <a:lnTo>
                  <a:pt x="24" y="187"/>
                </a:lnTo>
                <a:lnTo>
                  <a:pt x="19" y="199"/>
                </a:lnTo>
                <a:lnTo>
                  <a:pt x="15" y="212"/>
                </a:lnTo>
                <a:lnTo>
                  <a:pt x="12" y="224"/>
                </a:lnTo>
                <a:lnTo>
                  <a:pt x="8" y="224"/>
                </a:lnTo>
                <a:lnTo>
                  <a:pt x="6" y="225"/>
                </a:lnTo>
                <a:lnTo>
                  <a:pt x="6" y="226"/>
                </a:lnTo>
                <a:lnTo>
                  <a:pt x="6" y="227"/>
                </a:lnTo>
                <a:lnTo>
                  <a:pt x="6" y="228"/>
                </a:lnTo>
                <a:lnTo>
                  <a:pt x="5" y="228"/>
                </a:lnTo>
                <a:lnTo>
                  <a:pt x="3" y="229"/>
                </a:lnTo>
                <a:lnTo>
                  <a:pt x="0" y="229"/>
                </a:lnTo>
                <a:lnTo>
                  <a:pt x="0" y="242"/>
                </a:lnTo>
                <a:lnTo>
                  <a:pt x="12" y="242"/>
                </a:lnTo>
                <a:lnTo>
                  <a:pt x="12" y="238"/>
                </a:lnTo>
                <a:lnTo>
                  <a:pt x="12" y="236"/>
                </a:lnTo>
                <a:lnTo>
                  <a:pt x="19" y="229"/>
                </a:lnTo>
                <a:lnTo>
                  <a:pt x="24" y="224"/>
                </a:lnTo>
                <a:lnTo>
                  <a:pt x="30" y="217"/>
                </a:lnTo>
                <a:lnTo>
                  <a:pt x="42" y="212"/>
                </a:lnTo>
                <a:lnTo>
                  <a:pt x="54" y="205"/>
                </a:lnTo>
                <a:lnTo>
                  <a:pt x="67" y="205"/>
                </a:lnTo>
                <a:lnTo>
                  <a:pt x="77" y="203"/>
                </a:lnTo>
                <a:lnTo>
                  <a:pt x="91" y="199"/>
                </a:lnTo>
                <a:lnTo>
                  <a:pt x="100" y="199"/>
                </a:lnTo>
                <a:lnTo>
                  <a:pt x="109" y="199"/>
                </a:lnTo>
                <a:lnTo>
                  <a:pt x="118" y="199"/>
                </a:lnTo>
                <a:lnTo>
                  <a:pt x="127" y="199"/>
                </a:lnTo>
                <a:lnTo>
                  <a:pt x="134" y="199"/>
                </a:lnTo>
                <a:lnTo>
                  <a:pt x="139" y="199"/>
                </a:lnTo>
                <a:lnTo>
                  <a:pt x="146" y="205"/>
                </a:lnTo>
                <a:lnTo>
                  <a:pt x="151" y="205"/>
                </a:lnTo>
                <a:lnTo>
                  <a:pt x="158" y="205"/>
                </a:lnTo>
                <a:lnTo>
                  <a:pt x="164" y="205"/>
                </a:lnTo>
                <a:lnTo>
                  <a:pt x="176" y="205"/>
                </a:lnTo>
                <a:lnTo>
                  <a:pt x="188" y="205"/>
                </a:lnTo>
                <a:lnTo>
                  <a:pt x="194" y="199"/>
                </a:lnTo>
                <a:lnTo>
                  <a:pt x="194" y="194"/>
                </a:lnTo>
                <a:lnTo>
                  <a:pt x="195" y="188"/>
                </a:lnTo>
                <a:lnTo>
                  <a:pt x="197" y="186"/>
                </a:lnTo>
                <a:lnTo>
                  <a:pt x="199" y="184"/>
                </a:lnTo>
                <a:lnTo>
                  <a:pt x="202" y="181"/>
                </a:lnTo>
                <a:lnTo>
                  <a:pt x="206" y="181"/>
                </a:lnTo>
                <a:lnTo>
                  <a:pt x="212" y="175"/>
                </a:lnTo>
                <a:lnTo>
                  <a:pt x="215" y="166"/>
                </a:lnTo>
                <a:lnTo>
                  <a:pt x="218" y="157"/>
                </a:lnTo>
                <a:lnTo>
                  <a:pt x="231" y="157"/>
                </a:lnTo>
                <a:lnTo>
                  <a:pt x="231" y="154"/>
                </a:lnTo>
                <a:lnTo>
                  <a:pt x="231" y="151"/>
                </a:lnTo>
                <a:lnTo>
                  <a:pt x="236" y="151"/>
                </a:lnTo>
                <a:lnTo>
                  <a:pt x="243" y="151"/>
                </a:lnTo>
                <a:lnTo>
                  <a:pt x="244" y="150"/>
                </a:lnTo>
                <a:lnTo>
                  <a:pt x="248" y="147"/>
                </a:lnTo>
                <a:lnTo>
                  <a:pt x="253" y="143"/>
                </a:lnTo>
                <a:lnTo>
                  <a:pt x="254" y="139"/>
                </a:lnTo>
                <a:lnTo>
                  <a:pt x="264" y="139"/>
                </a:lnTo>
                <a:lnTo>
                  <a:pt x="273" y="139"/>
                </a:lnTo>
                <a:lnTo>
                  <a:pt x="273" y="137"/>
                </a:lnTo>
                <a:lnTo>
                  <a:pt x="274" y="136"/>
                </a:lnTo>
                <a:lnTo>
                  <a:pt x="275" y="135"/>
                </a:lnTo>
                <a:lnTo>
                  <a:pt x="276" y="133"/>
                </a:lnTo>
                <a:lnTo>
                  <a:pt x="281" y="132"/>
                </a:lnTo>
                <a:lnTo>
                  <a:pt x="285" y="132"/>
                </a:lnTo>
                <a:lnTo>
                  <a:pt x="285" y="131"/>
                </a:lnTo>
                <a:lnTo>
                  <a:pt x="285" y="129"/>
                </a:lnTo>
                <a:lnTo>
                  <a:pt x="288" y="128"/>
                </a:lnTo>
                <a:lnTo>
                  <a:pt x="289" y="128"/>
                </a:lnTo>
                <a:lnTo>
                  <a:pt x="292" y="127"/>
                </a:lnTo>
                <a:lnTo>
                  <a:pt x="296" y="127"/>
                </a:lnTo>
                <a:lnTo>
                  <a:pt x="303" y="120"/>
                </a:lnTo>
                <a:lnTo>
                  <a:pt x="303" y="111"/>
                </a:lnTo>
                <a:lnTo>
                  <a:pt x="303" y="102"/>
                </a:lnTo>
                <a:lnTo>
                  <a:pt x="305" y="102"/>
                </a:lnTo>
                <a:lnTo>
                  <a:pt x="307" y="100"/>
                </a:lnTo>
                <a:lnTo>
                  <a:pt x="308" y="98"/>
                </a:lnTo>
                <a:lnTo>
                  <a:pt x="309" y="95"/>
                </a:lnTo>
                <a:lnTo>
                  <a:pt x="309" y="90"/>
                </a:lnTo>
                <a:lnTo>
                  <a:pt x="309" y="84"/>
                </a:lnTo>
                <a:lnTo>
                  <a:pt x="303" y="78"/>
                </a:lnTo>
                <a:lnTo>
                  <a:pt x="294" y="75"/>
                </a:lnTo>
                <a:lnTo>
                  <a:pt x="285" y="72"/>
                </a:lnTo>
                <a:lnTo>
                  <a:pt x="284" y="69"/>
                </a:lnTo>
                <a:lnTo>
                  <a:pt x="284" y="66"/>
                </a:lnTo>
                <a:lnTo>
                  <a:pt x="283" y="66"/>
                </a:lnTo>
                <a:lnTo>
                  <a:pt x="282" y="66"/>
                </a:lnTo>
                <a:lnTo>
                  <a:pt x="281" y="65"/>
                </a:lnTo>
                <a:lnTo>
                  <a:pt x="280" y="65"/>
                </a:lnTo>
                <a:lnTo>
                  <a:pt x="279" y="63"/>
                </a:lnTo>
                <a:lnTo>
                  <a:pt x="279" y="60"/>
                </a:lnTo>
                <a:lnTo>
                  <a:pt x="266" y="60"/>
                </a:lnTo>
                <a:lnTo>
                  <a:pt x="254" y="60"/>
                </a:lnTo>
                <a:lnTo>
                  <a:pt x="245" y="60"/>
                </a:lnTo>
                <a:lnTo>
                  <a:pt x="236" y="60"/>
                </a:lnTo>
                <a:lnTo>
                  <a:pt x="231" y="60"/>
                </a:lnTo>
                <a:lnTo>
                  <a:pt x="224" y="60"/>
                </a:lnTo>
                <a:lnTo>
                  <a:pt x="218" y="60"/>
                </a:lnTo>
                <a:lnTo>
                  <a:pt x="215" y="60"/>
                </a:lnTo>
                <a:lnTo>
                  <a:pt x="212" y="60"/>
                </a:lnTo>
                <a:lnTo>
                  <a:pt x="206" y="54"/>
                </a:lnTo>
                <a:lnTo>
                  <a:pt x="194" y="54"/>
                </a:lnTo>
                <a:lnTo>
                  <a:pt x="182" y="54"/>
                </a:lnTo>
                <a:lnTo>
                  <a:pt x="176" y="48"/>
                </a:lnTo>
                <a:lnTo>
                  <a:pt x="176" y="45"/>
                </a:lnTo>
                <a:lnTo>
                  <a:pt x="176" y="42"/>
                </a:lnTo>
                <a:lnTo>
                  <a:pt x="169" y="35"/>
                </a:lnTo>
                <a:lnTo>
                  <a:pt x="165" y="34"/>
                </a:lnTo>
                <a:lnTo>
                  <a:pt x="158" y="30"/>
                </a:lnTo>
                <a:lnTo>
                  <a:pt x="154" y="25"/>
                </a:lnTo>
                <a:lnTo>
                  <a:pt x="151" y="24"/>
                </a:lnTo>
                <a:lnTo>
                  <a:pt x="148" y="12"/>
                </a:lnTo>
                <a:lnTo>
                  <a:pt x="146" y="0"/>
                </a:lnTo>
                <a:lnTo>
                  <a:pt x="139" y="0"/>
                </a:lnTo>
                <a:lnTo>
                  <a:pt x="136" y="0"/>
                </a:lnTo>
                <a:lnTo>
                  <a:pt x="134" y="0"/>
                </a:lnTo>
                <a:lnTo>
                  <a:pt x="127" y="0"/>
                </a:lnTo>
                <a:lnTo>
                  <a:pt x="115" y="0"/>
                </a:lnTo>
                <a:lnTo>
                  <a:pt x="103" y="0"/>
                </a:lnTo>
                <a:lnTo>
                  <a:pt x="79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04" name="Freeform 65">
            <a:extLst>
              <a:ext uri="{FF2B5EF4-FFF2-40B4-BE49-F238E27FC236}">
                <a16:creationId xmlns:a16="http://schemas.microsoft.com/office/drawing/2014/main" id="{FECAC654-4ED7-41C6-BF0D-2A21CDF5B0AB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9144000" y="4891088"/>
            <a:ext cx="66675" cy="45795"/>
          </a:xfrm>
          <a:custGeom>
            <a:avLst/>
            <a:gdLst/>
            <a:ahLst/>
            <a:cxnLst>
              <a:cxn ang="0">
                <a:pos x="39" y="5"/>
              </a:cxn>
              <a:cxn ang="0">
                <a:pos x="16" y="25"/>
              </a:cxn>
              <a:cxn ang="0">
                <a:pos x="2" y="47"/>
              </a:cxn>
              <a:cxn ang="0">
                <a:pos x="0" y="59"/>
              </a:cxn>
              <a:cxn ang="0">
                <a:pos x="2" y="77"/>
              </a:cxn>
              <a:cxn ang="0">
                <a:pos x="11" y="99"/>
              </a:cxn>
              <a:cxn ang="0">
                <a:pos x="25" y="118"/>
              </a:cxn>
              <a:cxn ang="0">
                <a:pos x="40" y="140"/>
              </a:cxn>
              <a:cxn ang="0">
                <a:pos x="66" y="173"/>
              </a:cxn>
              <a:cxn ang="0">
                <a:pos x="81" y="190"/>
              </a:cxn>
              <a:cxn ang="0">
                <a:pos x="89" y="195"/>
              </a:cxn>
              <a:cxn ang="0">
                <a:pos x="94" y="200"/>
              </a:cxn>
              <a:cxn ang="0">
                <a:pos x="98" y="203"/>
              </a:cxn>
              <a:cxn ang="0">
                <a:pos x="106" y="211"/>
              </a:cxn>
              <a:cxn ang="0">
                <a:pos x="109" y="219"/>
              </a:cxn>
              <a:cxn ang="0">
                <a:pos x="114" y="226"/>
              </a:cxn>
              <a:cxn ang="0">
                <a:pos x="123" y="227"/>
              </a:cxn>
              <a:cxn ang="0">
                <a:pos x="133" y="224"/>
              </a:cxn>
              <a:cxn ang="0">
                <a:pos x="150" y="218"/>
              </a:cxn>
              <a:cxn ang="0">
                <a:pos x="165" y="212"/>
              </a:cxn>
              <a:cxn ang="0">
                <a:pos x="173" y="210"/>
              </a:cxn>
              <a:cxn ang="0">
                <a:pos x="183" y="218"/>
              </a:cxn>
              <a:cxn ang="0">
                <a:pos x="202" y="240"/>
              </a:cxn>
              <a:cxn ang="0">
                <a:pos x="224" y="266"/>
              </a:cxn>
              <a:cxn ang="0">
                <a:pos x="239" y="281"/>
              </a:cxn>
              <a:cxn ang="0">
                <a:pos x="247" y="287"/>
              </a:cxn>
              <a:cxn ang="0">
                <a:pos x="251" y="289"/>
              </a:cxn>
              <a:cxn ang="0">
                <a:pos x="258" y="293"/>
              </a:cxn>
              <a:cxn ang="0">
                <a:pos x="273" y="296"/>
              </a:cxn>
              <a:cxn ang="0">
                <a:pos x="290" y="289"/>
              </a:cxn>
              <a:cxn ang="0">
                <a:pos x="307" y="271"/>
              </a:cxn>
              <a:cxn ang="0">
                <a:pos x="321" y="251"/>
              </a:cxn>
              <a:cxn ang="0">
                <a:pos x="332" y="230"/>
              </a:cxn>
              <a:cxn ang="0">
                <a:pos x="337" y="212"/>
              </a:cxn>
              <a:cxn ang="0">
                <a:pos x="345" y="199"/>
              </a:cxn>
              <a:cxn ang="0">
                <a:pos x="356" y="187"/>
              </a:cxn>
              <a:cxn ang="0">
                <a:pos x="365" y="175"/>
              </a:cxn>
              <a:cxn ang="0">
                <a:pos x="368" y="161"/>
              </a:cxn>
              <a:cxn ang="0">
                <a:pos x="367" y="142"/>
              </a:cxn>
              <a:cxn ang="0">
                <a:pos x="358" y="113"/>
              </a:cxn>
              <a:cxn ang="0">
                <a:pos x="345" y="91"/>
              </a:cxn>
              <a:cxn ang="0">
                <a:pos x="323" y="73"/>
              </a:cxn>
              <a:cxn ang="0">
                <a:pos x="284" y="47"/>
              </a:cxn>
              <a:cxn ang="0">
                <a:pos x="268" y="38"/>
              </a:cxn>
              <a:cxn ang="0">
                <a:pos x="257" y="33"/>
              </a:cxn>
              <a:cxn ang="0">
                <a:pos x="241" y="20"/>
              </a:cxn>
              <a:cxn ang="0">
                <a:pos x="227" y="8"/>
              </a:cxn>
              <a:cxn ang="0">
                <a:pos x="210" y="3"/>
              </a:cxn>
              <a:cxn ang="0">
                <a:pos x="179" y="1"/>
              </a:cxn>
              <a:cxn ang="0">
                <a:pos x="160" y="5"/>
              </a:cxn>
              <a:cxn ang="0">
                <a:pos x="143" y="11"/>
              </a:cxn>
              <a:cxn ang="0">
                <a:pos x="115" y="14"/>
              </a:cxn>
              <a:cxn ang="0">
                <a:pos x="99" y="9"/>
              </a:cxn>
              <a:cxn ang="0">
                <a:pos x="89" y="6"/>
              </a:cxn>
              <a:cxn ang="0">
                <a:pos x="69" y="5"/>
              </a:cxn>
              <a:cxn ang="0">
                <a:pos x="56" y="2"/>
              </a:cxn>
            </a:cxnLst>
            <a:rect l="0" t="0" r="r" b="b"/>
            <a:pathLst>
              <a:path w="368" h="296">
                <a:moveTo>
                  <a:pt x="51" y="0"/>
                </a:moveTo>
                <a:lnTo>
                  <a:pt x="39" y="5"/>
                </a:lnTo>
                <a:lnTo>
                  <a:pt x="27" y="8"/>
                </a:lnTo>
                <a:lnTo>
                  <a:pt x="16" y="25"/>
                </a:lnTo>
                <a:lnTo>
                  <a:pt x="3" y="41"/>
                </a:lnTo>
                <a:lnTo>
                  <a:pt x="2" y="47"/>
                </a:lnTo>
                <a:lnTo>
                  <a:pt x="1" y="54"/>
                </a:lnTo>
                <a:lnTo>
                  <a:pt x="0" y="59"/>
                </a:lnTo>
                <a:lnTo>
                  <a:pt x="0" y="66"/>
                </a:lnTo>
                <a:lnTo>
                  <a:pt x="2" y="77"/>
                </a:lnTo>
                <a:lnTo>
                  <a:pt x="7" y="88"/>
                </a:lnTo>
                <a:lnTo>
                  <a:pt x="11" y="99"/>
                </a:lnTo>
                <a:lnTo>
                  <a:pt x="18" y="108"/>
                </a:lnTo>
                <a:lnTo>
                  <a:pt x="25" y="118"/>
                </a:lnTo>
                <a:lnTo>
                  <a:pt x="31" y="126"/>
                </a:lnTo>
                <a:lnTo>
                  <a:pt x="40" y="140"/>
                </a:lnTo>
                <a:lnTo>
                  <a:pt x="57" y="162"/>
                </a:lnTo>
                <a:lnTo>
                  <a:pt x="66" y="173"/>
                </a:lnTo>
                <a:lnTo>
                  <a:pt x="75" y="183"/>
                </a:lnTo>
                <a:lnTo>
                  <a:pt x="81" y="190"/>
                </a:lnTo>
                <a:lnTo>
                  <a:pt x="86" y="192"/>
                </a:lnTo>
                <a:lnTo>
                  <a:pt x="89" y="195"/>
                </a:lnTo>
                <a:lnTo>
                  <a:pt x="93" y="197"/>
                </a:lnTo>
                <a:lnTo>
                  <a:pt x="94" y="200"/>
                </a:lnTo>
                <a:lnTo>
                  <a:pt x="97" y="201"/>
                </a:lnTo>
                <a:lnTo>
                  <a:pt x="98" y="203"/>
                </a:lnTo>
                <a:lnTo>
                  <a:pt x="103" y="208"/>
                </a:lnTo>
                <a:lnTo>
                  <a:pt x="106" y="211"/>
                </a:lnTo>
                <a:lnTo>
                  <a:pt x="109" y="213"/>
                </a:lnTo>
                <a:lnTo>
                  <a:pt x="109" y="219"/>
                </a:lnTo>
                <a:lnTo>
                  <a:pt x="112" y="223"/>
                </a:lnTo>
                <a:lnTo>
                  <a:pt x="114" y="226"/>
                </a:lnTo>
                <a:lnTo>
                  <a:pt x="118" y="227"/>
                </a:lnTo>
                <a:lnTo>
                  <a:pt x="123" y="227"/>
                </a:lnTo>
                <a:lnTo>
                  <a:pt x="127" y="227"/>
                </a:lnTo>
                <a:lnTo>
                  <a:pt x="133" y="224"/>
                </a:lnTo>
                <a:lnTo>
                  <a:pt x="138" y="223"/>
                </a:lnTo>
                <a:lnTo>
                  <a:pt x="150" y="218"/>
                </a:lnTo>
                <a:lnTo>
                  <a:pt x="161" y="213"/>
                </a:lnTo>
                <a:lnTo>
                  <a:pt x="165" y="212"/>
                </a:lnTo>
                <a:lnTo>
                  <a:pt x="170" y="211"/>
                </a:lnTo>
                <a:lnTo>
                  <a:pt x="173" y="210"/>
                </a:lnTo>
                <a:lnTo>
                  <a:pt x="175" y="211"/>
                </a:lnTo>
                <a:lnTo>
                  <a:pt x="183" y="218"/>
                </a:lnTo>
                <a:lnTo>
                  <a:pt x="192" y="228"/>
                </a:lnTo>
                <a:lnTo>
                  <a:pt x="202" y="240"/>
                </a:lnTo>
                <a:lnTo>
                  <a:pt x="213" y="253"/>
                </a:lnTo>
                <a:lnTo>
                  <a:pt x="224" y="266"/>
                </a:lnTo>
                <a:lnTo>
                  <a:pt x="234" y="277"/>
                </a:lnTo>
                <a:lnTo>
                  <a:pt x="239" y="281"/>
                </a:lnTo>
                <a:lnTo>
                  <a:pt x="243" y="285"/>
                </a:lnTo>
                <a:lnTo>
                  <a:pt x="247" y="287"/>
                </a:lnTo>
                <a:lnTo>
                  <a:pt x="250" y="288"/>
                </a:lnTo>
                <a:lnTo>
                  <a:pt x="251" y="289"/>
                </a:lnTo>
                <a:lnTo>
                  <a:pt x="253" y="291"/>
                </a:lnTo>
                <a:lnTo>
                  <a:pt x="258" y="293"/>
                </a:lnTo>
                <a:lnTo>
                  <a:pt x="263" y="294"/>
                </a:lnTo>
                <a:lnTo>
                  <a:pt x="273" y="296"/>
                </a:lnTo>
                <a:lnTo>
                  <a:pt x="280" y="296"/>
                </a:lnTo>
                <a:lnTo>
                  <a:pt x="290" y="289"/>
                </a:lnTo>
                <a:lnTo>
                  <a:pt x="298" y="280"/>
                </a:lnTo>
                <a:lnTo>
                  <a:pt x="307" y="271"/>
                </a:lnTo>
                <a:lnTo>
                  <a:pt x="315" y="261"/>
                </a:lnTo>
                <a:lnTo>
                  <a:pt x="321" y="251"/>
                </a:lnTo>
                <a:lnTo>
                  <a:pt x="327" y="240"/>
                </a:lnTo>
                <a:lnTo>
                  <a:pt x="332" y="230"/>
                </a:lnTo>
                <a:lnTo>
                  <a:pt x="334" y="219"/>
                </a:lnTo>
                <a:lnTo>
                  <a:pt x="337" y="212"/>
                </a:lnTo>
                <a:lnTo>
                  <a:pt x="340" y="205"/>
                </a:lnTo>
                <a:lnTo>
                  <a:pt x="345" y="199"/>
                </a:lnTo>
                <a:lnTo>
                  <a:pt x="351" y="193"/>
                </a:lnTo>
                <a:lnTo>
                  <a:pt x="356" y="187"/>
                </a:lnTo>
                <a:lnTo>
                  <a:pt x="361" y="181"/>
                </a:lnTo>
                <a:lnTo>
                  <a:pt x="365" y="175"/>
                </a:lnTo>
                <a:lnTo>
                  <a:pt x="367" y="170"/>
                </a:lnTo>
                <a:lnTo>
                  <a:pt x="368" y="161"/>
                </a:lnTo>
                <a:lnTo>
                  <a:pt x="368" y="151"/>
                </a:lnTo>
                <a:lnTo>
                  <a:pt x="367" y="142"/>
                </a:lnTo>
                <a:lnTo>
                  <a:pt x="365" y="132"/>
                </a:lnTo>
                <a:lnTo>
                  <a:pt x="358" y="113"/>
                </a:lnTo>
                <a:lnTo>
                  <a:pt x="351" y="97"/>
                </a:lnTo>
                <a:lnTo>
                  <a:pt x="345" y="91"/>
                </a:lnTo>
                <a:lnTo>
                  <a:pt x="335" y="83"/>
                </a:lnTo>
                <a:lnTo>
                  <a:pt x="323" y="73"/>
                </a:lnTo>
                <a:lnTo>
                  <a:pt x="308" y="64"/>
                </a:lnTo>
                <a:lnTo>
                  <a:pt x="284" y="47"/>
                </a:lnTo>
                <a:lnTo>
                  <a:pt x="272" y="39"/>
                </a:lnTo>
                <a:lnTo>
                  <a:pt x="268" y="38"/>
                </a:lnTo>
                <a:lnTo>
                  <a:pt x="262" y="36"/>
                </a:lnTo>
                <a:lnTo>
                  <a:pt x="257" y="33"/>
                </a:lnTo>
                <a:lnTo>
                  <a:pt x="251" y="29"/>
                </a:lnTo>
                <a:lnTo>
                  <a:pt x="241" y="20"/>
                </a:lnTo>
                <a:lnTo>
                  <a:pt x="233" y="12"/>
                </a:lnTo>
                <a:lnTo>
                  <a:pt x="227" y="8"/>
                </a:lnTo>
                <a:lnTo>
                  <a:pt x="219" y="6"/>
                </a:lnTo>
                <a:lnTo>
                  <a:pt x="210" y="3"/>
                </a:lnTo>
                <a:lnTo>
                  <a:pt x="200" y="2"/>
                </a:lnTo>
                <a:lnTo>
                  <a:pt x="179" y="1"/>
                </a:lnTo>
                <a:lnTo>
                  <a:pt x="163" y="2"/>
                </a:lnTo>
                <a:lnTo>
                  <a:pt x="160" y="5"/>
                </a:lnTo>
                <a:lnTo>
                  <a:pt x="156" y="8"/>
                </a:lnTo>
                <a:lnTo>
                  <a:pt x="143" y="11"/>
                </a:lnTo>
                <a:lnTo>
                  <a:pt x="127" y="15"/>
                </a:lnTo>
                <a:lnTo>
                  <a:pt x="115" y="14"/>
                </a:lnTo>
                <a:lnTo>
                  <a:pt x="103" y="12"/>
                </a:lnTo>
                <a:lnTo>
                  <a:pt x="99" y="9"/>
                </a:lnTo>
                <a:lnTo>
                  <a:pt x="95" y="8"/>
                </a:lnTo>
                <a:lnTo>
                  <a:pt x="89" y="6"/>
                </a:lnTo>
                <a:lnTo>
                  <a:pt x="83" y="5"/>
                </a:lnTo>
                <a:lnTo>
                  <a:pt x="69" y="5"/>
                </a:lnTo>
                <a:lnTo>
                  <a:pt x="58" y="3"/>
                </a:lnTo>
                <a:lnTo>
                  <a:pt x="56" y="2"/>
                </a:lnTo>
                <a:lnTo>
                  <a:pt x="5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05" name="Freeform 66">
            <a:extLst>
              <a:ext uri="{FF2B5EF4-FFF2-40B4-BE49-F238E27FC236}">
                <a16:creationId xmlns:a16="http://schemas.microsoft.com/office/drawing/2014/main" id="{29577873-4928-4F45-A66E-21056C6A4142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9144000" y="4891088"/>
            <a:ext cx="66675" cy="45795"/>
          </a:xfrm>
          <a:custGeom>
            <a:avLst/>
            <a:gdLst/>
            <a:ahLst/>
            <a:cxnLst>
              <a:cxn ang="0">
                <a:pos x="39" y="5"/>
              </a:cxn>
              <a:cxn ang="0">
                <a:pos x="16" y="25"/>
              </a:cxn>
              <a:cxn ang="0">
                <a:pos x="2" y="47"/>
              </a:cxn>
              <a:cxn ang="0">
                <a:pos x="0" y="59"/>
              </a:cxn>
              <a:cxn ang="0">
                <a:pos x="2" y="77"/>
              </a:cxn>
              <a:cxn ang="0">
                <a:pos x="11" y="99"/>
              </a:cxn>
              <a:cxn ang="0">
                <a:pos x="25" y="118"/>
              </a:cxn>
              <a:cxn ang="0">
                <a:pos x="40" y="140"/>
              </a:cxn>
              <a:cxn ang="0">
                <a:pos x="66" y="173"/>
              </a:cxn>
              <a:cxn ang="0">
                <a:pos x="81" y="190"/>
              </a:cxn>
              <a:cxn ang="0">
                <a:pos x="89" y="195"/>
              </a:cxn>
              <a:cxn ang="0">
                <a:pos x="94" y="200"/>
              </a:cxn>
              <a:cxn ang="0">
                <a:pos x="98" y="203"/>
              </a:cxn>
              <a:cxn ang="0">
                <a:pos x="106" y="211"/>
              </a:cxn>
              <a:cxn ang="0">
                <a:pos x="109" y="219"/>
              </a:cxn>
              <a:cxn ang="0">
                <a:pos x="114" y="226"/>
              </a:cxn>
              <a:cxn ang="0">
                <a:pos x="123" y="227"/>
              </a:cxn>
              <a:cxn ang="0">
                <a:pos x="133" y="224"/>
              </a:cxn>
              <a:cxn ang="0">
                <a:pos x="150" y="218"/>
              </a:cxn>
              <a:cxn ang="0">
                <a:pos x="165" y="212"/>
              </a:cxn>
              <a:cxn ang="0">
                <a:pos x="173" y="210"/>
              </a:cxn>
              <a:cxn ang="0">
                <a:pos x="183" y="218"/>
              </a:cxn>
              <a:cxn ang="0">
                <a:pos x="202" y="240"/>
              </a:cxn>
              <a:cxn ang="0">
                <a:pos x="224" y="266"/>
              </a:cxn>
              <a:cxn ang="0">
                <a:pos x="239" y="281"/>
              </a:cxn>
              <a:cxn ang="0">
                <a:pos x="247" y="287"/>
              </a:cxn>
              <a:cxn ang="0">
                <a:pos x="251" y="289"/>
              </a:cxn>
              <a:cxn ang="0">
                <a:pos x="258" y="293"/>
              </a:cxn>
              <a:cxn ang="0">
                <a:pos x="273" y="296"/>
              </a:cxn>
              <a:cxn ang="0">
                <a:pos x="290" y="289"/>
              </a:cxn>
              <a:cxn ang="0">
                <a:pos x="307" y="271"/>
              </a:cxn>
              <a:cxn ang="0">
                <a:pos x="321" y="251"/>
              </a:cxn>
              <a:cxn ang="0">
                <a:pos x="332" y="230"/>
              </a:cxn>
              <a:cxn ang="0">
                <a:pos x="337" y="212"/>
              </a:cxn>
              <a:cxn ang="0">
                <a:pos x="345" y="199"/>
              </a:cxn>
              <a:cxn ang="0">
                <a:pos x="356" y="187"/>
              </a:cxn>
              <a:cxn ang="0">
                <a:pos x="365" y="175"/>
              </a:cxn>
              <a:cxn ang="0">
                <a:pos x="368" y="161"/>
              </a:cxn>
              <a:cxn ang="0">
                <a:pos x="367" y="142"/>
              </a:cxn>
              <a:cxn ang="0">
                <a:pos x="358" y="113"/>
              </a:cxn>
              <a:cxn ang="0">
                <a:pos x="345" y="91"/>
              </a:cxn>
              <a:cxn ang="0">
                <a:pos x="323" y="73"/>
              </a:cxn>
              <a:cxn ang="0">
                <a:pos x="284" y="47"/>
              </a:cxn>
              <a:cxn ang="0">
                <a:pos x="268" y="38"/>
              </a:cxn>
              <a:cxn ang="0">
                <a:pos x="257" y="33"/>
              </a:cxn>
              <a:cxn ang="0">
                <a:pos x="241" y="20"/>
              </a:cxn>
              <a:cxn ang="0">
                <a:pos x="227" y="8"/>
              </a:cxn>
              <a:cxn ang="0">
                <a:pos x="210" y="3"/>
              </a:cxn>
              <a:cxn ang="0">
                <a:pos x="179" y="1"/>
              </a:cxn>
              <a:cxn ang="0">
                <a:pos x="160" y="5"/>
              </a:cxn>
              <a:cxn ang="0">
                <a:pos x="143" y="11"/>
              </a:cxn>
              <a:cxn ang="0">
                <a:pos x="115" y="14"/>
              </a:cxn>
              <a:cxn ang="0">
                <a:pos x="99" y="9"/>
              </a:cxn>
              <a:cxn ang="0">
                <a:pos x="89" y="6"/>
              </a:cxn>
              <a:cxn ang="0">
                <a:pos x="69" y="5"/>
              </a:cxn>
              <a:cxn ang="0">
                <a:pos x="56" y="2"/>
              </a:cxn>
            </a:cxnLst>
            <a:rect l="0" t="0" r="r" b="b"/>
            <a:pathLst>
              <a:path w="368" h="296">
                <a:moveTo>
                  <a:pt x="51" y="0"/>
                </a:moveTo>
                <a:lnTo>
                  <a:pt x="39" y="5"/>
                </a:lnTo>
                <a:lnTo>
                  <a:pt x="27" y="8"/>
                </a:lnTo>
                <a:lnTo>
                  <a:pt x="16" y="25"/>
                </a:lnTo>
                <a:lnTo>
                  <a:pt x="3" y="41"/>
                </a:lnTo>
                <a:lnTo>
                  <a:pt x="2" y="47"/>
                </a:lnTo>
                <a:lnTo>
                  <a:pt x="1" y="54"/>
                </a:lnTo>
                <a:lnTo>
                  <a:pt x="0" y="59"/>
                </a:lnTo>
                <a:lnTo>
                  <a:pt x="0" y="66"/>
                </a:lnTo>
                <a:lnTo>
                  <a:pt x="2" y="77"/>
                </a:lnTo>
                <a:lnTo>
                  <a:pt x="7" y="88"/>
                </a:lnTo>
                <a:lnTo>
                  <a:pt x="11" y="99"/>
                </a:lnTo>
                <a:lnTo>
                  <a:pt x="18" y="108"/>
                </a:lnTo>
                <a:lnTo>
                  <a:pt x="25" y="118"/>
                </a:lnTo>
                <a:lnTo>
                  <a:pt x="31" y="126"/>
                </a:lnTo>
                <a:lnTo>
                  <a:pt x="40" y="140"/>
                </a:lnTo>
                <a:lnTo>
                  <a:pt x="57" y="162"/>
                </a:lnTo>
                <a:lnTo>
                  <a:pt x="66" y="173"/>
                </a:lnTo>
                <a:lnTo>
                  <a:pt x="75" y="183"/>
                </a:lnTo>
                <a:lnTo>
                  <a:pt x="81" y="190"/>
                </a:lnTo>
                <a:lnTo>
                  <a:pt x="86" y="192"/>
                </a:lnTo>
                <a:lnTo>
                  <a:pt x="89" y="195"/>
                </a:lnTo>
                <a:lnTo>
                  <a:pt x="93" y="197"/>
                </a:lnTo>
                <a:lnTo>
                  <a:pt x="94" y="200"/>
                </a:lnTo>
                <a:lnTo>
                  <a:pt x="97" y="201"/>
                </a:lnTo>
                <a:lnTo>
                  <a:pt x="98" y="203"/>
                </a:lnTo>
                <a:lnTo>
                  <a:pt x="103" y="208"/>
                </a:lnTo>
                <a:lnTo>
                  <a:pt x="106" y="211"/>
                </a:lnTo>
                <a:lnTo>
                  <a:pt x="109" y="213"/>
                </a:lnTo>
                <a:lnTo>
                  <a:pt x="109" y="219"/>
                </a:lnTo>
                <a:lnTo>
                  <a:pt x="112" y="223"/>
                </a:lnTo>
                <a:lnTo>
                  <a:pt x="114" y="226"/>
                </a:lnTo>
                <a:lnTo>
                  <a:pt x="118" y="227"/>
                </a:lnTo>
                <a:lnTo>
                  <a:pt x="123" y="227"/>
                </a:lnTo>
                <a:lnTo>
                  <a:pt x="127" y="227"/>
                </a:lnTo>
                <a:lnTo>
                  <a:pt x="133" y="224"/>
                </a:lnTo>
                <a:lnTo>
                  <a:pt x="138" y="223"/>
                </a:lnTo>
                <a:lnTo>
                  <a:pt x="150" y="218"/>
                </a:lnTo>
                <a:lnTo>
                  <a:pt x="161" y="213"/>
                </a:lnTo>
                <a:lnTo>
                  <a:pt x="165" y="212"/>
                </a:lnTo>
                <a:lnTo>
                  <a:pt x="170" y="211"/>
                </a:lnTo>
                <a:lnTo>
                  <a:pt x="173" y="210"/>
                </a:lnTo>
                <a:lnTo>
                  <a:pt x="175" y="211"/>
                </a:lnTo>
                <a:lnTo>
                  <a:pt x="183" y="218"/>
                </a:lnTo>
                <a:lnTo>
                  <a:pt x="192" y="228"/>
                </a:lnTo>
                <a:lnTo>
                  <a:pt x="202" y="240"/>
                </a:lnTo>
                <a:lnTo>
                  <a:pt x="213" y="253"/>
                </a:lnTo>
                <a:lnTo>
                  <a:pt x="224" y="266"/>
                </a:lnTo>
                <a:lnTo>
                  <a:pt x="234" y="277"/>
                </a:lnTo>
                <a:lnTo>
                  <a:pt x="239" y="281"/>
                </a:lnTo>
                <a:lnTo>
                  <a:pt x="243" y="285"/>
                </a:lnTo>
                <a:lnTo>
                  <a:pt x="247" y="287"/>
                </a:lnTo>
                <a:lnTo>
                  <a:pt x="250" y="288"/>
                </a:lnTo>
                <a:lnTo>
                  <a:pt x="251" y="289"/>
                </a:lnTo>
                <a:lnTo>
                  <a:pt x="253" y="291"/>
                </a:lnTo>
                <a:lnTo>
                  <a:pt x="258" y="293"/>
                </a:lnTo>
                <a:lnTo>
                  <a:pt x="263" y="294"/>
                </a:lnTo>
                <a:lnTo>
                  <a:pt x="273" y="296"/>
                </a:lnTo>
                <a:lnTo>
                  <a:pt x="280" y="296"/>
                </a:lnTo>
                <a:lnTo>
                  <a:pt x="290" y="289"/>
                </a:lnTo>
                <a:lnTo>
                  <a:pt x="298" y="280"/>
                </a:lnTo>
                <a:lnTo>
                  <a:pt x="307" y="271"/>
                </a:lnTo>
                <a:lnTo>
                  <a:pt x="315" y="261"/>
                </a:lnTo>
                <a:lnTo>
                  <a:pt x="321" y="251"/>
                </a:lnTo>
                <a:lnTo>
                  <a:pt x="327" y="240"/>
                </a:lnTo>
                <a:lnTo>
                  <a:pt x="332" y="230"/>
                </a:lnTo>
                <a:lnTo>
                  <a:pt x="334" y="219"/>
                </a:lnTo>
                <a:lnTo>
                  <a:pt x="337" y="212"/>
                </a:lnTo>
                <a:lnTo>
                  <a:pt x="340" y="205"/>
                </a:lnTo>
                <a:lnTo>
                  <a:pt x="345" y="199"/>
                </a:lnTo>
                <a:lnTo>
                  <a:pt x="351" y="193"/>
                </a:lnTo>
                <a:lnTo>
                  <a:pt x="356" y="187"/>
                </a:lnTo>
                <a:lnTo>
                  <a:pt x="361" y="181"/>
                </a:lnTo>
                <a:lnTo>
                  <a:pt x="365" y="175"/>
                </a:lnTo>
                <a:lnTo>
                  <a:pt x="367" y="170"/>
                </a:lnTo>
                <a:lnTo>
                  <a:pt x="368" y="161"/>
                </a:lnTo>
                <a:lnTo>
                  <a:pt x="368" y="151"/>
                </a:lnTo>
                <a:lnTo>
                  <a:pt x="367" y="142"/>
                </a:lnTo>
                <a:lnTo>
                  <a:pt x="365" y="132"/>
                </a:lnTo>
                <a:lnTo>
                  <a:pt x="358" y="113"/>
                </a:lnTo>
                <a:lnTo>
                  <a:pt x="351" y="97"/>
                </a:lnTo>
                <a:lnTo>
                  <a:pt x="345" y="91"/>
                </a:lnTo>
                <a:lnTo>
                  <a:pt x="335" y="83"/>
                </a:lnTo>
                <a:lnTo>
                  <a:pt x="323" y="73"/>
                </a:lnTo>
                <a:lnTo>
                  <a:pt x="308" y="64"/>
                </a:lnTo>
                <a:lnTo>
                  <a:pt x="284" y="47"/>
                </a:lnTo>
                <a:lnTo>
                  <a:pt x="272" y="39"/>
                </a:lnTo>
                <a:lnTo>
                  <a:pt x="268" y="38"/>
                </a:lnTo>
                <a:lnTo>
                  <a:pt x="262" y="36"/>
                </a:lnTo>
                <a:lnTo>
                  <a:pt x="257" y="33"/>
                </a:lnTo>
                <a:lnTo>
                  <a:pt x="251" y="29"/>
                </a:lnTo>
                <a:lnTo>
                  <a:pt x="241" y="20"/>
                </a:lnTo>
                <a:lnTo>
                  <a:pt x="233" y="12"/>
                </a:lnTo>
                <a:lnTo>
                  <a:pt x="227" y="8"/>
                </a:lnTo>
                <a:lnTo>
                  <a:pt x="219" y="6"/>
                </a:lnTo>
                <a:lnTo>
                  <a:pt x="210" y="3"/>
                </a:lnTo>
                <a:lnTo>
                  <a:pt x="200" y="2"/>
                </a:lnTo>
                <a:lnTo>
                  <a:pt x="179" y="1"/>
                </a:lnTo>
                <a:lnTo>
                  <a:pt x="163" y="2"/>
                </a:lnTo>
                <a:lnTo>
                  <a:pt x="160" y="5"/>
                </a:lnTo>
                <a:lnTo>
                  <a:pt x="156" y="8"/>
                </a:lnTo>
                <a:lnTo>
                  <a:pt x="143" y="11"/>
                </a:lnTo>
                <a:lnTo>
                  <a:pt x="127" y="15"/>
                </a:lnTo>
                <a:lnTo>
                  <a:pt x="115" y="14"/>
                </a:lnTo>
                <a:lnTo>
                  <a:pt x="103" y="12"/>
                </a:lnTo>
                <a:lnTo>
                  <a:pt x="99" y="9"/>
                </a:lnTo>
                <a:lnTo>
                  <a:pt x="95" y="8"/>
                </a:lnTo>
                <a:lnTo>
                  <a:pt x="89" y="6"/>
                </a:lnTo>
                <a:lnTo>
                  <a:pt x="83" y="5"/>
                </a:lnTo>
                <a:lnTo>
                  <a:pt x="69" y="5"/>
                </a:lnTo>
                <a:lnTo>
                  <a:pt x="58" y="3"/>
                </a:lnTo>
                <a:lnTo>
                  <a:pt x="56" y="2"/>
                </a:lnTo>
                <a:lnTo>
                  <a:pt x="5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06" name="Freeform 67">
            <a:extLst>
              <a:ext uri="{FF2B5EF4-FFF2-40B4-BE49-F238E27FC236}">
                <a16:creationId xmlns:a16="http://schemas.microsoft.com/office/drawing/2014/main" id="{9D1631F9-957D-49AE-B701-AD48A8ED1315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9097963" y="4814888"/>
            <a:ext cx="53640" cy="38100"/>
          </a:xfrm>
          <a:custGeom>
            <a:avLst/>
            <a:gdLst/>
            <a:ahLst/>
            <a:cxnLst>
              <a:cxn ang="0">
                <a:pos x="20" y="11"/>
              </a:cxn>
              <a:cxn ang="0">
                <a:pos x="11" y="28"/>
              </a:cxn>
              <a:cxn ang="0">
                <a:pos x="4" y="46"/>
              </a:cxn>
              <a:cxn ang="0">
                <a:pos x="1" y="65"/>
              </a:cxn>
              <a:cxn ang="0">
                <a:pos x="3" y="87"/>
              </a:cxn>
              <a:cxn ang="0">
                <a:pos x="17" y="120"/>
              </a:cxn>
              <a:cxn ang="0">
                <a:pos x="24" y="136"/>
              </a:cxn>
              <a:cxn ang="0">
                <a:pos x="25" y="146"/>
              </a:cxn>
              <a:cxn ang="0">
                <a:pos x="24" y="164"/>
              </a:cxn>
              <a:cxn ang="0">
                <a:pos x="19" y="189"/>
              </a:cxn>
              <a:cxn ang="0">
                <a:pos x="14" y="213"/>
              </a:cxn>
              <a:cxn ang="0">
                <a:pos x="13" y="228"/>
              </a:cxn>
              <a:cxn ang="0">
                <a:pos x="19" y="236"/>
              </a:cxn>
              <a:cxn ang="0">
                <a:pos x="22" y="241"/>
              </a:cxn>
              <a:cxn ang="0">
                <a:pos x="25" y="241"/>
              </a:cxn>
              <a:cxn ang="0">
                <a:pos x="30" y="239"/>
              </a:cxn>
              <a:cxn ang="0">
                <a:pos x="41" y="226"/>
              </a:cxn>
              <a:cxn ang="0">
                <a:pos x="58" y="214"/>
              </a:cxn>
              <a:cxn ang="0">
                <a:pos x="80" y="212"/>
              </a:cxn>
              <a:cxn ang="0">
                <a:pos x="114" y="217"/>
              </a:cxn>
              <a:cxn ang="0">
                <a:pos x="154" y="218"/>
              </a:cxn>
              <a:cxn ang="0">
                <a:pos x="177" y="214"/>
              </a:cxn>
              <a:cxn ang="0">
                <a:pos x="191" y="207"/>
              </a:cxn>
              <a:cxn ang="0">
                <a:pos x="205" y="194"/>
              </a:cxn>
              <a:cxn ang="0">
                <a:pos x="226" y="178"/>
              </a:cxn>
              <a:cxn ang="0">
                <a:pos x="252" y="164"/>
              </a:cxn>
              <a:cxn ang="0">
                <a:pos x="274" y="151"/>
              </a:cxn>
              <a:cxn ang="0">
                <a:pos x="280" y="144"/>
              </a:cxn>
              <a:cxn ang="0">
                <a:pos x="282" y="137"/>
              </a:cxn>
              <a:cxn ang="0">
                <a:pos x="279" y="128"/>
              </a:cxn>
              <a:cxn ang="0">
                <a:pos x="268" y="117"/>
              </a:cxn>
              <a:cxn ang="0">
                <a:pos x="251" y="106"/>
              </a:cxn>
              <a:cxn ang="0">
                <a:pos x="222" y="93"/>
              </a:cxn>
              <a:cxn ang="0">
                <a:pos x="192" y="78"/>
              </a:cxn>
              <a:cxn ang="0">
                <a:pos x="171" y="66"/>
              </a:cxn>
              <a:cxn ang="0">
                <a:pos x="161" y="56"/>
              </a:cxn>
              <a:cxn ang="0">
                <a:pos x="154" y="45"/>
              </a:cxn>
              <a:cxn ang="0">
                <a:pos x="143" y="30"/>
              </a:cxn>
              <a:cxn ang="0">
                <a:pos x="128" y="17"/>
              </a:cxn>
              <a:cxn ang="0">
                <a:pos x="113" y="7"/>
              </a:cxn>
              <a:cxn ang="0">
                <a:pos x="96" y="0"/>
              </a:cxn>
              <a:cxn ang="0">
                <a:pos x="71" y="0"/>
              </a:cxn>
              <a:cxn ang="0">
                <a:pos x="56" y="1"/>
              </a:cxn>
              <a:cxn ang="0">
                <a:pos x="37" y="1"/>
              </a:cxn>
              <a:cxn ang="0">
                <a:pos x="25" y="3"/>
              </a:cxn>
            </a:cxnLst>
            <a:rect l="0" t="0" r="r" b="b"/>
            <a:pathLst>
              <a:path w="282" h="241">
                <a:moveTo>
                  <a:pt x="25" y="3"/>
                </a:moveTo>
                <a:lnTo>
                  <a:pt x="20" y="11"/>
                </a:lnTo>
                <a:lnTo>
                  <a:pt x="15" y="19"/>
                </a:lnTo>
                <a:lnTo>
                  <a:pt x="11" y="28"/>
                </a:lnTo>
                <a:lnTo>
                  <a:pt x="8" y="37"/>
                </a:lnTo>
                <a:lnTo>
                  <a:pt x="4" y="46"/>
                </a:lnTo>
                <a:lnTo>
                  <a:pt x="2" y="55"/>
                </a:lnTo>
                <a:lnTo>
                  <a:pt x="1" y="65"/>
                </a:lnTo>
                <a:lnTo>
                  <a:pt x="0" y="75"/>
                </a:lnTo>
                <a:lnTo>
                  <a:pt x="3" y="87"/>
                </a:lnTo>
                <a:lnTo>
                  <a:pt x="10" y="104"/>
                </a:lnTo>
                <a:lnTo>
                  <a:pt x="17" y="120"/>
                </a:lnTo>
                <a:lnTo>
                  <a:pt x="22" y="132"/>
                </a:lnTo>
                <a:lnTo>
                  <a:pt x="24" y="136"/>
                </a:lnTo>
                <a:lnTo>
                  <a:pt x="25" y="142"/>
                </a:lnTo>
                <a:lnTo>
                  <a:pt x="25" y="146"/>
                </a:lnTo>
                <a:lnTo>
                  <a:pt x="25" y="152"/>
                </a:lnTo>
                <a:lnTo>
                  <a:pt x="24" y="164"/>
                </a:lnTo>
                <a:lnTo>
                  <a:pt x="22" y="176"/>
                </a:lnTo>
                <a:lnTo>
                  <a:pt x="19" y="189"/>
                </a:lnTo>
                <a:lnTo>
                  <a:pt x="15" y="201"/>
                </a:lnTo>
                <a:lnTo>
                  <a:pt x="14" y="213"/>
                </a:lnTo>
                <a:lnTo>
                  <a:pt x="13" y="223"/>
                </a:lnTo>
                <a:lnTo>
                  <a:pt x="13" y="228"/>
                </a:lnTo>
                <a:lnTo>
                  <a:pt x="15" y="231"/>
                </a:lnTo>
                <a:lnTo>
                  <a:pt x="19" y="236"/>
                </a:lnTo>
                <a:lnTo>
                  <a:pt x="21" y="239"/>
                </a:lnTo>
                <a:lnTo>
                  <a:pt x="22" y="241"/>
                </a:lnTo>
                <a:lnTo>
                  <a:pt x="24" y="241"/>
                </a:lnTo>
                <a:lnTo>
                  <a:pt x="25" y="241"/>
                </a:lnTo>
                <a:lnTo>
                  <a:pt x="27" y="241"/>
                </a:lnTo>
                <a:lnTo>
                  <a:pt x="30" y="239"/>
                </a:lnTo>
                <a:lnTo>
                  <a:pt x="33" y="234"/>
                </a:lnTo>
                <a:lnTo>
                  <a:pt x="41" y="226"/>
                </a:lnTo>
                <a:lnTo>
                  <a:pt x="48" y="219"/>
                </a:lnTo>
                <a:lnTo>
                  <a:pt x="58" y="214"/>
                </a:lnTo>
                <a:lnTo>
                  <a:pt x="69" y="213"/>
                </a:lnTo>
                <a:lnTo>
                  <a:pt x="80" y="212"/>
                </a:lnTo>
                <a:lnTo>
                  <a:pt x="91" y="213"/>
                </a:lnTo>
                <a:lnTo>
                  <a:pt x="114" y="217"/>
                </a:lnTo>
                <a:lnTo>
                  <a:pt x="135" y="219"/>
                </a:lnTo>
                <a:lnTo>
                  <a:pt x="154" y="218"/>
                </a:lnTo>
                <a:lnTo>
                  <a:pt x="169" y="217"/>
                </a:lnTo>
                <a:lnTo>
                  <a:pt x="177" y="214"/>
                </a:lnTo>
                <a:lnTo>
                  <a:pt x="184" y="211"/>
                </a:lnTo>
                <a:lnTo>
                  <a:pt x="191" y="207"/>
                </a:lnTo>
                <a:lnTo>
                  <a:pt x="197" y="201"/>
                </a:lnTo>
                <a:lnTo>
                  <a:pt x="205" y="194"/>
                </a:lnTo>
                <a:lnTo>
                  <a:pt x="215" y="185"/>
                </a:lnTo>
                <a:lnTo>
                  <a:pt x="226" y="178"/>
                </a:lnTo>
                <a:lnTo>
                  <a:pt x="235" y="172"/>
                </a:lnTo>
                <a:lnTo>
                  <a:pt x="252" y="164"/>
                </a:lnTo>
                <a:lnTo>
                  <a:pt x="270" y="154"/>
                </a:lnTo>
                <a:lnTo>
                  <a:pt x="274" y="151"/>
                </a:lnTo>
                <a:lnTo>
                  <a:pt x="278" y="147"/>
                </a:lnTo>
                <a:lnTo>
                  <a:pt x="280" y="144"/>
                </a:lnTo>
                <a:lnTo>
                  <a:pt x="281" y="141"/>
                </a:lnTo>
                <a:lnTo>
                  <a:pt x="282" y="137"/>
                </a:lnTo>
                <a:lnTo>
                  <a:pt x="281" y="133"/>
                </a:lnTo>
                <a:lnTo>
                  <a:pt x="279" y="128"/>
                </a:lnTo>
                <a:lnTo>
                  <a:pt x="275" y="124"/>
                </a:lnTo>
                <a:lnTo>
                  <a:pt x="268" y="117"/>
                </a:lnTo>
                <a:lnTo>
                  <a:pt x="260" y="112"/>
                </a:lnTo>
                <a:lnTo>
                  <a:pt x="251" y="106"/>
                </a:lnTo>
                <a:lnTo>
                  <a:pt x="241" y="102"/>
                </a:lnTo>
                <a:lnTo>
                  <a:pt x="222" y="93"/>
                </a:lnTo>
                <a:lnTo>
                  <a:pt x="202" y="84"/>
                </a:lnTo>
                <a:lnTo>
                  <a:pt x="192" y="78"/>
                </a:lnTo>
                <a:lnTo>
                  <a:pt x="177" y="70"/>
                </a:lnTo>
                <a:lnTo>
                  <a:pt x="171" y="66"/>
                </a:lnTo>
                <a:lnTo>
                  <a:pt x="165" y="60"/>
                </a:lnTo>
                <a:lnTo>
                  <a:pt x="161" y="56"/>
                </a:lnTo>
                <a:lnTo>
                  <a:pt x="157" y="53"/>
                </a:lnTo>
                <a:lnTo>
                  <a:pt x="154" y="45"/>
                </a:lnTo>
                <a:lnTo>
                  <a:pt x="149" y="37"/>
                </a:lnTo>
                <a:lnTo>
                  <a:pt x="143" y="30"/>
                </a:lnTo>
                <a:lnTo>
                  <a:pt x="136" y="22"/>
                </a:lnTo>
                <a:lnTo>
                  <a:pt x="128" y="17"/>
                </a:lnTo>
                <a:lnTo>
                  <a:pt x="120" y="11"/>
                </a:lnTo>
                <a:lnTo>
                  <a:pt x="113" y="7"/>
                </a:lnTo>
                <a:lnTo>
                  <a:pt x="105" y="3"/>
                </a:lnTo>
                <a:lnTo>
                  <a:pt x="96" y="0"/>
                </a:lnTo>
                <a:lnTo>
                  <a:pt x="83" y="0"/>
                </a:lnTo>
                <a:lnTo>
                  <a:pt x="71" y="0"/>
                </a:lnTo>
                <a:lnTo>
                  <a:pt x="60" y="0"/>
                </a:lnTo>
                <a:lnTo>
                  <a:pt x="56" y="1"/>
                </a:lnTo>
                <a:lnTo>
                  <a:pt x="47" y="1"/>
                </a:lnTo>
                <a:lnTo>
                  <a:pt x="37" y="1"/>
                </a:lnTo>
                <a:lnTo>
                  <a:pt x="32" y="0"/>
                </a:lnTo>
                <a:lnTo>
                  <a:pt x="25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07" name="Freeform 68">
            <a:extLst>
              <a:ext uri="{FF2B5EF4-FFF2-40B4-BE49-F238E27FC236}">
                <a16:creationId xmlns:a16="http://schemas.microsoft.com/office/drawing/2014/main" id="{D213E57B-78D1-4225-B1F2-B6AD35B825AD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9029700" y="4705350"/>
            <a:ext cx="178657" cy="103188"/>
          </a:xfrm>
          <a:custGeom>
            <a:avLst/>
            <a:gdLst/>
            <a:ahLst/>
            <a:cxnLst>
              <a:cxn ang="0">
                <a:pos x="267" y="256"/>
              </a:cxn>
              <a:cxn ang="0">
                <a:pos x="239" y="293"/>
              </a:cxn>
              <a:cxn ang="0">
                <a:pos x="227" y="307"/>
              </a:cxn>
              <a:cxn ang="0">
                <a:pos x="215" y="322"/>
              </a:cxn>
              <a:cxn ang="0">
                <a:pos x="234" y="365"/>
              </a:cxn>
              <a:cxn ang="0">
                <a:pos x="248" y="388"/>
              </a:cxn>
              <a:cxn ang="0">
                <a:pos x="264" y="405"/>
              </a:cxn>
              <a:cxn ang="0">
                <a:pos x="257" y="405"/>
              </a:cxn>
              <a:cxn ang="0">
                <a:pos x="234" y="411"/>
              </a:cxn>
              <a:cxn ang="0">
                <a:pos x="215" y="417"/>
              </a:cxn>
              <a:cxn ang="0">
                <a:pos x="183" y="436"/>
              </a:cxn>
              <a:cxn ang="0">
                <a:pos x="154" y="439"/>
              </a:cxn>
              <a:cxn ang="0">
                <a:pos x="140" y="439"/>
              </a:cxn>
              <a:cxn ang="0">
                <a:pos x="113" y="439"/>
              </a:cxn>
              <a:cxn ang="0">
                <a:pos x="75" y="439"/>
              </a:cxn>
              <a:cxn ang="0">
                <a:pos x="55" y="439"/>
              </a:cxn>
              <a:cxn ang="0">
                <a:pos x="32" y="447"/>
              </a:cxn>
              <a:cxn ang="0">
                <a:pos x="16" y="456"/>
              </a:cxn>
              <a:cxn ang="0">
                <a:pos x="0" y="480"/>
              </a:cxn>
              <a:cxn ang="0">
                <a:pos x="0" y="505"/>
              </a:cxn>
              <a:cxn ang="0">
                <a:pos x="5" y="530"/>
              </a:cxn>
              <a:cxn ang="0">
                <a:pos x="17" y="546"/>
              </a:cxn>
              <a:cxn ang="0">
                <a:pos x="26" y="575"/>
              </a:cxn>
              <a:cxn ang="0">
                <a:pos x="45" y="597"/>
              </a:cxn>
              <a:cxn ang="0">
                <a:pos x="67" y="624"/>
              </a:cxn>
              <a:cxn ang="0">
                <a:pos x="94" y="634"/>
              </a:cxn>
              <a:cxn ang="0">
                <a:pos x="114" y="623"/>
              </a:cxn>
              <a:cxn ang="0">
                <a:pos x="130" y="601"/>
              </a:cxn>
              <a:cxn ang="0">
                <a:pos x="139" y="583"/>
              </a:cxn>
              <a:cxn ang="0">
                <a:pos x="153" y="557"/>
              </a:cxn>
              <a:cxn ang="0">
                <a:pos x="166" y="526"/>
              </a:cxn>
              <a:cxn ang="0">
                <a:pos x="184" y="515"/>
              </a:cxn>
              <a:cxn ang="0">
                <a:pos x="200" y="497"/>
              </a:cxn>
              <a:cxn ang="0">
                <a:pos x="221" y="472"/>
              </a:cxn>
              <a:cxn ang="0">
                <a:pos x="246" y="458"/>
              </a:cxn>
              <a:cxn ang="0">
                <a:pos x="272" y="433"/>
              </a:cxn>
              <a:cxn ang="0">
                <a:pos x="282" y="420"/>
              </a:cxn>
              <a:cxn ang="0">
                <a:pos x="336" y="423"/>
              </a:cxn>
              <a:cxn ang="0">
                <a:pos x="469" y="395"/>
              </a:cxn>
              <a:cxn ang="0">
                <a:pos x="552" y="360"/>
              </a:cxn>
              <a:cxn ang="0">
                <a:pos x="583" y="327"/>
              </a:cxn>
              <a:cxn ang="0">
                <a:pos x="622" y="303"/>
              </a:cxn>
              <a:cxn ang="0">
                <a:pos x="712" y="259"/>
              </a:cxn>
              <a:cxn ang="0">
                <a:pos x="795" y="227"/>
              </a:cxn>
              <a:cxn ang="0">
                <a:pos x="846" y="201"/>
              </a:cxn>
              <a:cxn ang="0">
                <a:pos x="888" y="184"/>
              </a:cxn>
              <a:cxn ang="0">
                <a:pos x="959" y="152"/>
              </a:cxn>
              <a:cxn ang="0">
                <a:pos x="973" y="141"/>
              </a:cxn>
              <a:cxn ang="0">
                <a:pos x="937" y="106"/>
              </a:cxn>
              <a:cxn ang="0">
                <a:pos x="875" y="92"/>
              </a:cxn>
              <a:cxn ang="0">
                <a:pos x="820" y="64"/>
              </a:cxn>
              <a:cxn ang="0">
                <a:pos x="762" y="13"/>
              </a:cxn>
              <a:cxn ang="0">
                <a:pos x="716" y="1"/>
              </a:cxn>
              <a:cxn ang="0">
                <a:pos x="623" y="21"/>
              </a:cxn>
              <a:cxn ang="0">
                <a:pos x="534" y="77"/>
              </a:cxn>
              <a:cxn ang="0">
                <a:pos x="504" y="95"/>
              </a:cxn>
              <a:cxn ang="0">
                <a:pos x="451" y="116"/>
              </a:cxn>
              <a:cxn ang="0">
                <a:pos x="394" y="148"/>
              </a:cxn>
              <a:cxn ang="0">
                <a:pos x="362" y="178"/>
              </a:cxn>
              <a:cxn ang="0">
                <a:pos x="336" y="201"/>
              </a:cxn>
              <a:cxn ang="0">
                <a:pos x="316" y="212"/>
              </a:cxn>
            </a:cxnLst>
            <a:rect l="0" t="0" r="r" b="b"/>
            <a:pathLst>
              <a:path w="978" h="635">
                <a:moveTo>
                  <a:pt x="295" y="220"/>
                </a:moveTo>
                <a:lnTo>
                  <a:pt x="287" y="230"/>
                </a:lnTo>
                <a:lnTo>
                  <a:pt x="279" y="242"/>
                </a:lnTo>
                <a:lnTo>
                  <a:pt x="272" y="246"/>
                </a:lnTo>
                <a:lnTo>
                  <a:pt x="270" y="250"/>
                </a:lnTo>
                <a:lnTo>
                  <a:pt x="267" y="256"/>
                </a:lnTo>
                <a:lnTo>
                  <a:pt x="264" y="263"/>
                </a:lnTo>
                <a:lnTo>
                  <a:pt x="258" y="270"/>
                </a:lnTo>
                <a:lnTo>
                  <a:pt x="248" y="283"/>
                </a:lnTo>
                <a:lnTo>
                  <a:pt x="241" y="288"/>
                </a:lnTo>
                <a:lnTo>
                  <a:pt x="241" y="290"/>
                </a:lnTo>
                <a:lnTo>
                  <a:pt x="239" y="293"/>
                </a:lnTo>
                <a:lnTo>
                  <a:pt x="237" y="295"/>
                </a:lnTo>
                <a:lnTo>
                  <a:pt x="234" y="295"/>
                </a:lnTo>
                <a:lnTo>
                  <a:pt x="234" y="298"/>
                </a:lnTo>
                <a:lnTo>
                  <a:pt x="231" y="303"/>
                </a:lnTo>
                <a:lnTo>
                  <a:pt x="229" y="305"/>
                </a:lnTo>
                <a:lnTo>
                  <a:pt x="227" y="307"/>
                </a:lnTo>
                <a:lnTo>
                  <a:pt x="226" y="314"/>
                </a:lnTo>
                <a:lnTo>
                  <a:pt x="225" y="315"/>
                </a:lnTo>
                <a:lnTo>
                  <a:pt x="224" y="315"/>
                </a:lnTo>
                <a:lnTo>
                  <a:pt x="222" y="318"/>
                </a:lnTo>
                <a:lnTo>
                  <a:pt x="219" y="319"/>
                </a:lnTo>
                <a:lnTo>
                  <a:pt x="215" y="322"/>
                </a:lnTo>
                <a:lnTo>
                  <a:pt x="215" y="348"/>
                </a:lnTo>
                <a:lnTo>
                  <a:pt x="219" y="352"/>
                </a:lnTo>
                <a:lnTo>
                  <a:pt x="227" y="352"/>
                </a:lnTo>
                <a:lnTo>
                  <a:pt x="228" y="357"/>
                </a:lnTo>
                <a:lnTo>
                  <a:pt x="230" y="363"/>
                </a:lnTo>
                <a:lnTo>
                  <a:pt x="234" y="365"/>
                </a:lnTo>
                <a:lnTo>
                  <a:pt x="237" y="371"/>
                </a:lnTo>
                <a:lnTo>
                  <a:pt x="240" y="378"/>
                </a:lnTo>
                <a:lnTo>
                  <a:pt x="241" y="382"/>
                </a:lnTo>
                <a:lnTo>
                  <a:pt x="245" y="383"/>
                </a:lnTo>
                <a:lnTo>
                  <a:pt x="247" y="384"/>
                </a:lnTo>
                <a:lnTo>
                  <a:pt x="248" y="388"/>
                </a:lnTo>
                <a:lnTo>
                  <a:pt x="249" y="390"/>
                </a:lnTo>
                <a:lnTo>
                  <a:pt x="251" y="391"/>
                </a:lnTo>
                <a:lnTo>
                  <a:pt x="255" y="394"/>
                </a:lnTo>
                <a:lnTo>
                  <a:pt x="256" y="398"/>
                </a:lnTo>
                <a:lnTo>
                  <a:pt x="257" y="401"/>
                </a:lnTo>
                <a:lnTo>
                  <a:pt x="264" y="405"/>
                </a:lnTo>
                <a:lnTo>
                  <a:pt x="268" y="409"/>
                </a:lnTo>
                <a:lnTo>
                  <a:pt x="268" y="409"/>
                </a:lnTo>
                <a:lnTo>
                  <a:pt x="264" y="409"/>
                </a:lnTo>
                <a:lnTo>
                  <a:pt x="260" y="409"/>
                </a:lnTo>
                <a:lnTo>
                  <a:pt x="258" y="407"/>
                </a:lnTo>
                <a:lnTo>
                  <a:pt x="257" y="405"/>
                </a:lnTo>
                <a:lnTo>
                  <a:pt x="253" y="405"/>
                </a:lnTo>
                <a:lnTo>
                  <a:pt x="251" y="405"/>
                </a:lnTo>
                <a:lnTo>
                  <a:pt x="249" y="405"/>
                </a:lnTo>
                <a:lnTo>
                  <a:pt x="241" y="407"/>
                </a:lnTo>
                <a:lnTo>
                  <a:pt x="234" y="409"/>
                </a:lnTo>
                <a:lnTo>
                  <a:pt x="234" y="411"/>
                </a:lnTo>
                <a:lnTo>
                  <a:pt x="234" y="412"/>
                </a:lnTo>
                <a:lnTo>
                  <a:pt x="232" y="412"/>
                </a:lnTo>
                <a:lnTo>
                  <a:pt x="231" y="412"/>
                </a:lnTo>
                <a:lnTo>
                  <a:pt x="229" y="411"/>
                </a:lnTo>
                <a:lnTo>
                  <a:pt x="227" y="412"/>
                </a:lnTo>
                <a:lnTo>
                  <a:pt x="215" y="417"/>
                </a:lnTo>
                <a:lnTo>
                  <a:pt x="203" y="420"/>
                </a:lnTo>
                <a:lnTo>
                  <a:pt x="200" y="423"/>
                </a:lnTo>
                <a:lnTo>
                  <a:pt x="200" y="426"/>
                </a:lnTo>
                <a:lnTo>
                  <a:pt x="200" y="428"/>
                </a:lnTo>
                <a:lnTo>
                  <a:pt x="192" y="431"/>
                </a:lnTo>
                <a:lnTo>
                  <a:pt x="183" y="436"/>
                </a:lnTo>
                <a:lnTo>
                  <a:pt x="178" y="439"/>
                </a:lnTo>
                <a:lnTo>
                  <a:pt x="172" y="439"/>
                </a:lnTo>
                <a:lnTo>
                  <a:pt x="166" y="439"/>
                </a:lnTo>
                <a:lnTo>
                  <a:pt x="162" y="439"/>
                </a:lnTo>
                <a:lnTo>
                  <a:pt x="159" y="439"/>
                </a:lnTo>
                <a:lnTo>
                  <a:pt x="154" y="439"/>
                </a:lnTo>
                <a:lnTo>
                  <a:pt x="153" y="439"/>
                </a:lnTo>
                <a:lnTo>
                  <a:pt x="151" y="439"/>
                </a:lnTo>
                <a:lnTo>
                  <a:pt x="148" y="439"/>
                </a:lnTo>
                <a:lnTo>
                  <a:pt x="145" y="439"/>
                </a:lnTo>
                <a:lnTo>
                  <a:pt x="143" y="439"/>
                </a:lnTo>
                <a:lnTo>
                  <a:pt x="140" y="439"/>
                </a:lnTo>
                <a:lnTo>
                  <a:pt x="138" y="439"/>
                </a:lnTo>
                <a:lnTo>
                  <a:pt x="135" y="439"/>
                </a:lnTo>
                <a:lnTo>
                  <a:pt x="129" y="439"/>
                </a:lnTo>
                <a:lnTo>
                  <a:pt x="123" y="439"/>
                </a:lnTo>
                <a:lnTo>
                  <a:pt x="116" y="439"/>
                </a:lnTo>
                <a:lnTo>
                  <a:pt x="113" y="439"/>
                </a:lnTo>
                <a:lnTo>
                  <a:pt x="109" y="439"/>
                </a:lnTo>
                <a:lnTo>
                  <a:pt x="102" y="439"/>
                </a:lnTo>
                <a:lnTo>
                  <a:pt x="94" y="439"/>
                </a:lnTo>
                <a:lnTo>
                  <a:pt x="86" y="439"/>
                </a:lnTo>
                <a:lnTo>
                  <a:pt x="81" y="439"/>
                </a:lnTo>
                <a:lnTo>
                  <a:pt x="75" y="439"/>
                </a:lnTo>
                <a:lnTo>
                  <a:pt x="72" y="439"/>
                </a:lnTo>
                <a:lnTo>
                  <a:pt x="67" y="439"/>
                </a:lnTo>
                <a:lnTo>
                  <a:pt x="64" y="439"/>
                </a:lnTo>
                <a:lnTo>
                  <a:pt x="61" y="439"/>
                </a:lnTo>
                <a:lnTo>
                  <a:pt x="56" y="439"/>
                </a:lnTo>
                <a:lnTo>
                  <a:pt x="55" y="439"/>
                </a:lnTo>
                <a:lnTo>
                  <a:pt x="53" y="439"/>
                </a:lnTo>
                <a:lnTo>
                  <a:pt x="49" y="442"/>
                </a:lnTo>
                <a:lnTo>
                  <a:pt x="42" y="442"/>
                </a:lnTo>
                <a:lnTo>
                  <a:pt x="34" y="442"/>
                </a:lnTo>
                <a:lnTo>
                  <a:pt x="34" y="447"/>
                </a:lnTo>
                <a:lnTo>
                  <a:pt x="32" y="447"/>
                </a:lnTo>
                <a:lnTo>
                  <a:pt x="30" y="447"/>
                </a:lnTo>
                <a:lnTo>
                  <a:pt x="26" y="447"/>
                </a:lnTo>
                <a:lnTo>
                  <a:pt x="21" y="449"/>
                </a:lnTo>
                <a:lnTo>
                  <a:pt x="18" y="451"/>
                </a:lnTo>
                <a:lnTo>
                  <a:pt x="17" y="452"/>
                </a:lnTo>
                <a:lnTo>
                  <a:pt x="16" y="456"/>
                </a:lnTo>
                <a:lnTo>
                  <a:pt x="15" y="458"/>
                </a:lnTo>
                <a:lnTo>
                  <a:pt x="11" y="461"/>
                </a:lnTo>
                <a:lnTo>
                  <a:pt x="7" y="463"/>
                </a:lnTo>
                <a:lnTo>
                  <a:pt x="4" y="466"/>
                </a:lnTo>
                <a:lnTo>
                  <a:pt x="1" y="475"/>
                </a:lnTo>
                <a:lnTo>
                  <a:pt x="0" y="480"/>
                </a:lnTo>
                <a:lnTo>
                  <a:pt x="0" y="486"/>
                </a:lnTo>
                <a:lnTo>
                  <a:pt x="0" y="491"/>
                </a:lnTo>
                <a:lnTo>
                  <a:pt x="0" y="496"/>
                </a:lnTo>
                <a:lnTo>
                  <a:pt x="0" y="499"/>
                </a:lnTo>
                <a:lnTo>
                  <a:pt x="0" y="503"/>
                </a:lnTo>
                <a:lnTo>
                  <a:pt x="0" y="505"/>
                </a:lnTo>
                <a:lnTo>
                  <a:pt x="0" y="507"/>
                </a:lnTo>
                <a:lnTo>
                  <a:pt x="0" y="510"/>
                </a:lnTo>
                <a:lnTo>
                  <a:pt x="0" y="518"/>
                </a:lnTo>
                <a:lnTo>
                  <a:pt x="0" y="526"/>
                </a:lnTo>
                <a:lnTo>
                  <a:pt x="3" y="527"/>
                </a:lnTo>
                <a:lnTo>
                  <a:pt x="5" y="530"/>
                </a:lnTo>
                <a:lnTo>
                  <a:pt x="7" y="534"/>
                </a:lnTo>
                <a:lnTo>
                  <a:pt x="7" y="537"/>
                </a:lnTo>
                <a:lnTo>
                  <a:pt x="11" y="539"/>
                </a:lnTo>
                <a:lnTo>
                  <a:pt x="15" y="540"/>
                </a:lnTo>
                <a:lnTo>
                  <a:pt x="16" y="544"/>
                </a:lnTo>
                <a:lnTo>
                  <a:pt x="17" y="546"/>
                </a:lnTo>
                <a:lnTo>
                  <a:pt x="19" y="549"/>
                </a:lnTo>
                <a:lnTo>
                  <a:pt x="23" y="552"/>
                </a:lnTo>
                <a:lnTo>
                  <a:pt x="23" y="556"/>
                </a:lnTo>
                <a:lnTo>
                  <a:pt x="23" y="559"/>
                </a:lnTo>
                <a:lnTo>
                  <a:pt x="25" y="567"/>
                </a:lnTo>
                <a:lnTo>
                  <a:pt x="26" y="575"/>
                </a:lnTo>
                <a:lnTo>
                  <a:pt x="30" y="578"/>
                </a:lnTo>
                <a:lnTo>
                  <a:pt x="34" y="583"/>
                </a:lnTo>
                <a:lnTo>
                  <a:pt x="36" y="588"/>
                </a:lnTo>
                <a:lnTo>
                  <a:pt x="37" y="594"/>
                </a:lnTo>
                <a:lnTo>
                  <a:pt x="42" y="595"/>
                </a:lnTo>
                <a:lnTo>
                  <a:pt x="45" y="597"/>
                </a:lnTo>
                <a:lnTo>
                  <a:pt x="49" y="605"/>
                </a:lnTo>
                <a:lnTo>
                  <a:pt x="53" y="613"/>
                </a:lnTo>
                <a:lnTo>
                  <a:pt x="58" y="616"/>
                </a:lnTo>
                <a:lnTo>
                  <a:pt x="61" y="620"/>
                </a:lnTo>
                <a:lnTo>
                  <a:pt x="64" y="622"/>
                </a:lnTo>
                <a:lnTo>
                  <a:pt x="67" y="624"/>
                </a:lnTo>
                <a:lnTo>
                  <a:pt x="74" y="624"/>
                </a:lnTo>
                <a:lnTo>
                  <a:pt x="80" y="624"/>
                </a:lnTo>
                <a:lnTo>
                  <a:pt x="83" y="628"/>
                </a:lnTo>
                <a:lnTo>
                  <a:pt x="86" y="630"/>
                </a:lnTo>
                <a:lnTo>
                  <a:pt x="91" y="632"/>
                </a:lnTo>
                <a:lnTo>
                  <a:pt x="94" y="634"/>
                </a:lnTo>
                <a:lnTo>
                  <a:pt x="99" y="635"/>
                </a:lnTo>
                <a:lnTo>
                  <a:pt x="102" y="635"/>
                </a:lnTo>
                <a:lnTo>
                  <a:pt x="105" y="635"/>
                </a:lnTo>
                <a:lnTo>
                  <a:pt x="110" y="632"/>
                </a:lnTo>
                <a:lnTo>
                  <a:pt x="112" y="626"/>
                </a:lnTo>
                <a:lnTo>
                  <a:pt x="114" y="623"/>
                </a:lnTo>
                <a:lnTo>
                  <a:pt x="116" y="620"/>
                </a:lnTo>
                <a:lnTo>
                  <a:pt x="121" y="616"/>
                </a:lnTo>
                <a:lnTo>
                  <a:pt x="121" y="609"/>
                </a:lnTo>
                <a:lnTo>
                  <a:pt x="126" y="607"/>
                </a:lnTo>
                <a:lnTo>
                  <a:pt x="129" y="605"/>
                </a:lnTo>
                <a:lnTo>
                  <a:pt x="130" y="601"/>
                </a:lnTo>
                <a:lnTo>
                  <a:pt x="132" y="597"/>
                </a:lnTo>
                <a:lnTo>
                  <a:pt x="132" y="594"/>
                </a:lnTo>
                <a:lnTo>
                  <a:pt x="134" y="592"/>
                </a:lnTo>
                <a:lnTo>
                  <a:pt x="135" y="590"/>
                </a:lnTo>
                <a:lnTo>
                  <a:pt x="136" y="586"/>
                </a:lnTo>
                <a:lnTo>
                  <a:pt x="139" y="583"/>
                </a:lnTo>
                <a:lnTo>
                  <a:pt x="141" y="580"/>
                </a:lnTo>
                <a:lnTo>
                  <a:pt x="143" y="578"/>
                </a:lnTo>
                <a:lnTo>
                  <a:pt x="143" y="571"/>
                </a:lnTo>
                <a:lnTo>
                  <a:pt x="148" y="567"/>
                </a:lnTo>
                <a:lnTo>
                  <a:pt x="151" y="564"/>
                </a:lnTo>
                <a:lnTo>
                  <a:pt x="153" y="557"/>
                </a:lnTo>
                <a:lnTo>
                  <a:pt x="154" y="548"/>
                </a:lnTo>
                <a:lnTo>
                  <a:pt x="159" y="548"/>
                </a:lnTo>
                <a:lnTo>
                  <a:pt x="160" y="545"/>
                </a:lnTo>
                <a:lnTo>
                  <a:pt x="162" y="540"/>
                </a:lnTo>
                <a:lnTo>
                  <a:pt x="164" y="534"/>
                </a:lnTo>
                <a:lnTo>
                  <a:pt x="166" y="526"/>
                </a:lnTo>
                <a:lnTo>
                  <a:pt x="170" y="521"/>
                </a:lnTo>
                <a:lnTo>
                  <a:pt x="178" y="521"/>
                </a:lnTo>
                <a:lnTo>
                  <a:pt x="178" y="519"/>
                </a:lnTo>
                <a:lnTo>
                  <a:pt x="180" y="517"/>
                </a:lnTo>
                <a:lnTo>
                  <a:pt x="182" y="515"/>
                </a:lnTo>
                <a:lnTo>
                  <a:pt x="184" y="515"/>
                </a:lnTo>
                <a:lnTo>
                  <a:pt x="187" y="513"/>
                </a:lnTo>
                <a:lnTo>
                  <a:pt x="189" y="510"/>
                </a:lnTo>
                <a:lnTo>
                  <a:pt x="192" y="507"/>
                </a:lnTo>
                <a:lnTo>
                  <a:pt x="197" y="503"/>
                </a:lnTo>
                <a:lnTo>
                  <a:pt x="200" y="499"/>
                </a:lnTo>
                <a:lnTo>
                  <a:pt x="200" y="497"/>
                </a:lnTo>
                <a:lnTo>
                  <a:pt x="200" y="496"/>
                </a:lnTo>
                <a:lnTo>
                  <a:pt x="206" y="489"/>
                </a:lnTo>
                <a:lnTo>
                  <a:pt x="211" y="480"/>
                </a:lnTo>
                <a:lnTo>
                  <a:pt x="215" y="477"/>
                </a:lnTo>
                <a:lnTo>
                  <a:pt x="219" y="472"/>
                </a:lnTo>
                <a:lnTo>
                  <a:pt x="221" y="472"/>
                </a:lnTo>
                <a:lnTo>
                  <a:pt x="222" y="472"/>
                </a:lnTo>
                <a:lnTo>
                  <a:pt x="230" y="467"/>
                </a:lnTo>
                <a:lnTo>
                  <a:pt x="234" y="461"/>
                </a:lnTo>
                <a:lnTo>
                  <a:pt x="241" y="461"/>
                </a:lnTo>
                <a:lnTo>
                  <a:pt x="244" y="460"/>
                </a:lnTo>
                <a:lnTo>
                  <a:pt x="246" y="458"/>
                </a:lnTo>
                <a:lnTo>
                  <a:pt x="249" y="455"/>
                </a:lnTo>
                <a:lnTo>
                  <a:pt x="253" y="452"/>
                </a:lnTo>
                <a:lnTo>
                  <a:pt x="257" y="450"/>
                </a:lnTo>
                <a:lnTo>
                  <a:pt x="263" y="444"/>
                </a:lnTo>
                <a:lnTo>
                  <a:pt x="268" y="436"/>
                </a:lnTo>
                <a:lnTo>
                  <a:pt x="272" y="433"/>
                </a:lnTo>
                <a:lnTo>
                  <a:pt x="276" y="431"/>
                </a:lnTo>
                <a:lnTo>
                  <a:pt x="276" y="423"/>
                </a:lnTo>
                <a:lnTo>
                  <a:pt x="277" y="423"/>
                </a:lnTo>
                <a:lnTo>
                  <a:pt x="279" y="423"/>
                </a:lnTo>
                <a:lnTo>
                  <a:pt x="279" y="422"/>
                </a:lnTo>
                <a:lnTo>
                  <a:pt x="282" y="420"/>
                </a:lnTo>
                <a:lnTo>
                  <a:pt x="283" y="420"/>
                </a:lnTo>
                <a:lnTo>
                  <a:pt x="283" y="423"/>
                </a:lnTo>
                <a:lnTo>
                  <a:pt x="295" y="424"/>
                </a:lnTo>
                <a:lnTo>
                  <a:pt x="308" y="426"/>
                </a:lnTo>
                <a:lnTo>
                  <a:pt x="322" y="426"/>
                </a:lnTo>
                <a:lnTo>
                  <a:pt x="336" y="423"/>
                </a:lnTo>
                <a:lnTo>
                  <a:pt x="359" y="417"/>
                </a:lnTo>
                <a:lnTo>
                  <a:pt x="380" y="411"/>
                </a:lnTo>
                <a:lnTo>
                  <a:pt x="402" y="405"/>
                </a:lnTo>
                <a:lnTo>
                  <a:pt x="423" y="402"/>
                </a:lnTo>
                <a:lnTo>
                  <a:pt x="446" y="398"/>
                </a:lnTo>
                <a:lnTo>
                  <a:pt x="469" y="395"/>
                </a:lnTo>
                <a:lnTo>
                  <a:pt x="493" y="394"/>
                </a:lnTo>
                <a:lnTo>
                  <a:pt x="517" y="393"/>
                </a:lnTo>
                <a:lnTo>
                  <a:pt x="529" y="386"/>
                </a:lnTo>
                <a:lnTo>
                  <a:pt x="544" y="379"/>
                </a:lnTo>
                <a:lnTo>
                  <a:pt x="547" y="369"/>
                </a:lnTo>
                <a:lnTo>
                  <a:pt x="552" y="360"/>
                </a:lnTo>
                <a:lnTo>
                  <a:pt x="562" y="348"/>
                </a:lnTo>
                <a:lnTo>
                  <a:pt x="574" y="337"/>
                </a:lnTo>
                <a:lnTo>
                  <a:pt x="576" y="333"/>
                </a:lnTo>
                <a:lnTo>
                  <a:pt x="577" y="330"/>
                </a:lnTo>
                <a:lnTo>
                  <a:pt x="581" y="328"/>
                </a:lnTo>
                <a:lnTo>
                  <a:pt x="583" y="327"/>
                </a:lnTo>
                <a:lnTo>
                  <a:pt x="585" y="325"/>
                </a:lnTo>
                <a:lnTo>
                  <a:pt x="585" y="322"/>
                </a:lnTo>
                <a:lnTo>
                  <a:pt x="591" y="321"/>
                </a:lnTo>
                <a:lnTo>
                  <a:pt x="600" y="316"/>
                </a:lnTo>
                <a:lnTo>
                  <a:pt x="611" y="309"/>
                </a:lnTo>
                <a:lnTo>
                  <a:pt x="622" y="303"/>
                </a:lnTo>
                <a:lnTo>
                  <a:pt x="634" y="295"/>
                </a:lnTo>
                <a:lnTo>
                  <a:pt x="646" y="288"/>
                </a:lnTo>
                <a:lnTo>
                  <a:pt x="657" y="283"/>
                </a:lnTo>
                <a:lnTo>
                  <a:pt x="664" y="280"/>
                </a:lnTo>
                <a:lnTo>
                  <a:pt x="682" y="274"/>
                </a:lnTo>
                <a:lnTo>
                  <a:pt x="712" y="259"/>
                </a:lnTo>
                <a:lnTo>
                  <a:pt x="743" y="245"/>
                </a:lnTo>
                <a:lnTo>
                  <a:pt x="755" y="239"/>
                </a:lnTo>
                <a:lnTo>
                  <a:pt x="762" y="238"/>
                </a:lnTo>
                <a:lnTo>
                  <a:pt x="771" y="235"/>
                </a:lnTo>
                <a:lnTo>
                  <a:pt x="782" y="231"/>
                </a:lnTo>
                <a:lnTo>
                  <a:pt x="795" y="227"/>
                </a:lnTo>
                <a:lnTo>
                  <a:pt x="806" y="221"/>
                </a:lnTo>
                <a:lnTo>
                  <a:pt x="817" y="217"/>
                </a:lnTo>
                <a:lnTo>
                  <a:pt x="826" y="212"/>
                </a:lnTo>
                <a:lnTo>
                  <a:pt x="831" y="209"/>
                </a:lnTo>
                <a:lnTo>
                  <a:pt x="842" y="209"/>
                </a:lnTo>
                <a:lnTo>
                  <a:pt x="846" y="201"/>
                </a:lnTo>
                <a:lnTo>
                  <a:pt x="855" y="199"/>
                </a:lnTo>
                <a:lnTo>
                  <a:pt x="865" y="197"/>
                </a:lnTo>
                <a:lnTo>
                  <a:pt x="867" y="193"/>
                </a:lnTo>
                <a:lnTo>
                  <a:pt x="869" y="190"/>
                </a:lnTo>
                <a:lnTo>
                  <a:pt x="875" y="188"/>
                </a:lnTo>
                <a:lnTo>
                  <a:pt x="888" y="184"/>
                </a:lnTo>
                <a:lnTo>
                  <a:pt x="902" y="179"/>
                </a:lnTo>
                <a:lnTo>
                  <a:pt x="918" y="172"/>
                </a:lnTo>
                <a:lnTo>
                  <a:pt x="934" y="165"/>
                </a:lnTo>
                <a:lnTo>
                  <a:pt x="947" y="159"/>
                </a:lnTo>
                <a:lnTo>
                  <a:pt x="956" y="154"/>
                </a:lnTo>
                <a:lnTo>
                  <a:pt x="959" y="152"/>
                </a:lnTo>
                <a:lnTo>
                  <a:pt x="966" y="151"/>
                </a:lnTo>
                <a:lnTo>
                  <a:pt x="968" y="150"/>
                </a:lnTo>
                <a:lnTo>
                  <a:pt x="968" y="149"/>
                </a:lnTo>
                <a:lnTo>
                  <a:pt x="970" y="148"/>
                </a:lnTo>
                <a:lnTo>
                  <a:pt x="971" y="144"/>
                </a:lnTo>
                <a:lnTo>
                  <a:pt x="973" y="141"/>
                </a:lnTo>
                <a:lnTo>
                  <a:pt x="976" y="138"/>
                </a:lnTo>
                <a:lnTo>
                  <a:pt x="978" y="136"/>
                </a:lnTo>
                <a:lnTo>
                  <a:pt x="978" y="125"/>
                </a:lnTo>
                <a:lnTo>
                  <a:pt x="967" y="125"/>
                </a:lnTo>
                <a:lnTo>
                  <a:pt x="954" y="116"/>
                </a:lnTo>
                <a:lnTo>
                  <a:pt x="937" y="106"/>
                </a:lnTo>
                <a:lnTo>
                  <a:pt x="926" y="106"/>
                </a:lnTo>
                <a:lnTo>
                  <a:pt x="919" y="102"/>
                </a:lnTo>
                <a:lnTo>
                  <a:pt x="911" y="97"/>
                </a:lnTo>
                <a:lnTo>
                  <a:pt x="903" y="95"/>
                </a:lnTo>
                <a:lnTo>
                  <a:pt x="894" y="93"/>
                </a:lnTo>
                <a:lnTo>
                  <a:pt x="875" y="92"/>
                </a:lnTo>
                <a:lnTo>
                  <a:pt x="858" y="92"/>
                </a:lnTo>
                <a:lnTo>
                  <a:pt x="853" y="84"/>
                </a:lnTo>
                <a:lnTo>
                  <a:pt x="842" y="84"/>
                </a:lnTo>
                <a:lnTo>
                  <a:pt x="831" y="74"/>
                </a:lnTo>
                <a:lnTo>
                  <a:pt x="823" y="65"/>
                </a:lnTo>
                <a:lnTo>
                  <a:pt x="820" y="64"/>
                </a:lnTo>
                <a:lnTo>
                  <a:pt x="816" y="61"/>
                </a:lnTo>
                <a:lnTo>
                  <a:pt x="813" y="57"/>
                </a:lnTo>
                <a:lnTo>
                  <a:pt x="812" y="54"/>
                </a:lnTo>
                <a:lnTo>
                  <a:pt x="802" y="46"/>
                </a:lnTo>
                <a:lnTo>
                  <a:pt x="782" y="29"/>
                </a:lnTo>
                <a:lnTo>
                  <a:pt x="762" y="13"/>
                </a:lnTo>
                <a:lnTo>
                  <a:pt x="752" y="5"/>
                </a:lnTo>
                <a:lnTo>
                  <a:pt x="747" y="3"/>
                </a:lnTo>
                <a:lnTo>
                  <a:pt x="742" y="1"/>
                </a:lnTo>
                <a:lnTo>
                  <a:pt x="736" y="0"/>
                </a:lnTo>
                <a:lnTo>
                  <a:pt x="729" y="0"/>
                </a:lnTo>
                <a:lnTo>
                  <a:pt x="716" y="1"/>
                </a:lnTo>
                <a:lnTo>
                  <a:pt x="700" y="3"/>
                </a:lnTo>
                <a:lnTo>
                  <a:pt x="672" y="8"/>
                </a:lnTo>
                <a:lnTo>
                  <a:pt x="650" y="13"/>
                </a:lnTo>
                <a:lnTo>
                  <a:pt x="640" y="15"/>
                </a:lnTo>
                <a:lnTo>
                  <a:pt x="632" y="18"/>
                </a:lnTo>
                <a:lnTo>
                  <a:pt x="623" y="21"/>
                </a:lnTo>
                <a:lnTo>
                  <a:pt x="614" y="26"/>
                </a:lnTo>
                <a:lnTo>
                  <a:pt x="599" y="36"/>
                </a:lnTo>
                <a:lnTo>
                  <a:pt x="582" y="46"/>
                </a:lnTo>
                <a:lnTo>
                  <a:pt x="566" y="57"/>
                </a:lnTo>
                <a:lnTo>
                  <a:pt x="551" y="68"/>
                </a:lnTo>
                <a:lnTo>
                  <a:pt x="534" y="77"/>
                </a:lnTo>
                <a:lnTo>
                  <a:pt x="517" y="84"/>
                </a:lnTo>
                <a:lnTo>
                  <a:pt x="516" y="86"/>
                </a:lnTo>
                <a:lnTo>
                  <a:pt x="513" y="90"/>
                </a:lnTo>
                <a:lnTo>
                  <a:pt x="509" y="91"/>
                </a:lnTo>
                <a:lnTo>
                  <a:pt x="506" y="92"/>
                </a:lnTo>
                <a:lnTo>
                  <a:pt x="504" y="95"/>
                </a:lnTo>
                <a:lnTo>
                  <a:pt x="503" y="98"/>
                </a:lnTo>
                <a:lnTo>
                  <a:pt x="487" y="98"/>
                </a:lnTo>
                <a:lnTo>
                  <a:pt x="479" y="106"/>
                </a:lnTo>
                <a:lnTo>
                  <a:pt x="468" y="106"/>
                </a:lnTo>
                <a:lnTo>
                  <a:pt x="460" y="114"/>
                </a:lnTo>
                <a:lnTo>
                  <a:pt x="451" y="116"/>
                </a:lnTo>
                <a:lnTo>
                  <a:pt x="442" y="117"/>
                </a:lnTo>
                <a:lnTo>
                  <a:pt x="435" y="125"/>
                </a:lnTo>
                <a:lnTo>
                  <a:pt x="428" y="128"/>
                </a:lnTo>
                <a:lnTo>
                  <a:pt x="418" y="132"/>
                </a:lnTo>
                <a:lnTo>
                  <a:pt x="407" y="139"/>
                </a:lnTo>
                <a:lnTo>
                  <a:pt x="394" y="148"/>
                </a:lnTo>
                <a:lnTo>
                  <a:pt x="382" y="157"/>
                </a:lnTo>
                <a:lnTo>
                  <a:pt x="372" y="165"/>
                </a:lnTo>
                <a:lnTo>
                  <a:pt x="368" y="169"/>
                </a:lnTo>
                <a:lnTo>
                  <a:pt x="365" y="173"/>
                </a:lnTo>
                <a:lnTo>
                  <a:pt x="363" y="176"/>
                </a:lnTo>
                <a:lnTo>
                  <a:pt x="362" y="178"/>
                </a:lnTo>
                <a:lnTo>
                  <a:pt x="359" y="180"/>
                </a:lnTo>
                <a:lnTo>
                  <a:pt x="355" y="182"/>
                </a:lnTo>
                <a:lnTo>
                  <a:pt x="352" y="187"/>
                </a:lnTo>
                <a:lnTo>
                  <a:pt x="351" y="190"/>
                </a:lnTo>
                <a:lnTo>
                  <a:pt x="344" y="196"/>
                </a:lnTo>
                <a:lnTo>
                  <a:pt x="336" y="201"/>
                </a:lnTo>
                <a:lnTo>
                  <a:pt x="328" y="201"/>
                </a:lnTo>
                <a:lnTo>
                  <a:pt x="328" y="209"/>
                </a:lnTo>
                <a:lnTo>
                  <a:pt x="321" y="209"/>
                </a:lnTo>
                <a:lnTo>
                  <a:pt x="321" y="211"/>
                </a:lnTo>
                <a:lnTo>
                  <a:pt x="318" y="212"/>
                </a:lnTo>
                <a:lnTo>
                  <a:pt x="316" y="212"/>
                </a:lnTo>
                <a:lnTo>
                  <a:pt x="313" y="212"/>
                </a:lnTo>
                <a:lnTo>
                  <a:pt x="310" y="216"/>
                </a:lnTo>
                <a:lnTo>
                  <a:pt x="307" y="220"/>
                </a:lnTo>
                <a:lnTo>
                  <a:pt x="306" y="223"/>
                </a:lnTo>
                <a:lnTo>
                  <a:pt x="295" y="22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08" name="Freeform 69">
            <a:extLst>
              <a:ext uri="{FF2B5EF4-FFF2-40B4-BE49-F238E27FC236}">
                <a16:creationId xmlns:a16="http://schemas.microsoft.com/office/drawing/2014/main" id="{BC6A2ADD-FE43-4263-A3DA-9A129F3FA81E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9007475" y="4638675"/>
            <a:ext cx="87293" cy="57150"/>
          </a:xfrm>
          <a:custGeom>
            <a:avLst/>
            <a:gdLst/>
            <a:ahLst/>
            <a:cxnLst>
              <a:cxn ang="0">
                <a:pos x="40" y="6"/>
              </a:cxn>
              <a:cxn ang="0">
                <a:pos x="20" y="11"/>
              </a:cxn>
              <a:cxn ang="0">
                <a:pos x="8" y="18"/>
              </a:cxn>
              <a:cxn ang="0">
                <a:pos x="4" y="21"/>
              </a:cxn>
              <a:cxn ang="0">
                <a:pos x="0" y="29"/>
              </a:cxn>
              <a:cxn ang="0">
                <a:pos x="15" y="44"/>
              </a:cxn>
              <a:cxn ang="0">
                <a:pos x="49" y="67"/>
              </a:cxn>
              <a:cxn ang="0">
                <a:pos x="91" y="76"/>
              </a:cxn>
              <a:cxn ang="0">
                <a:pos x="150" y="96"/>
              </a:cxn>
              <a:cxn ang="0">
                <a:pos x="159" y="99"/>
              </a:cxn>
              <a:cxn ang="0">
                <a:pos x="165" y="103"/>
              </a:cxn>
              <a:cxn ang="0">
                <a:pos x="179" y="108"/>
              </a:cxn>
              <a:cxn ang="0">
                <a:pos x="216" y="142"/>
              </a:cxn>
              <a:cxn ang="0">
                <a:pos x="235" y="168"/>
              </a:cxn>
              <a:cxn ang="0">
                <a:pos x="230" y="203"/>
              </a:cxn>
              <a:cxn ang="0">
                <a:pos x="212" y="217"/>
              </a:cxn>
              <a:cxn ang="0">
                <a:pos x="186" y="231"/>
              </a:cxn>
              <a:cxn ang="0">
                <a:pos x="172" y="251"/>
              </a:cxn>
              <a:cxn ang="0">
                <a:pos x="164" y="265"/>
              </a:cxn>
              <a:cxn ang="0">
                <a:pos x="163" y="280"/>
              </a:cxn>
              <a:cxn ang="0">
                <a:pos x="181" y="298"/>
              </a:cxn>
              <a:cxn ang="0">
                <a:pos x="195" y="313"/>
              </a:cxn>
              <a:cxn ang="0">
                <a:pos x="212" y="339"/>
              </a:cxn>
              <a:cxn ang="0">
                <a:pos x="221" y="348"/>
              </a:cxn>
              <a:cxn ang="0">
                <a:pos x="240" y="358"/>
              </a:cxn>
              <a:cxn ang="0">
                <a:pos x="257" y="362"/>
              </a:cxn>
              <a:cxn ang="0">
                <a:pos x="282" y="352"/>
              </a:cxn>
              <a:cxn ang="0">
                <a:pos x="313" y="351"/>
              </a:cxn>
              <a:cxn ang="0">
                <a:pos x="331" y="362"/>
              </a:cxn>
              <a:cxn ang="0">
                <a:pos x="346" y="364"/>
              </a:cxn>
              <a:cxn ang="0">
                <a:pos x="366" y="366"/>
              </a:cxn>
              <a:cxn ang="0">
                <a:pos x="384" y="344"/>
              </a:cxn>
              <a:cxn ang="0">
                <a:pos x="406" y="312"/>
              </a:cxn>
              <a:cxn ang="0">
                <a:pos x="421" y="303"/>
              </a:cxn>
              <a:cxn ang="0">
                <a:pos x="461" y="285"/>
              </a:cxn>
              <a:cxn ang="0">
                <a:pos x="470" y="276"/>
              </a:cxn>
              <a:cxn ang="0">
                <a:pos x="476" y="256"/>
              </a:cxn>
              <a:cxn ang="0">
                <a:pos x="479" y="227"/>
              </a:cxn>
              <a:cxn ang="0">
                <a:pos x="462" y="193"/>
              </a:cxn>
              <a:cxn ang="0">
                <a:pos x="452" y="154"/>
              </a:cxn>
              <a:cxn ang="0">
                <a:pos x="430" y="135"/>
              </a:cxn>
              <a:cxn ang="0">
                <a:pos x="358" y="122"/>
              </a:cxn>
              <a:cxn ang="0">
                <a:pos x="341" y="112"/>
              </a:cxn>
              <a:cxn ang="0">
                <a:pos x="269" y="81"/>
              </a:cxn>
              <a:cxn ang="0">
                <a:pos x="254" y="68"/>
              </a:cxn>
              <a:cxn ang="0">
                <a:pos x="212" y="53"/>
              </a:cxn>
              <a:cxn ang="0">
                <a:pos x="196" y="40"/>
              </a:cxn>
              <a:cxn ang="0">
                <a:pos x="186" y="30"/>
              </a:cxn>
              <a:cxn ang="0">
                <a:pos x="167" y="18"/>
              </a:cxn>
              <a:cxn ang="0">
                <a:pos x="162" y="15"/>
              </a:cxn>
              <a:cxn ang="0">
                <a:pos x="155" y="9"/>
              </a:cxn>
              <a:cxn ang="0">
                <a:pos x="83" y="1"/>
              </a:cxn>
            </a:cxnLst>
            <a:rect l="0" t="0" r="r" b="b"/>
            <a:pathLst>
              <a:path w="479" h="366">
                <a:moveTo>
                  <a:pt x="54" y="0"/>
                </a:moveTo>
                <a:lnTo>
                  <a:pt x="51" y="1"/>
                </a:lnTo>
                <a:lnTo>
                  <a:pt x="45" y="2"/>
                </a:lnTo>
                <a:lnTo>
                  <a:pt x="40" y="6"/>
                </a:lnTo>
                <a:lnTo>
                  <a:pt x="36" y="9"/>
                </a:lnTo>
                <a:lnTo>
                  <a:pt x="29" y="9"/>
                </a:lnTo>
                <a:lnTo>
                  <a:pt x="23" y="10"/>
                </a:lnTo>
                <a:lnTo>
                  <a:pt x="20" y="11"/>
                </a:lnTo>
                <a:lnTo>
                  <a:pt x="18" y="12"/>
                </a:lnTo>
                <a:lnTo>
                  <a:pt x="16" y="15"/>
                </a:lnTo>
                <a:lnTo>
                  <a:pt x="14" y="18"/>
                </a:lnTo>
                <a:lnTo>
                  <a:pt x="8" y="18"/>
                </a:lnTo>
                <a:lnTo>
                  <a:pt x="5" y="19"/>
                </a:lnTo>
                <a:lnTo>
                  <a:pt x="4" y="19"/>
                </a:lnTo>
                <a:lnTo>
                  <a:pt x="4" y="20"/>
                </a:lnTo>
                <a:lnTo>
                  <a:pt x="4" y="21"/>
                </a:lnTo>
                <a:lnTo>
                  <a:pt x="4" y="22"/>
                </a:lnTo>
                <a:lnTo>
                  <a:pt x="3" y="22"/>
                </a:lnTo>
                <a:lnTo>
                  <a:pt x="0" y="22"/>
                </a:lnTo>
                <a:lnTo>
                  <a:pt x="0" y="29"/>
                </a:lnTo>
                <a:lnTo>
                  <a:pt x="0" y="36"/>
                </a:lnTo>
                <a:lnTo>
                  <a:pt x="4" y="37"/>
                </a:lnTo>
                <a:lnTo>
                  <a:pt x="9" y="40"/>
                </a:lnTo>
                <a:lnTo>
                  <a:pt x="15" y="44"/>
                </a:lnTo>
                <a:lnTo>
                  <a:pt x="20" y="48"/>
                </a:lnTo>
                <a:lnTo>
                  <a:pt x="32" y="57"/>
                </a:lnTo>
                <a:lnTo>
                  <a:pt x="40" y="64"/>
                </a:lnTo>
                <a:lnTo>
                  <a:pt x="49" y="67"/>
                </a:lnTo>
                <a:lnTo>
                  <a:pt x="59" y="69"/>
                </a:lnTo>
                <a:lnTo>
                  <a:pt x="71" y="72"/>
                </a:lnTo>
                <a:lnTo>
                  <a:pt x="82" y="73"/>
                </a:lnTo>
                <a:lnTo>
                  <a:pt x="91" y="76"/>
                </a:lnTo>
                <a:lnTo>
                  <a:pt x="112" y="84"/>
                </a:lnTo>
                <a:lnTo>
                  <a:pt x="134" y="92"/>
                </a:lnTo>
                <a:lnTo>
                  <a:pt x="149" y="95"/>
                </a:lnTo>
                <a:lnTo>
                  <a:pt x="150" y="96"/>
                </a:lnTo>
                <a:lnTo>
                  <a:pt x="151" y="97"/>
                </a:lnTo>
                <a:lnTo>
                  <a:pt x="152" y="98"/>
                </a:lnTo>
                <a:lnTo>
                  <a:pt x="154" y="99"/>
                </a:lnTo>
                <a:lnTo>
                  <a:pt x="159" y="99"/>
                </a:lnTo>
                <a:lnTo>
                  <a:pt x="163" y="99"/>
                </a:lnTo>
                <a:lnTo>
                  <a:pt x="163" y="101"/>
                </a:lnTo>
                <a:lnTo>
                  <a:pt x="164" y="102"/>
                </a:lnTo>
                <a:lnTo>
                  <a:pt x="165" y="103"/>
                </a:lnTo>
                <a:lnTo>
                  <a:pt x="168" y="104"/>
                </a:lnTo>
                <a:lnTo>
                  <a:pt x="172" y="104"/>
                </a:lnTo>
                <a:lnTo>
                  <a:pt x="177" y="104"/>
                </a:lnTo>
                <a:lnTo>
                  <a:pt x="179" y="108"/>
                </a:lnTo>
                <a:lnTo>
                  <a:pt x="181" y="113"/>
                </a:lnTo>
                <a:lnTo>
                  <a:pt x="189" y="118"/>
                </a:lnTo>
                <a:lnTo>
                  <a:pt x="203" y="130"/>
                </a:lnTo>
                <a:lnTo>
                  <a:pt x="216" y="142"/>
                </a:lnTo>
                <a:lnTo>
                  <a:pt x="221" y="150"/>
                </a:lnTo>
                <a:lnTo>
                  <a:pt x="230" y="154"/>
                </a:lnTo>
                <a:lnTo>
                  <a:pt x="235" y="159"/>
                </a:lnTo>
                <a:lnTo>
                  <a:pt x="235" y="168"/>
                </a:lnTo>
                <a:lnTo>
                  <a:pt x="235" y="179"/>
                </a:lnTo>
                <a:lnTo>
                  <a:pt x="235" y="190"/>
                </a:lnTo>
                <a:lnTo>
                  <a:pt x="235" y="199"/>
                </a:lnTo>
                <a:lnTo>
                  <a:pt x="230" y="203"/>
                </a:lnTo>
                <a:lnTo>
                  <a:pt x="226" y="208"/>
                </a:lnTo>
                <a:lnTo>
                  <a:pt x="217" y="208"/>
                </a:lnTo>
                <a:lnTo>
                  <a:pt x="215" y="212"/>
                </a:lnTo>
                <a:lnTo>
                  <a:pt x="212" y="217"/>
                </a:lnTo>
                <a:lnTo>
                  <a:pt x="203" y="217"/>
                </a:lnTo>
                <a:lnTo>
                  <a:pt x="199" y="226"/>
                </a:lnTo>
                <a:lnTo>
                  <a:pt x="195" y="231"/>
                </a:lnTo>
                <a:lnTo>
                  <a:pt x="186" y="231"/>
                </a:lnTo>
                <a:lnTo>
                  <a:pt x="181" y="236"/>
                </a:lnTo>
                <a:lnTo>
                  <a:pt x="177" y="240"/>
                </a:lnTo>
                <a:lnTo>
                  <a:pt x="177" y="249"/>
                </a:lnTo>
                <a:lnTo>
                  <a:pt x="172" y="251"/>
                </a:lnTo>
                <a:lnTo>
                  <a:pt x="168" y="253"/>
                </a:lnTo>
                <a:lnTo>
                  <a:pt x="168" y="262"/>
                </a:lnTo>
                <a:lnTo>
                  <a:pt x="165" y="264"/>
                </a:lnTo>
                <a:lnTo>
                  <a:pt x="164" y="265"/>
                </a:lnTo>
                <a:lnTo>
                  <a:pt x="164" y="267"/>
                </a:lnTo>
                <a:lnTo>
                  <a:pt x="163" y="270"/>
                </a:lnTo>
                <a:lnTo>
                  <a:pt x="163" y="276"/>
                </a:lnTo>
                <a:lnTo>
                  <a:pt x="163" y="280"/>
                </a:lnTo>
                <a:lnTo>
                  <a:pt x="168" y="285"/>
                </a:lnTo>
                <a:lnTo>
                  <a:pt x="173" y="289"/>
                </a:lnTo>
                <a:lnTo>
                  <a:pt x="179" y="295"/>
                </a:lnTo>
                <a:lnTo>
                  <a:pt x="181" y="298"/>
                </a:lnTo>
                <a:lnTo>
                  <a:pt x="187" y="299"/>
                </a:lnTo>
                <a:lnTo>
                  <a:pt x="191" y="301"/>
                </a:lnTo>
                <a:lnTo>
                  <a:pt x="193" y="306"/>
                </a:lnTo>
                <a:lnTo>
                  <a:pt x="195" y="313"/>
                </a:lnTo>
                <a:lnTo>
                  <a:pt x="199" y="316"/>
                </a:lnTo>
                <a:lnTo>
                  <a:pt x="206" y="324"/>
                </a:lnTo>
                <a:lnTo>
                  <a:pt x="210" y="333"/>
                </a:lnTo>
                <a:lnTo>
                  <a:pt x="212" y="339"/>
                </a:lnTo>
                <a:lnTo>
                  <a:pt x="216" y="341"/>
                </a:lnTo>
                <a:lnTo>
                  <a:pt x="219" y="342"/>
                </a:lnTo>
                <a:lnTo>
                  <a:pt x="221" y="345"/>
                </a:lnTo>
                <a:lnTo>
                  <a:pt x="221" y="348"/>
                </a:lnTo>
                <a:lnTo>
                  <a:pt x="226" y="353"/>
                </a:lnTo>
                <a:lnTo>
                  <a:pt x="230" y="357"/>
                </a:lnTo>
                <a:lnTo>
                  <a:pt x="239" y="357"/>
                </a:lnTo>
                <a:lnTo>
                  <a:pt x="240" y="358"/>
                </a:lnTo>
                <a:lnTo>
                  <a:pt x="243" y="360"/>
                </a:lnTo>
                <a:lnTo>
                  <a:pt x="246" y="361"/>
                </a:lnTo>
                <a:lnTo>
                  <a:pt x="249" y="362"/>
                </a:lnTo>
                <a:lnTo>
                  <a:pt x="257" y="362"/>
                </a:lnTo>
                <a:lnTo>
                  <a:pt x="263" y="362"/>
                </a:lnTo>
                <a:lnTo>
                  <a:pt x="267" y="357"/>
                </a:lnTo>
                <a:lnTo>
                  <a:pt x="272" y="353"/>
                </a:lnTo>
                <a:lnTo>
                  <a:pt x="282" y="352"/>
                </a:lnTo>
                <a:lnTo>
                  <a:pt x="292" y="351"/>
                </a:lnTo>
                <a:lnTo>
                  <a:pt x="302" y="349"/>
                </a:lnTo>
                <a:lnTo>
                  <a:pt x="312" y="348"/>
                </a:lnTo>
                <a:lnTo>
                  <a:pt x="313" y="351"/>
                </a:lnTo>
                <a:lnTo>
                  <a:pt x="315" y="353"/>
                </a:lnTo>
                <a:lnTo>
                  <a:pt x="317" y="353"/>
                </a:lnTo>
                <a:lnTo>
                  <a:pt x="321" y="353"/>
                </a:lnTo>
                <a:lnTo>
                  <a:pt x="331" y="362"/>
                </a:lnTo>
                <a:lnTo>
                  <a:pt x="337" y="362"/>
                </a:lnTo>
                <a:lnTo>
                  <a:pt x="344" y="362"/>
                </a:lnTo>
                <a:lnTo>
                  <a:pt x="344" y="363"/>
                </a:lnTo>
                <a:lnTo>
                  <a:pt x="346" y="364"/>
                </a:lnTo>
                <a:lnTo>
                  <a:pt x="350" y="365"/>
                </a:lnTo>
                <a:lnTo>
                  <a:pt x="353" y="366"/>
                </a:lnTo>
                <a:lnTo>
                  <a:pt x="361" y="366"/>
                </a:lnTo>
                <a:lnTo>
                  <a:pt x="366" y="366"/>
                </a:lnTo>
                <a:lnTo>
                  <a:pt x="369" y="360"/>
                </a:lnTo>
                <a:lnTo>
                  <a:pt x="371" y="353"/>
                </a:lnTo>
                <a:lnTo>
                  <a:pt x="380" y="348"/>
                </a:lnTo>
                <a:lnTo>
                  <a:pt x="384" y="344"/>
                </a:lnTo>
                <a:lnTo>
                  <a:pt x="384" y="335"/>
                </a:lnTo>
                <a:lnTo>
                  <a:pt x="393" y="325"/>
                </a:lnTo>
                <a:lnTo>
                  <a:pt x="402" y="313"/>
                </a:lnTo>
                <a:lnTo>
                  <a:pt x="406" y="312"/>
                </a:lnTo>
                <a:lnTo>
                  <a:pt x="409" y="309"/>
                </a:lnTo>
                <a:lnTo>
                  <a:pt x="411" y="306"/>
                </a:lnTo>
                <a:lnTo>
                  <a:pt x="411" y="303"/>
                </a:lnTo>
                <a:lnTo>
                  <a:pt x="421" y="303"/>
                </a:lnTo>
                <a:lnTo>
                  <a:pt x="426" y="298"/>
                </a:lnTo>
                <a:lnTo>
                  <a:pt x="430" y="294"/>
                </a:lnTo>
                <a:lnTo>
                  <a:pt x="446" y="289"/>
                </a:lnTo>
                <a:lnTo>
                  <a:pt x="461" y="285"/>
                </a:lnTo>
                <a:lnTo>
                  <a:pt x="462" y="284"/>
                </a:lnTo>
                <a:lnTo>
                  <a:pt x="465" y="280"/>
                </a:lnTo>
                <a:lnTo>
                  <a:pt x="467" y="277"/>
                </a:lnTo>
                <a:lnTo>
                  <a:pt x="470" y="276"/>
                </a:lnTo>
                <a:lnTo>
                  <a:pt x="471" y="270"/>
                </a:lnTo>
                <a:lnTo>
                  <a:pt x="474" y="262"/>
                </a:lnTo>
                <a:lnTo>
                  <a:pt x="475" y="259"/>
                </a:lnTo>
                <a:lnTo>
                  <a:pt x="476" y="256"/>
                </a:lnTo>
                <a:lnTo>
                  <a:pt x="478" y="255"/>
                </a:lnTo>
                <a:lnTo>
                  <a:pt x="479" y="253"/>
                </a:lnTo>
                <a:lnTo>
                  <a:pt x="479" y="240"/>
                </a:lnTo>
                <a:lnTo>
                  <a:pt x="479" y="227"/>
                </a:lnTo>
                <a:lnTo>
                  <a:pt x="476" y="221"/>
                </a:lnTo>
                <a:lnTo>
                  <a:pt x="471" y="213"/>
                </a:lnTo>
                <a:lnTo>
                  <a:pt x="467" y="204"/>
                </a:lnTo>
                <a:lnTo>
                  <a:pt x="462" y="193"/>
                </a:lnTo>
                <a:lnTo>
                  <a:pt x="458" y="182"/>
                </a:lnTo>
                <a:lnTo>
                  <a:pt x="456" y="172"/>
                </a:lnTo>
                <a:lnTo>
                  <a:pt x="454" y="162"/>
                </a:lnTo>
                <a:lnTo>
                  <a:pt x="452" y="154"/>
                </a:lnTo>
                <a:lnTo>
                  <a:pt x="443" y="145"/>
                </a:lnTo>
                <a:lnTo>
                  <a:pt x="443" y="135"/>
                </a:lnTo>
                <a:lnTo>
                  <a:pt x="437" y="135"/>
                </a:lnTo>
                <a:lnTo>
                  <a:pt x="430" y="135"/>
                </a:lnTo>
                <a:lnTo>
                  <a:pt x="420" y="134"/>
                </a:lnTo>
                <a:lnTo>
                  <a:pt x="397" y="128"/>
                </a:lnTo>
                <a:lnTo>
                  <a:pt x="372" y="124"/>
                </a:lnTo>
                <a:lnTo>
                  <a:pt x="358" y="122"/>
                </a:lnTo>
                <a:lnTo>
                  <a:pt x="356" y="121"/>
                </a:lnTo>
                <a:lnTo>
                  <a:pt x="353" y="117"/>
                </a:lnTo>
                <a:lnTo>
                  <a:pt x="347" y="115"/>
                </a:lnTo>
                <a:lnTo>
                  <a:pt x="341" y="112"/>
                </a:lnTo>
                <a:lnTo>
                  <a:pt x="324" y="105"/>
                </a:lnTo>
                <a:lnTo>
                  <a:pt x="305" y="97"/>
                </a:lnTo>
                <a:lnTo>
                  <a:pt x="286" y="88"/>
                </a:lnTo>
                <a:lnTo>
                  <a:pt x="269" y="81"/>
                </a:lnTo>
                <a:lnTo>
                  <a:pt x="263" y="77"/>
                </a:lnTo>
                <a:lnTo>
                  <a:pt x="258" y="74"/>
                </a:lnTo>
                <a:lnTo>
                  <a:pt x="255" y="70"/>
                </a:lnTo>
                <a:lnTo>
                  <a:pt x="254" y="68"/>
                </a:lnTo>
                <a:lnTo>
                  <a:pt x="239" y="66"/>
                </a:lnTo>
                <a:lnTo>
                  <a:pt x="226" y="64"/>
                </a:lnTo>
                <a:lnTo>
                  <a:pt x="221" y="55"/>
                </a:lnTo>
                <a:lnTo>
                  <a:pt x="212" y="53"/>
                </a:lnTo>
                <a:lnTo>
                  <a:pt x="203" y="49"/>
                </a:lnTo>
                <a:lnTo>
                  <a:pt x="201" y="45"/>
                </a:lnTo>
                <a:lnTo>
                  <a:pt x="199" y="40"/>
                </a:lnTo>
                <a:lnTo>
                  <a:pt x="196" y="40"/>
                </a:lnTo>
                <a:lnTo>
                  <a:pt x="192" y="38"/>
                </a:lnTo>
                <a:lnTo>
                  <a:pt x="191" y="35"/>
                </a:lnTo>
                <a:lnTo>
                  <a:pt x="190" y="31"/>
                </a:lnTo>
                <a:lnTo>
                  <a:pt x="186" y="30"/>
                </a:lnTo>
                <a:lnTo>
                  <a:pt x="179" y="27"/>
                </a:lnTo>
                <a:lnTo>
                  <a:pt x="174" y="22"/>
                </a:lnTo>
                <a:lnTo>
                  <a:pt x="172" y="18"/>
                </a:lnTo>
                <a:lnTo>
                  <a:pt x="167" y="18"/>
                </a:lnTo>
                <a:lnTo>
                  <a:pt x="163" y="18"/>
                </a:lnTo>
                <a:lnTo>
                  <a:pt x="162" y="17"/>
                </a:lnTo>
                <a:lnTo>
                  <a:pt x="162" y="16"/>
                </a:lnTo>
                <a:lnTo>
                  <a:pt x="162" y="15"/>
                </a:lnTo>
                <a:lnTo>
                  <a:pt x="162" y="15"/>
                </a:lnTo>
                <a:lnTo>
                  <a:pt x="161" y="14"/>
                </a:lnTo>
                <a:lnTo>
                  <a:pt x="159" y="14"/>
                </a:lnTo>
                <a:lnTo>
                  <a:pt x="155" y="9"/>
                </a:lnTo>
                <a:lnTo>
                  <a:pt x="153" y="5"/>
                </a:lnTo>
                <a:lnTo>
                  <a:pt x="132" y="3"/>
                </a:lnTo>
                <a:lnTo>
                  <a:pt x="109" y="2"/>
                </a:lnTo>
                <a:lnTo>
                  <a:pt x="83" y="1"/>
                </a:lnTo>
                <a:lnTo>
                  <a:pt x="5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09" name="Freeform 70">
            <a:extLst>
              <a:ext uri="{FF2B5EF4-FFF2-40B4-BE49-F238E27FC236}">
                <a16:creationId xmlns:a16="http://schemas.microsoft.com/office/drawing/2014/main" id="{CEA6A943-39F4-48A3-A78E-F70C613E228F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978900" y="4579938"/>
            <a:ext cx="66675" cy="46535"/>
          </a:xfrm>
          <a:custGeom>
            <a:avLst/>
            <a:gdLst/>
            <a:ahLst/>
            <a:cxnLst>
              <a:cxn ang="0">
                <a:pos x="109" y="59"/>
              </a:cxn>
              <a:cxn ang="0">
                <a:pos x="90" y="77"/>
              </a:cxn>
              <a:cxn ang="0">
                <a:pos x="81" y="84"/>
              </a:cxn>
              <a:cxn ang="0">
                <a:pos x="59" y="90"/>
              </a:cxn>
              <a:cxn ang="0">
                <a:pos x="32" y="99"/>
              </a:cxn>
              <a:cxn ang="0">
                <a:pos x="13" y="113"/>
              </a:cxn>
              <a:cxn ang="0">
                <a:pos x="6" y="117"/>
              </a:cxn>
              <a:cxn ang="0">
                <a:pos x="72" y="117"/>
              </a:cxn>
              <a:cxn ang="0">
                <a:pos x="87" y="130"/>
              </a:cxn>
              <a:cxn ang="0">
                <a:pos x="118" y="154"/>
              </a:cxn>
              <a:cxn ang="0">
                <a:pos x="125" y="176"/>
              </a:cxn>
              <a:cxn ang="0">
                <a:pos x="131" y="185"/>
              </a:cxn>
              <a:cxn ang="0">
                <a:pos x="139" y="220"/>
              </a:cxn>
              <a:cxn ang="0">
                <a:pos x="145" y="249"/>
              </a:cxn>
              <a:cxn ang="0">
                <a:pos x="151" y="268"/>
              </a:cxn>
              <a:cxn ang="0">
                <a:pos x="154" y="276"/>
              </a:cxn>
              <a:cxn ang="0">
                <a:pos x="164" y="277"/>
              </a:cxn>
              <a:cxn ang="0">
                <a:pos x="167" y="280"/>
              </a:cxn>
              <a:cxn ang="0">
                <a:pos x="194" y="283"/>
              </a:cxn>
              <a:cxn ang="0">
                <a:pos x="253" y="284"/>
              </a:cxn>
              <a:cxn ang="0">
                <a:pos x="314" y="282"/>
              </a:cxn>
              <a:cxn ang="0">
                <a:pos x="358" y="278"/>
              </a:cxn>
              <a:cxn ang="0">
                <a:pos x="367" y="276"/>
              </a:cxn>
              <a:cxn ang="0">
                <a:pos x="371" y="244"/>
              </a:cxn>
              <a:cxn ang="0">
                <a:pos x="352" y="231"/>
              </a:cxn>
              <a:cxn ang="0">
                <a:pos x="333" y="211"/>
              </a:cxn>
              <a:cxn ang="0">
                <a:pos x="321" y="203"/>
              </a:cxn>
              <a:cxn ang="0">
                <a:pos x="309" y="186"/>
              </a:cxn>
              <a:cxn ang="0">
                <a:pos x="299" y="167"/>
              </a:cxn>
              <a:cxn ang="0">
                <a:pos x="285" y="158"/>
              </a:cxn>
              <a:cxn ang="0">
                <a:pos x="275" y="132"/>
              </a:cxn>
              <a:cxn ang="0">
                <a:pos x="264" y="88"/>
              </a:cxn>
              <a:cxn ang="0">
                <a:pos x="259" y="59"/>
              </a:cxn>
              <a:cxn ang="0">
                <a:pos x="248" y="46"/>
              </a:cxn>
              <a:cxn ang="0">
                <a:pos x="247" y="31"/>
              </a:cxn>
              <a:cxn ang="0">
                <a:pos x="245" y="24"/>
              </a:cxn>
              <a:cxn ang="0">
                <a:pos x="237" y="7"/>
              </a:cxn>
              <a:cxn ang="0">
                <a:pos x="214" y="3"/>
              </a:cxn>
              <a:cxn ang="0">
                <a:pos x="192" y="12"/>
              </a:cxn>
              <a:cxn ang="0">
                <a:pos x="167" y="18"/>
              </a:cxn>
              <a:cxn ang="0">
                <a:pos x="156" y="27"/>
              </a:cxn>
              <a:cxn ang="0">
                <a:pos x="145" y="30"/>
              </a:cxn>
              <a:cxn ang="0">
                <a:pos x="128" y="33"/>
              </a:cxn>
              <a:cxn ang="0">
                <a:pos x="118" y="40"/>
              </a:cxn>
            </a:cxnLst>
            <a:rect l="0" t="0" r="r" b="b"/>
            <a:pathLst>
              <a:path w="371" h="284">
                <a:moveTo>
                  <a:pt x="118" y="40"/>
                </a:moveTo>
                <a:lnTo>
                  <a:pt x="115" y="47"/>
                </a:lnTo>
                <a:lnTo>
                  <a:pt x="109" y="59"/>
                </a:lnTo>
                <a:lnTo>
                  <a:pt x="102" y="71"/>
                </a:lnTo>
                <a:lnTo>
                  <a:pt x="99" y="77"/>
                </a:lnTo>
                <a:lnTo>
                  <a:pt x="90" y="77"/>
                </a:lnTo>
                <a:lnTo>
                  <a:pt x="89" y="79"/>
                </a:lnTo>
                <a:lnTo>
                  <a:pt x="85" y="81"/>
                </a:lnTo>
                <a:lnTo>
                  <a:pt x="81" y="84"/>
                </a:lnTo>
                <a:lnTo>
                  <a:pt x="77" y="85"/>
                </a:lnTo>
                <a:lnTo>
                  <a:pt x="65" y="89"/>
                </a:lnTo>
                <a:lnTo>
                  <a:pt x="59" y="90"/>
                </a:lnTo>
                <a:lnTo>
                  <a:pt x="52" y="95"/>
                </a:lnTo>
                <a:lnTo>
                  <a:pt x="45" y="99"/>
                </a:lnTo>
                <a:lnTo>
                  <a:pt x="32" y="99"/>
                </a:lnTo>
                <a:lnTo>
                  <a:pt x="23" y="104"/>
                </a:lnTo>
                <a:lnTo>
                  <a:pt x="20" y="108"/>
                </a:lnTo>
                <a:lnTo>
                  <a:pt x="13" y="113"/>
                </a:lnTo>
                <a:lnTo>
                  <a:pt x="5" y="116"/>
                </a:lnTo>
                <a:lnTo>
                  <a:pt x="0" y="117"/>
                </a:lnTo>
                <a:lnTo>
                  <a:pt x="6" y="117"/>
                </a:lnTo>
                <a:lnTo>
                  <a:pt x="27" y="117"/>
                </a:lnTo>
                <a:lnTo>
                  <a:pt x="53" y="117"/>
                </a:lnTo>
                <a:lnTo>
                  <a:pt x="72" y="117"/>
                </a:lnTo>
                <a:lnTo>
                  <a:pt x="77" y="122"/>
                </a:lnTo>
                <a:lnTo>
                  <a:pt x="81" y="126"/>
                </a:lnTo>
                <a:lnTo>
                  <a:pt x="87" y="130"/>
                </a:lnTo>
                <a:lnTo>
                  <a:pt x="98" y="140"/>
                </a:lnTo>
                <a:lnTo>
                  <a:pt x="110" y="149"/>
                </a:lnTo>
                <a:lnTo>
                  <a:pt x="118" y="154"/>
                </a:lnTo>
                <a:lnTo>
                  <a:pt x="119" y="161"/>
                </a:lnTo>
                <a:lnTo>
                  <a:pt x="122" y="171"/>
                </a:lnTo>
                <a:lnTo>
                  <a:pt x="125" y="176"/>
                </a:lnTo>
                <a:lnTo>
                  <a:pt x="127" y="181"/>
                </a:lnTo>
                <a:lnTo>
                  <a:pt x="129" y="184"/>
                </a:lnTo>
                <a:lnTo>
                  <a:pt x="131" y="185"/>
                </a:lnTo>
                <a:lnTo>
                  <a:pt x="132" y="196"/>
                </a:lnTo>
                <a:lnTo>
                  <a:pt x="136" y="207"/>
                </a:lnTo>
                <a:lnTo>
                  <a:pt x="139" y="220"/>
                </a:lnTo>
                <a:lnTo>
                  <a:pt x="140" y="231"/>
                </a:lnTo>
                <a:lnTo>
                  <a:pt x="141" y="240"/>
                </a:lnTo>
                <a:lnTo>
                  <a:pt x="145" y="249"/>
                </a:lnTo>
                <a:lnTo>
                  <a:pt x="148" y="258"/>
                </a:lnTo>
                <a:lnTo>
                  <a:pt x="149" y="267"/>
                </a:lnTo>
                <a:lnTo>
                  <a:pt x="151" y="268"/>
                </a:lnTo>
                <a:lnTo>
                  <a:pt x="154" y="270"/>
                </a:lnTo>
                <a:lnTo>
                  <a:pt x="154" y="272"/>
                </a:lnTo>
                <a:lnTo>
                  <a:pt x="154" y="276"/>
                </a:lnTo>
                <a:lnTo>
                  <a:pt x="158" y="276"/>
                </a:lnTo>
                <a:lnTo>
                  <a:pt x="163" y="277"/>
                </a:lnTo>
                <a:lnTo>
                  <a:pt x="164" y="277"/>
                </a:lnTo>
                <a:lnTo>
                  <a:pt x="166" y="278"/>
                </a:lnTo>
                <a:lnTo>
                  <a:pt x="167" y="279"/>
                </a:lnTo>
                <a:lnTo>
                  <a:pt x="167" y="280"/>
                </a:lnTo>
                <a:lnTo>
                  <a:pt x="180" y="280"/>
                </a:lnTo>
                <a:lnTo>
                  <a:pt x="185" y="282"/>
                </a:lnTo>
                <a:lnTo>
                  <a:pt x="194" y="283"/>
                </a:lnTo>
                <a:lnTo>
                  <a:pt x="207" y="283"/>
                </a:lnTo>
                <a:lnTo>
                  <a:pt x="223" y="284"/>
                </a:lnTo>
                <a:lnTo>
                  <a:pt x="253" y="284"/>
                </a:lnTo>
                <a:lnTo>
                  <a:pt x="271" y="284"/>
                </a:lnTo>
                <a:lnTo>
                  <a:pt x="292" y="284"/>
                </a:lnTo>
                <a:lnTo>
                  <a:pt x="314" y="282"/>
                </a:lnTo>
                <a:lnTo>
                  <a:pt x="337" y="281"/>
                </a:lnTo>
                <a:lnTo>
                  <a:pt x="357" y="280"/>
                </a:lnTo>
                <a:lnTo>
                  <a:pt x="358" y="278"/>
                </a:lnTo>
                <a:lnTo>
                  <a:pt x="360" y="277"/>
                </a:lnTo>
                <a:lnTo>
                  <a:pt x="363" y="276"/>
                </a:lnTo>
                <a:lnTo>
                  <a:pt x="367" y="276"/>
                </a:lnTo>
                <a:lnTo>
                  <a:pt x="371" y="271"/>
                </a:lnTo>
                <a:lnTo>
                  <a:pt x="371" y="258"/>
                </a:lnTo>
                <a:lnTo>
                  <a:pt x="371" y="244"/>
                </a:lnTo>
                <a:lnTo>
                  <a:pt x="367" y="235"/>
                </a:lnTo>
                <a:lnTo>
                  <a:pt x="359" y="233"/>
                </a:lnTo>
                <a:lnTo>
                  <a:pt x="352" y="231"/>
                </a:lnTo>
                <a:lnTo>
                  <a:pt x="347" y="224"/>
                </a:lnTo>
                <a:lnTo>
                  <a:pt x="339" y="215"/>
                </a:lnTo>
                <a:lnTo>
                  <a:pt x="333" y="211"/>
                </a:lnTo>
                <a:lnTo>
                  <a:pt x="329" y="207"/>
                </a:lnTo>
                <a:lnTo>
                  <a:pt x="324" y="204"/>
                </a:lnTo>
                <a:lnTo>
                  <a:pt x="321" y="203"/>
                </a:lnTo>
                <a:lnTo>
                  <a:pt x="317" y="199"/>
                </a:lnTo>
                <a:lnTo>
                  <a:pt x="314" y="193"/>
                </a:lnTo>
                <a:lnTo>
                  <a:pt x="309" y="186"/>
                </a:lnTo>
                <a:lnTo>
                  <a:pt x="303" y="180"/>
                </a:lnTo>
                <a:lnTo>
                  <a:pt x="299" y="176"/>
                </a:lnTo>
                <a:lnTo>
                  <a:pt x="299" y="167"/>
                </a:lnTo>
                <a:lnTo>
                  <a:pt x="294" y="163"/>
                </a:lnTo>
                <a:lnTo>
                  <a:pt x="290" y="161"/>
                </a:lnTo>
                <a:lnTo>
                  <a:pt x="285" y="158"/>
                </a:lnTo>
                <a:lnTo>
                  <a:pt x="283" y="151"/>
                </a:lnTo>
                <a:lnTo>
                  <a:pt x="280" y="140"/>
                </a:lnTo>
                <a:lnTo>
                  <a:pt x="275" y="132"/>
                </a:lnTo>
                <a:lnTo>
                  <a:pt x="271" y="126"/>
                </a:lnTo>
                <a:lnTo>
                  <a:pt x="270" y="108"/>
                </a:lnTo>
                <a:lnTo>
                  <a:pt x="264" y="88"/>
                </a:lnTo>
                <a:lnTo>
                  <a:pt x="262" y="78"/>
                </a:lnTo>
                <a:lnTo>
                  <a:pt x="260" y="68"/>
                </a:lnTo>
                <a:lnTo>
                  <a:pt x="259" y="59"/>
                </a:lnTo>
                <a:lnTo>
                  <a:pt x="257" y="50"/>
                </a:lnTo>
                <a:lnTo>
                  <a:pt x="253" y="48"/>
                </a:lnTo>
                <a:lnTo>
                  <a:pt x="248" y="46"/>
                </a:lnTo>
                <a:lnTo>
                  <a:pt x="248" y="38"/>
                </a:lnTo>
                <a:lnTo>
                  <a:pt x="248" y="31"/>
                </a:lnTo>
                <a:lnTo>
                  <a:pt x="247" y="31"/>
                </a:lnTo>
                <a:lnTo>
                  <a:pt x="246" y="29"/>
                </a:lnTo>
                <a:lnTo>
                  <a:pt x="245" y="27"/>
                </a:lnTo>
                <a:lnTo>
                  <a:pt x="245" y="24"/>
                </a:lnTo>
                <a:lnTo>
                  <a:pt x="244" y="18"/>
                </a:lnTo>
                <a:lnTo>
                  <a:pt x="244" y="13"/>
                </a:lnTo>
                <a:lnTo>
                  <a:pt x="237" y="7"/>
                </a:lnTo>
                <a:lnTo>
                  <a:pt x="231" y="0"/>
                </a:lnTo>
                <a:lnTo>
                  <a:pt x="222" y="1"/>
                </a:lnTo>
                <a:lnTo>
                  <a:pt x="214" y="3"/>
                </a:lnTo>
                <a:lnTo>
                  <a:pt x="206" y="5"/>
                </a:lnTo>
                <a:lnTo>
                  <a:pt x="199" y="9"/>
                </a:lnTo>
                <a:lnTo>
                  <a:pt x="192" y="12"/>
                </a:lnTo>
                <a:lnTo>
                  <a:pt x="184" y="15"/>
                </a:lnTo>
                <a:lnTo>
                  <a:pt x="176" y="18"/>
                </a:lnTo>
                <a:lnTo>
                  <a:pt x="167" y="18"/>
                </a:lnTo>
                <a:lnTo>
                  <a:pt x="165" y="22"/>
                </a:lnTo>
                <a:lnTo>
                  <a:pt x="163" y="27"/>
                </a:lnTo>
                <a:lnTo>
                  <a:pt x="156" y="27"/>
                </a:lnTo>
                <a:lnTo>
                  <a:pt x="149" y="27"/>
                </a:lnTo>
                <a:lnTo>
                  <a:pt x="148" y="29"/>
                </a:lnTo>
                <a:lnTo>
                  <a:pt x="145" y="30"/>
                </a:lnTo>
                <a:lnTo>
                  <a:pt x="139" y="31"/>
                </a:lnTo>
                <a:lnTo>
                  <a:pt x="133" y="32"/>
                </a:lnTo>
                <a:lnTo>
                  <a:pt x="128" y="33"/>
                </a:lnTo>
                <a:lnTo>
                  <a:pt x="122" y="36"/>
                </a:lnTo>
                <a:lnTo>
                  <a:pt x="119" y="38"/>
                </a:lnTo>
                <a:lnTo>
                  <a:pt x="118" y="4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10" name="Freeform 71">
            <a:extLst>
              <a:ext uri="{FF2B5EF4-FFF2-40B4-BE49-F238E27FC236}">
                <a16:creationId xmlns:a16="http://schemas.microsoft.com/office/drawing/2014/main" id="{B83692D8-E5F4-4480-97DA-798874F45761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961438" y="4532313"/>
            <a:ext cx="52364" cy="33338"/>
          </a:xfrm>
          <a:custGeom>
            <a:avLst/>
            <a:gdLst/>
            <a:ahLst/>
            <a:cxnLst>
              <a:cxn ang="0">
                <a:pos x="9" y="29"/>
              </a:cxn>
              <a:cxn ang="0">
                <a:pos x="0" y="33"/>
              </a:cxn>
              <a:cxn ang="0">
                <a:pos x="9" y="40"/>
              </a:cxn>
              <a:cxn ang="0">
                <a:pos x="13" y="48"/>
              </a:cxn>
              <a:cxn ang="0">
                <a:pos x="33" y="57"/>
              </a:cxn>
              <a:cxn ang="0">
                <a:pos x="48" y="63"/>
              </a:cxn>
              <a:cxn ang="0">
                <a:pos x="59" y="79"/>
              </a:cxn>
              <a:cxn ang="0">
                <a:pos x="72" y="88"/>
              </a:cxn>
              <a:cxn ang="0">
                <a:pos x="97" y="110"/>
              </a:cxn>
              <a:cxn ang="0">
                <a:pos x="104" y="121"/>
              </a:cxn>
              <a:cxn ang="0">
                <a:pos x="116" y="133"/>
              </a:cxn>
              <a:cxn ang="0">
                <a:pos x="124" y="137"/>
              </a:cxn>
              <a:cxn ang="0">
                <a:pos x="129" y="144"/>
              </a:cxn>
              <a:cxn ang="0">
                <a:pos x="144" y="152"/>
              </a:cxn>
              <a:cxn ang="0">
                <a:pos x="154" y="165"/>
              </a:cxn>
              <a:cxn ang="0">
                <a:pos x="172" y="174"/>
              </a:cxn>
              <a:cxn ang="0">
                <a:pos x="184" y="185"/>
              </a:cxn>
              <a:cxn ang="0">
                <a:pos x="203" y="187"/>
              </a:cxn>
              <a:cxn ang="0">
                <a:pos x="203" y="178"/>
              </a:cxn>
              <a:cxn ang="0">
                <a:pos x="212" y="156"/>
              </a:cxn>
              <a:cxn ang="0">
                <a:pos x="222" y="138"/>
              </a:cxn>
              <a:cxn ang="0">
                <a:pos x="244" y="124"/>
              </a:cxn>
              <a:cxn ang="0">
                <a:pos x="252" y="116"/>
              </a:cxn>
              <a:cxn ang="0">
                <a:pos x="262" y="110"/>
              </a:cxn>
              <a:cxn ang="0">
                <a:pos x="267" y="101"/>
              </a:cxn>
              <a:cxn ang="0">
                <a:pos x="274" y="89"/>
              </a:cxn>
              <a:cxn ang="0">
                <a:pos x="280" y="75"/>
              </a:cxn>
              <a:cxn ang="0">
                <a:pos x="262" y="61"/>
              </a:cxn>
              <a:cxn ang="0">
                <a:pos x="253" y="52"/>
              </a:cxn>
              <a:cxn ang="0">
                <a:pos x="244" y="47"/>
              </a:cxn>
              <a:cxn ang="0">
                <a:pos x="236" y="40"/>
              </a:cxn>
              <a:cxn ang="0">
                <a:pos x="231" y="33"/>
              </a:cxn>
              <a:cxn ang="0">
                <a:pos x="222" y="29"/>
              </a:cxn>
              <a:cxn ang="0">
                <a:pos x="212" y="29"/>
              </a:cxn>
              <a:cxn ang="0">
                <a:pos x="198" y="20"/>
              </a:cxn>
              <a:cxn ang="0">
                <a:pos x="176" y="20"/>
              </a:cxn>
              <a:cxn ang="0">
                <a:pos x="156" y="20"/>
              </a:cxn>
              <a:cxn ang="0">
                <a:pos x="136" y="20"/>
              </a:cxn>
              <a:cxn ang="0">
                <a:pos x="126" y="20"/>
              </a:cxn>
              <a:cxn ang="0">
                <a:pos x="104" y="20"/>
              </a:cxn>
              <a:cxn ang="0">
                <a:pos x="86" y="24"/>
              </a:cxn>
              <a:cxn ang="0">
                <a:pos x="79" y="18"/>
              </a:cxn>
              <a:cxn ang="0">
                <a:pos x="68" y="11"/>
              </a:cxn>
              <a:cxn ang="0">
                <a:pos x="54" y="7"/>
              </a:cxn>
              <a:cxn ang="0">
                <a:pos x="42" y="0"/>
              </a:cxn>
              <a:cxn ang="0">
                <a:pos x="33" y="1"/>
              </a:cxn>
            </a:cxnLst>
            <a:rect l="0" t="0" r="r" b="b"/>
            <a:pathLst>
              <a:path w="280" h="187">
                <a:moveTo>
                  <a:pt x="31" y="2"/>
                </a:moveTo>
                <a:lnTo>
                  <a:pt x="20" y="14"/>
                </a:lnTo>
                <a:lnTo>
                  <a:pt x="9" y="29"/>
                </a:lnTo>
                <a:lnTo>
                  <a:pt x="0" y="29"/>
                </a:lnTo>
                <a:lnTo>
                  <a:pt x="0" y="31"/>
                </a:lnTo>
                <a:lnTo>
                  <a:pt x="0" y="33"/>
                </a:lnTo>
                <a:lnTo>
                  <a:pt x="2" y="37"/>
                </a:lnTo>
                <a:lnTo>
                  <a:pt x="6" y="39"/>
                </a:lnTo>
                <a:lnTo>
                  <a:pt x="9" y="40"/>
                </a:lnTo>
                <a:lnTo>
                  <a:pt x="11" y="42"/>
                </a:lnTo>
                <a:lnTo>
                  <a:pt x="13" y="44"/>
                </a:lnTo>
                <a:lnTo>
                  <a:pt x="13" y="48"/>
                </a:lnTo>
                <a:lnTo>
                  <a:pt x="22" y="50"/>
                </a:lnTo>
                <a:lnTo>
                  <a:pt x="27" y="52"/>
                </a:lnTo>
                <a:lnTo>
                  <a:pt x="33" y="57"/>
                </a:lnTo>
                <a:lnTo>
                  <a:pt x="40" y="61"/>
                </a:lnTo>
                <a:lnTo>
                  <a:pt x="42" y="61"/>
                </a:lnTo>
                <a:lnTo>
                  <a:pt x="48" y="63"/>
                </a:lnTo>
                <a:lnTo>
                  <a:pt x="52" y="67"/>
                </a:lnTo>
                <a:lnTo>
                  <a:pt x="54" y="70"/>
                </a:lnTo>
                <a:lnTo>
                  <a:pt x="59" y="79"/>
                </a:lnTo>
                <a:lnTo>
                  <a:pt x="61" y="79"/>
                </a:lnTo>
                <a:lnTo>
                  <a:pt x="63" y="79"/>
                </a:lnTo>
                <a:lnTo>
                  <a:pt x="72" y="88"/>
                </a:lnTo>
                <a:lnTo>
                  <a:pt x="85" y="99"/>
                </a:lnTo>
                <a:lnTo>
                  <a:pt x="95" y="106"/>
                </a:lnTo>
                <a:lnTo>
                  <a:pt x="97" y="110"/>
                </a:lnTo>
                <a:lnTo>
                  <a:pt x="99" y="115"/>
                </a:lnTo>
                <a:lnTo>
                  <a:pt x="99" y="119"/>
                </a:lnTo>
                <a:lnTo>
                  <a:pt x="104" y="121"/>
                </a:lnTo>
                <a:lnTo>
                  <a:pt x="108" y="124"/>
                </a:lnTo>
                <a:lnTo>
                  <a:pt x="111" y="128"/>
                </a:lnTo>
                <a:lnTo>
                  <a:pt x="116" y="133"/>
                </a:lnTo>
                <a:lnTo>
                  <a:pt x="118" y="135"/>
                </a:lnTo>
                <a:lnTo>
                  <a:pt x="120" y="136"/>
                </a:lnTo>
                <a:lnTo>
                  <a:pt x="124" y="137"/>
                </a:lnTo>
                <a:lnTo>
                  <a:pt x="126" y="138"/>
                </a:lnTo>
                <a:lnTo>
                  <a:pt x="127" y="142"/>
                </a:lnTo>
                <a:lnTo>
                  <a:pt x="129" y="144"/>
                </a:lnTo>
                <a:lnTo>
                  <a:pt x="133" y="146"/>
                </a:lnTo>
                <a:lnTo>
                  <a:pt x="136" y="147"/>
                </a:lnTo>
                <a:lnTo>
                  <a:pt x="144" y="152"/>
                </a:lnTo>
                <a:lnTo>
                  <a:pt x="149" y="156"/>
                </a:lnTo>
                <a:lnTo>
                  <a:pt x="152" y="161"/>
                </a:lnTo>
                <a:lnTo>
                  <a:pt x="154" y="165"/>
                </a:lnTo>
                <a:lnTo>
                  <a:pt x="163" y="169"/>
                </a:lnTo>
                <a:lnTo>
                  <a:pt x="167" y="172"/>
                </a:lnTo>
                <a:lnTo>
                  <a:pt x="172" y="174"/>
                </a:lnTo>
                <a:lnTo>
                  <a:pt x="176" y="176"/>
                </a:lnTo>
                <a:lnTo>
                  <a:pt x="181" y="181"/>
                </a:lnTo>
                <a:lnTo>
                  <a:pt x="184" y="185"/>
                </a:lnTo>
                <a:lnTo>
                  <a:pt x="185" y="187"/>
                </a:lnTo>
                <a:lnTo>
                  <a:pt x="194" y="187"/>
                </a:lnTo>
                <a:lnTo>
                  <a:pt x="203" y="187"/>
                </a:lnTo>
                <a:lnTo>
                  <a:pt x="203" y="183"/>
                </a:lnTo>
                <a:lnTo>
                  <a:pt x="203" y="181"/>
                </a:lnTo>
                <a:lnTo>
                  <a:pt x="203" y="178"/>
                </a:lnTo>
                <a:lnTo>
                  <a:pt x="203" y="174"/>
                </a:lnTo>
                <a:lnTo>
                  <a:pt x="207" y="165"/>
                </a:lnTo>
                <a:lnTo>
                  <a:pt x="212" y="156"/>
                </a:lnTo>
                <a:lnTo>
                  <a:pt x="216" y="156"/>
                </a:lnTo>
                <a:lnTo>
                  <a:pt x="219" y="148"/>
                </a:lnTo>
                <a:lnTo>
                  <a:pt x="222" y="138"/>
                </a:lnTo>
                <a:lnTo>
                  <a:pt x="226" y="138"/>
                </a:lnTo>
                <a:lnTo>
                  <a:pt x="233" y="130"/>
                </a:lnTo>
                <a:lnTo>
                  <a:pt x="244" y="124"/>
                </a:lnTo>
                <a:lnTo>
                  <a:pt x="245" y="120"/>
                </a:lnTo>
                <a:lnTo>
                  <a:pt x="249" y="118"/>
                </a:lnTo>
                <a:lnTo>
                  <a:pt x="252" y="116"/>
                </a:lnTo>
                <a:lnTo>
                  <a:pt x="253" y="115"/>
                </a:lnTo>
                <a:lnTo>
                  <a:pt x="258" y="113"/>
                </a:lnTo>
                <a:lnTo>
                  <a:pt x="262" y="110"/>
                </a:lnTo>
                <a:lnTo>
                  <a:pt x="262" y="106"/>
                </a:lnTo>
                <a:lnTo>
                  <a:pt x="264" y="104"/>
                </a:lnTo>
                <a:lnTo>
                  <a:pt x="267" y="101"/>
                </a:lnTo>
                <a:lnTo>
                  <a:pt x="271" y="97"/>
                </a:lnTo>
                <a:lnTo>
                  <a:pt x="272" y="94"/>
                </a:lnTo>
                <a:lnTo>
                  <a:pt x="274" y="89"/>
                </a:lnTo>
                <a:lnTo>
                  <a:pt x="277" y="85"/>
                </a:lnTo>
                <a:lnTo>
                  <a:pt x="280" y="84"/>
                </a:lnTo>
                <a:lnTo>
                  <a:pt x="280" y="75"/>
                </a:lnTo>
                <a:lnTo>
                  <a:pt x="280" y="66"/>
                </a:lnTo>
                <a:lnTo>
                  <a:pt x="271" y="66"/>
                </a:lnTo>
                <a:lnTo>
                  <a:pt x="262" y="61"/>
                </a:lnTo>
                <a:lnTo>
                  <a:pt x="260" y="57"/>
                </a:lnTo>
                <a:lnTo>
                  <a:pt x="258" y="52"/>
                </a:lnTo>
                <a:lnTo>
                  <a:pt x="253" y="52"/>
                </a:lnTo>
                <a:lnTo>
                  <a:pt x="251" y="50"/>
                </a:lnTo>
                <a:lnTo>
                  <a:pt x="249" y="48"/>
                </a:lnTo>
                <a:lnTo>
                  <a:pt x="244" y="47"/>
                </a:lnTo>
                <a:lnTo>
                  <a:pt x="240" y="43"/>
                </a:lnTo>
                <a:lnTo>
                  <a:pt x="238" y="42"/>
                </a:lnTo>
                <a:lnTo>
                  <a:pt x="236" y="40"/>
                </a:lnTo>
                <a:lnTo>
                  <a:pt x="235" y="37"/>
                </a:lnTo>
                <a:lnTo>
                  <a:pt x="235" y="33"/>
                </a:lnTo>
                <a:lnTo>
                  <a:pt x="231" y="33"/>
                </a:lnTo>
                <a:lnTo>
                  <a:pt x="229" y="33"/>
                </a:lnTo>
                <a:lnTo>
                  <a:pt x="226" y="33"/>
                </a:lnTo>
                <a:lnTo>
                  <a:pt x="222" y="29"/>
                </a:lnTo>
                <a:lnTo>
                  <a:pt x="219" y="29"/>
                </a:lnTo>
                <a:lnTo>
                  <a:pt x="216" y="29"/>
                </a:lnTo>
                <a:lnTo>
                  <a:pt x="212" y="29"/>
                </a:lnTo>
                <a:lnTo>
                  <a:pt x="207" y="24"/>
                </a:lnTo>
                <a:lnTo>
                  <a:pt x="203" y="20"/>
                </a:lnTo>
                <a:lnTo>
                  <a:pt x="198" y="20"/>
                </a:lnTo>
                <a:lnTo>
                  <a:pt x="194" y="20"/>
                </a:lnTo>
                <a:lnTo>
                  <a:pt x="185" y="20"/>
                </a:lnTo>
                <a:lnTo>
                  <a:pt x="176" y="20"/>
                </a:lnTo>
                <a:lnTo>
                  <a:pt x="169" y="20"/>
                </a:lnTo>
                <a:lnTo>
                  <a:pt x="163" y="20"/>
                </a:lnTo>
                <a:lnTo>
                  <a:pt x="156" y="20"/>
                </a:lnTo>
                <a:lnTo>
                  <a:pt x="149" y="20"/>
                </a:lnTo>
                <a:lnTo>
                  <a:pt x="140" y="20"/>
                </a:lnTo>
                <a:lnTo>
                  <a:pt x="136" y="20"/>
                </a:lnTo>
                <a:lnTo>
                  <a:pt x="130" y="20"/>
                </a:lnTo>
                <a:lnTo>
                  <a:pt x="128" y="20"/>
                </a:lnTo>
                <a:lnTo>
                  <a:pt x="126" y="20"/>
                </a:lnTo>
                <a:lnTo>
                  <a:pt x="121" y="20"/>
                </a:lnTo>
                <a:lnTo>
                  <a:pt x="113" y="20"/>
                </a:lnTo>
                <a:lnTo>
                  <a:pt x="104" y="20"/>
                </a:lnTo>
                <a:lnTo>
                  <a:pt x="104" y="24"/>
                </a:lnTo>
                <a:lnTo>
                  <a:pt x="95" y="24"/>
                </a:lnTo>
                <a:lnTo>
                  <a:pt x="86" y="24"/>
                </a:lnTo>
                <a:lnTo>
                  <a:pt x="86" y="20"/>
                </a:lnTo>
                <a:lnTo>
                  <a:pt x="84" y="20"/>
                </a:lnTo>
                <a:lnTo>
                  <a:pt x="79" y="18"/>
                </a:lnTo>
                <a:lnTo>
                  <a:pt x="75" y="14"/>
                </a:lnTo>
                <a:lnTo>
                  <a:pt x="72" y="11"/>
                </a:lnTo>
                <a:lnTo>
                  <a:pt x="68" y="11"/>
                </a:lnTo>
                <a:lnTo>
                  <a:pt x="63" y="11"/>
                </a:lnTo>
                <a:lnTo>
                  <a:pt x="59" y="11"/>
                </a:lnTo>
                <a:lnTo>
                  <a:pt x="54" y="7"/>
                </a:lnTo>
                <a:lnTo>
                  <a:pt x="50" y="2"/>
                </a:lnTo>
                <a:lnTo>
                  <a:pt x="48" y="1"/>
                </a:lnTo>
                <a:lnTo>
                  <a:pt x="42" y="0"/>
                </a:lnTo>
                <a:lnTo>
                  <a:pt x="39" y="0"/>
                </a:lnTo>
                <a:lnTo>
                  <a:pt x="37" y="0"/>
                </a:lnTo>
                <a:lnTo>
                  <a:pt x="33" y="1"/>
                </a:lnTo>
                <a:lnTo>
                  <a:pt x="31" y="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11" name="Freeform 72">
            <a:extLst>
              <a:ext uri="{FF2B5EF4-FFF2-40B4-BE49-F238E27FC236}">
                <a16:creationId xmlns:a16="http://schemas.microsoft.com/office/drawing/2014/main" id="{9FF9B855-7B75-4EAB-A7A5-B6E90743BCC6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907463" y="4495800"/>
            <a:ext cx="39343" cy="33338"/>
          </a:xfrm>
          <a:custGeom>
            <a:avLst/>
            <a:gdLst/>
            <a:ahLst/>
            <a:cxnLst>
              <a:cxn ang="0">
                <a:pos x="11" y="29"/>
              </a:cxn>
              <a:cxn ang="0">
                <a:pos x="24" y="49"/>
              </a:cxn>
              <a:cxn ang="0">
                <a:pos x="24" y="63"/>
              </a:cxn>
              <a:cxn ang="0">
                <a:pos x="24" y="73"/>
              </a:cxn>
              <a:cxn ang="0">
                <a:pos x="9" y="109"/>
              </a:cxn>
              <a:cxn ang="0">
                <a:pos x="5" y="122"/>
              </a:cxn>
              <a:cxn ang="0">
                <a:pos x="5" y="131"/>
              </a:cxn>
              <a:cxn ang="0">
                <a:pos x="5" y="153"/>
              </a:cxn>
              <a:cxn ang="0">
                <a:pos x="14" y="163"/>
              </a:cxn>
              <a:cxn ang="0">
                <a:pos x="23" y="170"/>
              </a:cxn>
              <a:cxn ang="0">
                <a:pos x="37" y="177"/>
              </a:cxn>
              <a:cxn ang="0">
                <a:pos x="43" y="190"/>
              </a:cxn>
              <a:cxn ang="0">
                <a:pos x="49" y="200"/>
              </a:cxn>
              <a:cxn ang="0">
                <a:pos x="64" y="212"/>
              </a:cxn>
              <a:cxn ang="0">
                <a:pos x="77" y="212"/>
              </a:cxn>
              <a:cxn ang="0">
                <a:pos x="86" y="212"/>
              </a:cxn>
              <a:cxn ang="0">
                <a:pos x="112" y="210"/>
              </a:cxn>
              <a:cxn ang="0">
                <a:pos x="123" y="208"/>
              </a:cxn>
              <a:cxn ang="0">
                <a:pos x="132" y="204"/>
              </a:cxn>
              <a:cxn ang="0">
                <a:pos x="143" y="201"/>
              </a:cxn>
              <a:cxn ang="0">
                <a:pos x="150" y="195"/>
              </a:cxn>
              <a:cxn ang="0">
                <a:pos x="159" y="190"/>
              </a:cxn>
              <a:cxn ang="0">
                <a:pos x="177" y="172"/>
              </a:cxn>
              <a:cxn ang="0">
                <a:pos x="187" y="162"/>
              </a:cxn>
              <a:cxn ang="0">
                <a:pos x="205" y="159"/>
              </a:cxn>
              <a:cxn ang="0">
                <a:pos x="214" y="144"/>
              </a:cxn>
              <a:cxn ang="0">
                <a:pos x="205" y="140"/>
              </a:cxn>
              <a:cxn ang="0">
                <a:pos x="190" y="135"/>
              </a:cxn>
              <a:cxn ang="0">
                <a:pos x="172" y="127"/>
              </a:cxn>
              <a:cxn ang="0">
                <a:pos x="163" y="118"/>
              </a:cxn>
              <a:cxn ang="0">
                <a:pos x="151" y="112"/>
              </a:cxn>
              <a:cxn ang="0">
                <a:pos x="136" y="100"/>
              </a:cxn>
              <a:cxn ang="0">
                <a:pos x="126" y="90"/>
              </a:cxn>
              <a:cxn ang="0">
                <a:pos x="123" y="73"/>
              </a:cxn>
              <a:cxn ang="0">
                <a:pos x="119" y="63"/>
              </a:cxn>
              <a:cxn ang="0">
                <a:pos x="119" y="52"/>
              </a:cxn>
              <a:cxn ang="0">
                <a:pos x="114" y="36"/>
              </a:cxn>
              <a:cxn ang="0">
                <a:pos x="102" y="18"/>
              </a:cxn>
              <a:cxn ang="0">
                <a:pos x="100" y="5"/>
              </a:cxn>
              <a:cxn ang="0">
                <a:pos x="80" y="3"/>
              </a:cxn>
              <a:cxn ang="0">
                <a:pos x="71" y="0"/>
              </a:cxn>
              <a:cxn ang="0">
                <a:pos x="55" y="0"/>
              </a:cxn>
              <a:cxn ang="0">
                <a:pos x="44" y="3"/>
              </a:cxn>
              <a:cxn ang="0">
                <a:pos x="36" y="5"/>
              </a:cxn>
              <a:cxn ang="0">
                <a:pos x="28" y="9"/>
              </a:cxn>
              <a:cxn ang="0">
                <a:pos x="0" y="9"/>
              </a:cxn>
            </a:cxnLst>
            <a:rect l="0" t="0" r="r" b="b"/>
            <a:pathLst>
              <a:path w="214" h="212">
                <a:moveTo>
                  <a:pt x="0" y="9"/>
                </a:moveTo>
                <a:lnTo>
                  <a:pt x="9" y="27"/>
                </a:lnTo>
                <a:lnTo>
                  <a:pt x="11" y="29"/>
                </a:lnTo>
                <a:lnTo>
                  <a:pt x="14" y="32"/>
                </a:lnTo>
                <a:lnTo>
                  <a:pt x="18" y="43"/>
                </a:lnTo>
                <a:lnTo>
                  <a:pt x="24" y="49"/>
                </a:lnTo>
                <a:lnTo>
                  <a:pt x="24" y="54"/>
                </a:lnTo>
                <a:lnTo>
                  <a:pt x="24" y="58"/>
                </a:lnTo>
                <a:lnTo>
                  <a:pt x="24" y="63"/>
                </a:lnTo>
                <a:lnTo>
                  <a:pt x="24" y="65"/>
                </a:lnTo>
                <a:lnTo>
                  <a:pt x="24" y="67"/>
                </a:lnTo>
                <a:lnTo>
                  <a:pt x="24" y="73"/>
                </a:lnTo>
                <a:lnTo>
                  <a:pt x="20" y="86"/>
                </a:lnTo>
                <a:lnTo>
                  <a:pt x="18" y="100"/>
                </a:lnTo>
                <a:lnTo>
                  <a:pt x="9" y="109"/>
                </a:lnTo>
                <a:lnTo>
                  <a:pt x="9" y="118"/>
                </a:lnTo>
                <a:lnTo>
                  <a:pt x="7" y="120"/>
                </a:lnTo>
                <a:lnTo>
                  <a:pt x="5" y="122"/>
                </a:lnTo>
                <a:lnTo>
                  <a:pt x="5" y="127"/>
                </a:lnTo>
                <a:lnTo>
                  <a:pt x="5" y="129"/>
                </a:lnTo>
                <a:lnTo>
                  <a:pt x="5" y="131"/>
                </a:lnTo>
                <a:lnTo>
                  <a:pt x="5" y="135"/>
                </a:lnTo>
                <a:lnTo>
                  <a:pt x="5" y="144"/>
                </a:lnTo>
                <a:lnTo>
                  <a:pt x="5" y="153"/>
                </a:lnTo>
                <a:lnTo>
                  <a:pt x="8" y="156"/>
                </a:lnTo>
                <a:lnTo>
                  <a:pt x="11" y="159"/>
                </a:lnTo>
                <a:lnTo>
                  <a:pt x="14" y="163"/>
                </a:lnTo>
                <a:lnTo>
                  <a:pt x="14" y="168"/>
                </a:lnTo>
                <a:lnTo>
                  <a:pt x="18" y="168"/>
                </a:lnTo>
                <a:lnTo>
                  <a:pt x="23" y="170"/>
                </a:lnTo>
                <a:lnTo>
                  <a:pt x="26" y="173"/>
                </a:lnTo>
                <a:lnTo>
                  <a:pt x="28" y="177"/>
                </a:lnTo>
                <a:lnTo>
                  <a:pt x="37" y="177"/>
                </a:lnTo>
                <a:lnTo>
                  <a:pt x="37" y="186"/>
                </a:lnTo>
                <a:lnTo>
                  <a:pt x="40" y="187"/>
                </a:lnTo>
                <a:lnTo>
                  <a:pt x="43" y="190"/>
                </a:lnTo>
                <a:lnTo>
                  <a:pt x="45" y="195"/>
                </a:lnTo>
                <a:lnTo>
                  <a:pt x="46" y="199"/>
                </a:lnTo>
                <a:lnTo>
                  <a:pt x="49" y="200"/>
                </a:lnTo>
                <a:lnTo>
                  <a:pt x="55" y="205"/>
                </a:lnTo>
                <a:lnTo>
                  <a:pt x="59" y="209"/>
                </a:lnTo>
                <a:lnTo>
                  <a:pt x="64" y="212"/>
                </a:lnTo>
                <a:lnTo>
                  <a:pt x="68" y="212"/>
                </a:lnTo>
                <a:lnTo>
                  <a:pt x="73" y="212"/>
                </a:lnTo>
                <a:lnTo>
                  <a:pt x="77" y="212"/>
                </a:lnTo>
                <a:lnTo>
                  <a:pt x="80" y="212"/>
                </a:lnTo>
                <a:lnTo>
                  <a:pt x="82" y="212"/>
                </a:lnTo>
                <a:lnTo>
                  <a:pt x="86" y="212"/>
                </a:lnTo>
                <a:lnTo>
                  <a:pt x="97" y="212"/>
                </a:lnTo>
                <a:lnTo>
                  <a:pt x="110" y="212"/>
                </a:lnTo>
                <a:lnTo>
                  <a:pt x="112" y="210"/>
                </a:lnTo>
                <a:lnTo>
                  <a:pt x="114" y="208"/>
                </a:lnTo>
                <a:lnTo>
                  <a:pt x="119" y="208"/>
                </a:lnTo>
                <a:lnTo>
                  <a:pt x="123" y="208"/>
                </a:lnTo>
                <a:lnTo>
                  <a:pt x="128" y="208"/>
                </a:lnTo>
                <a:lnTo>
                  <a:pt x="130" y="206"/>
                </a:lnTo>
                <a:lnTo>
                  <a:pt x="132" y="204"/>
                </a:lnTo>
                <a:lnTo>
                  <a:pt x="135" y="204"/>
                </a:lnTo>
                <a:lnTo>
                  <a:pt x="141" y="202"/>
                </a:lnTo>
                <a:lnTo>
                  <a:pt x="143" y="201"/>
                </a:lnTo>
                <a:lnTo>
                  <a:pt x="145" y="200"/>
                </a:lnTo>
                <a:lnTo>
                  <a:pt x="148" y="198"/>
                </a:lnTo>
                <a:lnTo>
                  <a:pt x="150" y="195"/>
                </a:lnTo>
                <a:lnTo>
                  <a:pt x="154" y="195"/>
                </a:lnTo>
                <a:lnTo>
                  <a:pt x="157" y="192"/>
                </a:lnTo>
                <a:lnTo>
                  <a:pt x="159" y="190"/>
                </a:lnTo>
                <a:lnTo>
                  <a:pt x="163" y="190"/>
                </a:lnTo>
                <a:lnTo>
                  <a:pt x="170" y="182"/>
                </a:lnTo>
                <a:lnTo>
                  <a:pt x="177" y="172"/>
                </a:lnTo>
                <a:lnTo>
                  <a:pt x="180" y="170"/>
                </a:lnTo>
                <a:lnTo>
                  <a:pt x="183" y="167"/>
                </a:lnTo>
                <a:lnTo>
                  <a:pt x="187" y="162"/>
                </a:lnTo>
                <a:lnTo>
                  <a:pt x="190" y="159"/>
                </a:lnTo>
                <a:lnTo>
                  <a:pt x="198" y="159"/>
                </a:lnTo>
                <a:lnTo>
                  <a:pt x="205" y="159"/>
                </a:lnTo>
                <a:lnTo>
                  <a:pt x="209" y="153"/>
                </a:lnTo>
                <a:lnTo>
                  <a:pt x="211" y="149"/>
                </a:lnTo>
                <a:lnTo>
                  <a:pt x="214" y="144"/>
                </a:lnTo>
                <a:lnTo>
                  <a:pt x="209" y="144"/>
                </a:lnTo>
                <a:lnTo>
                  <a:pt x="207" y="142"/>
                </a:lnTo>
                <a:lnTo>
                  <a:pt x="205" y="140"/>
                </a:lnTo>
                <a:lnTo>
                  <a:pt x="200" y="140"/>
                </a:lnTo>
                <a:lnTo>
                  <a:pt x="196" y="139"/>
                </a:lnTo>
                <a:lnTo>
                  <a:pt x="190" y="135"/>
                </a:lnTo>
                <a:lnTo>
                  <a:pt x="186" y="131"/>
                </a:lnTo>
                <a:lnTo>
                  <a:pt x="181" y="127"/>
                </a:lnTo>
                <a:lnTo>
                  <a:pt x="172" y="127"/>
                </a:lnTo>
                <a:lnTo>
                  <a:pt x="170" y="124"/>
                </a:lnTo>
                <a:lnTo>
                  <a:pt x="168" y="122"/>
                </a:lnTo>
                <a:lnTo>
                  <a:pt x="163" y="118"/>
                </a:lnTo>
                <a:lnTo>
                  <a:pt x="160" y="116"/>
                </a:lnTo>
                <a:lnTo>
                  <a:pt x="155" y="115"/>
                </a:lnTo>
                <a:lnTo>
                  <a:pt x="151" y="112"/>
                </a:lnTo>
                <a:lnTo>
                  <a:pt x="150" y="109"/>
                </a:lnTo>
                <a:lnTo>
                  <a:pt x="141" y="109"/>
                </a:lnTo>
                <a:lnTo>
                  <a:pt x="136" y="100"/>
                </a:lnTo>
                <a:lnTo>
                  <a:pt x="133" y="99"/>
                </a:lnTo>
                <a:lnTo>
                  <a:pt x="130" y="94"/>
                </a:lnTo>
                <a:lnTo>
                  <a:pt x="126" y="90"/>
                </a:lnTo>
                <a:lnTo>
                  <a:pt x="123" y="86"/>
                </a:lnTo>
                <a:lnTo>
                  <a:pt x="123" y="80"/>
                </a:lnTo>
                <a:lnTo>
                  <a:pt x="123" y="73"/>
                </a:lnTo>
                <a:lnTo>
                  <a:pt x="121" y="71"/>
                </a:lnTo>
                <a:lnTo>
                  <a:pt x="119" y="67"/>
                </a:lnTo>
                <a:lnTo>
                  <a:pt x="119" y="63"/>
                </a:lnTo>
                <a:lnTo>
                  <a:pt x="119" y="58"/>
                </a:lnTo>
                <a:lnTo>
                  <a:pt x="119" y="54"/>
                </a:lnTo>
                <a:lnTo>
                  <a:pt x="119" y="52"/>
                </a:lnTo>
                <a:lnTo>
                  <a:pt x="119" y="49"/>
                </a:lnTo>
                <a:lnTo>
                  <a:pt x="119" y="45"/>
                </a:lnTo>
                <a:lnTo>
                  <a:pt x="114" y="36"/>
                </a:lnTo>
                <a:lnTo>
                  <a:pt x="110" y="23"/>
                </a:lnTo>
                <a:lnTo>
                  <a:pt x="104" y="23"/>
                </a:lnTo>
                <a:lnTo>
                  <a:pt x="102" y="18"/>
                </a:lnTo>
                <a:lnTo>
                  <a:pt x="101" y="12"/>
                </a:lnTo>
                <a:lnTo>
                  <a:pt x="100" y="7"/>
                </a:lnTo>
                <a:lnTo>
                  <a:pt x="100" y="5"/>
                </a:lnTo>
                <a:lnTo>
                  <a:pt x="91" y="5"/>
                </a:lnTo>
                <a:lnTo>
                  <a:pt x="82" y="5"/>
                </a:lnTo>
                <a:lnTo>
                  <a:pt x="80" y="3"/>
                </a:lnTo>
                <a:lnTo>
                  <a:pt x="77" y="0"/>
                </a:lnTo>
                <a:lnTo>
                  <a:pt x="73" y="0"/>
                </a:lnTo>
                <a:lnTo>
                  <a:pt x="71" y="0"/>
                </a:lnTo>
                <a:lnTo>
                  <a:pt x="68" y="0"/>
                </a:lnTo>
                <a:lnTo>
                  <a:pt x="64" y="0"/>
                </a:lnTo>
                <a:lnTo>
                  <a:pt x="55" y="0"/>
                </a:lnTo>
                <a:lnTo>
                  <a:pt x="46" y="0"/>
                </a:lnTo>
                <a:lnTo>
                  <a:pt x="45" y="2"/>
                </a:lnTo>
                <a:lnTo>
                  <a:pt x="44" y="3"/>
                </a:lnTo>
                <a:lnTo>
                  <a:pt x="43" y="4"/>
                </a:lnTo>
                <a:lnTo>
                  <a:pt x="40" y="4"/>
                </a:lnTo>
                <a:lnTo>
                  <a:pt x="36" y="5"/>
                </a:lnTo>
                <a:lnTo>
                  <a:pt x="33" y="5"/>
                </a:lnTo>
                <a:lnTo>
                  <a:pt x="33" y="9"/>
                </a:lnTo>
                <a:lnTo>
                  <a:pt x="28" y="9"/>
                </a:lnTo>
                <a:lnTo>
                  <a:pt x="24" y="9"/>
                </a:lnTo>
                <a:lnTo>
                  <a:pt x="15" y="9"/>
                </a:lnTo>
                <a:lnTo>
                  <a:pt x="0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12" name="Freeform 73">
            <a:extLst>
              <a:ext uri="{FF2B5EF4-FFF2-40B4-BE49-F238E27FC236}">
                <a16:creationId xmlns:a16="http://schemas.microsoft.com/office/drawing/2014/main" id="{F5D47831-4A94-485D-B812-C6369027E738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721725" y="4364038"/>
            <a:ext cx="148172" cy="84138"/>
          </a:xfrm>
          <a:custGeom>
            <a:avLst/>
            <a:gdLst/>
            <a:ahLst/>
            <a:cxnLst>
              <a:cxn ang="0">
                <a:pos x="584" y="18"/>
              </a:cxn>
              <a:cxn ang="0">
                <a:pos x="539" y="60"/>
              </a:cxn>
              <a:cxn ang="0">
                <a:pos x="509" y="96"/>
              </a:cxn>
              <a:cxn ang="0">
                <a:pos x="497" y="108"/>
              </a:cxn>
              <a:cxn ang="0">
                <a:pos x="457" y="118"/>
              </a:cxn>
              <a:cxn ang="0">
                <a:pos x="375" y="121"/>
              </a:cxn>
              <a:cxn ang="0">
                <a:pos x="297" y="129"/>
              </a:cxn>
              <a:cxn ang="0">
                <a:pos x="259" y="138"/>
              </a:cxn>
              <a:cxn ang="0">
                <a:pos x="231" y="152"/>
              </a:cxn>
              <a:cxn ang="0">
                <a:pos x="216" y="170"/>
              </a:cxn>
              <a:cxn ang="0">
                <a:pos x="173" y="200"/>
              </a:cxn>
              <a:cxn ang="0">
                <a:pos x="102" y="240"/>
              </a:cxn>
              <a:cxn ang="0">
                <a:pos x="51" y="278"/>
              </a:cxn>
              <a:cxn ang="0">
                <a:pos x="16" y="318"/>
              </a:cxn>
              <a:cxn ang="0">
                <a:pos x="3" y="342"/>
              </a:cxn>
              <a:cxn ang="0">
                <a:pos x="0" y="377"/>
              </a:cxn>
              <a:cxn ang="0">
                <a:pos x="16" y="438"/>
              </a:cxn>
              <a:cxn ang="0">
                <a:pos x="36" y="496"/>
              </a:cxn>
              <a:cxn ang="0">
                <a:pos x="40" y="526"/>
              </a:cxn>
              <a:cxn ang="0">
                <a:pos x="55" y="518"/>
              </a:cxn>
              <a:cxn ang="0">
                <a:pos x="96" y="486"/>
              </a:cxn>
              <a:cxn ang="0">
                <a:pos x="144" y="447"/>
              </a:cxn>
              <a:cxn ang="0">
                <a:pos x="201" y="412"/>
              </a:cxn>
              <a:cxn ang="0">
                <a:pos x="260" y="380"/>
              </a:cxn>
              <a:cxn ang="0">
                <a:pos x="327" y="368"/>
              </a:cxn>
              <a:cxn ang="0">
                <a:pos x="396" y="362"/>
              </a:cxn>
              <a:cxn ang="0">
                <a:pos x="479" y="368"/>
              </a:cxn>
              <a:cxn ang="0">
                <a:pos x="520" y="369"/>
              </a:cxn>
              <a:cxn ang="0">
                <a:pos x="530" y="365"/>
              </a:cxn>
              <a:cxn ang="0">
                <a:pos x="554" y="358"/>
              </a:cxn>
              <a:cxn ang="0">
                <a:pos x="574" y="335"/>
              </a:cxn>
              <a:cxn ang="0">
                <a:pos x="604" y="276"/>
              </a:cxn>
              <a:cxn ang="0">
                <a:pos x="630" y="228"/>
              </a:cxn>
              <a:cxn ang="0">
                <a:pos x="660" y="197"/>
              </a:cxn>
              <a:cxn ang="0">
                <a:pos x="707" y="115"/>
              </a:cxn>
              <a:cxn ang="0">
                <a:pos x="751" y="91"/>
              </a:cxn>
              <a:cxn ang="0">
                <a:pos x="788" y="70"/>
              </a:cxn>
              <a:cxn ang="0">
                <a:pos x="798" y="61"/>
              </a:cxn>
              <a:cxn ang="0">
                <a:pos x="784" y="52"/>
              </a:cxn>
              <a:cxn ang="0">
                <a:pos x="756" y="42"/>
              </a:cxn>
              <a:cxn ang="0">
                <a:pos x="727" y="35"/>
              </a:cxn>
              <a:cxn ang="0">
                <a:pos x="660" y="24"/>
              </a:cxn>
              <a:cxn ang="0">
                <a:pos x="636" y="7"/>
              </a:cxn>
              <a:cxn ang="0">
                <a:pos x="608" y="0"/>
              </a:cxn>
            </a:cxnLst>
            <a:rect l="0" t="0" r="r" b="b"/>
            <a:pathLst>
              <a:path w="798" h="526">
                <a:moveTo>
                  <a:pt x="608" y="0"/>
                </a:moveTo>
                <a:lnTo>
                  <a:pt x="597" y="8"/>
                </a:lnTo>
                <a:lnTo>
                  <a:pt x="584" y="18"/>
                </a:lnTo>
                <a:lnTo>
                  <a:pt x="569" y="31"/>
                </a:lnTo>
                <a:lnTo>
                  <a:pt x="554" y="45"/>
                </a:lnTo>
                <a:lnTo>
                  <a:pt x="539" y="60"/>
                </a:lnTo>
                <a:lnTo>
                  <a:pt x="526" y="73"/>
                </a:lnTo>
                <a:lnTo>
                  <a:pt x="516" y="86"/>
                </a:lnTo>
                <a:lnTo>
                  <a:pt x="509" y="96"/>
                </a:lnTo>
                <a:lnTo>
                  <a:pt x="507" y="101"/>
                </a:lnTo>
                <a:lnTo>
                  <a:pt x="502" y="104"/>
                </a:lnTo>
                <a:lnTo>
                  <a:pt x="497" y="108"/>
                </a:lnTo>
                <a:lnTo>
                  <a:pt x="490" y="110"/>
                </a:lnTo>
                <a:lnTo>
                  <a:pt x="475" y="114"/>
                </a:lnTo>
                <a:lnTo>
                  <a:pt x="457" y="118"/>
                </a:lnTo>
                <a:lnTo>
                  <a:pt x="421" y="120"/>
                </a:lnTo>
                <a:lnTo>
                  <a:pt x="394" y="120"/>
                </a:lnTo>
                <a:lnTo>
                  <a:pt x="375" y="121"/>
                </a:lnTo>
                <a:lnTo>
                  <a:pt x="351" y="122"/>
                </a:lnTo>
                <a:lnTo>
                  <a:pt x="324" y="124"/>
                </a:lnTo>
                <a:lnTo>
                  <a:pt x="297" y="129"/>
                </a:lnTo>
                <a:lnTo>
                  <a:pt x="284" y="131"/>
                </a:lnTo>
                <a:lnTo>
                  <a:pt x="271" y="134"/>
                </a:lnTo>
                <a:lnTo>
                  <a:pt x="259" y="138"/>
                </a:lnTo>
                <a:lnTo>
                  <a:pt x="249" y="142"/>
                </a:lnTo>
                <a:lnTo>
                  <a:pt x="239" y="147"/>
                </a:lnTo>
                <a:lnTo>
                  <a:pt x="231" y="152"/>
                </a:lnTo>
                <a:lnTo>
                  <a:pt x="226" y="158"/>
                </a:lnTo>
                <a:lnTo>
                  <a:pt x="221" y="164"/>
                </a:lnTo>
                <a:lnTo>
                  <a:pt x="216" y="170"/>
                </a:lnTo>
                <a:lnTo>
                  <a:pt x="205" y="179"/>
                </a:lnTo>
                <a:lnTo>
                  <a:pt x="191" y="189"/>
                </a:lnTo>
                <a:lnTo>
                  <a:pt x="173" y="200"/>
                </a:lnTo>
                <a:lnTo>
                  <a:pt x="139" y="220"/>
                </a:lnTo>
                <a:lnTo>
                  <a:pt x="115" y="233"/>
                </a:lnTo>
                <a:lnTo>
                  <a:pt x="102" y="240"/>
                </a:lnTo>
                <a:lnTo>
                  <a:pt x="86" y="252"/>
                </a:lnTo>
                <a:lnTo>
                  <a:pt x="68" y="264"/>
                </a:lnTo>
                <a:lnTo>
                  <a:pt x="51" y="278"/>
                </a:lnTo>
                <a:lnTo>
                  <a:pt x="36" y="294"/>
                </a:lnTo>
                <a:lnTo>
                  <a:pt x="22" y="310"/>
                </a:lnTo>
                <a:lnTo>
                  <a:pt x="16" y="318"/>
                </a:lnTo>
                <a:lnTo>
                  <a:pt x="11" y="326"/>
                </a:lnTo>
                <a:lnTo>
                  <a:pt x="7" y="334"/>
                </a:lnTo>
                <a:lnTo>
                  <a:pt x="3" y="342"/>
                </a:lnTo>
                <a:lnTo>
                  <a:pt x="1" y="353"/>
                </a:lnTo>
                <a:lnTo>
                  <a:pt x="0" y="364"/>
                </a:lnTo>
                <a:lnTo>
                  <a:pt x="0" y="377"/>
                </a:lnTo>
                <a:lnTo>
                  <a:pt x="2" y="388"/>
                </a:lnTo>
                <a:lnTo>
                  <a:pt x="8" y="413"/>
                </a:lnTo>
                <a:lnTo>
                  <a:pt x="16" y="438"/>
                </a:lnTo>
                <a:lnTo>
                  <a:pt x="25" y="461"/>
                </a:lnTo>
                <a:lnTo>
                  <a:pt x="32" y="485"/>
                </a:lnTo>
                <a:lnTo>
                  <a:pt x="36" y="496"/>
                </a:lnTo>
                <a:lnTo>
                  <a:pt x="38" y="506"/>
                </a:lnTo>
                <a:lnTo>
                  <a:pt x="40" y="516"/>
                </a:lnTo>
                <a:lnTo>
                  <a:pt x="40" y="526"/>
                </a:lnTo>
                <a:lnTo>
                  <a:pt x="44" y="525"/>
                </a:lnTo>
                <a:lnTo>
                  <a:pt x="49" y="523"/>
                </a:lnTo>
                <a:lnTo>
                  <a:pt x="55" y="518"/>
                </a:lnTo>
                <a:lnTo>
                  <a:pt x="61" y="514"/>
                </a:lnTo>
                <a:lnTo>
                  <a:pt x="78" y="500"/>
                </a:lnTo>
                <a:lnTo>
                  <a:pt x="96" y="486"/>
                </a:lnTo>
                <a:lnTo>
                  <a:pt x="114" y="471"/>
                </a:lnTo>
                <a:lnTo>
                  <a:pt x="131" y="457"/>
                </a:lnTo>
                <a:lnTo>
                  <a:pt x="144" y="447"/>
                </a:lnTo>
                <a:lnTo>
                  <a:pt x="153" y="440"/>
                </a:lnTo>
                <a:lnTo>
                  <a:pt x="176" y="428"/>
                </a:lnTo>
                <a:lnTo>
                  <a:pt x="201" y="412"/>
                </a:lnTo>
                <a:lnTo>
                  <a:pt x="226" y="397"/>
                </a:lnTo>
                <a:lnTo>
                  <a:pt x="245" y="385"/>
                </a:lnTo>
                <a:lnTo>
                  <a:pt x="260" y="380"/>
                </a:lnTo>
                <a:lnTo>
                  <a:pt x="280" y="374"/>
                </a:lnTo>
                <a:lnTo>
                  <a:pt x="303" y="371"/>
                </a:lnTo>
                <a:lnTo>
                  <a:pt x="327" y="368"/>
                </a:lnTo>
                <a:lnTo>
                  <a:pt x="352" y="364"/>
                </a:lnTo>
                <a:lnTo>
                  <a:pt x="375" y="363"/>
                </a:lnTo>
                <a:lnTo>
                  <a:pt x="396" y="362"/>
                </a:lnTo>
                <a:lnTo>
                  <a:pt x="415" y="362"/>
                </a:lnTo>
                <a:lnTo>
                  <a:pt x="440" y="364"/>
                </a:lnTo>
                <a:lnTo>
                  <a:pt x="479" y="368"/>
                </a:lnTo>
                <a:lnTo>
                  <a:pt x="498" y="369"/>
                </a:lnTo>
                <a:lnTo>
                  <a:pt x="515" y="370"/>
                </a:lnTo>
                <a:lnTo>
                  <a:pt x="520" y="369"/>
                </a:lnTo>
                <a:lnTo>
                  <a:pt x="526" y="369"/>
                </a:lnTo>
                <a:lnTo>
                  <a:pt x="529" y="368"/>
                </a:lnTo>
                <a:lnTo>
                  <a:pt x="530" y="365"/>
                </a:lnTo>
                <a:lnTo>
                  <a:pt x="538" y="364"/>
                </a:lnTo>
                <a:lnTo>
                  <a:pt x="547" y="362"/>
                </a:lnTo>
                <a:lnTo>
                  <a:pt x="554" y="358"/>
                </a:lnTo>
                <a:lnTo>
                  <a:pt x="562" y="351"/>
                </a:lnTo>
                <a:lnTo>
                  <a:pt x="568" y="344"/>
                </a:lnTo>
                <a:lnTo>
                  <a:pt x="574" y="335"/>
                </a:lnTo>
                <a:lnTo>
                  <a:pt x="581" y="326"/>
                </a:lnTo>
                <a:lnTo>
                  <a:pt x="585" y="317"/>
                </a:lnTo>
                <a:lnTo>
                  <a:pt x="604" y="276"/>
                </a:lnTo>
                <a:lnTo>
                  <a:pt x="619" y="243"/>
                </a:lnTo>
                <a:lnTo>
                  <a:pt x="623" y="235"/>
                </a:lnTo>
                <a:lnTo>
                  <a:pt x="630" y="228"/>
                </a:lnTo>
                <a:lnTo>
                  <a:pt x="636" y="220"/>
                </a:lnTo>
                <a:lnTo>
                  <a:pt x="644" y="212"/>
                </a:lnTo>
                <a:lnTo>
                  <a:pt x="660" y="197"/>
                </a:lnTo>
                <a:lnTo>
                  <a:pt x="672" y="181"/>
                </a:lnTo>
                <a:lnTo>
                  <a:pt x="707" y="120"/>
                </a:lnTo>
                <a:lnTo>
                  <a:pt x="707" y="115"/>
                </a:lnTo>
                <a:lnTo>
                  <a:pt x="707" y="110"/>
                </a:lnTo>
                <a:lnTo>
                  <a:pt x="722" y="104"/>
                </a:lnTo>
                <a:lnTo>
                  <a:pt x="751" y="91"/>
                </a:lnTo>
                <a:lnTo>
                  <a:pt x="766" y="83"/>
                </a:lnTo>
                <a:lnTo>
                  <a:pt x="779" y="75"/>
                </a:lnTo>
                <a:lnTo>
                  <a:pt x="788" y="70"/>
                </a:lnTo>
                <a:lnTo>
                  <a:pt x="792" y="65"/>
                </a:lnTo>
                <a:lnTo>
                  <a:pt x="798" y="65"/>
                </a:lnTo>
                <a:lnTo>
                  <a:pt x="798" y="61"/>
                </a:lnTo>
                <a:lnTo>
                  <a:pt x="798" y="55"/>
                </a:lnTo>
                <a:lnTo>
                  <a:pt x="792" y="55"/>
                </a:lnTo>
                <a:lnTo>
                  <a:pt x="784" y="52"/>
                </a:lnTo>
                <a:lnTo>
                  <a:pt x="775" y="50"/>
                </a:lnTo>
                <a:lnTo>
                  <a:pt x="765" y="45"/>
                </a:lnTo>
                <a:lnTo>
                  <a:pt x="756" y="42"/>
                </a:lnTo>
                <a:lnTo>
                  <a:pt x="746" y="38"/>
                </a:lnTo>
                <a:lnTo>
                  <a:pt x="736" y="36"/>
                </a:lnTo>
                <a:lnTo>
                  <a:pt x="727" y="35"/>
                </a:lnTo>
                <a:lnTo>
                  <a:pt x="665" y="35"/>
                </a:lnTo>
                <a:lnTo>
                  <a:pt x="664" y="29"/>
                </a:lnTo>
                <a:lnTo>
                  <a:pt x="660" y="24"/>
                </a:lnTo>
                <a:lnTo>
                  <a:pt x="654" y="17"/>
                </a:lnTo>
                <a:lnTo>
                  <a:pt x="645" y="12"/>
                </a:lnTo>
                <a:lnTo>
                  <a:pt x="636" y="7"/>
                </a:lnTo>
                <a:lnTo>
                  <a:pt x="627" y="3"/>
                </a:lnTo>
                <a:lnTo>
                  <a:pt x="617" y="0"/>
                </a:lnTo>
                <a:lnTo>
                  <a:pt x="60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13" name="Freeform 74">
            <a:extLst>
              <a:ext uri="{FF2B5EF4-FFF2-40B4-BE49-F238E27FC236}">
                <a16:creationId xmlns:a16="http://schemas.microsoft.com/office/drawing/2014/main" id="{E17FA12B-2293-49EA-8122-B0A70FE7FD2A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893175" y="4397375"/>
            <a:ext cx="39966" cy="31750"/>
          </a:xfrm>
          <a:custGeom>
            <a:avLst/>
            <a:gdLst/>
            <a:ahLst/>
            <a:cxnLst>
              <a:cxn ang="0">
                <a:pos x="85" y="18"/>
              </a:cxn>
              <a:cxn ang="0">
                <a:pos x="65" y="31"/>
              </a:cxn>
              <a:cxn ang="0">
                <a:pos x="50" y="45"/>
              </a:cxn>
              <a:cxn ang="0">
                <a:pos x="40" y="55"/>
              </a:cxn>
              <a:cxn ang="0">
                <a:pos x="30" y="68"/>
              </a:cxn>
              <a:cxn ang="0">
                <a:pos x="30" y="76"/>
              </a:cxn>
              <a:cxn ang="0">
                <a:pos x="27" y="93"/>
              </a:cxn>
              <a:cxn ang="0">
                <a:pos x="18" y="100"/>
              </a:cxn>
              <a:cxn ang="0">
                <a:pos x="13" y="106"/>
              </a:cxn>
              <a:cxn ang="0">
                <a:pos x="7" y="116"/>
              </a:cxn>
              <a:cxn ang="0">
                <a:pos x="1" y="126"/>
              </a:cxn>
              <a:cxn ang="0">
                <a:pos x="5" y="137"/>
              </a:cxn>
              <a:cxn ang="0">
                <a:pos x="11" y="139"/>
              </a:cxn>
              <a:cxn ang="0">
                <a:pos x="20" y="141"/>
              </a:cxn>
              <a:cxn ang="0">
                <a:pos x="35" y="143"/>
              </a:cxn>
              <a:cxn ang="0">
                <a:pos x="47" y="149"/>
              </a:cxn>
              <a:cxn ang="0">
                <a:pos x="54" y="151"/>
              </a:cxn>
              <a:cxn ang="0">
                <a:pos x="72" y="168"/>
              </a:cxn>
              <a:cxn ang="0">
                <a:pos x="79" y="174"/>
              </a:cxn>
              <a:cxn ang="0">
                <a:pos x="89" y="190"/>
              </a:cxn>
              <a:cxn ang="0">
                <a:pos x="99" y="200"/>
              </a:cxn>
              <a:cxn ang="0">
                <a:pos x="108" y="202"/>
              </a:cxn>
              <a:cxn ang="0">
                <a:pos x="122" y="198"/>
              </a:cxn>
              <a:cxn ang="0">
                <a:pos x="134" y="184"/>
              </a:cxn>
              <a:cxn ang="0">
                <a:pos x="150" y="164"/>
              </a:cxn>
              <a:cxn ang="0">
                <a:pos x="151" y="152"/>
              </a:cxn>
              <a:cxn ang="0">
                <a:pos x="157" y="145"/>
              </a:cxn>
              <a:cxn ang="0">
                <a:pos x="164" y="139"/>
              </a:cxn>
              <a:cxn ang="0">
                <a:pos x="174" y="135"/>
              </a:cxn>
              <a:cxn ang="0">
                <a:pos x="190" y="132"/>
              </a:cxn>
              <a:cxn ang="0">
                <a:pos x="203" y="120"/>
              </a:cxn>
              <a:cxn ang="0">
                <a:pos x="213" y="110"/>
              </a:cxn>
              <a:cxn ang="0">
                <a:pos x="217" y="106"/>
              </a:cxn>
              <a:cxn ang="0">
                <a:pos x="217" y="89"/>
              </a:cxn>
              <a:cxn ang="0">
                <a:pos x="220" y="85"/>
              </a:cxn>
              <a:cxn ang="0">
                <a:pos x="216" y="77"/>
              </a:cxn>
              <a:cxn ang="0">
                <a:pos x="203" y="68"/>
              </a:cxn>
              <a:cxn ang="0">
                <a:pos x="189" y="58"/>
              </a:cxn>
              <a:cxn ang="0">
                <a:pos x="182" y="54"/>
              </a:cxn>
              <a:cxn ang="0">
                <a:pos x="166" y="48"/>
              </a:cxn>
              <a:cxn ang="0">
                <a:pos x="162" y="43"/>
              </a:cxn>
              <a:cxn ang="0">
                <a:pos x="157" y="38"/>
              </a:cxn>
              <a:cxn ang="0">
                <a:pos x="150" y="25"/>
              </a:cxn>
              <a:cxn ang="0">
                <a:pos x="139" y="18"/>
              </a:cxn>
              <a:cxn ang="0">
                <a:pos x="136" y="7"/>
              </a:cxn>
              <a:cxn ang="0">
                <a:pos x="132" y="0"/>
              </a:cxn>
              <a:cxn ang="0">
                <a:pos x="125" y="0"/>
              </a:cxn>
              <a:cxn ang="0">
                <a:pos x="114" y="4"/>
              </a:cxn>
            </a:cxnLst>
            <a:rect l="0" t="0" r="r" b="b"/>
            <a:pathLst>
              <a:path w="221" h="202">
                <a:moveTo>
                  <a:pt x="108" y="7"/>
                </a:moveTo>
                <a:lnTo>
                  <a:pt x="95" y="12"/>
                </a:lnTo>
                <a:lnTo>
                  <a:pt x="85" y="18"/>
                </a:lnTo>
                <a:lnTo>
                  <a:pt x="78" y="23"/>
                </a:lnTo>
                <a:lnTo>
                  <a:pt x="72" y="28"/>
                </a:lnTo>
                <a:lnTo>
                  <a:pt x="65" y="31"/>
                </a:lnTo>
                <a:lnTo>
                  <a:pt x="57" y="38"/>
                </a:lnTo>
                <a:lnTo>
                  <a:pt x="54" y="41"/>
                </a:lnTo>
                <a:lnTo>
                  <a:pt x="50" y="45"/>
                </a:lnTo>
                <a:lnTo>
                  <a:pt x="44" y="48"/>
                </a:lnTo>
                <a:lnTo>
                  <a:pt x="43" y="52"/>
                </a:lnTo>
                <a:lnTo>
                  <a:pt x="40" y="55"/>
                </a:lnTo>
                <a:lnTo>
                  <a:pt x="40" y="58"/>
                </a:lnTo>
                <a:lnTo>
                  <a:pt x="36" y="65"/>
                </a:lnTo>
                <a:lnTo>
                  <a:pt x="30" y="68"/>
                </a:lnTo>
                <a:lnTo>
                  <a:pt x="30" y="73"/>
                </a:lnTo>
                <a:lnTo>
                  <a:pt x="30" y="74"/>
                </a:lnTo>
                <a:lnTo>
                  <a:pt x="30" y="76"/>
                </a:lnTo>
                <a:lnTo>
                  <a:pt x="30" y="79"/>
                </a:lnTo>
                <a:lnTo>
                  <a:pt x="29" y="86"/>
                </a:lnTo>
                <a:lnTo>
                  <a:pt x="27" y="93"/>
                </a:lnTo>
                <a:lnTo>
                  <a:pt x="24" y="94"/>
                </a:lnTo>
                <a:lnTo>
                  <a:pt x="20" y="96"/>
                </a:lnTo>
                <a:lnTo>
                  <a:pt x="18" y="100"/>
                </a:lnTo>
                <a:lnTo>
                  <a:pt x="17" y="103"/>
                </a:lnTo>
                <a:lnTo>
                  <a:pt x="15" y="105"/>
                </a:lnTo>
                <a:lnTo>
                  <a:pt x="13" y="106"/>
                </a:lnTo>
                <a:lnTo>
                  <a:pt x="10" y="110"/>
                </a:lnTo>
                <a:lnTo>
                  <a:pt x="7" y="113"/>
                </a:lnTo>
                <a:lnTo>
                  <a:pt x="7" y="116"/>
                </a:lnTo>
                <a:lnTo>
                  <a:pt x="5" y="118"/>
                </a:lnTo>
                <a:lnTo>
                  <a:pt x="3" y="120"/>
                </a:lnTo>
                <a:lnTo>
                  <a:pt x="1" y="126"/>
                </a:lnTo>
                <a:lnTo>
                  <a:pt x="0" y="133"/>
                </a:lnTo>
                <a:lnTo>
                  <a:pt x="3" y="137"/>
                </a:lnTo>
                <a:lnTo>
                  <a:pt x="5" y="137"/>
                </a:lnTo>
                <a:lnTo>
                  <a:pt x="7" y="137"/>
                </a:lnTo>
                <a:lnTo>
                  <a:pt x="10" y="137"/>
                </a:lnTo>
                <a:lnTo>
                  <a:pt x="11" y="139"/>
                </a:lnTo>
                <a:lnTo>
                  <a:pt x="13" y="141"/>
                </a:lnTo>
                <a:lnTo>
                  <a:pt x="17" y="141"/>
                </a:lnTo>
                <a:lnTo>
                  <a:pt x="20" y="141"/>
                </a:lnTo>
                <a:lnTo>
                  <a:pt x="24" y="141"/>
                </a:lnTo>
                <a:lnTo>
                  <a:pt x="30" y="141"/>
                </a:lnTo>
                <a:lnTo>
                  <a:pt x="35" y="143"/>
                </a:lnTo>
                <a:lnTo>
                  <a:pt x="39" y="144"/>
                </a:lnTo>
                <a:lnTo>
                  <a:pt x="44" y="148"/>
                </a:lnTo>
                <a:lnTo>
                  <a:pt x="47" y="149"/>
                </a:lnTo>
                <a:lnTo>
                  <a:pt x="49" y="148"/>
                </a:lnTo>
                <a:lnTo>
                  <a:pt x="50" y="148"/>
                </a:lnTo>
                <a:lnTo>
                  <a:pt x="54" y="151"/>
                </a:lnTo>
                <a:lnTo>
                  <a:pt x="59" y="158"/>
                </a:lnTo>
                <a:lnTo>
                  <a:pt x="68" y="164"/>
                </a:lnTo>
                <a:lnTo>
                  <a:pt x="72" y="168"/>
                </a:lnTo>
                <a:lnTo>
                  <a:pt x="75" y="171"/>
                </a:lnTo>
                <a:lnTo>
                  <a:pt x="78" y="171"/>
                </a:lnTo>
                <a:lnTo>
                  <a:pt x="79" y="174"/>
                </a:lnTo>
                <a:lnTo>
                  <a:pt x="82" y="178"/>
                </a:lnTo>
                <a:lnTo>
                  <a:pt x="82" y="181"/>
                </a:lnTo>
                <a:lnTo>
                  <a:pt x="89" y="190"/>
                </a:lnTo>
                <a:lnTo>
                  <a:pt x="95" y="198"/>
                </a:lnTo>
                <a:lnTo>
                  <a:pt x="98" y="198"/>
                </a:lnTo>
                <a:lnTo>
                  <a:pt x="99" y="200"/>
                </a:lnTo>
                <a:lnTo>
                  <a:pt x="102" y="202"/>
                </a:lnTo>
                <a:lnTo>
                  <a:pt x="105" y="202"/>
                </a:lnTo>
                <a:lnTo>
                  <a:pt x="108" y="202"/>
                </a:lnTo>
                <a:lnTo>
                  <a:pt x="114" y="202"/>
                </a:lnTo>
                <a:lnTo>
                  <a:pt x="118" y="202"/>
                </a:lnTo>
                <a:lnTo>
                  <a:pt x="122" y="198"/>
                </a:lnTo>
                <a:lnTo>
                  <a:pt x="125" y="194"/>
                </a:lnTo>
                <a:lnTo>
                  <a:pt x="132" y="188"/>
                </a:lnTo>
                <a:lnTo>
                  <a:pt x="134" y="184"/>
                </a:lnTo>
                <a:lnTo>
                  <a:pt x="135" y="181"/>
                </a:lnTo>
                <a:lnTo>
                  <a:pt x="143" y="171"/>
                </a:lnTo>
                <a:lnTo>
                  <a:pt x="150" y="164"/>
                </a:lnTo>
                <a:lnTo>
                  <a:pt x="150" y="161"/>
                </a:lnTo>
                <a:lnTo>
                  <a:pt x="150" y="158"/>
                </a:lnTo>
                <a:lnTo>
                  <a:pt x="151" y="152"/>
                </a:lnTo>
                <a:lnTo>
                  <a:pt x="153" y="148"/>
                </a:lnTo>
                <a:lnTo>
                  <a:pt x="155" y="146"/>
                </a:lnTo>
                <a:lnTo>
                  <a:pt x="157" y="145"/>
                </a:lnTo>
                <a:lnTo>
                  <a:pt x="159" y="143"/>
                </a:lnTo>
                <a:lnTo>
                  <a:pt x="160" y="141"/>
                </a:lnTo>
                <a:lnTo>
                  <a:pt x="164" y="139"/>
                </a:lnTo>
                <a:lnTo>
                  <a:pt x="170" y="137"/>
                </a:lnTo>
                <a:lnTo>
                  <a:pt x="173" y="137"/>
                </a:lnTo>
                <a:lnTo>
                  <a:pt x="174" y="135"/>
                </a:lnTo>
                <a:lnTo>
                  <a:pt x="176" y="133"/>
                </a:lnTo>
                <a:lnTo>
                  <a:pt x="183" y="133"/>
                </a:lnTo>
                <a:lnTo>
                  <a:pt x="190" y="132"/>
                </a:lnTo>
                <a:lnTo>
                  <a:pt x="197" y="130"/>
                </a:lnTo>
                <a:lnTo>
                  <a:pt x="200" y="123"/>
                </a:lnTo>
                <a:lnTo>
                  <a:pt x="203" y="120"/>
                </a:lnTo>
                <a:lnTo>
                  <a:pt x="209" y="118"/>
                </a:lnTo>
                <a:lnTo>
                  <a:pt x="213" y="116"/>
                </a:lnTo>
                <a:lnTo>
                  <a:pt x="213" y="110"/>
                </a:lnTo>
                <a:lnTo>
                  <a:pt x="216" y="110"/>
                </a:lnTo>
                <a:lnTo>
                  <a:pt x="217" y="110"/>
                </a:lnTo>
                <a:lnTo>
                  <a:pt x="217" y="106"/>
                </a:lnTo>
                <a:lnTo>
                  <a:pt x="217" y="103"/>
                </a:lnTo>
                <a:lnTo>
                  <a:pt x="217" y="96"/>
                </a:lnTo>
                <a:lnTo>
                  <a:pt x="217" y="89"/>
                </a:lnTo>
                <a:lnTo>
                  <a:pt x="219" y="88"/>
                </a:lnTo>
                <a:lnTo>
                  <a:pt x="220" y="87"/>
                </a:lnTo>
                <a:lnTo>
                  <a:pt x="220" y="85"/>
                </a:lnTo>
                <a:lnTo>
                  <a:pt x="221" y="83"/>
                </a:lnTo>
                <a:lnTo>
                  <a:pt x="217" y="79"/>
                </a:lnTo>
                <a:lnTo>
                  <a:pt x="216" y="77"/>
                </a:lnTo>
                <a:lnTo>
                  <a:pt x="213" y="76"/>
                </a:lnTo>
                <a:lnTo>
                  <a:pt x="210" y="73"/>
                </a:lnTo>
                <a:lnTo>
                  <a:pt x="203" y="68"/>
                </a:lnTo>
                <a:lnTo>
                  <a:pt x="197" y="62"/>
                </a:lnTo>
                <a:lnTo>
                  <a:pt x="190" y="62"/>
                </a:lnTo>
                <a:lnTo>
                  <a:pt x="189" y="58"/>
                </a:lnTo>
                <a:lnTo>
                  <a:pt x="187" y="55"/>
                </a:lnTo>
                <a:lnTo>
                  <a:pt x="183" y="55"/>
                </a:lnTo>
                <a:lnTo>
                  <a:pt x="182" y="54"/>
                </a:lnTo>
                <a:lnTo>
                  <a:pt x="180" y="52"/>
                </a:lnTo>
                <a:lnTo>
                  <a:pt x="173" y="50"/>
                </a:lnTo>
                <a:lnTo>
                  <a:pt x="166" y="48"/>
                </a:lnTo>
                <a:lnTo>
                  <a:pt x="165" y="46"/>
                </a:lnTo>
                <a:lnTo>
                  <a:pt x="164" y="44"/>
                </a:lnTo>
                <a:lnTo>
                  <a:pt x="162" y="43"/>
                </a:lnTo>
                <a:lnTo>
                  <a:pt x="160" y="41"/>
                </a:lnTo>
                <a:lnTo>
                  <a:pt x="160" y="38"/>
                </a:lnTo>
                <a:lnTo>
                  <a:pt x="157" y="38"/>
                </a:lnTo>
                <a:lnTo>
                  <a:pt x="156" y="38"/>
                </a:lnTo>
                <a:lnTo>
                  <a:pt x="153" y="31"/>
                </a:lnTo>
                <a:lnTo>
                  <a:pt x="150" y="25"/>
                </a:lnTo>
                <a:lnTo>
                  <a:pt x="146" y="21"/>
                </a:lnTo>
                <a:lnTo>
                  <a:pt x="143" y="19"/>
                </a:lnTo>
                <a:lnTo>
                  <a:pt x="139" y="18"/>
                </a:lnTo>
                <a:lnTo>
                  <a:pt x="139" y="11"/>
                </a:lnTo>
                <a:lnTo>
                  <a:pt x="137" y="10"/>
                </a:lnTo>
                <a:lnTo>
                  <a:pt x="136" y="7"/>
                </a:lnTo>
                <a:lnTo>
                  <a:pt x="135" y="4"/>
                </a:lnTo>
                <a:lnTo>
                  <a:pt x="135" y="0"/>
                </a:lnTo>
                <a:lnTo>
                  <a:pt x="132" y="0"/>
                </a:lnTo>
                <a:lnTo>
                  <a:pt x="131" y="0"/>
                </a:lnTo>
                <a:lnTo>
                  <a:pt x="128" y="0"/>
                </a:lnTo>
                <a:lnTo>
                  <a:pt x="125" y="0"/>
                </a:lnTo>
                <a:lnTo>
                  <a:pt x="124" y="0"/>
                </a:lnTo>
                <a:lnTo>
                  <a:pt x="120" y="1"/>
                </a:lnTo>
                <a:lnTo>
                  <a:pt x="114" y="4"/>
                </a:lnTo>
                <a:lnTo>
                  <a:pt x="108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14" name="Freeform 75">
            <a:extLst>
              <a:ext uri="{FF2B5EF4-FFF2-40B4-BE49-F238E27FC236}">
                <a16:creationId xmlns:a16="http://schemas.microsoft.com/office/drawing/2014/main" id="{B07004E4-2736-49E1-ABE0-FDD4DF9AE98B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939213" y="4330700"/>
            <a:ext cx="174724" cy="82550"/>
          </a:xfrm>
          <a:custGeom>
            <a:avLst/>
            <a:gdLst/>
            <a:ahLst/>
            <a:cxnLst>
              <a:cxn ang="0">
                <a:pos x="189" y="32"/>
              </a:cxn>
              <a:cxn ang="0">
                <a:pos x="131" y="62"/>
              </a:cxn>
              <a:cxn ang="0">
                <a:pos x="78" y="97"/>
              </a:cxn>
              <a:cxn ang="0">
                <a:pos x="35" y="138"/>
              </a:cxn>
              <a:cxn ang="0">
                <a:pos x="3" y="185"/>
              </a:cxn>
              <a:cxn ang="0">
                <a:pos x="0" y="225"/>
              </a:cxn>
              <a:cxn ang="0">
                <a:pos x="6" y="303"/>
              </a:cxn>
              <a:cxn ang="0">
                <a:pos x="11" y="330"/>
              </a:cxn>
              <a:cxn ang="0">
                <a:pos x="19" y="338"/>
              </a:cxn>
              <a:cxn ang="0">
                <a:pos x="42" y="341"/>
              </a:cxn>
              <a:cxn ang="0">
                <a:pos x="127" y="311"/>
              </a:cxn>
              <a:cxn ang="0">
                <a:pos x="218" y="298"/>
              </a:cxn>
              <a:cxn ang="0">
                <a:pos x="267" y="294"/>
              </a:cxn>
              <a:cxn ang="0">
                <a:pos x="311" y="300"/>
              </a:cxn>
              <a:cxn ang="0">
                <a:pos x="355" y="319"/>
              </a:cxn>
              <a:cxn ang="0">
                <a:pos x="400" y="360"/>
              </a:cxn>
              <a:cxn ang="0">
                <a:pos x="452" y="422"/>
              </a:cxn>
              <a:cxn ang="0">
                <a:pos x="518" y="496"/>
              </a:cxn>
              <a:cxn ang="0">
                <a:pos x="529" y="499"/>
              </a:cxn>
              <a:cxn ang="0">
                <a:pos x="551" y="486"/>
              </a:cxn>
              <a:cxn ang="0">
                <a:pos x="568" y="465"/>
              </a:cxn>
              <a:cxn ang="0">
                <a:pos x="599" y="403"/>
              </a:cxn>
              <a:cxn ang="0">
                <a:pos x="627" y="360"/>
              </a:cxn>
              <a:cxn ang="0">
                <a:pos x="652" y="337"/>
              </a:cxn>
              <a:cxn ang="0">
                <a:pos x="680" y="328"/>
              </a:cxn>
              <a:cxn ang="0">
                <a:pos x="742" y="326"/>
              </a:cxn>
              <a:cxn ang="0">
                <a:pos x="808" y="321"/>
              </a:cxn>
              <a:cxn ang="0">
                <a:pos x="861" y="319"/>
              </a:cxn>
              <a:cxn ang="0">
                <a:pos x="890" y="306"/>
              </a:cxn>
              <a:cxn ang="0">
                <a:pos x="918" y="282"/>
              </a:cxn>
              <a:cxn ang="0">
                <a:pos x="938" y="252"/>
              </a:cxn>
              <a:cxn ang="0">
                <a:pos x="948" y="221"/>
              </a:cxn>
              <a:cxn ang="0">
                <a:pos x="946" y="202"/>
              </a:cxn>
              <a:cxn ang="0">
                <a:pos x="930" y="179"/>
              </a:cxn>
              <a:cxn ang="0">
                <a:pos x="909" y="156"/>
              </a:cxn>
              <a:cxn ang="0">
                <a:pos x="904" y="110"/>
              </a:cxn>
              <a:cxn ang="0">
                <a:pos x="898" y="81"/>
              </a:cxn>
              <a:cxn ang="0">
                <a:pos x="885" y="72"/>
              </a:cxn>
              <a:cxn ang="0">
                <a:pos x="864" y="69"/>
              </a:cxn>
              <a:cxn ang="0">
                <a:pos x="799" y="69"/>
              </a:cxn>
              <a:cxn ang="0">
                <a:pos x="748" y="58"/>
              </a:cxn>
              <a:cxn ang="0">
                <a:pos x="666" y="28"/>
              </a:cxn>
              <a:cxn ang="0">
                <a:pos x="616" y="14"/>
              </a:cxn>
              <a:cxn ang="0">
                <a:pos x="560" y="11"/>
              </a:cxn>
              <a:cxn ang="0">
                <a:pos x="499" y="18"/>
              </a:cxn>
              <a:cxn ang="0">
                <a:pos x="431" y="18"/>
              </a:cxn>
              <a:cxn ang="0">
                <a:pos x="366" y="16"/>
              </a:cxn>
              <a:cxn ang="0">
                <a:pos x="332" y="11"/>
              </a:cxn>
              <a:cxn ang="0">
                <a:pos x="296" y="2"/>
              </a:cxn>
            </a:cxnLst>
            <a:rect l="0" t="0" r="r" b="b"/>
            <a:pathLst>
              <a:path w="948" h="499">
                <a:moveTo>
                  <a:pt x="270" y="0"/>
                </a:moveTo>
                <a:lnTo>
                  <a:pt x="229" y="15"/>
                </a:lnTo>
                <a:lnTo>
                  <a:pt x="189" y="32"/>
                </a:lnTo>
                <a:lnTo>
                  <a:pt x="169" y="42"/>
                </a:lnTo>
                <a:lnTo>
                  <a:pt x="150" y="52"/>
                </a:lnTo>
                <a:lnTo>
                  <a:pt x="131" y="62"/>
                </a:lnTo>
                <a:lnTo>
                  <a:pt x="113" y="73"/>
                </a:lnTo>
                <a:lnTo>
                  <a:pt x="95" y="85"/>
                </a:lnTo>
                <a:lnTo>
                  <a:pt x="78" y="97"/>
                </a:lnTo>
                <a:lnTo>
                  <a:pt x="63" y="110"/>
                </a:lnTo>
                <a:lnTo>
                  <a:pt x="48" y="124"/>
                </a:lnTo>
                <a:lnTo>
                  <a:pt x="35" y="138"/>
                </a:lnTo>
                <a:lnTo>
                  <a:pt x="23" y="153"/>
                </a:lnTo>
                <a:lnTo>
                  <a:pt x="12" y="168"/>
                </a:lnTo>
                <a:lnTo>
                  <a:pt x="3" y="185"/>
                </a:lnTo>
                <a:lnTo>
                  <a:pt x="1" y="195"/>
                </a:lnTo>
                <a:lnTo>
                  <a:pt x="0" y="208"/>
                </a:lnTo>
                <a:lnTo>
                  <a:pt x="0" y="225"/>
                </a:lnTo>
                <a:lnTo>
                  <a:pt x="1" y="243"/>
                </a:lnTo>
                <a:lnTo>
                  <a:pt x="5" y="278"/>
                </a:lnTo>
                <a:lnTo>
                  <a:pt x="6" y="303"/>
                </a:lnTo>
                <a:lnTo>
                  <a:pt x="7" y="316"/>
                </a:lnTo>
                <a:lnTo>
                  <a:pt x="10" y="326"/>
                </a:lnTo>
                <a:lnTo>
                  <a:pt x="11" y="330"/>
                </a:lnTo>
                <a:lnTo>
                  <a:pt x="13" y="333"/>
                </a:lnTo>
                <a:lnTo>
                  <a:pt x="17" y="336"/>
                </a:lnTo>
                <a:lnTo>
                  <a:pt x="19" y="338"/>
                </a:lnTo>
                <a:lnTo>
                  <a:pt x="26" y="341"/>
                </a:lnTo>
                <a:lnTo>
                  <a:pt x="34" y="341"/>
                </a:lnTo>
                <a:lnTo>
                  <a:pt x="42" y="341"/>
                </a:lnTo>
                <a:lnTo>
                  <a:pt x="51" y="339"/>
                </a:lnTo>
                <a:lnTo>
                  <a:pt x="92" y="323"/>
                </a:lnTo>
                <a:lnTo>
                  <a:pt x="127" y="311"/>
                </a:lnTo>
                <a:lnTo>
                  <a:pt x="165" y="306"/>
                </a:lnTo>
                <a:lnTo>
                  <a:pt x="200" y="300"/>
                </a:lnTo>
                <a:lnTo>
                  <a:pt x="218" y="298"/>
                </a:lnTo>
                <a:lnTo>
                  <a:pt x="234" y="295"/>
                </a:lnTo>
                <a:lnTo>
                  <a:pt x="250" y="294"/>
                </a:lnTo>
                <a:lnTo>
                  <a:pt x="267" y="294"/>
                </a:lnTo>
                <a:lnTo>
                  <a:pt x="281" y="294"/>
                </a:lnTo>
                <a:lnTo>
                  <a:pt x="297" y="297"/>
                </a:lnTo>
                <a:lnTo>
                  <a:pt x="311" y="300"/>
                </a:lnTo>
                <a:lnTo>
                  <a:pt x="326" y="304"/>
                </a:lnTo>
                <a:lnTo>
                  <a:pt x="341" y="311"/>
                </a:lnTo>
                <a:lnTo>
                  <a:pt x="355" y="319"/>
                </a:lnTo>
                <a:lnTo>
                  <a:pt x="368" y="330"/>
                </a:lnTo>
                <a:lnTo>
                  <a:pt x="383" y="342"/>
                </a:lnTo>
                <a:lnTo>
                  <a:pt x="400" y="360"/>
                </a:lnTo>
                <a:lnTo>
                  <a:pt x="418" y="379"/>
                </a:lnTo>
                <a:lnTo>
                  <a:pt x="434" y="400"/>
                </a:lnTo>
                <a:lnTo>
                  <a:pt x="452" y="422"/>
                </a:lnTo>
                <a:lnTo>
                  <a:pt x="485" y="461"/>
                </a:lnTo>
                <a:lnTo>
                  <a:pt x="515" y="494"/>
                </a:lnTo>
                <a:lnTo>
                  <a:pt x="518" y="496"/>
                </a:lnTo>
                <a:lnTo>
                  <a:pt x="521" y="499"/>
                </a:lnTo>
                <a:lnTo>
                  <a:pt x="525" y="499"/>
                </a:lnTo>
                <a:lnTo>
                  <a:pt x="529" y="499"/>
                </a:lnTo>
                <a:lnTo>
                  <a:pt x="537" y="496"/>
                </a:lnTo>
                <a:lnTo>
                  <a:pt x="545" y="492"/>
                </a:lnTo>
                <a:lnTo>
                  <a:pt x="551" y="486"/>
                </a:lnTo>
                <a:lnTo>
                  <a:pt x="558" y="480"/>
                </a:lnTo>
                <a:lnTo>
                  <a:pt x="564" y="473"/>
                </a:lnTo>
                <a:lnTo>
                  <a:pt x="568" y="465"/>
                </a:lnTo>
                <a:lnTo>
                  <a:pt x="577" y="447"/>
                </a:lnTo>
                <a:lnTo>
                  <a:pt x="587" y="425"/>
                </a:lnTo>
                <a:lnTo>
                  <a:pt x="599" y="403"/>
                </a:lnTo>
                <a:lnTo>
                  <a:pt x="613" y="380"/>
                </a:lnTo>
                <a:lnTo>
                  <a:pt x="620" y="369"/>
                </a:lnTo>
                <a:lnTo>
                  <a:pt x="627" y="360"/>
                </a:lnTo>
                <a:lnTo>
                  <a:pt x="635" y="351"/>
                </a:lnTo>
                <a:lnTo>
                  <a:pt x="643" y="343"/>
                </a:lnTo>
                <a:lnTo>
                  <a:pt x="652" y="337"/>
                </a:lnTo>
                <a:lnTo>
                  <a:pt x="661" y="332"/>
                </a:lnTo>
                <a:lnTo>
                  <a:pt x="671" y="329"/>
                </a:lnTo>
                <a:lnTo>
                  <a:pt x="680" y="328"/>
                </a:lnTo>
                <a:lnTo>
                  <a:pt x="700" y="328"/>
                </a:lnTo>
                <a:lnTo>
                  <a:pt x="720" y="327"/>
                </a:lnTo>
                <a:lnTo>
                  <a:pt x="742" y="326"/>
                </a:lnTo>
                <a:lnTo>
                  <a:pt x="764" y="323"/>
                </a:lnTo>
                <a:lnTo>
                  <a:pt x="786" y="322"/>
                </a:lnTo>
                <a:lnTo>
                  <a:pt x="808" y="321"/>
                </a:lnTo>
                <a:lnTo>
                  <a:pt x="831" y="320"/>
                </a:lnTo>
                <a:lnTo>
                  <a:pt x="852" y="320"/>
                </a:lnTo>
                <a:lnTo>
                  <a:pt x="861" y="319"/>
                </a:lnTo>
                <a:lnTo>
                  <a:pt x="871" y="316"/>
                </a:lnTo>
                <a:lnTo>
                  <a:pt x="880" y="311"/>
                </a:lnTo>
                <a:lnTo>
                  <a:pt x="890" y="306"/>
                </a:lnTo>
                <a:lnTo>
                  <a:pt x="900" y="299"/>
                </a:lnTo>
                <a:lnTo>
                  <a:pt x="909" y="291"/>
                </a:lnTo>
                <a:lnTo>
                  <a:pt x="918" y="282"/>
                </a:lnTo>
                <a:lnTo>
                  <a:pt x="925" y="272"/>
                </a:lnTo>
                <a:lnTo>
                  <a:pt x="932" y="262"/>
                </a:lnTo>
                <a:lnTo>
                  <a:pt x="938" y="252"/>
                </a:lnTo>
                <a:lnTo>
                  <a:pt x="943" y="241"/>
                </a:lnTo>
                <a:lnTo>
                  <a:pt x="947" y="231"/>
                </a:lnTo>
                <a:lnTo>
                  <a:pt x="948" y="221"/>
                </a:lnTo>
                <a:lnTo>
                  <a:pt x="948" y="211"/>
                </a:lnTo>
                <a:lnTo>
                  <a:pt x="947" y="206"/>
                </a:lnTo>
                <a:lnTo>
                  <a:pt x="946" y="202"/>
                </a:lnTo>
                <a:lnTo>
                  <a:pt x="944" y="197"/>
                </a:lnTo>
                <a:lnTo>
                  <a:pt x="941" y="193"/>
                </a:lnTo>
                <a:lnTo>
                  <a:pt x="930" y="179"/>
                </a:lnTo>
                <a:lnTo>
                  <a:pt x="918" y="169"/>
                </a:lnTo>
                <a:lnTo>
                  <a:pt x="913" y="163"/>
                </a:lnTo>
                <a:lnTo>
                  <a:pt x="909" y="156"/>
                </a:lnTo>
                <a:lnTo>
                  <a:pt x="906" y="146"/>
                </a:lnTo>
                <a:lnTo>
                  <a:pt x="905" y="135"/>
                </a:lnTo>
                <a:lnTo>
                  <a:pt x="904" y="110"/>
                </a:lnTo>
                <a:lnTo>
                  <a:pt x="902" y="93"/>
                </a:lnTo>
                <a:lnTo>
                  <a:pt x="900" y="87"/>
                </a:lnTo>
                <a:lnTo>
                  <a:pt x="898" y="81"/>
                </a:lnTo>
                <a:lnTo>
                  <a:pt x="894" y="78"/>
                </a:lnTo>
                <a:lnTo>
                  <a:pt x="890" y="74"/>
                </a:lnTo>
                <a:lnTo>
                  <a:pt x="885" y="72"/>
                </a:lnTo>
                <a:lnTo>
                  <a:pt x="879" y="71"/>
                </a:lnTo>
                <a:lnTo>
                  <a:pt x="872" y="70"/>
                </a:lnTo>
                <a:lnTo>
                  <a:pt x="864" y="69"/>
                </a:lnTo>
                <a:lnTo>
                  <a:pt x="844" y="69"/>
                </a:lnTo>
                <a:lnTo>
                  <a:pt x="818" y="70"/>
                </a:lnTo>
                <a:lnTo>
                  <a:pt x="799" y="69"/>
                </a:lnTo>
                <a:lnTo>
                  <a:pt x="783" y="67"/>
                </a:lnTo>
                <a:lnTo>
                  <a:pt x="765" y="62"/>
                </a:lnTo>
                <a:lnTo>
                  <a:pt x="748" y="58"/>
                </a:lnTo>
                <a:lnTo>
                  <a:pt x="716" y="47"/>
                </a:lnTo>
                <a:lnTo>
                  <a:pt x="683" y="34"/>
                </a:lnTo>
                <a:lnTo>
                  <a:pt x="666" y="28"/>
                </a:lnTo>
                <a:lnTo>
                  <a:pt x="650" y="22"/>
                </a:lnTo>
                <a:lnTo>
                  <a:pt x="633" y="18"/>
                </a:lnTo>
                <a:lnTo>
                  <a:pt x="616" y="14"/>
                </a:lnTo>
                <a:lnTo>
                  <a:pt x="597" y="11"/>
                </a:lnTo>
                <a:lnTo>
                  <a:pt x="579" y="10"/>
                </a:lnTo>
                <a:lnTo>
                  <a:pt x="560" y="11"/>
                </a:lnTo>
                <a:lnTo>
                  <a:pt x="540" y="13"/>
                </a:lnTo>
                <a:lnTo>
                  <a:pt x="520" y="16"/>
                </a:lnTo>
                <a:lnTo>
                  <a:pt x="499" y="18"/>
                </a:lnTo>
                <a:lnTo>
                  <a:pt x="477" y="18"/>
                </a:lnTo>
                <a:lnTo>
                  <a:pt x="454" y="18"/>
                </a:lnTo>
                <a:lnTo>
                  <a:pt x="431" y="18"/>
                </a:lnTo>
                <a:lnTo>
                  <a:pt x="409" y="16"/>
                </a:lnTo>
                <a:lnTo>
                  <a:pt x="386" y="16"/>
                </a:lnTo>
                <a:lnTo>
                  <a:pt x="366" y="16"/>
                </a:lnTo>
                <a:lnTo>
                  <a:pt x="354" y="15"/>
                </a:lnTo>
                <a:lnTo>
                  <a:pt x="343" y="13"/>
                </a:lnTo>
                <a:lnTo>
                  <a:pt x="332" y="11"/>
                </a:lnTo>
                <a:lnTo>
                  <a:pt x="320" y="8"/>
                </a:lnTo>
                <a:lnTo>
                  <a:pt x="308" y="5"/>
                </a:lnTo>
                <a:lnTo>
                  <a:pt x="296" y="2"/>
                </a:lnTo>
                <a:lnTo>
                  <a:pt x="284" y="0"/>
                </a:lnTo>
                <a:lnTo>
                  <a:pt x="27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15" name="Freeform 76">
            <a:extLst>
              <a:ext uri="{FF2B5EF4-FFF2-40B4-BE49-F238E27FC236}">
                <a16:creationId xmlns:a16="http://schemas.microsoft.com/office/drawing/2014/main" id="{14D5D18A-E338-4C67-9F63-FFB627378105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788400" y="4775200"/>
            <a:ext cx="83190" cy="76200"/>
          </a:xfrm>
          <a:custGeom>
            <a:avLst/>
            <a:gdLst/>
            <a:ahLst/>
            <a:cxnLst>
              <a:cxn ang="0">
                <a:pos x="27" y="182"/>
              </a:cxn>
              <a:cxn ang="0">
                <a:pos x="4" y="243"/>
              </a:cxn>
              <a:cxn ang="0">
                <a:pos x="11" y="283"/>
              </a:cxn>
              <a:cxn ang="0">
                <a:pos x="27" y="301"/>
              </a:cxn>
              <a:cxn ang="0">
                <a:pos x="38" y="331"/>
              </a:cxn>
              <a:cxn ang="0">
                <a:pos x="63" y="370"/>
              </a:cxn>
              <a:cxn ang="0">
                <a:pos x="52" y="400"/>
              </a:cxn>
              <a:cxn ang="0">
                <a:pos x="63" y="428"/>
              </a:cxn>
              <a:cxn ang="0">
                <a:pos x="82" y="415"/>
              </a:cxn>
              <a:cxn ang="0">
                <a:pos x="107" y="422"/>
              </a:cxn>
              <a:cxn ang="0">
                <a:pos x="135" y="477"/>
              </a:cxn>
              <a:cxn ang="0">
                <a:pos x="153" y="481"/>
              </a:cxn>
              <a:cxn ang="0">
                <a:pos x="170" y="464"/>
              </a:cxn>
              <a:cxn ang="0">
                <a:pos x="206" y="436"/>
              </a:cxn>
              <a:cxn ang="0">
                <a:pos x="230" y="406"/>
              </a:cxn>
              <a:cxn ang="0">
                <a:pos x="254" y="385"/>
              </a:cxn>
              <a:cxn ang="0">
                <a:pos x="269" y="358"/>
              </a:cxn>
              <a:cxn ang="0">
                <a:pos x="283" y="339"/>
              </a:cxn>
              <a:cxn ang="0">
                <a:pos x="294" y="330"/>
              </a:cxn>
              <a:cxn ang="0">
                <a:pos x="299" y="291"/>
              </a:cxn>
              <a:cxn ang="0">
                <a:pos x="313" y="278"/>
              </a:cxn>
              <a:cxn ang="0">
                <a:pos x="348" y="265"/>
              </a:cxn>
              <a:cxn ang="0">
                <a:pos x="365" y="248"/>
              </a:cxn>
              <a:cxn ang="0">
                <a:pos x="407" y="206"/>
              </a:cxn>
              <a:cxn ang="0">
                <a:pos x="429" y="194"/>
              </a:cxn>
              <a:cxn ang="0">
                <a:pos x="455" y="156"/>
              </a:cxn>
              <a:cxn ang="0">
                <a:pos x="470" y="119"/>
              </a:cxn>
              <a:cxn ang="0">
                <a:pos x="439" y="86"/>
              </a:cxn>
              <a:cxn ang="0">
                <a:pos x="407" y="75"/>
              </a:cxn>
              <a:cxn ang="0">
                <a:pos x="349" y="66"/>
              </a:cxn>
              <a:cxn ang="0">
                <a:pos x="321" y="52"/>
              </a:cxn>
              <a:cxn ang="0">
                <a:pos x="299" y="33"/>
              </a:cxn>
              <a:cxn ang="0">
                <a:pos x="269" y="0"/>
              </a:cxn>
              <a:cxn ang="0">
                <a:pos x="254" y="33"/>
              </a:cxn>
              <a:cxn ang="0">
                <a:pos x="232" y="60"/>
              </a:cxn>
              <a:cxn ang="0">
                <a:pos x="227" y="75"/>
              </a:cxn>
              <a:cxn ang="0">
                <a:pos x="218" y="89"/>
              </a:cxn>
              <a:cxn ang="0">
                <a:pos x="213" y="123"/>
              </a:cxn>
              <a:cxn ang="0">
                <a:pos x="224" y="146"/>
              </a:cxn>
              <a:cxn ang="0">
                <a:pos x="245" y="178"/>
              </a:cxn>
              <a:cxn ang="0">
                <a:pos x="254" y="193"/>
              </a:cxn>
              <a:cxn ang="0">
                <a:pos x="262" y="203"/>
              </a:cxn>
              <a:cxn ang="0">
                <a:pos x="269" y="214"/>
              </a:cxn>
              <a:cxn ang="0">
                <a:pos x="276" y="227"/>
              </a:cxn>
              <a:cxn ang="0">
                <a:pos x="269" y="242"/>
              </a:cxn>
              <a:cxn ang="0">
                <a:pos x="261" y="261"/>
              </a:cxn>
              <a:cxn ang="0">
                <a:pos x="245" y="272"/>
              </a:cxn>
              <a:cxn ang="0">
                <a:pos x="194" y="250"/>
              </a:cxn>
              <a:cxn ang="0">
                <a:pos x="167" y="240"/>
              </a:cxn>
              <a:cxn ang="0">
                <a:pos x="149" y="220"/>
              </a:cxn>
              <a:cxn ang="0">
                <a:pos x="107" y="181"/>
              </a:cxn>
              <a:cxn ang="0">
                <a:pos x="73" y="167"/>
              </a:cxn>
              <a:cxn ang="0">
                <a:pos x="62" y="160"/>
              </a:cxn>
            </a:cxnLst>
            <a:rect l="0" t="0" r="r" b="b"/>
            <a:pathLst>
              <a:path w="470" h="481">
                <a:moveTo>
                  <a:pt x="49" y="156"/>
                </a:moveTo>
                <a:lnTo>
                  <a:pt x="42" y="163"/>
                </a:lnTo>
                <a:lnTo>
                  <a:pt x="36" y="168"/>
                </a:lnTo>
                <a:lnTo>
                  <a:pt x="32" y="175"/>
                </a:lnTo>
                <a:lnTo>
                  <a:pt x="27" y="182"/>
                </a:lnTo>
                <a:lnTo>
                  <a:pt x="22" y="195"/>
                </a:lnTo>
                <a:lnTo>
                  <a:pt x="19" y="208"/>
                </a:lnTo>
                <a:lnTo>
                  <a:pt x="16" y="217"/>
                </a:lnTo>
                <a:lnTo>
                  <a:pt x="11" y="231"/>
                </a:lnTo>
                <a:lnTo>
                  <a:pt x="4" y="243"/>
                </a:lnTo>
                <a:lnTo>
                  <a:pt x="0" y="250"/>
                </a:lnTo>
                <a:lnTo>
                  <a:pt x="2" y="259"/>
                </a:lnTo>
                <a:lnTo>
                  <a:pt x="4" y="267"/>
                </a:lnTo>
                <a:lnTo>
                  <a:pt x="7" y="275"/>
                </a:lnTo>
                <a:lnTo>
                  <a:pt x="11" y="283"/>
                </a:lnTo>
                <a:lnTo>
                  <a:pt x="20" y="289"/>
                </a:lnTo>
                <a:lnTo>
                  <a:pt x="26" y="294"/>
                </a:lnTo>
                <a:lnTo>
                  <a:pt x="26" y="298"/>
                </a:lnTo>
                <a:lnTo>
                  <a:pt x="26" y="300"/>
                </a:lnTo>
                <a:lnTo>
                  <a:pt x="27" y="301"/>
                </a:lnTo>
                <a:lnTo>
                  <a:pt x="30" y="302"/>
                </a:lnTo>
                <a:lnTo>
                  <a:pt x="30" y="313"/>
                </a:lnTo>
                <a:lnTo>
                  <a:pt x="38" y="320"/>
                </a:lnTo>
                <a:lnTo>
                  <a:pt x="38" y="326"/>
                </a:lnTo>
                <a:lnTo>
                  <a:pt x="38" y="331"/>
                </a:lnTo>
                <a:lnTo>
                  <a:pt x="41" y="339"/>
                </a:lnTo>
                <a:lnTo>
                  <a:pt x="52" y="350"/>
                </a:lnTo>
                <a:lnTo>
                  <a:pt x="63" y="361"/>
                </a:lnTo>
                <a:lnTo>
                  <a:pt x="63" y="366"/>
                </a:lnTo>
                <a:lnTo>
                  <a:pt x="63" y="370"/>
                </a:lnTo>
                <a:lnTo>
                  <a:pt x="62" y="375"/>
                </a:lnTo>
                <a:lnTo>
                  <a:pt x="60" y="377"/>
                </a:lnTo>
                <a:lnTo>
                  <a:pt x="60" y="388"/>
                </a:lnTo>
                <a:lnTo>
                  <a:pt x="52" y="392"/>
                </a:lnTo>
                <a:lnTo>
                  <a:pt x="52" y="400"/>
                </a:lnTo>
                <a:lnTo>
                  <a:pt x="52" y="410"/>
                </a:lnTo>
                <a:lnTo>
                  <a:pt x="52" y="419"/>
                </a:lnTo>
                <a:lnTo>
                  <a:pt x="52" y="428"/>
                </a:lnTo>
                <a:lnTo>
                  <a:pt x="58" y="428"/>
                </a:lnTo>
                <a:lnTo>
                  <a:pt x="63" y="428"/>
                </a:lnTo>
                <a:lnTo>
                  <a:pt x="68" y="423"/>
                </a:lnTo>
                <a:lnTo>
                  <a:pt x="71" y="417"/>
                </a:lnTo>
                <a:lnTo>
                  <a:pt x="79" y="417"/>
                </a:lnTo>
                <a:lnTo>
                  <a:pt x="79" y="416"/>
                </a:lnTo>
                <a:lnTo>
                  <a:pt x="82" y="415"/>
                </a:lnTo>
                <a:lnTo>
                  <a:pt x="86" y="415"/>
                </a:lnTo>
                <a:lnTo>
                  <a:pt x="90" y="414"/>
                </a:lnTo>
                <a:lnTo>
                  <a:pt x="99" y="414"/>
                </a:lnTo>
                <a:lnTo>
                  <a:pt x="105" y="414"/>
                </a:lnTo>
                <a:lnTo>
                  <a:pt x="107" y="422"/>
                </a:lnTo>
                <a:lnTo>
                  <a:pt x="110" y="431"/>
                </a:lnTo>
                <a:lnTo>
                  <a:pt x="113" y="442"/>
                </a:lnTo>
                <a:lnTo>
                  <a:pt x="116" y="451"/>
                </a:lnTo>
                <a:lnTo>
                  <a:pt x="125" y="463"/>
                </a:lnTo>
                <a:lnTo>
                  <a:pt x="135" y="477"/>
                </a:lnTo>
                <a:lnTo>
                  <a:pt x="141" y="477"/>
                </a:lnTo>
                <a:lnTo>
                  <a:pt x="142" y="480"/>
                </a:lnTo>
                <a:lnTo>
                  <a:pt x="146" y="481"/>
                </a:lnTo>
                <a:lnTo>
                  <a:pt x="149" y="481"/>
                </a:lnTo>
                <a:lnTo>
                  <a:pt x="153" y="481"/>
                </a:lnTo>
                <a:lnTo>
                  <a:pt x="154" y="479"/>
                </a:lnTo>
                <a:lnTo>
                  <a:pt x="156" y="476"/>
                </a:lnTo>
                <a:lnTo>
                  <a:pt x="158" y="474"/>
                </a:lnTo>
                <a:lnTo>
                  <a:pt x="161" y="471"/>
                </a:lnTo>
                <a:lnTo>
                  <a:pt x="170" y="464"/>
                </a:lnTo>
                <a:lnTo>
                  <a:pt x="180" y="457"/>
                </a:lnTo>
                <a:lnTo>
                  <a:pt x="192" y="451"/>
                </a:lnTo>
                <a:lnTo>
                  <a:pt x="201" y="443"/>
                </a:lnTo>
                <a:lnTo>
                  <a:pt x="204" y="439"/>
                </a:lnTo>
                <a:lnTo>
                  <a:pt x="206" y="436"/>
                </a:lnTo>
                <a:lnTo>
                  <a:pt x="208" y="433"/>
                </a:lnTo>
                <a:lnTo>
                  <a:pt x="209" y="428"/>
                </a:lnTo>
                <a:lnTo>
                  <a:pt x="216" y="425"/>
                </a:lnTo>
                <a:lnTo>
                  <a:pt x="216" y="417"/>
                </a:lnTo>
                <a:lnTo>
                  <a:pt x="230" y="406"/>
                </a:lnTo>
                <a:lnTo>
                  <a:pt x="238" y="395"/>
                </a:lnTo>
                <a:lnTo>
                  <a:pt x="244" y="394"/>
                </a:lnTo>
                <a:lnTo>
                  <a:pt x="250" y="392"/>
                </a:lnTo>
                <a:lnTo>
                  <a:pt x="251" y="388"/>
                </a:lnTo>
                <a:lnTo>
                  <a:pt x="254" y="385"/>
                </a:lnTo>
                <a:lnTo>
                  <a:pt x="257" y="381"/>
                </a:lnTo>
                <a:lnTo>
                  <a:pt x="261" y="380"/>
                </a:lnTo>
                <a:lnTo>
                  <a:pt x="261" y="373"/>
                </a:lnTo>
                <a:lnTo>
                  <a:pt x="269" y="366"/>
                </a:lnTo>
                <a:lnTo>
                  <a:pt x="269" y="358"/>
                </a:lnTo>
                <a:lnTo>
                  <a:pt x="272" y="356"/>
                </a:lnTo>
                <a:lnTo>
                  <a:pt x="275" y="351"/>
                </a:lnTo>
                <a:lnTo>
                  <a:pt x="279" y="347"/>
                </a:lnTo>
                <a:lnTo>
                  <a:pt x="280" y="344"/>
                </a:lnTo>
                <a:lnTo>
                  <a:pt x="283" y="339"/>
                </a:lnTo>
                <a:lnTo>
                  <a:pt x="286" y="339"/>
                </a:lnTo>
                <a:lnTo>
                  <a:pt x="289" y="337"/>
                </a:lnTo>
                <a:lnTo>
                  <a:pt x="290" y="335"/>
                </a:lnTo>
                <a:lnTo>
                  <a:pt x="291" y="331"/>
                </a:lnTo>
                <a:lnTo>
                  <a:pt x="294" y="330"/>
                </a:lnTo>
                <a:lnTo>
                  <a:pt x="299" y="328"/>
                </a:lnTo>
                <a:lnTo>
                  <a:pt x="299" y="313"/>
                </a:lnTo>
                <a:lnTo>
                  <a:pt x="299" y="298"/>
                </a:lnTo>
                <a:lnTo>
                  <a:pt x="294" y="294"/>
                </a:lnTo>
                <a:lnTo>
                  <a:pt x="299" y="291"/>
                </a:lnTo>
                <a:lnTo>
                  <a:pt x="302" y="290"/>
                </a:lnTo>
                <a:lnTo>
                  <a:pt x="305" y="288"/>
                </a:lnTo>
                <a:lnTo>
                  <a:pt x="309" y="284"/>
                </a:lnTo>
                <a:lnTo>
                  <a:pt x="310" y="280"/>
                </a:lnTo>
                <a:lnTo>
                  <a:pt x="313" y="278"/>
                </a:lnTo>
                <a:lnTo>
                  <a:pt x="317" y="275"/>
                </a:lnTo>
                <a:lnTo>
                  <a:pt x="317" y="272"/>
                </a:lnTo>
                <a:lnTo>
                  <a:pt x="333" y="270"/>
                </a:lnTo>
                <a:lnTo>
                  <a:pt x="347" y="269"/>
                </a:lnTo>
                <a:lnTo>
                  <a:pt x="348" y="265"/>
                </a:lnTo>
                <a:lnTo>
                  <a:pt x="351" y="263"/>
                </a:lnTo>
                <a:lnTo>
                  <a:pt x="355" y="262"/>
                </a:lnTo>
                <a:lnTo>
                  <a:pt x="358" y="261"/>
                </a:lnTo>
                <a:lnTo>
                  <a:pt x="360" y="254"/>
                </a:lnTo>
                <a:lnTo>
                  <a:pt x="365" y="248"/>
                </a:lnTo>
                <a:lnTo>
                  <a:pt x="370" y="240"/>
                </a:lnTo>
                <a:lnTo>
                  <a:pt x="378" y="233"/>
                </a:lnTo>
                <a:lnTo>
                  <a:pt x="393" y="220"/>
                </a:lnTo>
                <a:lnTo>
                  <a:pt x="403" y="213"/>
                </a:lnTo>
                <a:lnTo>
                  <a:pt x="407" y="206"/>
                </a:lnTo>
                <a:lnTo>
                  <a:pt x="413" y="201"/>
                </a:lnTo>
                <a:lnTo>
                  <a:pt x="417" y="197"/>
                </a:lnTo>
                <a:lnTo>
                  <a:pt x="420" y="196"/>
                </a:lnTo>
                <a:lnTo>
                  <a:pt x="425" y="194"/>
                </a:lnTo>
                <a:lnTo>
                  <a:pt x="429" y="194"/>
                </a:lnTo>
                <a:lnTo>
                  <a:pt x="433" y="191"/>
                </a:lnTo>
                <a:lnTo>
                  <a:pt x="441" y="177"/>
                </a:lnTo>
                <a:lnTo>
                  <a:pt x="447" y="164"/>
                </a:lnTo>
                <a:lnTo>
                  <a:pt x="452" y="160"/>
                </a:lnTo>
                <a:lnTo>
                  <a:pt x="455" y="156"/>
                </a:lnTo>
                <a:lnTo>
                  <a:pt x="462" y="153"/>
                </a:lnTo>
                <a:lnTo>
                  <a:pt x="466" y="149"/>
                </a:lnTo>
                <a:lnTo>
                  <a:pt x="467" y="140"/>
                </a:lnTo>
                <a:lnTo>
                  <a:pt x="468" y="130"/>
                </a:lnTo>
                <a:lnTo>
                  <a:pt x="470" y="119"/>
                </a:lnTo>
                <a:lnTo>
                  <a:pt x="470" y="108"/>
                </a:lnTo>
                <a:lnTo>
                  <a:pt x="464" y="104"/>
                </a:lnTo>
                <a:lnTo>
                  <a:pt x="453" y="95"/>
                </a:lnTo>
                <a:lnTo>
                  <a:pt x="446" y="90"/>
                </a:lnTo>
                <a:lnTo>
                  <a:pt x="439" y="86"/>
                </a:lnTo>
                <a:lnTo>
                  <a:pt x="433" y="83"/>
                </a:lnTo>
                <a:lnTo>
                  <a:pt x="425" y="82"/>
                </a:lnTo>
                <a:lnTo>
                  <a:pt x="420" y="78"/>
                </a:lnTo>
                <a:lnTo>
                  <a:pt x="414" y="76"/>
                </a:lnTo>
                <a:lnTo>
                  <a:pt x="407" y="75"/>
                </a:lnTo>
                <a:lnTo>
                  <a:pt x="399" y="73"/>
                </a:lnTo>
                <a:lnTo>
                  <a:pt x="382" y="72"/>
                </a:lnTo>
                <a:lnTo>
                  <a:pt x="369" y="71"/>
                </a:lnTo>
                <a:lnTo>
                  <a:pt x="360" y="68"/>
                </a:lnTo>
                <a:lnTo>
                  <a:pt x="349" y="66"/>
                </a:lnTo>
                <a:lnTo>
                  <a:pt x="338" y="63"/>
                </a:lnTo>
                <a:lnTo>
                  <a:pt x="328" y="63"/>
                </a:lnTo>
                <a:lnTo>
                  <a:pt x="324" y="60"/>
                </a:lnTo>
                <a:lnTo>
                  <a:pt x="322" y="56"/>
                </a:lnTo>
                <a:lnTo>
                  <a:pt x="321" y="52"/>
                </a:lnTo>
                <a:lnTo>
                  <a:pt x="315" y="50"/>
                </a:lnTo>
                <a:lnTo>
                  <a:pt x="310" y="49"/>
                </a:lnTo>
                <a:lnTo>
                  <a:pt x="310" y="41"/>
                </a:lnTo>
                <a:lnTo>
                  <a:pt x="305" y="38"/>
                </a:lnTo>
                <a:lnTo>
                  <a:pt x="299" y="33"/>
                </a:lnTo>
                <a:lnTo>
                  <a:pt x="299" y="25"/>
                </a:lnTo>
                <a:lnTo>
                  <a:pt x="291" y="19"/>
                </a:lnTo>
                <a:lnTo>
                  <a:pt x="283" y="11"/>
                </a:lnTo>
                <a:lnTo>
                  <a:pt x="283" y="3"/>
                </a:lnTo>
                <a:lnTo>
                  <a:pt x="269" y="0"/>
                </a:lnTo>
                <a:lnTo>
                  <a:pt x="265" y="8"/>
                </a:lnTo>
                <a:lnTo>
                  <a:pt x="263" y="14"/>
                </a:lnTo>
                <a:lnTo>
                  <a:pt x="259" y="20"/>
                </a:lnTo>
                <a:lnTo>
                  <a:pt x="254" y="25"/>
                </a:lnTo>
                <a:lnTo>
                  <a:pt x="254" y="33"/>
                </a:lnTo>
                <a:lnTo>
                  <a:pt x="246" y="38"/>
                </a:lnTo>
                <a:lnTo>
                  <a:pt x="244" y="42"/>
                </a:lnTo>
                <a:lnTo>
                  <a:pt x="241" y="50"/>
                </a:lnTo>
                <a:lnTo>
                  <a:pt x="235" y="57"/>
                </a:lnTo>
                <a:lnTo>
                  <a:pt x="232" y="60"/>
                </a:lnTo>
                <a:lnTo>
                  <a:pt x="232" y="67"/>
                </a:lnTo>
                <a:lnTo>
                  <a:pt x="230" y="68"/>
                </a:lnTo>
                <a:lnTo>
                  <a:pt x="228" y="69"/>
                </a:lnTo>
                <a:lnTo>
                  <a:pt x="227" y="71"/>
                </a:lnTo>
                <a:lnTo>
                  <a:pt x="227" y="75"/>
                </a:lnTo>
                <a:lnTo>
                  <a:pt x="225" y="77"/>
                </a:lnTo>
                <a:lnTo>
                  <a:pt x="223" y="82"/>
                </a:lnTo>
                <a:lnTo>
                  <a:pt x="222" y="85"/>
                </a:lnTo>
                <a:lnTo>
                  <a:pt x="221" y="87"/>
                </a:lnTo>
                <a:lnTo>
                  <a:pt x="218" y="89"/>
                </a:lnTo>
                <a:lnTo>
                  <a:pt x="216" y="89"/>
                </a:lnTo>
                <a:lnTo>
                  <a:pt x="216" y="98"/>
                </a:lnTo>
                <a:lnTo>
                  <a:pt x="215" y="106"/>
                </a:lnTo>
                <a:lnTo>
                  <a:pt x="213" y="115"/>
                </a:lnTo>
                <a:lnTo>
                  <a:pt x="213" y="123"/>
                </a:lnTo>
                <a:lnTo>
                  <a:pt x="221" y="130"/>
                </a:lnTo>
                <a:lnTo>
                  <a:pt x="221" y="142"/>
                </a:lnTo>
                <a:lnTo>
                  <a:pt x="223" y="143"/>
                </a:lnTo>
                <a:lnTo>
                  <a:pt x="223" y="144"/>
                </a:lnTo>
                <a:lnTo>
                  <a:pt x="224" y="146"/>
                </a:lnTo>
                <a:lnTo>
                  <a:pt x="224" y="149"/>
                </a:lnTo>
                <a:lnTo>
                  <a:pt x="233" y="159"/>
                </a:lnTo>
                <a:lnTo>
                  <a:pt x="243" y="167"/>
                </a:lnTo>
                <a:lnTo>
                  <a:pt x="243" y="172"/>
                </a:lnTo>
                <a:lnTo>
                  <a:pt x="245" y="178"/>
                </a:lnTo>
                <a:lnTo>
                  <a:pt x="247" y="182"/>
                </a:lnTo>
                <a:lnTo>
                  <a:pt x="249" y="184"/>
                </a:lnTo>
                <a:lnTo>
                  <a:pt x="251" y="186"/>
                </a:lnTo>
                <a:lnTo>
                  <a:pt x="254" y="186"/>
                </a:lnTo>
                <a:lnTo>
                  <a:pt x="254" y="193"/>
                </a:lnTo>
                <a:lnTo>
                  <a:pt x="255" y="194"/>
                </a:lnTo>
                <a:lnTo>
                  <a:pt x="256" y="195"/>
                </a:lnTo>
                <a:lnTo>
                  <a:pt x="257" y="202"/>
                </a:lnTo>
                <a:lnTo>
                  <a:pt x="260" y="202"/>
                </a:lnTo>
                <a:lnTo>
                  <a:pt x="262" y="203"/>
                </a:lnTo>
                <a:lnTo>
                  <a:pt x="263" y="204"/>
                </a:lnTo>
                <a:lnTo>
                  <a:pt x="264" y="205"/>
                </a:lnTo>
                <a:lnTo>
                  <a:pt x="265" y="210"/>
                </a:lnTo>
                <a:lnTo>
                  <a:pt x="265" y="213"/>
                </a:lnTo>
                <a:lnTo>
                  <a:pt x="269" y="214"/>
                </a:lnTo>
                <a:lnTo>
                  <a:pt x="272" y="216"/>
                </a:lnTo>
                <a:lnTo>
                  <a:pt x="272" y="224"/>
                </a:lnTo>
                <a:lnTo>
                  <a:pt x="274" y="224"/>
                </a:lnTo>
                <a:lnTo>
                  <a:pt x="276" y="225"/>
                </a:lnTo>
                <a:lnTo>
                  <a:pt x="276" y="227"/>
                </a:lnTo>
                <a:lnTo>
                  <a:pt x="274" y="230"/>
                </a:lnTo>
                <a:lnTo>
                  <a:pt x="272" y="231"/>
                </a:lnTo>
                <a:lnTo>
                  <a:pt x="271" y="235"/>
                </a:lnTo>
                <a:lnTo>
                  <a:pt x="269" y="239"/>
                </a:lnTo>
                <a:lnTo>
                  <a:pt x="269" y="242"/>
                </a:lnTo>
                <a:lnTo>
                  <a:pt x="269" y="244"/>
                </a:lnTo>
                <a:lnTo>
                  <a:pt x="269" y="246"/>
                </a:lnTo>
                <a:lnTo>
                  <a:pt x="267" y="250"/>
                </a:lnTo>
                <a:lnTo>
                  <a:pt x="264" y="255"/>
                </a:lnTo>
                <a:lnTo>
                  <a:pt x="261" y="261"/>
                </a:lnTo>
                <a:lnTo>
                  <a:pt x="257" y="264"/>
                </a:lnTo>
                <a:lnTo>
                  <a:pt x="257" y="269"/>
                </a:lnTo>
                <a:lnTo>
                  <a:pt x="257" y="272"/>
                </a:lnTo>
                <a:lnTo>
                  <a:pt x="254" y="275"/>
                </a:lnTo>
                <a:lnTo>
                  <a:pt x="245" y="272"/>
                </a:lnTo>
                <a:lnTo>
                  <a:pt x="234" y="269"/>
                </a:lnTo>
                <a:lnTo>
                  <a:pt x="225" y="265"/>
                </a:lnTo>
                <a:lnTo>
                  <a:pt x="221" y="264"/>
                </a:lnTo>
                <a:lnTo>
                  <a:pt x="207" y="258"/>
                </a:lnTo>
                <a:lnTo>
                  <a:pt x="194" y="250"/>
                </a:lnTo>
                <a:lnTo>
                  <a:pt x="188" y="248"/>
                </a:lnTo>
                <a:lnTo>
                  <a:pt x="180" y="244"/>
                </a:lnTo>
                <a:lnTo>
                  <a:pt x="174" y="243"/>
                </a:lnTo>
                <a:lnTo>
                  <a:pt x="168" y="242"/>
                </a:lnTo>
                <a:lnTo>
                  <a:pt x="167" y="240"/>
                </a:lnTo>
                <a:lnTo>
                  <a:pt x="166" y="237"/>
                </a:lnTo>
                <a:lnTo>
                  <a:pt x="164" y="235"/>
                </a:lnTo>
                <a:lnTo>
                  <a:pt x="160" y="235"/>
                </a:lnTo>
                <a:lnTo>
                  <a:pt x="155" y="229"/>
                </a:lnTo>
                <a:lnTo>
                  <a:pt x="149" y="220"/>
                </a:lnTo>
                <a:lnTo>
                  <a:pt x="142" y="214"/>
                </a:lnTo>
                <a:lnTo>
                  <a:pt x="132" y="202"/>
                </a:lnTo>
                <a:lnTo>
                  <a:pt x="123" y="188"/>
                </a:lnTo>
                <a:lnTo>
                  <a:pt x="119" y="183"/>
                </a:lnTo>
                <a:lnTo>
                  <a:pt x="107" y="181"/>
                </a:lnTo>
                <a:lnTo>
                  <a:pt x="93" y="178"/>
                </a:lnTo>
                <a:lnTo>
                  <a:pt x="90" y="172"/>
                </a:lnTo>
                <a:lnTo>
                  <a:pt x="86" y="171"/>
                </a:lnTo>
                <a:lnTo>
                  <a:pt x="79" y="169"/>
                </a:lnTo>
                <a:lnTo>
                  <a:pt x="73" y="167"/>
                </a:lnTo>
                <a:lnTo>
                  <a:pt x="71" y="164"/>
                </a:lnTo>
                <a:lnTo>
                  <a:pt x="63" y="164"/>
                </a:lnTo>
                <a:lnTo>
                  <a:pt x="63" y="162"/>
                </a:lnTo>
                <a:lnTo>
                  <a:pt x="63" y="160"/>
                </a:lnTo>
                <a:lnTo>
                  <a:pt x="62" y="160"/>
                </a:lnTo>
                <a:lnTo>
                  <a:pt x="60" y="160"/>
                </a:lnTo>
                <a:lnTo>
                  <a:pt x="55" y="159"/>
                </a:lnTo>
                <a:lnTo>
                  <a:pt x="49" y="15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16" name="Freeform 77">
            <a:extLst>
              <a:ext uri="{FF2B5EF4-FFF2-40B4-BE49-F238E27FC236}">
                <a16:creationId xmlns:a16="http://schemas.microsoft.com/office/drawing/2014/main" id="{A5D3CBF8-F0B4-4522-8F7E-2DD3935815FC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788400" y="4775200"/>
            <a:ext cx="83190" cy="76200"/>
          </a:xfrm>
          <a:custGeom>
            <a:avLst/>
            <a:gdLst/>
            <a:ahLst/>
            <a:cxnLst>
              <a:cxn ang="0">
                <a:pos x="27" y="182"/>
              </a:cxn>
              <a:cxn ang="0">
                <a:pos x="4" y="243"/>
              </a:cxn>
              <a:cxn ang="0">
                <a:pos x="11" y="283"/>
              </a:cxn>
              <a:cxn ang="0">
                <a:pos x="27" y="301"/>
              </a:cxn>
              <a:cxn ang="0">
                <a:pos x="38" y="331"/>
              </a:cxn>
              <a:cxn ang="0">
                <a:pos x="63" y="370"/>
              </a:cxn>
              <a:cxn ang="0">
                <a:pos x="52" y="400"/>
              </a:cxn>
              <a:cxn ang="0">
                <a:pos x="63" y="428"/>
              </a:cxn>
              <a:cxn ang="0">
                <a:pos x="82" y="415"/>
              </a:cxn>
              <a:cxn ang="0">
                <a:pos x="107" y="422"/>
              </a:cxn>
              <a:cxn ang="0">
                <a:pos x="135" y="477"/>
              </a:cxn>
              <a:cxn ang="0">
                <a:pos x="153" y="481"/>
              </a:cxn>
              <a:cxn ang="0">
                <a:pos x="170" y="464"/>
              </a:cxn>
              <a:cxn ang="0">
                <a:pos x="206" y="436"/>
              </a:cxn>
              <a:cxn ang="0">
                <a:pos x="230" y="406"/>
              </a:cxn>
              <a:cxn ang="0">
                <a:pos x="254" y="385"/>
              </a:cxn>
              <a:cxn ang="0">
                <a:pos x="269" y="358"/>
              </a:cxn>
              <a:cxn ang="0">
                <a:pos x="283" y="339"/>
              </a:cxn>
              <a:cxn ang="0">
                <a:pos x="294" y="330"/>
              </a:cxn>
              <a:cxn ang="0">
                <a:pos x="299" y="291"/>
              </a:cxn>
              <a:cxn ang="0">
                <a:pos x="313" y="278"/>
              </a:cxn>
              <a:cxn ang="0">
                <a:pos x="348" y="265"/>
              </a:cxn>
              <a:cxn ang="0">
                <a:pos x="365" y="248"/>
              </a:cxn>
              <a:cxn ang="0">
                <a:pos x="407" y="206"/>
              </a:cxn>
              <a:cxn ang="0">
                <a:pos x="429" y="194"/>
              </a:cxn>
              <a:cxn ang="0">
                <a:pos x="455" y="156"/>
              </a:cxn>
              <a:cxn ang="0">
                <a:pos x="470" y="119"/>
              </a:cxn>
              <a:cxn ang="0">
                <a:pos x="439" y="86"/>
              </a:cxn>
              <a:cxn ang="0">
                <a:pos x="407" y="75"/>
              </a:cxn>
              <a:cxn ang="0">
                <a:pos x="349" y="66"/>
              </a:cxn>
              <a:cxn ang="0">
                <a:pos x="321" y="52"/>
              </a:cxn>
              <a:cxn ang="0">
                <a:pos x="299" y="33"/>
              </a:cxn>
              <a:cxn ang="0">
                <a:pos x="269" y="0"/>
              </a:cxn>
              <a:cxn ang="0">
                <a:pos x="254" y="33"/>
              </a:cxn>
              <a:cxn ang="0">
                <a:pos x="232" y="60"/>
              </a:cxn>
              <a:cxn ang="0">
                <a:pos x="227" y="75"/>
              </a:cxn>
              <a:cxn ang="0">
                <a:pos x="218" y="89"/>
              </a:cxn>
              <a:cxn ang="0">
                <a:pos x="213" y="123"/>
              </a:cxn>
              <a:cxn ang="0">
                <a:pos x="224" y="146"/>
              </a:cxn>
              <a:cxn ang="0">
                <a:pos x="245" y="178"/>
              </a:cxn>
              <a:cxn ang="0">
                <a:pos x="254" y="193"/>
              </a:cxn>
              <a:cxn ang="0">
                <a:pos x="262" y="203"/>
              </a:cxn>
              <a:cxn ang="0">
                <a:pos x="269" y="214"/>
              </a:cxn>
              <a:cxn ang="0">
                <a:pos x="276" y="227"/>
              </a:cxn>
              <a:cxn ang="0">
                <a:pos x="269" y="242"/>
              </a:cxn>
              <a:cxn ang="0">
                <a:pos x="261" y="261"/>
              </a:cxn>
              <a:cxn ang="0">
                <a:pos x="245" y="272"/>
              </a:cxn>
              <a:cxn ang="0">
                <a:pos x="194" y="250"/>
              </a:cxn>
              <a:cxn ang="0">
                <a:pos x="167" y="240"/>
              </a:cxn>
              <a:cxn ang="0">
                <a:pos x="149" y="220"/>
              </a:cxn>
              <a:cxn ang="0">
                <a:pos x="107" y="181"/>
              </a:cxn>
              <a:cxn ang="0">
                <a:pos x="73" y="167"/>
              </a:cxn>
              <a:cxn ang="0">
                <a:pos x="62" y="160"/>
              </a:cxn>
            </a:cxnLst>
            <a:rect l="0" t="0" r="r" b="b"/>
            <a:pathLst>
              <a:path w="470" h="481">
                <a:moveTo>
                  <a:pt x="49" y="156"/>
                </a:moveTo>
                <a:lnTo>
                  <a:pt x="42" y="163"/>
                </a:lnTo>
                <a:lnTo>
                  <a:pt x="36" y="168"/>
                </a:lnTo>
                <a:lnTo>
                  <a:pt x="32" y="175"/>
                </a:lnTo>
                <a:lnTo>
                  <a:pt x="27" y="182"/>
                </a:lnTo>
                <a:lnTo>
                  <a:pt x="22" y="195"/>
                </a:lnTo>
                <a:lnTo>
                  <a:pt x="19" y="208"/>
                </a:lnTo>
                <a:lnTo>
                  <a:pt x="16" y="217"/>
                </a:lnTo>
                <a:lnTo>
                  <a:pt x="11" y="231"/>
                </a:lnTo>
                <a:lnTo>
                  <a:pt x="4" y="243"/>
                </a:lnTo>
                <a:lnTo>
                  <a:pt x="0" y="250"/>
                </a:lnTo>
                <a:lnTo>
                  <a:pt x="2" y="259"/>
                </a:lnTo>
                <a:lnTo>
                  <a:pt x="4" y="267"/>
                </a:lnTo>
                <a:lnTo>
                  <a:pt x="7" y="275"/>
                </a:lnTo>
                <a:lnTo>
                  <a:pt x="11" y="283"/>
                </a:lnTo>
                <a:lnTo>
                  <a:pt x="20" y="289"/>
                </a:lnTo>
                <a:lnTo>
                  <a:pt x="26" y="294"/>
                </a:lnTo>
                <a:lnTo>
                  <a:pt x="26" y="298"/>
                </a:lnTo>
                <a:lnTo>
                  <a:pt x="26" y="300"/>
                </a:lnTo>
                <a:lnTo>
                  <a:pt x="27" y="301"/>
                </a:lnTo>
                <a:lnTo>
                  <a:pt x="30" y="302"/>
                </a:lnTo>
                <a:lnTo>
                  <a:pt x="30" y="313"/>
                </a:lnTo>
                <a:lnTo>
                  <a:pt x="38" y="320"/>
                </a:lnTo>
                <a:lnTo>
                  <a:pt x="38" y="326"/>
                </a:lnTo>
                <a:lnTo>
                  <a:pt x="38" y="331"/>
                </a:lnTo>
                <a:lnTo>
                  <a:pt x="41" y="339"/>
                </a:lnTo>
                <a:lnTo>
                  <a:pt x="52" y="350"/>
                </a:lnTo>
                <a:lnTo>
                  <a:pt x="63" y="361"/>
                </a:lnTo>
                <a:lnTo>
                  <a:pt x="63" y="366"/>
                </a:lnTo>
                <a:lnTo>
                  <a:pt x="63" y="370"/>
                </a:lnTo>
                <a:lnTo>
                  <a:pt x="62" y="375"/>
                </a:lnTo>
                <a:lnTo>
                  <a:pt x="60" y="377"/>
                </a:lnTo>
                <a:lnTo>
                  <a:pt x="60" y="388"/>
                </a:lnTo>
                <a:lnTo>
                  <a:pt x="52" y="392"/>
                </a:lnTo>
                <a:lnTo>
                  <a:pt x="52" y="400"/>
                </a:lnTo>
                <a:lnTo>
                  <a:pt x="52" y="410"/>
                </a:lnTo>
                <a:lnTo>
                  <a:pt x="52" y="419"/>
                </a:lnTo>
                <a:lnTo>
                  <a:pt x="52" y="428"/>
                </a:lnTo>
                <a:lnTo>
                  <a:pt x="58" y="428"/>
                </a:lnTo>
                <a:lnTo>
                  <a:pt x="63" y="428"/>
                </a:lnTo>
                <a:lnTo>
                  <a:pt x="68" y="423"/>
                </a:lnTo>
                <a:lnTo>
                  <a:pt x="71" y="417"/>
                </a:lnTo>
                <a:lnTo>
                  <a:pt x="79" y="417"/>
                </a:lnTo>
                <a:lnTo>
                  <a:pt x="79" y="416"/>
                </a:lnTo>
                <a:lnTo>
                  <a:pt x="82" y="415"/>
                </a:lnTo>
                <a:lnTo>
                  <a:pt x="86" y="415"/>
                </a:lnTo>
                <a:lnTo>
                  <a:pt x="90" y="414"/>
                </a:lnTo>
                <a:lnTo>
                  <a:pt x="99" y="414"/>
                </a:lnTo>
                <a:lnTo>
                  <a:pt x="105" y="414"/>
                </a:lnTo>
                <a:lnTo>
                  <a:pt x="107" y="422"/>
                </a:lnTo>
                <a:lnTo>
                  <a:pt x="110" y="431"/>
                </a:lnTo>
                <a:lnTo>
                  <a:pt x="113" y="442"/>
                </a:lnTo>
                <a:lnTo>
                  <a:pt x="116" y="451"/>
                </a:lnTo>
                <a:lnTo>
                  <a:pt x="125" y="463"/>
                </a:lnTo>
                <a:lnTo>
                  <a:pt x="135" y="477"/>
                </a:lnTo>
                <a:lnTo>
                  <a:pt x="141" y="477"/>
                </a:lnTo>
                <a:lnTo>
                  <a:pt x="142" y="480"/>
                </a:lnTo>
                <a:lnTo>
                  <a:pt x="146" y="481"/>
                </a:lnTo>
                <a:lnTo>
                  <a:pt x="149" y="481"/>
                </a:lnTo>
                <a:lnTo>
                  <a:pt x="153" y="481"/>
                </a:lnTo>
                <a:lnTo>
                  <a:pt x="154" y="479"/>
                </a:lnTo>
                <a:lnTo>
                  <a:pt x="156" y="476"/>
                </a:lnTo>
                <a:lnTo>
                  <a:pt x="158" y="474"/>
                </a:lnTo>
                <a:lnTo>
                  <a:pt x="161" y="471"/>
                </a:lnTo>
                <a:lnTo>
                  <a:pt x="170" y="464"/>
                </a:lnTo>
                <a:lnTo>
                  <a:pt x="180" y="457"/>
                </a:lnTo>
                <a:lnTo>
                  <a:pt x="192" y="451"/>
                </a:lnTo>
                <a:lnTo>
                  <a:pt x="201" y="443"/>
                </a:lnTo>
                <a:lnTo>
                  <a:pt x="204" y="439"/>
                </a:lnTo>
                <a:lnTo>
                  <a:pt x="206" y="436"/>
                </a:lnTo>
                <a:lnTo>
                  <a:pt x="208" y="433"/>
                </a:lnTo>
                <a:lnTo>
                  <a:pt x="209" y="428"/>
                </a:lnTo>
                <a:lnTo>
                  <a:pt x="216" y="425"/>
                </a:lnTo>
                <a:lnTo>
                  <a:pt x="216" y="417"/>
                </a:lnTo>
                <a:lnTo>
                  <a:pt x="230" y="406"/>
                </a:lnTo>
                <a:lnTo>
                  <a:pt x="238" y="395"/>
                </a:lnTo>
                <a:lnTo>
                  <a:pt x="244" y="394"/>
                </a:lnTo>
                <a:lnTo>
                  <a:pt x="250" y="392"/>
                </a:lnTo>
                <a:lnTo>
                  <a:pt x="251" y="388"/>
                </a:lnTo>
                <a:lnTo>
                  <a:pt x="254" y="385"/>
                </a:lnTo>
                <a:lnTo>
                  <a:pt x="257" y="381"/>
                </a:lnTo>
                <a:lnTo>
                  <a:pt x="261" y="380"/>
                </a:lnTo>
                <a:lnTo>
                  <a:pt x="261" y="373"/>
                </a:lnTo>
                <a:lnTo>
                  <a:pt x="269" y="366"/>
                </a:lnTo>
                <a:lnTo>
                  <a:pt x="269" y="358"/>
                </a:lnTo>
                <a:lnTo>
                  <a:pt x="272" y="356"/>
                </a:lnTo>
                <a:lnTo>
                  <a:pt x="275" y="351"/>
                </a:lnTo>
                <a:lnTo>
                  <a:pt x="279" y="347"/>
                </a:lnTo>
                <a:lnTo>
                  <a:pt x="280" y="344"/>
                </a:lnTo>
                <a:lnTo>
                  <a:pt x="283" y="339"/>
                </a:lnTo>
                <a:lnTo>
                  <a:pt x="286" y="339"/>
                </a:lnTo>
                <a:lnTo>
                  <a:pt x="289" y="337"/>
                </a:lnTo>
                <a:lnTo>
                  <a:pt x="290" y="335"/>
                </a:lnTo>
                <a:lnTo>
                  <a:pt x="291" y="331"/>
                </a:lnTo>
                <a:lnTo>
                  <a:pt x="294" y="330"/>
                </a:lnTo>
                <a:lnTo>
                  <a:pt x="299" y="328"/>
                </a:lnTo>
                <a:lnTo>
                  <a:pt x="299" y="313"/>
                </a:lnTo>
                <a:lnTo>
                  <a:pt x="299" y="298"/>
                </a:lnTo>
                <a:lnTo>
                  <a:pt x="294" y="294"/>
                </a:lnTo>
                <a:lnTo>
                  <a:pt x="299" y="291"/>
                </a:lnTo>
                <a:lnTo>
                  <a:pt x="302" y="290"/>
                </a:lnTo>
                <a:lnTo>
                  <a:pt x="305" y="288"/>
                </a:lnTo>
                <a:lnTo>
                  <a:pt x="309" y="284"/>
                </a:lnTo>
                <a:lnTo>
                  <a:pt x="310" y="280"/>
                </a:lnTo>
                <a:lnTo>
                  <a:pt x="313" y="278"/>
                </a:lnTo>
                <a:lnTo>
                  <a:pt x="317" y="275"/>
                </a:lnTo>
                <a:lnTo>
                  <a:pt x="317" y="272"/>
                </a:lnTo>
                <a:lnTo>
                  <a:pt x="333" y="270"/>
                </a:lnTo>
                <a:lnTo>
                  <a:pt x="347" y="269"/>
                </a:lnTo>
                <a:lnTo>
                  <a:pt x="348" y="265"/>
                </a:lnTo>
                <a:lnTo>
                  <a:pt x="351" y="263"/>
                </a:lnTo>
                <a:lnTo>
                  <a:pt x="355" y="262"/>
                </a:lnTo>
                <a:lnTo>
                  <a:pt x="358" y="261"/>
                </a:lnTo>
                <a:lnTo>
                  <a:pt x="360" y="254"/>
                </a:lnTo>
                <a:lnTo>
                  <a:pt x="365" y="248"/>
                </a:lnTo>
                <a:lnTo>
                  <a:pt x="370" y="240"/>
                </a:lnTo>
                <a:lnTo>
                  <a:pt x="378" y="233"/>
                </a:lnTo>
                <a:lnTo>
                  <a:pt x="393" y="220"/>
                </a:lnTo>
                <a:lnTo>
                  <a:pt x="403" y="213"/>
                </a:lnTo>
                <a:lnTo>
                  <a:pt x="407" y="206"/>
                </a:lnTo>
                <a:lnTo>
                  <a:pt x="413" y="201"/>
                </a:lnTo>
                <a:lnTo>
                  <a:pt x="417" y="197"/>
                </a:lnTo>
                <a:lnTo>
                  <a:pt x="420" y="196"/>
                </a:lnTo>
                <a:lnTo>
                  <a:pt x="425" y="194"/>
                </a:lnTo>
                <a:lnTo>
                  <a:pt x="429" y="194"/>
                </a:lnTo>
                <a:lnTo>
                  <a:pt x="433" y="191"/>
                </a:lnTo>
                <a:lnTo>
                  <a:pt x="441" y="177"/>
                </a:lnTo>
                <a:lnTo>
                  <a:pt x="447" y="164"/>
                </a:lnTo>
                <a:lnTo>
                  <a:pt x="452" y="160"/>
                </a:lnTo>
                <a:lnTo>
                  <a:pt x="455" y="156"/>
                </a:lnTo>
                <a:lnTo>
                  <a:pt x="462" y="153"/>
                </a:lnTo>
                <a:lnTo>
                  <a:pt x="466" y="149"/>
                </a:lnTo>
                <a:lnTo>
                  <a:pt x="467" y="140"/>
                </a:lnTo>
                <a:lnTo>
                  <a:pt x="468" y="130"/>
                </a:lnTo>
                <a:lnTo>
                  <a:pt x="470" y="119"/>
                </a:lnTo>
                <a:lnTo>
                  <a:pt x="470" y="108"/>
                </a:lnTo>
                <a:lnTo>
                  <a:pt x="464" y="104"/>
                </a:lnTo>
                <a:lnTo>
                  <a:pt x="453" y="95"/>
                </a:lnTo>
                <a:lnTo>
                  <a:pt x="446" y="90"/>
                </a:lnTo>
                <a:lnTo>
                  <a:pt x="439" y="86"/>
                </a:lnTo>
                <a:lnTo>
                  <a:pt x="433" y="83"/>
                </a:lnTo>
                <a:lnTo>
                  <a:pt x="425" y="82"/>
                </a:lnTo>
                <a:lnTo>
                  <a:pt x="420" y="78"/>
                </a:lnTo>
                <a:lnTo>
                  <a:pt x="414" y="76"/>
                </a:lnTo>
                <a:lnTo>
                  <a:pt x="407" y="75"/>
                </a:lnTo>
                <a:lnTo>
                  <a:pt x="399" y="73"/>
                </a:lnTo>
                <a:lnTo>
                  <a:pt x="382" y="72"/>
                </a:lnTo>
                <a:lnTo>
                  <a:pt x="369" y="71"/>
                </a:lnTo>
                <a:lnTo>
                  <a:pt x="360" y="68"/>
                </a:lnTo>
                <a:lnTo>
                  <a:pt x="349" y="66"/>
                </a:lnTo>
                <a:lnTo>
                  <a:pt x="338" y="63"/>
                </a:lnTo>
                <a:lnTo>
                  <a:pt x="328" y="63"/>
                </a:lnTo>
                <a:lnTo>
                  <a:pt x="324" y="60"/>
                </a:lnTo>
                <a:lnTo>
                  <a:pt x="322" y="56"/>
                </a:lnTo>
                <a:lnTo>
                  <a:pt x="321" y="52"/>
                </a:lnTo>
                <a:lnTo>
                  <a:pt x="315" y="50"/>
                </a:lnTo>
                <a:lnTo>
                  <a:pt x="310" y="49"/>
                </a:lnTo>
                <a:lnTo>
                  <a:pt x="310" y="41"/>
                </a:lnTo>
                <a:lnTo>
                  <a:pt x="305" y="38"/>
                </a:lnTo>
                <a:lnTo>
                  <a:pt x="299" y="33"/>
                </a:lnTo>
                <a:lnTo>
                  <a:pt x="299" y="25"/>
                </a:lnTo>
                <a:lnTo>
                  <a:pt x="291" y="19"/>
                </a:lnTo>
                <a:lnTo>
                  <a:pt x="283" y="11"/>
                </a:lnTo>
                <a:lnTo>
                  <a:pt x="283" y="3"/>
                </a:lnTo>
                <a:lnTo>
                  <a:pt x="269" y="0"/>
                </a:lnTo>
                <a:lnTo>
                  <a:pt x="265" y="8"/>
                </a:lnTo>
                <a:lnTo>
                  <a:pt x="263" y="14"/>
                </a:lnTo>
                <a:lnTo>
                  <a:pt x="259" y="20"/>
                </a:lnTo>
                <a:lnTo>
                  <a:pt x="254" y="25"/>
                </a:lnTo>
                <a:lnTo>
                  <a:pt x="254" y="33"/>
                </a:lnTo>
                <a:lnTo>
                  <a:pt x="246" y="38"/>
                </a:lnTo>
                <a:lnTo>
                  <a:pt x="244" y="42"/>
                </a:lnTo>
                <a:lnTo>
                  <a:pt x="241" y="50"/>
                </a:lnTo>
                <a:lnTo>
                  <a:pt x="235" y="57"/>
                </a:lnTo>
                <a:lnTo>
                  <a:pt x="232" y="60"/>
                </a:lnTo>
                <a:lnTo>
                  <a:pt x="232" y="67"/>
                </a:lnTo>
                <a:lnTo>
                  <a:pt x="230" y="68"/>
                </a:lnTo>
                <a:lnTo>
                  <a:pt x="228" y="69"/>
                </a:lnTo>
                <a:lnTo>
                  <a:pt x="227" y="71"/>
                </a:lnTo>
                <a:lnTo>
                  <a:pt x="227" y="75"/>
                </a:lnTo>
                <a:lnTo>
                  <a:pt x="225" y="77"/>
                </a:lnTo>
                <a:lnTo>
                  <a:pt x="223" y="82"/>
                </a:lnTo>
                <a:lnTo>
                  <a:pt x="222" y="85"/>
                </a:lnTo>
                <a:lnTo>
                  <a:pt x="221" y="87"/>
                </a:lnTo>
                <a:lnTo>
                  <a:pt x="218" y="89"/>
                </a:lnTo>
                <a:lnTo>
                  <a:pt x="216" y="89"/>
                </a:lnTo>
                <a:lnTo>
                  <a:pt x="216" y="98"/>
                </a:lnTo>
                <a:lnTo>
                  <a:pt x="215" y="106"/>
                </a:lnTo>
                <a:lnTo>
                  <a:pt x="213" y="115"/>
                </a:lnTo>
                <a:lnTo>
                  <a:pt x="213" y="123"/>
                </a:lnTo>
                <a:lnTo>
                  <a:pt x="221" y="130"/>
                </a:lnTo>
                <a:lnTo>
                  <a:pt x="221" y="142"/>
                </a:lnTo>
                <a:lnTo>
                  <a:pt x="223" y="143"/>
                </a:lnTo>
                <a:lnTo>
                  <a:pt x="223" y="144"/>
                </a:lnTo>
                <a:lnTo>
                  <a:pt x="224" y="146"/>
                </a:lnTo>
                <a:lnTo>
                  <a:pt x="224" y="149"/>
                </a:lnTo>
                <a:lnTo>
                  <a:pt x="233" y="159"/>
                </a:lnTo>
                <a:lnTo>
                  <a:pt x="243" y="167"/>
                </a:lnTo>
                <a:lnTo>
                  <a:pt x="243" y="172"/>
                </a:lnTo>
                <a:lnTo>
                  <a:pt x="245" y="178"/>
                </a:lnTo>
                <a:lnTo>
                  <a:pt x="247" y="182"/>
                </a:lnTo>
                <a:lnTo>
                  <a:pt x="249" y="184"/>
                </a:lnTo>
                <a:lnTo>
                  <a:pt x="251" y="186"/>
                </a:lnTo>
                <a:lnTo>
                  <a:pt x="254" y="186"/>
                </a:lnTo>
                <a:lnTo>
                  <a:pt x="254" y="193"/>
                </a:lnTo>
                <a:lnTo>
                  <a:pt x="255" y="194"/>
                </a:lnTo>
                <a:lnTo>
                  <a:pt x="256" y="195"/>
                </a:lnTo>
                <a:lnTo>
                  <a:pt x="257" y="202"/>
                </a:lnTo>
                <a:lnTo>
                  <a:pt x="260" y="202"/>
                </a:lnTo>
                <a:lnTo>
                  <a:pt x="262" y="203"/>
                </a:lnTo>
                <a:lnTo>
                  <a:pt x="263" y="204"/>
                </a:lnTo>
                <a:lnTo>
                  <a:pt x="264" y="205"/>
                </a:lnTo>
                <a:lnTo>
                  <a:pt x="265" y="210"/>
                </a:lnTo>
                <a:lnTo>
                  <a:pt x="265" y="213"/>
                </a:lnTo>
                <a:lnTo>
                  <a:pt x="269" y="214"/>
                </a:lnTo>
                <a:lnTo>
                  <a:pt x="272" y="216"/>
                </a:lnTo>
                <a:lnTo>
                  <a:pt x="272" y="224"/>
                </a:lnTo>
                <a:lnTo>
                  <a:pt x="274" y="224"/>
                </a:lnTo>
                <a:lnTo>
                  <a:pt x="276" y="225"/>
                </a:lnTo>
                <a:lnTo>
                  <a:pt x="276" y="227"/>
                </a:lnTo>
                <a:lnTo>
                  <a:pt x="274" y="230"/>
                </a:lnTo>
                <a:lnTo>
                  <a:pt x="272" y="231"/>
                </a:lnTo>
                <a:lnTo>
                  <a:pt x="271" y="235"/>
                </a:lnTo>
                <a:lnTo>
                  <a:pt x="269" y="239"/>
                </a:lnTo>
                <a:lnTo>
                  <a:pt x="269" y="242"/>
                </a:lnTo>
                <a:lnTo>
                  <a:pt x="269" y="244"/>
                </a:lnTo>
                <a:lnTo>
                  <a:pt x="269" y="246"/>
                </a:lnTo>
                <a:lnTo>
                  <a:pt x="267" y="250"/>
                </a:lnTo>
                <a:lnTo>
                  <a:pt x="264" y="255"/>
                </a:lnTo>
                <a:lnTo>
                  <a:pt x="261" y="261"/>
                </a:lnTo>
                <a:lnTo>
                  <a:pt x="257" y="264"/>
                </a:lnTo>
                <a:lnTo>
                  <a:pt x="257" y="269"/>
                </a:lnTo>
                <a:lnTo>
                  <a:pt x="257" y="272"/>
                </a:lnTo>
                <a:lnTo>
                  <a:pt x="254" y="275"/>
                </a:lnTo>
                <a:lnTo>
                  <a:pt x="245" y="272"/>
                </a:lnTo>
                <a:lnTo>
                  <a:pt x="234" y="269"/>
                </a:lnTo>
                <a:lnTo>
                  <a:pt x="225" y="265"/>
                </a:lnTo>
                <a:lnTo>
                  <a:pt x="221" y="264"/>
                </a:lnTo>
                <a:lnTo>
                  <a:pt x="207" y="258"/>
                </a:lnTo>
                <a:lnTo>
                  <a:pt x="194" y="250"/>
                </a:lnTo>
                <a:lnTo>
                  <a:pt x="188" y="248"/>
                </a:lnTo>
                <a:lnTo>
                  <a:pt x="180" y="244"/>
                </a:lnTo>
                <a:lnTo>
                  <a:pt x="174" y="243"/>
                </a:lnTo>
                <a:lnTo>
                  <a:pt x="168" y="242"/>
                </a:lnTo>
                <a:lnTo>
                  <a:pt x="167" y="240"/>
                </a:lnTo>
                <a:lnTo>
                  <a:pt x="166" y="237"/>
                </a:lnTo>
                <a:lnTo>
                  <a:pt x="164" y="235"/>
                </a:lnTo>
                <a:lnTo>
                  <a:pt x="160" y="235"/>
                </a:lnTo>
                <a:lnTo>
                  <a:pt x="155" y="229"/>
                </a:lnTo>
                <a:lnTo>
                  <a:pt x="149" y="220"/>
                </a:lnTo>
                <a:lnTo>
                  <a:pt x="142" y="214"/>
                </a:lnTo>
                <a:lnTo>
                  <a:pt x="132" y="202"/>
                </a:lnTo>
                <a:lnTo>
                  <a:pt x="123" y="188"/>
                </a:lnTo>
                <a:lnTo>
                  <a:pt x="119" y="183"/>
                </a:lnTo>
                <a:lnTo>
                  <a:pt x="107" y="181"/>
                </a:lnTo>
                <a:lnTo>
                  <a:pt x="93" y="178"/>
                </a:lnTo>
                <a:lnTo>
                  <a:pt x="90" y="172"/>
                </a:lnTo>
                <a:lnTo>
                  <a:pt x="86" y="171"/>
                </a:lnTo>
                <a:lnTo>
                  <a:pt x="79" y="169"/>
                </a:lnTo>
                <a:lnTo>
                  <a:pt x="73" y="167"/>
                </a:lnTo>
                <a:lnTo>
                  <a:pt x="71" y="164"/>
                </a:lnTo>
                <a:lnTo>
                  <a:pt x="63" y="164"/>
                </a:lnTo>
                <a:lnTo>
                  <a:pt x="63" y="162"/>
                </a:lnTo>
                <a:lnTo>
                  <a:pt x="63" y="160"/>
                </a:lnTo>
                <a:lnTo>
                  <a:pt x="62" y="160"/>
                </a:lnTo>
                <a:lnTo>
                  <a:pt x="60" y="160"/>
                </a:lnTo>
                <a:lnTo>
                  <a:pt x="55" y="159"/>
                </a:lnTo>
                <a:lnTo>
                  <a:pt x="49" y="156"/>
                </a:lnTo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17" name="Freeform 78">
            <a:extLst>
              <a:ext uri="{FF2B5EF4-FFF2-40B4-BE49-F238E27FC236}">
                <a16:creationId xmlns:a16="http://schemas.microsoft.com/office/drawing/2014/main" id="{E3297031-F3F0-4547-AB1B-617E1544DD5C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588375" y="4835525"/>
            <a:ext cx="49432" cy="50800"/>
          </a:xfrm>
          <a:custGeom>
            <a:avLst/>
            <a:gdLst/>
            <a:ahLst/>
            <a:cxnLst>
              <a:cxn ang="0">
                <a:pos x="19" y="25"/>
              </a:cxn>
              <a:cxn ang="0">
                <a:pos x="9" y="44"/>
              </a:cxn>
              <a:cxn ang="0">
                <a:pos x="3" y="64"/>
              </a:cxn>
              <a:cxn ang="0">
                <a:pos x="1" y="85"/>
              </a:cxn>
              <a:cxn ang="0">
                <a:pos x="0" y="113"/>
              </a:cxn>
              <a:cxn ang="0">
                <a:pos x="2" y="141"/>
              </a:cxn>
              <a:cxn ang="0">
                <a:pos x="8" y="156"/>
              </a:cxn>
              <a:cxn ang="0">
                <a:pos x="15" y="175"/>
              </a:cxn>
              <a:cxn ang="0">
                <a:pos x="20" y="214"/>
              </a:cxn>
              <a:cxn ang="0">
                <a:pos x="27" y="246"/>
              </a:cxn>
              <a:cxn ang="0">
                <a:pos x="40" y="286"/>
              </a:cxn>
              <a:cxn ang="0">
                <a:pos x="48" y="303"/>
              </a:cxn>
              <a:cxn ang="0">
                <a:pos x="53" y="308"/>
              </a:cxn>
              <a:cxn ang="0">
                <a:pos x="59" y="323"/>
              </a:cxn>
              <a:cxn ang="0">
                <a:pos x="66" y="327"/>
              </a:cxn>
              <a:cxn ang="0">
                <a:pos x="72" y="335"/>
              </a:cxn>
              <a:cxn ang="0">
                <a:pos x="102" y="335"/>
              </a:cxn>
              <a:cxn ang="0">
                <a:pos x="122" y="325"/>
              </a:cxn>
              <a:cxn ang="0">
                <a:pos x="143" y="314"/>
              </a:cxn>
              <a:cxn ang="0">
                <a:pos x="152" y="302"/>
              </a:cxn>
              <a:cxn ang="0">
                <a:pos x="166" y="291"/>
              </a:cxn>
              <a:cxn ang="0">
                <a:pos x="176" y="280"/>
              </a:cxn>
              <a:cxn ang="0">
                <a:pos x="189" y="280"/>
              </a:cxn>
              <a:cxn ang="0">
                <a:pos x="202" y="276"/>
              </a:cxn>
              <a:cxn ang="0">
                <a:pos x="209" y="267"/>
              </a:cxn>
              <a:cxn ang="0">
                <a:pos x="219" y="264"/>
              </a:cxn>
              <a:cxn ang="0">
                <a:pos x="236" y="249"/>
              </a:cxn>
              <a:cxn ang="0">
                <a:pos x="252" y="235"/>
              </a:cxn>
              <a:cxn ang="0">
                <a:pos x="257" y="222"/>
              </a:cxn>
              <a:cxn ang="0">
                <a:pos x="265" y="218"/>
              </a:cxn>
              <a:cxn ang="0">
                <a:pos x="266" y="209"/>
              </a:cxn>
              <a:cxn ang="0">
                <a:pos x="268" y="202"/>
              </a:cxn>
              <a:cxn ang="0">
                <a:pos x="269" y="190"/>
              </a:cxn>
              <a:cxn ang="0">
                <a:pos x="260" y="175"/>
              </a:cxn>
              <a:cxn ang="0">
                <a:pos x="258" y="164"/>
              </a:cxn>
              <a:cxn ang="0">
                <a:pos x="252" y="159"/>
              </a:cxn>
              <a:cxn ang="0">
                <a:pos x="248" y="146"/>
              </a:cxn>
              <a:cxn ang="0">
                <a:pos x="217" y="125"/>
              </a:cxn>
              <a:cxn ang="0">
                <a:pos x="185" y="101"/>
              </a:cxn>
              <a:cxn ang="0">
                <a:pos x="160" y="81"/>
              </a:cxn>
              <a:cxn ang="0">
                <a:pos x="142" y="68"/>
              </a:cxn>
              <a:cxn ang="0">
                <a:pos x="131" y="63"/>
              </a:cxn>
              <a:cxn ang="0">
                <a:pos x="126" y="50"/>
              </a:cxn>
              <a:cxn ang="0">
                <a:pos x="118" y="38"/>
              </a:cxn>
              <a:cxn ang="0">
                <a:pos x="114" y="21"/>
              </a:cxn>
              <a:cxn ang="0">
                <a:pos x="109" y="8"/>
              </a:cxn>
              <a:cxn ang="0">
                <a:pos x="102" y="0"/>
              </a:cxn>
              <a:cxn ang="0">
                <a:pos x="85" y="0"/>
              </a:cxn>
              <a:cxn ang="0">
                <a:pos x="82" y="2"/>
              </a:cxn>
              <a:cxn ang="0">
                <a:pos x="76" y="4"/>
              </a:cxn>
              <a:cxn ang="0">
                <a:pos x="64" y="4"/>
              </a:cxn>
              <a:cxn ang="0">
                <a:pos x="61" y="8"/>
              </a:cxn>
              <a:cxn ang="0">
                <a:pos x="55" y="8"/>
              </a:cxn>
            </a:cxnLst>
            <a:rect l="0" t="0" r="r" b="b"/>
            <a:pathLst>
              <a:path w="269" h="335">
                <a:moveTo>
                  <a:pt x="26" y="17"/>
                </a:moveTo>
                <a:lnTo>
                  <a:pt x="19" y="25"/>
                </a:lnTo>
                <a:lnTo>
                  <a:pt x="13" y="34"/>
                </a:lnTo>
                <a:lnTo>
                  <a:pt x="9" y="44"/>
                </a:lnTo>
                <a:lnTo>
                  <a:pt x="6" y="54"/>
                </a:lnTo>
                <a:lnTo>
                  <a:pt x="3" y="64"/>
                </a:lnTo>
                <a:lnTo>
                  <a:pt x="1" y="74"/>
                </a:lnTo>
                <a:lnTo>
                  <a:pt x="1" y="85"/>
                </a:lnTo>
                <a:lnTo>
                  <a:pt x="1" y="96"/>
                </a:lnTo>
                <a:lnTo>
                  <a:pt x="0" y="113"/>
                </a:lnTo>
                <a:lnTo>
                  <a:pt x="1" y="132"/>
                </a:lnTo>
                <a:lnTo>
                  <a:pt x="2" y="141"/>
                </a:lnTo>
                <a:lnTo>
                  <a:pt x="5" y="149"/>
                </a:lnTo>
                <a:lnTo>
                  <a:pt x="8" y="156"/>
                </a:lnTo>
                <a:lnTo>
                  <a:pt x="13" y="163"/>
                </a:lnTo>
                <a:lnTo>
                  <a:pt x="15" y="175"/>
                </a:lnTo>
                <a:lnTo>
                  <a:pt x="18" y="194"/>
                </a:lnTo>
                <a:lnTo>
                  <a:pt x="20" y="214"/>
                </a:lnTo>
                <a:lnTo>
                  <a:pt x="21" y="226"/>
                </a:lnTo>
                <a:lnTo>
                  <a:pt x="27" y="246"/>
                </a:lnTo>
                <a:lnTo>
                  <a:pt x="36" y="273"/>
                </a:lnTo>
                <a:lnTo>
                  <a:pt x="40" y="286"/>
                </a:lnTo>
                <a:lnTo>
                  <a:pt x="45" y="297"/>
                </a:lnTo>
                <a:lnTo>
                  <a:pt x="48" y="303"/>
                </a:lnTo>
                <a:lnTo>
                  <a:pt x="50" y="306"/>
                </a:lnTo>
                <a:lnTo>
                  <a:pt x="53" y="308"/>
                </a:lnTo>
                <a:lnTo>
                  <a:pt x="55" y="310"/>
                </a:lnTo>
                <a:lnTo>
                  <a:pt x="59" y="323"/>
                </a:lnTo>
                <a:lnTo>
                  <a:pt x="63" y="324"/>
                </a:lnTo>
                <a:lnTo>
                  <a:pt x="66" y="327"/>
                </a:lnTo>
                <a:lnTo>
                  <a:pt x="69" y="332"/>
                </a:lnTo>
                <a:lnTo>
                  <a:pt x="72" y="335"/>
                </a:lnTo>
                <a:lnTo>
                  <a:pt x="87" y="335"/>
                </a:lnTo>
                <a:lnTo>
                  <a:pt x="102" y="335"/>
                </a:lnTo>
                <a:lnTo>
                  <a:pt x="109" y="332"/>
                </a:lnTo>
                <a:lnTo>
                  <a:pt x="122" y="325"/>
                </a:lnTo>
                <a:lnTo>
                  <a:pt x="135" y="317"/>
                </a:lnTo>
                <a:lnTo>
                  <a:pt x="143" y="314"/>
                </a:lnTo>
                <a:lnTo>
                  <a:pt x="147" y="308"/>
                </a:lnTo>
                <a:lnTo>
                  <a:pt x="152" y="302"/>
                </a:lnTo>
                <a:lnTo>
                  <a:pt x="160" y="294"/>
                </a:lnTo>
                <a:lnTo>
                  <a:pt x="166" y="291"/>
                </a:lnTo>
                <a:lnTo>
                  <a:pt x="172" y="289"/>
                </a:lnTo>
                <a:lnTo>
                  <a:pt x="176" y="280"/>
                </a:lnTo>
                <a:lnTo>
                  <a:pt x="183" y="280"/>
                </a:lnTo>
                <a:lnTo>
                  <a:pt x="189" y="280"/>
                </a:lnTo>
                <a:lnTo>
                  <a:pt x="195" y="278"/>
                </a:lnTo>
                <a:lnTo>
                  <a:pt x="202" y="276"/>
                </a:lnTo>
                <a:lnTo>
                  <a:pt x="205" y="271"/>
                </a:lnTo>
                <a:lnTo>
                  <a:pt x="209" y="267"/>
                </a:lnTo>
                <a:lnTo>
                  <a:pt x="213" y="265"/>
                </a:lnTo>
                <a:lnTo>
                  <a:pt x="219" y="264"/>
                </a:lnTo>
                <a:lnTo>
                  <a:pt x="223" y="259"/>
                </a:lnTo>
                <a:lnTo>
                  <a:pt x="236" y="249"/>
                </a:lnTo>
                <a:lnTo>
                  <a:pt x="247" y="239"/>
                </a:lnTo>
                <a:lnTo>
                  <a:pt x="252" y="235"/>
                </a:lnTo>
                <a:lnTo>
                  <a:pt x="252" y="226"/>
                </a:lnTo>
                <a:lnTo>
                  <a:pt x="257" y="222"/>
                </a:lnTo>
                <a:lnTo>
                  <a:pt x="260" y="220"/>
                </a:lnTo>
                <a:lnTo>
                  <a:pt x="265" y="218"/>
                </a:lnTo>
                <a:lnTo>
                  <a:pt x="265" y="209"/>
                </a:lnTo>
                <a:lnTo>
                  <a:pt x="266" y="209"/>
                </a:lnTo>
                <a:lnTo>
                  <a:pt x="267" y="206"/>
                </a:lnTo>
                <a:lnTo>
                  <a:pt x="268" y="202"/>
                </a:lnTo>
                <a:lnTo>
                  <a:pt x="268" y="199"/>
                </a:lnTo>
                <a:lnTo>
                  <a:pt x="269" y="190"/>
                </a:lnTo>
                <a:lnTo>
                  <a:pt x="269" y="184"/>
                </a:lnTo>
                <a:lnTo>
                  <a:pt x="260" y="175"/>
                </a:lnTo>
                <a:lnTo>
                  <a:pt x="260" y="170"/>
                </a:lnTo>
                <a:lnTo>
                  <a:pt x="258" y="164"/>
                </a:lnTo>
                <a:lnTo>
                  <a:pt x="256" y="161"/>
                </a:lnTo>
                <a:lnTo>
                  <a:pt x="252" y="159"/>
                </a:lnTo>
                <a:lnTo>
                  <a:pt x="250" y="153"/>
                </a:lnTo>
                <a:lnTo>
                  <a:pt x="248" y="146"/>
                </a:lnTo>
                <a:lnTo>
                  <a:pt x="237" y="140"/>
                </a:lnTo>
                <a:lnTo>
                  <a:pt x="217" y="125"/>
                </a:lnTo>
                <a:lnTo>
                  <a:pt x="197" y="110"/>
                </a:lnTo>
                <a:lnTo>
                  <a:pt x="185" y="101"/>
                </a:lnTo>
                <a:lnTo>
                  <a:pt x="176" y="93"/>
                </a:lnTo>
                <a:lnTo>
                  <a:pt x="160" y="81"/>
                </a:lnTo>
                <a:lnTo>
                  <a:pt x="151" y="74"/>
                </a:lnTo>
                <a:lnTo>
                  <a:pt x="142" y="68"/>
                </a:lnTo>
                <a:lnTo>
                  <a:pt x="135" y="64"/>
                </a:lnTo>
                <a:lnTo>
                  <a:pt x="131" y="63"/>
                </a:lnTo>
                <a:lnTo>
                  <a:pt x="128" y="56"/>
                </a:lnTo>
                <a:lnTo>
                  <a:pt x="126" y="50"/>
                </a:lnTo>
                <a:lnTo>
                  <a:pt x="118" y="46"/>
                </a:lnTo>
                <a:lnTo>
                  <a:pt x="118" y="38"/>
                </a:lnTo>
                <a:lnTo>
                  <a:pt x="116" y="30"/>
                </a:lnTo>
                <a:lnTo>
                  <a:pt x="114" y="21"/>
                </a:lnTo>
                <a:lnTo>
                  <a:pt x="112" y="15"/>
                </a:lnTo>
                <a:lnTo>
                  <a:pt x="109" y="8"/>
                </a:lnTo>
                <a:lnTo>
                  <a:pt x="105" y="4"/>
                </a:lnTo>
                <a:lnTo>
                  <a:pt x="102" y="0"/>
                </a:lnTo>
                <a:lnTo>
                  <a:pt x="93" y="0"/>
                </a:lnTo>
                <a:lnTo>
                  <a:pt x="85" y="0"/>
                </a:lnTo>
                <a:lnTo>
                  <a:pt x="84" y="1"/>
                </a:lnTo>
                <a:lnTo>
                  <a:pt x="82" y="2"/>
                </a:lnTo>
                <a:lnTo>
                  <a:pt x="79" y="4"/>
                </a:lnTo>
                <a:lnTo>
                  <a:pt x="76" y="4"/>
                </a:lnTo>
                <a:lnTo>
                  <a:pt x="68" y="4"/>
                </a:lnTo>
                <a:lnTo>
                  <a:pt x="64" y="4"/>
                </a:lnTo>
                <a:lnTo>
                  <a:pt x="63" y="7"/>
                </a:lnTo>
                <a:lnTo>
                  <a:pt x="61" y="8"/>
                </a:lnTo>
                <a:lnTo>
                  <a:pt x="58" y="8"/>
                </a:lnTo>
                <a:lnTo>
                  <a:pt x="55" y="8"/>
                </a:lnTo>
                <a:lnTo>
                  <a:pt x="26" y="1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18" name="Freeform 79">
            <a:extLst>
              <a:ext uri="{FF2B5EF4-FFF2-40B4-BE49-F238E27FC236}">
                <a16:creationId xmlns:a16="http://schemas.microsoft.com/office/drawing/2014/main" id="{6FEB2B7C-30E1-4EC4-9D17-628D5E8B3440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474075" y="4814888"/>
            <a:ext cx="51886" cy="77788"/>
          </a:xfrm>
          <a:custGeom>
            <a:avLst/>
            <a:gdLst/>
            <a:ahLst/>
            <a:cxnLst>
              <a:cxn ang="0">
                <a:pos x="15" y="5"/>
              </a:cxn>
              <a:cxn ang="0">
                <a:pos x="9" y="21"/>
              </a:cxn>
              <a:cxn ang="0">
                <a:pos x="3" y="49"/>
              </a:cxn>
              <a:cxn ang="0">
                <a:pos x="0" y="90"/>
              </a:cxn>
              <a:cxn ang="0">
                <a:pos x="4" y="119"/>
              </a:cxn>
              <a:cxn ang="0">
                <a:pos x="8" y="135"/>
              </a:cxn>
              <a:cxn ang="0">
                <a:pos x="14" y="150"/>
              </a:cxn>
              <a:cxn ang="0">
                <a:pos x="17" y="173"/>
              </a:cxn>
              <a:cxn ang="0">
                <a:pos x="19" y="208"/>
              </a:cxn>
              <a:cxn ang="0">
                <a:pos x="16" y="256"/>
              </a:cxn>
              <a:cxn ang="0">
                <a:pos x="9" y="306"/>
              </a:cxn>
              <a:cxn ang="0">
                <a:pos x="8" y="336"/>
              </a:cxn>
              <a:cxn ang="0">
                <a:pos x="14" y="357"/>
              </a:cxn>
              <a:cxn ang="0">
                <a:pos x="30" y="387"/>
              </a:cxn>
              <a:cxn ang="0">
                <a:pos x="54" y="421"/>
              </a:cxn>
              <a:cxn ang="0">
                <a:pos x="72" y="441"/>
              </a:cxn>
              <a:cxn ang="0">
                <a:pos x="82" y="447"/>
              </a:cxn>
              <a:cxn ang="0">
                <a:pos x="88" y="453"/>
              </a:cxn>
              <a:cxn ang="0">
                <a:pos x="106" y="466"/>
              </a:cxn>
              <a:cxn ang="0">
                <a:pos x="133" y="480"/>
              </a:cxn>
              <a:cxn ang="0">
                <a:pos x="152" y="486"/>
              </a:cxn>
              <a:cxn ang="0">
                <a:pos x="162" y="486"/>
              </a:cxn>
              <a:cxn ang="0">
                <a:pos x="173" y="480"/>
              </a:cxn>
              <a:cxn ang="0">
                <a:pos x="190" y="462"/>
              </a:cxn>
              <a:cxn ang="0">
                <a:pos x="197" y="447"/>
              </a:cxn>
              <a:cxn ang="0">
                <a:pos x="206" y="415"/>
              </a:cxn>
              <a:cxn ang="0">
                <a:pos x="220" y="393"/>
              </a:cxn>
              <a:cxn ang="0">
                <a:pos x="239" y="370"/>
              </a:cxn>
              <a:cxn ang="0">
                <a:pos x="249" y="356"/>
              </a:cxn>
              <a:cxn ang="0">
                <a:pos x="254" y="345"/>
              </a:cxn>
              <a:cxn ang="0">
                <a:pos x="257" y="340"/>
              </a:cxn>
              <a:cxn ang="0">
                <a:pos x="264" y="335"/>
              </a:cxn>
              <a:cxn ang="0">
                <a:pos x="273" y="329"/>
              </a:cxn>
              <a:cxn ang="0">
                <a:pos x="277" y="313"/>
              </a:cxn>
              <a:cxn ang="0">
                <a:pos x="278" y="275"/>
              </a:cxn>
              <a:cxn ang="0">
                <a:pos x="278" y="255"/>
              </a:cxn>
              <a:cxn ang="0">
                <a:pos x="272" y="246"/>
              </a:cxn>
              <a:cxn ang="0">
                <a:pos x="259" y="230"/>
              </a:cxn>
              <a:cxn ang="0">
                <a:pos x="248" y="214"/>
              </a:cxn>
              <a:cxn ang="0">
                <a:pos x="234" y="196"/>
              </a:cxn>
              <a:cxn ang="0">
                <a:pos x="224" y="181"/>
              </a:cxn>
              <a:cxn ang="0">
                <a:pos x="208" y="163"/>
              </a:cxn>
              <a:cxn ang="0">
                <a:pos x="200" y="149"/>
              </a:cxn>
              <a:cxn ang="0">
                <a:pos x="183" y="133"/>
              </a:cxn>
              <a:cxn ang="0">
                <a:pos x="153" y="109"/>
              </a:cxn>
              <a:cxn ang="0">
                <a:pos x="136" y="100"/>
              </a:cxn>
              <a:cxn ang="0">
                <a:pos x="128" y="90"/>
              </a:cxn>
              <a:cxn ang="0">
                <a:pos x="115" y="79"/>
              </a:cxn>
              <a:cxn ang="0">
                <a:pos x="86" y="58"/>
              </a:cxn>
              <a:cxn ang="0">
                <a:pos x="84" y="49"/>
              </a:cxn>
              <a:cxn ang="0">
                <a:pos x="81" y="42"/>
              </a:cxn>
              <a:cxn ang="0">
                <a:pos x="75" y="27"/>
              </a:cxn>
              <a:cxn ang="0">
                <a:pos x="71" y="19"/>
              </a:cxn>
              <a:cxn ang="0">
                <a:pos x="56" y="9"/>
              </a:cxn>
              <a:cxn ang="0">
                <a:pos x="46" y="4"/>
              </a:cxn>
              <a:cxn ang="0">
                <a:pos x="19" y="0"/>
              </a:cxn>
            </a:cxnLst>
            <a:rect l="0" t="0" r="r" b="b"/>
            <a:pathLst>
              <a:path w="278" h="486">
                <a:moveTo>
                  <a:pt x="19" y="0"/>
                </a:moveTo>
                <a:lnTo>
                  <a:pt x="15" y="5"/>
                </a:lnTo>
                <a:lnTo>
                  <a:pt x="11" y="13"/>
                </a:lnTo>
                <a:lnTo>
                  <a:pt x="9" y="21"/>
                </a:lnTo>
                <a:lnTo>
                  <a:pt x="7" y="30"/>
                </a:lnTo>
                <a:lnTo>
                  <a:pt x="3" y="49"/>
                </a:lnTo>
                <a:lnTo>
                  <a:pt x="0" y="69"/>
                </a:lnTo>
                <a:lnTo>
                  <a:pt x="0" y="90"/>
                </a:lnTo>
                <a:lnTo>
                  <a:pt x="1" y="110"/>
                </a:lnTo>
                <a:lnTo>
                  <a:pt x="4" y="119"/>
                </a:lnTo>
                <a:lnTo>
                  <a:pt x="5" y="128"/>
                </a:lnTo>
                <a:lnTo>
                  <a:pt x="8" y="135"/>
                </a:lnTo>
                <a:lnTo>
                  <a:pt x="10" y="143"/>
                </a:lnTo>
                <a:lnTo>
                  <a:pt x="14" y="150"/>
                </a:lnTo>
                <a:lnTo>
                  <a:pt x="16" y="162"/>
                </a:lnTo>
                <a:lnTo>
                  <a:pt x="17" y="173"/>
                </a:lnTo>
                <a:lnTo>
                  <a:pt x="18" y="185"/>
                </a:lnTo>
                <a:lnTo>
                  <a:pt x="19" y="208"/>
                </a:lnTo>
                <a:lnTo>
                  <a:pt x="19" y="230"/>
                </a:lnTo>
                <a:lnTo>
                  <a:pt x="16" y="256"/>
                </a:lnTo>
                <a:lnTo>
                  <a:pt x="11" y="289"/>
                </a:lnTo>
                <a:lnTo>
                  <a:pt x="9" y="306"/>
                </a:lnTo>
                <a:lnTo>
                  <a:pt x="8" y="321"/>
                </a:lnTo>
                <a:lnTo>
                  <a:pt x="8" y="336"/>
                </a:lnTo>
                <a:lnTo>
                  <a:pt x="10" y="347"/>
                </a:lnTo>
                <a:lnTo>
                  <a:pt x="14" y="357"/>
                </a:lnTo>
                <a:lnTo>
                  <a:pt x="21" y="370"/>
                </a:lnTo>
                <a:lnTo>
                  <a:pt x="30" y="387"/>
                </a:lnTo>
                <a:lnTo>
                  <a:pt x="42" y="404"/>
                </a:lnTo>
                <a:lnTo>
                  <a:pt x="54" y="421"/>
                </a:lnTo>
                <a:lnTo>
                  <a:pt x="66" y="435"/>
                </a:lnTo>
                <a:lnTo>
                  <a:pt x="72" y="441"/>
                </a:lnTo>
                <a:lnTo>
                  <a:pt x="77" y="444"/>
                </a:lnTo>
                <a:lnTo>
                  <a:pt x="82" y="447"/>
                </a:lnTo>
                <a:lnTo>
                  <a:pt x="86" y="448"/>
                </a:lnTo>
                <a:lnTo>
                  <a:pt x="88" y="453"/>
                </a:lnTo>
                <a:lnTo>
                  <a:pt x="96" y="458"/>
                </a:lnTo>
                <a:lnTo>
                  <a:pt x="106" y="466"/>
                </a:lnTo>
                <a:lnTo>
                  <a:pt x="120" y="473"/>
                </a:lnTo>
                <a:lnTo>
                  <a:pt x="133" y="480"/>
                </a:lnTo>
                <a:lnTo>
                  <a:pt x="147" y="484"/>
                </a:lnTo>
                <a:lnTo>
                  <a:pt x="152" y="486"/>
                </a:lnTo>
                <a:lnTo>
                  <a:pt x="158" y="486"/>
                </a:lnTo>
                <a:lnTo>
                  <a:pt x="162" y="486"/>
                </a:lnTo>
                <a:lnTo>
                  <a:pt x="165" y="485"/>
                </a:lnTo>
                <a:lnTo>
                  <a:pt x="173" y="480"/>
                </a:lnTo>
                <a:lnTo>
                  <a:pt x="182" y="471"/>
                </a:lnTo>
                <a:lnTo>
                  <a:pt x="190" y="462"/>
                </a:lnTo>
                <a:lnTo>
                  <a:pt x="195" y="456"/>
                </a:lnTo>
                <a:lnTo>
                  <a:pt x="197" y="447"/>
                </a:lnTo>
                <a:lnTo>
                  <a:pt x="201" y="432"/>
                </a:lnTo>
                <a:lnTo>
                  <a:pt x="206" y="415"/>
                </a:lnTo>
                <a:lnTo>
                  <a:pt x="208" y="406"/>
                </a:lnTo>
                <a:lnTo>
                  <a:pt x="220" y="393"/>
                </a:lnTo>
                <a:lnTo>
                  <a:pt x="232" y="377"/>
                </a:lnTo>
                <a:lnTo>
                  <a:pt x="239" y="370"/>
                </a:lnTo>
                <a:lnTo>
                  <a:pt x="245" y="364"/>
                </a:lnTo>
                <a:lnTo>
                  <a:pt x="249" y="356"/>
                </a:lnTo>
                <a:lnTo>
                  <a:pt x="254" y="347"/>
                </a:lnTo>
                <a:lnTo>
                  <a:pt x="254" y="345"/>
                </a:lnTo>
                <a:lnTo>
                  <a:pt x="255" y="342"/>
                </a:lnTo>
                <a:lnTo>
                  <a:pt x="257" y="340"/>
                </a:lnTo>
                <a:lnTo>
                  <a:pt x="261" y="335"/>
                </a:lnTo>
                <a:lnTo>
                  <a:pt x="264" y="335"/>
                </a:lnTo>
                <a:lnTo>
                  <a:pt x="268" y="332"/>
                </a:lnTo>
                <a:lnTo>
                  <a:pt x="273" y="329"/>
                </a:lnTo>
                <a:lnTo>
                  <a:pt x="275" y="327"/>
                </a:lnTo>
                <a:lnTo>
                  <a:pt x="277" y="313"/>
                </a:lnTo>
                <a:lnTo>
                  <a:pt x="278" y="294"/>
                </a:lnTo>
                <a:lnTo>
                  <a:pt x="278" y="275"/>
                </a:lnTo>
                <a:lnTo>
                  <a:pt x="278" y="260"/>
                </a:lnTo>
                <a:lnTo>
                  <a:pt x="278" y="255"/>
                </a:lnTo>
                <a:lnTo>
                  <a:pt x="275" y="251"/>
                </a:lnTo>
                <a:lnTo>
                  <a:pt x="272" y="246"/>
                </a:lnTo>
                <a:lnTo>
                  <a:pt x="268" y="241"/>
                </a:lnTo>
                <a:lnTo>
                  <a:pt x="259" y="230"/>
                </a:lnTo>
                <a:lnTo>
                  <a:pt x="254" y="222"/>
                </a:lnTo>
                <a:lnTo>
                  <a:pt x="248" y="214"/>
                </a:lnTo>
                <a:lnTo>
                  <a:pt x="241" y="205"/>
                </a:lnTo>
                <a:lnTo>
                  <a:pt x="234" y="196"/>
                </a:lnTo>
                <a:lnTo>
                  <a:pt x="228" y="188"/>
                </a:lnTo>
                <a:lnTo>
                  <a:pt x="224" y="181"/>
                </a:lnTo>
                <a:lnTo>
                  <a:pt x="216" y="172"/>
                </a:lnTo>
                <a:lnTo>
                  <a:pt x="208" y="163"/>
                </a:lnTo>
                <a:lnTo>
                  <a:pt x="203" y="155"/>
                </a:lnTo>
                <a:lnTo>
                  <a:pt x="200" y="149"/>
                </a:lnTo>
                <a:lnTo>
                  <a:pt x="192" y="142"/>
                </a:lnTo>
                <a:lnTo>
                  <a:pt x="183" y="133"/>
                </a:lnTo>
                <a:lnTo>
                  <a:pt x="172" y="125"/>
                </a:lnTo>
                <a:lnTo>
                  <a:pt x="153" y="109"/>
                </a:lnTo>
                <a:lnTo>
                  <a:pt x="144" y="100"/>
                </a:lnTo>
                <a:lnTo>
                  <a:pt x="136" y="100"/>
                </a:lnTo>
                <a:lnTo>
                  <a:pt x="133" y="96"/>
                </a:lnTo>
                <a:lnTo>
                  <a:pt x="128" y="90"/>
                </a:lnTo>
                <a:lnTo>
                  <a:pt x="121" y="83"/>
                </a:lnTo>
                <a:lnTo>
                  <a:pt x="115" y="79"/>
                </a:lnTo>
                <a:lnTo>
                  <a:pt x="101" y="69"/>
                </a:lnTo>
                <a:lnTo>
                  <a:pt x="86" y="58"/>
                </a:lnTo>
                <a:lnTo>
                  <a:pt x="86" y="50"/>
                </a:lnTo>
                <a:lnTo>
                  <a:pt x="84" y="49"/>
                </a:lnTo>
                <a:lnTo>
                  <a:pt x="82" y="46"/>
                </a:lnTo>
                <a:lnTo>
                  <a:pt x="81" y="42"/>
                </a:lnTo>
                <a:lnTo>
                  <a:pt x="78" y="37"/>
                </a:lnTo>
                <a:lnTo>
                  <a:pt x="75" y="27"/>
                </a:lnTo>
                <a:lnTo>
                  <a:pt x="74" y="21"/>
                </a:lnTo>
                <a:lnTo>
                  <a:pt x="71" y="19"/>
                </a:lnTo>
                <a:lnTo>
                  <a:pt x="63" y="14"/>
                </a:lnTo>
                <a:lnTo>
                  <a:pt x="56" y="9"/>
                </a:lnTo>
                <a:lnTo>
                  <a:pt x="53" y="4"/>
                </a:lnTo>
                <a:lnTo>
                  <a:pt x="46" y="4"/>
                </a:lnTo>
                <a:lnTo>
                  <a:pt x="39" y="4"/>
                </a:lnTo>
                <a:lnTo>
                  <a:pt x="19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19" name="Freeform 80">
            <a:extLst>
              <a:ext uri="{FF2B5EF4-FFF2-40B4-BE49-F238E27FC236}">
                <a16:creationId xmlns:a16="http://schemas.microsoft.com/office/drawing/2014/main" id="{3C66533B-32FE-4B4C-A7AA-48E541E0CE57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605838" y="4649788"/>
            <a:ext cx="137776" cy="66675"/>
          </a:xfrm>
          <a:custGeom>
            <a:avLst/>
            <a:gdLst/>
            <a:ahLst/>
            <a:cxnLst>
              <a:cxn ang="0">
                <a:pos x="464" y="86"/>
              </a:cxn>
              <a:cxn ang="0">
                <a:pos x="435" y="118"/>
              </a:cxn>
              <a:cxn ang="0">
                <a:pos x="405" y="140"/>
              </a:cxn>
              <a:cxn ang="0">
                <a:pos x="371" y="167"/>
              </a:cxn>
              <a:cxn ang="0">
                <a:pos x="339" y="189"/>
              </a:cxn>
              <a:cxn ang="0">
                <a:pos x="324" y="204"/>
              </a:cxn>
              <a:cxn ang="0">
                <a:pos x="290" y="230"/>
              </a:cxn>
              <a:cxn ang="0">
                <a:pos x="265" y="241"/>
              </a:cxn>
              <a:cxn ang="0">
                <a:pos x="235" y="251"/>
              </a:cxn>
              <a:cxn ang="0">
                <a:pos x="211" y="266"/>
              </a:cxn>
              <a:cxn ang="0">
                <a:pos x="130" y="289"/>
              </a:cxn>
              <a:cxn ang="0">
                <a:pos x="45" y="326"/>
              </a:cxn>
              <a:cxn ang="0">
                <a:pos x="13" y="337"/>
              </a:cxn>
              <a:cxn ang="0">
                <a:pos x="0" y="351"/>
              </a:cxn>
              <a:cxn ang="0">
                <a:pos x="34" y="360"/>
              </a:cxn>
              <a:cxn ang="0">
                <a:pos x="75" y="377"/>
              </a:cxn>
              <a:cxn ang="0">
                <a:pos x="115" y="396"/>
              </a:cxn>
              <a:cxn ang="0">
                <a:pos x="138" y="408"/>
              </a:cxn>
              <a:cxn ang="0">
                <a:pos x="188" y="412"/>
              </a:cxn>
              <a:cxn ang="0">
                <a:pos x="229" y="398"/>
              </a:cxn>
              <a:cxn ang="0">
                <a:pos x="275" y="380"/>
              </a:cxn>
              <a:cxn ang="0">
                <a:pos x="310" y="364"/>
              </a:cxn>
              <a:cxn ang="0">
                <a:pos x="352" y="360"/>
              </a:cxn>
              <a:cxn ang="0">
                <a:pos x="364" y="368"/>
              </a:cxn>
              <a:cxn ang="0">
                <a:pos x="395" y="388"/>
              </a:cxn>
              <a:cxn ang="0">
                <a:pos x="415" y="393"/>
              </a:cxn>
              <a:cxn ang="0">
                <a:pos x="447" y="383"/>
              </a:cxn>
              <a:cxn ang="0">
                <a:pos x="446" y="342"/>
              </a:cxn>
              <a:cxn ang="0">
                <a:pos x="436" y="327"/>
              </a:cxn>
              <a:cxn ang="0">
                <a:pos x="434" y="312"/>
              </a:cxn>
              <a:cxn ang="0">
                <a:pos x="432" y="297"/>
              </a:cxn>
              <a:cxn ang="0">
                <a:pos x="457" y="263"/>
              </a:cxn>
              <a:cxn ang="0">
                <a:pos x="461" y="252"/>
              </a:cxn>
              <a:cxn ang="0">
                <a:pos x="477" y="233"/>
              </a:cxn>
              <a:cxn ang="0">
                <a:pos x="496" y="216"/>
              </a:cxn>
              <a:cxn ang="0">
                <a:pos x="517" y="204"/>
              </a:cxn>
              <a:cxn ang="0">
                <a:pos x="544" y="185"/>
              </a:cxn>
              <a:cxn ang="0">
                <a:pos x="563" y="173"/>
              </a:cxn>
              <a:cxn ang="0">
                <a:pos x="587" y="160"/>
              </a:cxn>
              <a:cxn ang="0">
                <a:pos x="639" y="148"/>
              </a:cxn>
              <a:cxn ang="0">
                <a:pos x="716" y="126"/>
              </a:cxn>
              <a:cxn ang="0">
                <a:pos x="763" y="100"/>
              </a:cxn>
              <a:cxn ang="0">
                <a:pos x="733" y="82"/>
              </a:cxn>
              <a:cxn ang="0">
                <a:pos x="681" y="72"/>
              </a:cxn>
              <a:cxn ang="0">
                <a:pos x="642" y="63"/>
              </a:cxn>
              <a:cxn ang="0">
                <a:pos x="611" y="48"/>
              </a:cxn>
              <a:cxn ang="0">
                <a:pos x="594" y="34"/>
              </a:cxn>
              <a:cxn ang="0">
                <a:pos x="579" y="16"/>
              </a:cxn>
              <a:cxn ang="0">
                <a:pos x="570" y="5"/>
              </a:cxn>
              <a:cxn ang="0">
                <a:pos x="532" y="1"/>
              </a:cxn>
              <a:cxn ang="0">
                <a:pos x="524" y="21"/>
              </a:cxn>
            </a:cxnLst>
            <a:rect l="0" t="0" r="r" b="b"/>
            <a:pathLst>
              <a:path w="763" h="414">
                <a:moveTo>
                  <a:pt x="515" y="33"/>
                </a:moveTo>
                <a:lnTo>
                  <a:pt x="496" y="50"/>
                </a:lnTo>
                <a:lnTo>
                  <a:pt x="475" y="73"/>
                </a:lnTo>
                <a:lnTo>
                  <a:pt x="464" y="86"/>
                </a:lnTo>
                <a:lnTo>
                  <a:pt x="454" y="97"/>
                </a:lnTo>
                <a:lnTo>
                  <a:pt x="446" y="108"/>
                </a:lnTo>
                <a:lnTo>
                  <a:pt x="440" y="117"/>
                </a:lnTo>
                <a:lnTo>
                  <a:pt x="435" y="118"/>
                </a:lnTo>
                <a:lnTo>
                  <a:pt x="429" y="121"/>
                </a:lnTo>
                <a:lnTo>
                  <a:pt x="424" y="125"/>
                </a:lnTo>
                <a:lnTo>
                  <a:pt x="417" y="130"/>
                </a:lnTo>
                <a:lnTo>
                  <a:pt x="405" y="140"/>
                </a:lnTo>
                <a:lnTo>
                  <a:pt x="393" y="146"/>
                </a:lnTo>
                <a:lnTo>
                  <a:pt x="388" y="154"/>
                </a:lnTo>
                <a:lnTo>
                  <a:pt x="380" y="160"/>
                </a:lnTo>
                <a:lnTo>
                  <a:pt x="371" y="167"/>
                </a:lnTo>
                <a:lnTo>
                  <a:pt x="361" y="174"/>
                </a:lnTo>
                <a:lnTo>
                  <a:pt x="351" y="179"/>
                </a:lnTo>
                <a:lnTo>
                  <a:pt x="342" y="186"/>
                </a:lnTo>
                <a:lnTo>
                  <a:pt x="339" y="189"/>
                </a:lnTo>
                <a:lnTo>
                  <a:pt x="335" y="193"/>
                </a:lnTo>
                <a:lnTo>
                  <a:pt x="333" y="197"/>
                </a:lnTo>
                <a:lnTo>
                  <a:pt x="331" y="201"/>
                </a:lnTo>
                <a:lnTo>
                  <a:pt x="324" y="204"/>
                </a:lnTo>
                <a:lnTo>
                  <a:pt x="313" y="212"/>
                </a:lnTo>
                <a:lnTo>
                  <a:pt x="302" y="221"/>
                </a:lnTo>
                <a:lnTo>
                  <a:pt x="297" y="226"/>
                </a:lnTo>
                <a:lnTo>
                  <a:pt x="290" y="230"/>
                </a:lnTo>
                <a:lnTo>
                  <a:pt x="282" y="232"/>
                </a:lnTo>
                <a:lnTo>
                  <a:pt x="274" y="236"/>
                </a:lnTo>
                <a:lnTo>
                  <a:pt x="269" y="239"/>
                </a:lnTo>
                <a:lnTo>
                  <a:pt x="265" y="241"/>
                </a:lnTo>
                <a:lnTo>
                  <a:pt x="261" y="242"/>
                </a:lnTo>
                <a:lnTo>
                  <a:pt x="256" y="243"/>
                </a:lnTo>
                <a:lnTo>
                  <a:pt x="247" y="251"/>
                </a:lnTo>
                <a:lnTo>
                  <a:pt x="235" y="251"/>
                </a:lnTo>
                <a:lnTo>
                  <a:pt x="229" y="255"/>
                </a:lnTo>
                <a:lnTo>
                  <a:pt x="224" y="260"/>
                </a:lnTo>
                <a:lnTo>
                  <a:pt x="218" y="263"/>
                </a:lnTo>
                <a:lnTo>
                  <a:pt x="211" y="266"/>
                </a:lnTo>
                <a:lnTo>
                  <a:pt x="198" y="272"/>
                </a:lnTo>
                <a:lnTo>
                  <a:pt x="184" y="277"/>
                </a:lnTo>
                <a:lnTo>
                  <a:pt x="155" y="283"/>
                </a:lnTo>
                <a:lnTo>
                  <a:pt x="130" y="289"/>
                </a:lnTo>
                <a:lnTo>
                  <a:pt x="105" y="299"/>
                </a:lnTo>
                <a:lnTo>
                  <a:pt x="75" y="313"/>
                </a:lnTo>
                <a:lnTo>
                  <a:pt x="60" y="320"/>
                </a:lnTo>
                <a:lnTo>
                  <a:pt x="45" y="326"/>
                </a:lnTo>
                <a:lnTo>
                  <a:pt x="32" y="329"/>
                </a:lnTo>
                <a:lnTo>
                  <a:pt x="21" y="330"/>
                </a:lnTo>
                <a:lnTo>
                  <a:pt x="17" y="333"/>
                </a:lnTo>
                <a:lnTo>
                  <a:pt x="13" y="337"/>
                </a:lnTo>
                <a:lnTo>
                  <a:pt x="9" y="340"/>
                </a:lnTo>
                <a:lnTo>
                  <a:pt x="8" y="343"/>
                </a:lnTo>
                <a:lnTo>
                  <a:pt x="0" y="343"/>
                </a:lnTo>
                <a:lnTo>
                  <a:pt x="0" y="351"/>
                </a:lnTo>
                <a:lnTo>
                  <a:pt x="7" y="355"/>
                </a:lnTo>
                <a:lnTo>
                  <a:pt x="15" y="357"/>
                </a:lnTo>
                <a:lnTo>
                  <a:pt x="24" y="359"/>
                </a:lnTo>
                <a:lnTo>
                  <a:pt x="34" y="360"/>
                </a:lnTo>
                <a:lnTo>
                  <a:pt x="42" y="366"/>
                </a:lnTo>
                <a:lnTo>
                  <a:pt x="53" y="371"/>
                </a:lnTo>
                <a:lnTo>
                  <a:pt x="65" y="375"/>
                </a:lnTo>
                <a:lnTo>
                  <a:pt x="75" y="377"/>
                </a:lnTo>
                <a:lnTo>
                  <a:pt x="80" y="385"/>
                </a:lnTo>
                <a:lnTo>
                  <a:pt x="90" y="387"/>
                </a:lnTo>
                <a:lnTo>
                  <a:pt x="103" y="391"/>
                </a:lnTo>
                <a:lnTo>
                  <a:pt x="115" y="396"/>
                </a:lnTo>
                <a:lnTo>
                  <a:pt x="125" y="398"/>
                </a:lnTo>
                <a:lnTo>
                  <a:pt x="129" y="402"/>
                </a:lnTo>
                <a:lnTo>
                  <a:pt x="133" y="405"/>
                </a:lnTo>
                <a:lnTo>
                  <a:pt x="138" y="408"/>
                </a:lnTo>
                <a:lnTo>
                  <a:pt x="142" y="410"/>
                </a:lnTo>
                <a:lnTo>
                  <a:pt x="153" y="413"/>
                </a:lnTo>
                <a:lnTo>
                  <a:pt x="165" y="414"/>
                </a:lnTo>
                <a:lnTo>
                  <a:pt x="188" y="412"/>
                </a:lnTo>
                <a:lnTo>
                  <a:pt x="209" y="410"/>
                </a:lnTo>
                <a:lnTo>
                  <a:pt x="214" y="402"/>
                </a:lnTo>
                <a:lnTo>
                  <a:pt x="220" y="400"/>
                </a:lnTo>
                <a:lnTo>
                  <a:pt x="229" y="398"/>
                </a:lnTo>
                <a:lnTo>
                  <a:pt x="240" y="395"/>
                </a:lnTo>
                <a:lnTo>
                  <a:pt x="253" y="390"/>
                </a:lnTo>
                <a:lnTo>
                  <a:pt x="265" y="386"/>
                </a:lnTo>
                <a:lnTo>
                  <a:pt x="275" y="380"/>
                </a:lnTo>
                <a:lnTo>
                  <a:pt x="284" y="376"/>
                </a:lnTo>
                <a:lnTo>
                  <a:pt x="290" y="373"/>
                </a:lnTo>
                <a:lnTo>
                  <a:pt x="302" y="373"/>
                </a:lnTo>
                <a:lnTo>
                  <a:pt x="310" y="364"/>
                </a:lnTo>
                <a:lnTo>
                  <a:pt x="319" y="364"/>
                </a:lnTo>
                <a:lnTo>
                  <a:pt x="330" y="362"/>
                </a:lnTo>
                <a:lnTo>
                  <a:pt x="341" y="360"/>
                </a:lnTo>
                <a:lnTo>
                  <a:pt x="352" y="360"/>
                </a:lnTo>
                <a:lnTo>
                  <a:pt x="353" y="362"/>
                </a:lnTo>
                <a:lnTo>
                  <a:pt x="357" y="366"/>
                </a:lnTo>
                <a:lnTo>
                  <a:pt x="361" y="368"/>
                </a:lnTo>
                <a:lnTo>
                  <a:pt x="364" y="368"/>
                </a:lnTo>
                <a:lnTo>
                  <a:pt x="369" y="377"/>
                </a:lnTo>
                <a:lnTo>
                  <a:pt x="377" y="380"/>
                </a:lnTo>
                <a:lnTo>
                  <a:pt x="386" y="385"/>
                </a:lnTo>
                <a:lnTo>
                  <a:pt x="395" y="388"/>
                </a:lnTo>
                <a:lnTo>
                  <a:pt x="402" y="389"/>
                </a:lnTo>
                <a:lnTo>
                  <a:pt x="403" y="390"/>
                </a:lnTo>
                <a:lnTo>
                  <a:pt x="408" y="391"/>
                </a:lnTo>
                <a:lnTo>
                  <a:pt x="415" y="393"/>
                </a:lnTo>
                <a:lnTo>
                  <a:pt x="421" y="393"/>
                </a:lnTo>
                <a:lnTo>
                  <a:pt x="436" y="394"/>
                </a:lnTo>
                <a:lnTo>
                  <a:pt x="444" y="394"/>
                </a:lnTo>
                <a:lnTo>
                  <a:pt x="447" y="383"/>
                </a:lnTo>
                <a:lnTo>
                  <a:pt x="448" y="368"/>
                </a:lnTo>
                <a:lnTo>
                  <a:pt x="448" y="355"/>
                </a:lnTo>
                <a:lnTo>
                  <a:pt x="448" y="343"/>
                </a:lnTo>
                <a:lnTo>
                  <a:pt x="446" y="342"/>
                </a:lnTo>
                <a:lnTo>
                  <a:pt x="445" y="340"/>
                </a:lnTo>
                <a:lnTo>
                  <a:pt x="444" y="338"/>
                </a:lnTo>
                <a:lnTo>
                  <a:pt x="444" y="335"/>
                </a:lnTo>
                <a:lnTo>
                  <a:pt x="436" y="327"/>
                </a:lnTo>
                <a:lnTo>
                  <a:pt x="436" y="320"/>
                </a:lnTo>
                <a:lnTo>
                  <a:pt x="436" y="313"/>
                </a:lnTo>
                <a:lnTo>
                  <a:pt x="435" y="313"/>
                </a:lnTo>
                <a:lnTo>
                  <a:pt x="434" y="312"/>
                </a:lnTo>
                <a:lnTo>
                  <a:pt x="432" y="311"/>
                </a:lnTo>
                <a:lnTo>
                  <a:pt x="432" y="309"/>
                </a:lnTo>
                <a:lnTo>
                  <a:pt x="432" y="303"/>
                </a:lnTo>
                <a:lnTo>
                  <a:pt x="432" y="297"/>
                </a:lnTo>
                <a:lnTo>
                  <a:pt x="435" y="285"/>
                </a:lnTo>
                <a:lnTo>
                  <a:pt x="436" y="280"/>
                </a:lnTo>
                <a:lnTo>
                  <a:pt x="445" y="272"/>
                </a:lnTo>
                <a:lnTo>
                  <a:pt x="457" y="263"/>
                </a:lnTo>
                <a:lnTo>
                  <a:pt x="457" y="261"/>
                </a:lnTo>
                <a:lnTo>
                  <a:pt x="458" y="258"/>
                </a:lnTo>
                <a:lnTo>
                  <a:pt x="459" y="254"/>
                </a:lnTo>
                <a:lnTo>
                  <a:pt x="461" y="252"/>
                </a:lnTo>
                <a:lnTo>
                  <a:pt x="467" y="246"/>
                </a:lnTo>
                <a:lnTo>
                  <a:pt x="474" y="243"/>
                </a:lnTo>
                <a:lnTo>
                  <a:pt x="475" y="237"/>
                </a:lnTo>
                <a:lnTo>
                  <a:pt x="477" y="233"/>
                </a:lnTo>
                <a:lnTo>
                  <a:pt x="480" y="227"/>
                </a:lnTo>
                <a:lnTo>
                  <a:pt x="486" y="223"/>
                </a:lnTo>
                <a:lnTo>
                  <a:pt x="491" y="220"/>
                </a:lnTo>
                <a:lnTo>
                  <a:pt x="496" y="216"/>
                </a:lnTo>
                <a:lnTo>
                  <a:pt x="502" y="214"/>
                </a:lnTo>
                <a:lnTo>
                  <a:pt x="507" y="213"/>
                </a:lnTo>
                <a:lnTo>
                  <a:pt x="511" y="205"/>
                </a:lnTo>
                <a:lnTo>
                  <a:pt x="517" y="204"/>
                </a:lnTo>
                <a:lnTo>
                  <a:pt x="524" y="201"/>
                </a:lnTo>
                <a:lnTo>
                  <a:pt x="531" y="196"/>
                </a:lnTo>
                <a:lnTo>
                  <a:pt x="537" y="191"/>
                </a:lnTo>
                <a:lnTo>
                  <a:pt x="544" y="185"/>
                </a:lnTo>
                <a:lnTo>
                  <a:pt x="551" y="181"/>
                </a:lnTo>
                <a:lnTo>
                  <a:pt x="556" y="177"/>
                </a:lnTo>
                <a:lnTo>
                  <a:pt x="562" y="176"/>
                </a:lnTo>
                <a:lnTo>
                  <a:pt x="563" y="173"/>
                </a:lnTo>
                <a:lnTo>
                  <a:pt x="565" y="169"/>
                </a:lnTo>
                <a:lnTo>
                  <a:pt x="570" y="167"/>
                </a:lnTo>
                <a:lnTo>
                  <a:pt x="575" y="164"/>
                </a:lnTo>
                <a:lnTo>
                  <a:pt x="587" y="160"/>
                </a:lnTo>
                <a:lnTo>
                  <a:pt x="595" y="159"/>
                </a:lnTo>
                <a:lnTo>
                  <a:pt x="603" y="150"/>
                </a:lnTo>
                <a:lnTo>
                  <a:pt x="621" y="149"/>
                </a:lnTo>
                <a:lnTo>
                  <a:pt x="639" y="148"/>
                </a:lnTo>
                <a:lnTo>
                  <a:pt x="655" y="145"/>
                </a:lnTo>
                <a:lnTo>
                  <a:pt x="670" y="143"/>
                </a:lnTo>
                <a:lnTo>
                  <a:pt x="689" y="136"/>
                </a:lnTo>
                <a:lnTo>
                  <a:pt x="716" y="126"/>
                </a:lnTo>
                <a:lnTo>
                  <a:pt x="742" y="117"/>
                </a:lnTo>
                <a:lnTo>
                  <a:pt x="758" y="112"/>
                </a:lnTo>
                <a:lnTo>
                  <a:pt x="763" y="109"/>
                </a:lnTo>
                <a:lnTo>
                  <a:pt x="763" y="100"/>
                </a:lnTo>
                <a:lnTo>
                  <a:pt x="763" y="91"/>
                </a:lnTo>
                <a:lnTo>
                  <a:pt x="754" y="91"/>
                </a:lnTo>
                <a:lnTo>
                  <a:pt x="746" y="83"/>
                </a:lnTo>
                <a:lnTo>
                  <a:pt x="733" y="82"/>
                </a:lnTo>
                <a:lnTo>
                  <a:pt x="720" y="81"/>
                </a:lnTo>
                <a:lnTo>
                  <a:pt x="707" y="78"/>
                </a:lnTo>
                <a:lnTo>
                  <a:pt x="694" y="75"/>
                </a:lnTo>
                <a:lnTo>
                  <a:pt x="681" y="72"/>
                </a:lnTo>
                <a:lnTo>
                  <a:pt x="669" y="69"/>
                </a:lnTo>
                <a:lnTo>
                  <a:pt x="657" y="68"/>
                </a:lnTo>
                <a:lnTo>
                  <a:pt x="646" y="67"/>
                </a:lnTo>
                <a:lnTo>
                  <a:pt x="642" y="63"/>
                </a:lnTo>
                <a:lnTo>
                  <a:pt x="635" y="59"/>
                </a:lnTo>
                <a:lnTo>
                  <a:pt x="626" y="56"/>
                </a:lnTo>
                <a:lnTo>
                  <a:pt x="620" y="54"/>
                </a:lnTo>
                <a:lnTo>
                  <a:pt x="611" y="48"/>
                </a:lnTo>
                <a:lnTo>
                  <a:pt x="599" y="41"/>
                </a:lnTo>
                <a:lnTo>
                  <a:pt x="599" y="40"/>
                </a:lnTo>
                <a:lnTo>
                  <a:pt x="597" y="38"/>
                </a:lnTo>
                <a:lnTo>
                  <a:pt x="594" y="34"/>
                </a:lnTo>
                <a:lnTo>
                  <a:pt x="591" y="33"/>
                </a:lnTo>
                <a:lnTo>
                  <a:pt x="591" y="24"/>
                </a:lnTo>
                <a:lnTo>
                  <a:pt x="587" y="21"/>
                </a:lnTo>
                <a:lnTo>
                  <a:pt x="579" y="16"/>
                </a:lnTo>
                <a:lnTo>
                  <a:pt x="578" y="13"/>
                </a:lnTo>
                <a:lnTo>
                  <a:pt x="575" y="10"/>
                </a:lnTo>
                <a:lnTo>
                  <a:pt x="573" y="8"/>
                </a:lnTo>
                <a:lnTo>
                  <a:pt x="570" y="5"/>
                </a:lnTo>
                <a:lnTo>
                  <a:pt x="564" y="1"/>
                </a:lnTo>
                <a:lnTo>
                  <a:pt x="562" y="0"/>
                </a:lnTo>
                <a:lnTo>
                  <a:pt x="532" y="0"/>
                </a:lnTo>
                <a:lnTo>
                  <a:pt x="532" y="1"/>
                </a:lnTo>
                <a:lnTo>
                  <a:pt x="530" y="4"/>
                </a:lnTo>
                <a:lnTo>
                  <a:pt x="527" y="6"/>
                </a:lnTo>
                <a:lnTo>
                  <a:pt x="524" y="8"/>
                </a:lnTo>
                <a:lnTo>
                  <a:pt x="524" y="21"/>
                </a:lnTo>
                <a:lnTo>
                  <a:pt x="520" y="25"/>
                </a:lnTo>
                <a:lnTo>
                  <a:pt x="515" y="3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20" name="Freeform 81">
            <a:extLst>
              <a:ext uri="{FF2B5EF4-FFF2-40B4-BE49-F238E27FC236}">
                <a16:creationId xmlns:a16="http://schemas.microsoft.com/office/drawing/2014/main" id="{62263B12-1FF0-4E01-96DD-1BDF1A0805C9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605838" y="4649788"/>
            <a:ext cx="137776" cy="66675"/>
          </a:xfrm>
          <a:custGeom>
            <a:avLst/>
            <a:gdLst/>
            <a:ahLst/>
            <a:cxnLst>
              <a:cxn ang="0">
                <a:pos x="464" y="86"/>
              </a:cxn>
              <a:cxn ang="0">
                <a:pos x="435" y="118"/>
              </a:cxn>
              <a:cxn ang="0">
                <a:pos x="405" y="140"/>
              </a:cxn>
              <a:cxn ang="0">
                <a:pos x="371" y="167"/>
              </a:cxn>
              <a:cxn ang="0">
                <a:pos x="339" y="189"/>
              </a:cxn>
              <a:cxn ang="0">
                <a:pos x="324" y="204"/>
              </a:cxn>
              <a:cxn ang="0">
                <a:pos x="290" y="230"/>
              </a:cxn>
              <a:cxn ang="0">
                <a:pos x="265" y="241"/>
              </a:cxn>
              <a:cxn ang="0">
                <a:pos x="235" y="251"/>
              </a:cxn>
              <a:cxn ang="0">
                <a:pos x="211" y="266"/>
              </a:cxn>
              <a:cxn ang="0">
                <a:pos x="130" y="289"/>
              </a:cxn>
              <a:cxn ang="0">
                <a:pos x="45" y="326"/>
              </a:cxn>
              <a:cxn ang="0">
                <a:pos x="13" y="337"/>
              </a:cxn>
              <a:cxn ang="0">
                <a:pos x="0" y="351"/>
              </a:cxn>
              <a:cxn ang="0">
                <a:pos x="34" y="360"/>
              </a:cxn>
              <a:cxn ang="0">
                <a:pos x="75" y="377"/>
              </a:cxn>
              <a:cxn ang="0">
                <a:pos x="115" y="396"/>
              </a:cxn>
              <a:cxn ang="0">
                <a:pos x="138" y="408"/>
              </a:cxn>
              <a:cxn ang="0">
                <a:pos x="188" y="412"/>
              </a:cxn>
              <a:cxn ang="0">
                <a:pos x="229" y="398"/>
              </a:cxn>
              <a:cxn ang="0">
                <a:pos x="275" y="380"/>
              </a:cxn>
              <a:cxn ang="0">
                <a:pos x="310" y="364"/>
              </a:cxn>
              <a:cxn ang="0">
                <a:pos x="352" y="360"/>
              </a:cxn>
              <a:cxn ang="0">
                <a:pos x="364" y="368"/>
              </a:cxn>
              <a:cxn ang="0">
                <a:pos x="395" y="388"/>
              </a:cxn>
              <a:cxn ang="0">
                <a:pos x="415" y="393"/>
              </a:cxn>
              <a:cxn ang="0">
                <a:pos x="447" y="383"/>
              </a:cxn>
              <a:cxn ang="0">
                <a:pos x="446" y="342"/>
              </a:cxn>
              <a:cxn ang="0">
                <a:pos x="436" y="327"/>
              </a:cxn>
              <a:cxn ang="0">
                <a:pos x="434" y="312"/>
              </a:cxn>
              <a:cxn ang="0">
                <a:pos x="432" y="297"/>
              </a:cxn>
              <a:cxn ang="0">
                <a:pos x="457" y="263"/>
              </a:cxn>
              <a:cxn ang="0">
                <a:pos x="461" y="252"/>
              </a:cxn>
              <a:cxn ang="0">
                <a:pos x="477" y="233"/>
              </a:cxn>
              <a:cxn ang="0">
                <a:pos x="496" y="216"/>
              </a:cxn>
              <a:cxn ang="0">
                <a:pos x="517" y="204"/>
              </a:cxn>
              <a:cxn ang="0">
                <a:pos x="544" y="185"/>
              </a:cxn>
              <a:cxn ang="0">
                <a:pos x="563" y="173"/>
              </a:cxn>
              <a:cxn ang="0">
                <a:pos x="587" y="160"/>
              </a:cxn>
              <a:cxn ang="0">
                <a:pos x="639" y="148"/>
              </a:cxn>
              <a:cxn ang="0">
                <a:pos x="716" y="126"/>
              </a:cxn>
              <a:cxn ang="0">
                <a:pos x="763" y="100"/>
              </a:cxn>
              <a:cxn ang="0">
                <a:pos x="733" y="82"/>
              </a:cxn>
              <a:cxn ang="0">
                <a:pos x="681" y="72"/>
              </a:cxn>
              <a:cxn ang="0">
                <a:pos x="642" y="63"/>
              </a:cxn>
              <a:cxn ang="0">
                <a:pos x="611" y="48"/>
              </a:cxn>
              <a:cxn ang="0">
                <a:pos x="594" y="34"/>
              </a:cxn>
              <a:cxn ang="0">
                <a:pos x="579" y="16"/>
              </a:cxn>
              <a:cxn ang="0">
                <a:pos x="570" y="5"/>
              </a:cxn>
              <a:cxn ang="0">
                <a:pos x="532" y="1"/>
              </a:cxn>
              <a:cxn ang="0">
                <a:pos x="524" y="21"/>
              </a:cxn>
            </a:cxnLst>
            <a:rect l="0" t="0" r="r" b="b"/>
            <a:pathLst>
              <a:path w="763" h="414">
                <a:moveTo>
                  <a:pt x="515" y="33"/>
                </a:moveTo>
                <a:lnTo>
                  <a:pt x="496" y="50"/>
                </a:lnTo>
                <a:lnTo>
                  <a:pt x="475" y="73"/>
                </a:lnTo>
                <a:lnTo>
                  <a:pt x="464" y="86"/>
                </a:lnTo>
                <a:lnTo>
                  <a:pt x="454" y="97"/>
                </a:lnTo>
                <a:lnTo>
                  <a:pt x="446" y="108"/>
                </a:lnTo>
                <a:lnTo>
                  <a:pt x="440" y="117"/>
                </a:lnTo>
                <a:lnTo>
                  <a:pt x="435" y="118"/>
                </a:lnTo>
                <a:lnTo>
                  <a:pt x="429" y="121"/>
                </a:lnTo>
                <a:lnTo>
                  <a:pt x="424" y="125"/>
                </a:lnTo>
                <a:lnTo>
                  <a:pt x="417" y="130"/>
                </a:lnTo>
                <a:lnTo>
                  <a:pt x="405" y="140"/>
                </a:lnTo>
                <a:lnTo>
                  <a:pt x="393" y="146"/>
                </a:lnTo>
                <a:lnTo>
                  <a:pt x="388" y="154"/>
                </a:lnTo>
                <a:lnTo>
                  <a:pt x="380" y="160"/>
                </a:lnTo>
                <a:lnTo>
                  <a:pt x="371" y="167"/>
                </a:lnTo>
                <a:lnTo>
                  <a:pt x="361" y="174"/>
                </a:lnTo>
                <a:lnTo>
                  <a:pt x="351" y="179"/>
                </a:lnTo>
                <a:lnTo>
                  <a:pt x="342" y="186"/>
                </a:lnTo>
                <a:lnTo>
                  <a:pt x="339" y="189"/>
                </a:lnTo>
                <a:lnTo>
                  <a:pt x="335" y="193"/>
                </a:lnTo>
                <a:lnTo>
                  <a:pt x="333" y="197"/>
                </a:lnTo>
                <a:lnTo>
                  <a:pt x="331" y="201"/>
                </a:lnTo>
                <a:lnTo>
                  <a:pt x="324" y="204"/>
                </a:lnTo>
                <a:lnTo>
                  <a:pt x="313" y="212"/>
                </a:lnTo>
                <a:lnTo>
                  <a:pt x="302" y="221"/>
                </a:lnTo>
                <a:lnTo>
                  <a:pt x="297" y="226"/>
                </a:lnTo>
                <a:lnTo>
                  <a:pt x="290" y="230"/>
                </a:lnTo>
                <a:lnTo>
                  <a:pt x="282" y="232"/>
                </a:lnTo>
                <a:lnTo>
                  <a:pt x="274" y="236"/>
                </a:lnTo>
                <a:lnTo>
                  <a:pt x="269" y="239"/>
                </a:lnTo>
                <a:lnTo>
                  <a:pt x="265" y="241"/>
                </a:lnTo>
                <a:lnTo>
                  <a:pt x="261" y="242"/>
                </a:lnTo>
                <a:lnTo>
                  <a:pt x="256" y="243"/>
                </a:lnTo>
                <a:lnTo>
                  <a:pt x="247" y="251"/>
                </a:lnTo>
                <a:lnTo>
                  <a:pt x="235" y="251"/>
                </a:lnTo>
                <a:lnTo>
                  <a:pt x="229" y="255"/>
                </a:lnTo>
                <a:lnTo>
                  <a:pt x="224" y="260"/>
                </a:lnTo>
                <a:lnTo>
                  <a:pt x="218" y="263"/>
                </a:lnTo>
                <a:lnTo>
                  <a:pt x="211" y="266"/>
                </a:lnTo>
                <a:lnTo>
                  <a:pt x="198" y="272"/>
                </a:lnTo>
                <a:lnTo>
                  <a:pt x="184" y="277"/>
                </a:lnTo>
                <a:lnTo>
                  <a:pt x="155" y="283"/>
                </a:lnTo>
                <a:lnTo>
                  <a:pt x="130" y="289"/>
                </a:lnTo>
                <a:lnTo>
                  <a:pt x="105" y="299"/>
                </a:lnTo>
                <a:lnTo>
                  <a:pt x="75" y="313"/>
                </a:lnTo>
                <a:lnTo>
                  <a:pt x="60" y="320"/>
                </a:lnTo>
                <a:lnTo>
                  <a:pt x="45" y="326"/>
                </a:lnTo>
                <a:lnTo>
                  <a:pt x="32" y="329"/>
                </a:lnTo>
                <a:lnTo>
                  <a:pt x="21" y="330"/>
                </a:lnTo>
                <a:lnTo>
                  <a:pt x="17" y="333"/>
                </a:lnTo>
                <a:lnTo>
                  <a:pt x="13" y="337"/>
                </a:lnTo>
                <a:lnTo>
                  <a:pt x="9" y="340"/>
                </a:lnTo>
                <a:lnTo>
                  <a:pt x="8" y="343"/>
                </a:lnTo>
                <a:lnTo>
                  <a:pt x="0" y="343"/>
                </a:lnTo>
                <a:lnTo>
                  <a:pt x="0" y="351"/>
                </a:lnTo>
                <a:lnTo>
                  <a:pt x="7" y="355"/>
                </a:lnTo>
                <a:lnTo>
                  <a:pt x="15" y="357"/>
                </a:lnTo>
                <a:lnTo>
                  <a:pt x="24" y="359"/>
                </a:lnTo>
                <a:lnTo>
                  <a:pt x="34" y="360"/>
                </a:lnTo>
                <a:lnTo>
                  <a:pt x="42" y="366"/>
                </a:lnTo>
                <a:lnTo>
                  <a:pt x="53" y="371"/>
                </a:lnTo>
                <a:lnTo>
                  <a:pt x="65" y="375"/>
                </a:lnTo>
                <a:lnTo>
                  <a:pt x="75" y="377"/>
                </a:lnTo>
                <a:lnTo>
                  <a:pt x="80" y="385"/>
                </a:lnTo>
                <a:lnTo>
                  <a:pt x="90" y="387"/>
                </a:lnTo>
                <a:lnTo>
                  <a:pt x="103" y="391"/>
                </a:lnTo>
                <a:lnTo>
                  <a:pt x="115" y="396"/>
                </a:lnTo>
                <a:lnTo>
                  <a:pt x="125" y="398"/>
                </a:lnTo>
                <a:lnTo>
                  <a:pt x="129" y="402"/>
                </a:lnTo>
                <a:lnTo>
                  <a:pt x="133" y="405"/>
                </a:lnTo>
                <a:lnTo>
                  <a:pt x="138" y="408"/>
                </a:lnTo>
                <a:lnTo>
                  <a:pt x="142" y="410"/>
                </a:lnTo>
                <a:lnTo>
                  <a:pt x="153" y="413"/>
                </a:lnTo>
                <a:lnTo>
                  <a:pt x="165" y="414"/>
                </a:lnTo>
                <a:lnTo>
                  <a:pt x="188" y="412"/>
                </a:lnTo>
                <a:lnTo>
                  <a:pt x="209" y="410"/>
                </a:lnTo>
                <a:lnTo>
                  <a:pt x="214" y="402"/>
                </a:lnTo>
                <a:lnTo>
                  <a:pt x="220" y="400"/>
                </a:lnTo>
                <a:lnTo>
                  <a:pt x="229" y="398"/>
                </a:lnTo>
                <a:lnTo>
                  <a:pt x="240" y="395"/>
                </a:lnTo>
                <a:lnTo>
                  <a:pt x="253" y="390"/>
                </a:lnTo>
                <a:lnTo>
                  <a:pt x="265" y="386"/>
                </a:lnTo>
                <a:lnTo>
                  <a:pt x="275" y="380"/>
                </a:lnTo>
                <a:lnTo>
                  <a:pt x="284" y="376"/>
                </a:lnTo>
                <a:lnTo>
                  <a:pt x="290" y="373"/>
                </a:lnTo>
                <a:lnTo>
                  <a:pt x="302" y="373"/>
                </a:lnTo>
                <a:lnTo>
                  <a:pt x="310" y="364"/>
                </a:lnTo>
                <a:lnTo>
                  <a:pt x="319" y="364"/>
                </a:lnTo>
                <a:lnTo>
                  <a:pt x="330" y="362"/>
                </a:lnTo>
                <a:lnTo>
                  <a:pt x="341" y="360"/>
                </a:lnTo>
                <a:lnTo>
                  <a:pt x="352" y="360"/>
                </a:lnTo>
                <a:lnTo>
                  <a:pt x="353" y="362"/>
                </a:lnTo>
                <a:lnTo>
                  <a:pt x="357" y="366"/>
                </a:lnTo>
                <a:lnTo>
                  <a:pt x="361" y="368"/>
                </a:lnTo>
                <a:lnTo>
                  <a:pt x="364" y="368"/>
                </a:lnTo>
                <a:lnTo>
                  <a:pt x="369" y="377"/>
                </a:lnTo>
                <a:lnTo>
                  <a:pt x="377" y="380"/>
                </a:lnTo>
                <a:lnTo>
                  <a:pt x="386" y="385"/>
                </a:lnTo>
                <a:lnTo>
                  <a:pt x="395" y="388"/>
                </a:lnTo>
                <a:lnTo>
                  <a:pt x="402" y="389"/>
                </a:lnTo>
                <a:lnTo>
                  <a:pt x="403" y="390"/>
                </a:lnTo>
                <a:lnTo>
                  <a:pt x="408" y="391"/>
                </a:lnTo>
                <a:lnTo>
                  <a:pt x="415" y="393"/>
                </a:lnTo>
                <a:lnTo>
                  <a:pt x="421" y="393"/>
                </a:lnTo>
                <a:lnTo>
                  <a:pt x="436" y="394"/>
                </a:lnTo>
                <a:lnTo>
                  <a:pt x="444" y="394"/>
                </a:lnTo>
                <a:lnTo>
                  <a:pt x="447" y="383"/>
                </a:lnTo>
                <a:lnTo>
                  <a:pt x="448" y="368"/>
                </a:lnTo>
                <a:lnTo>
                  <a:pt x="448" y="355"/>
                </a:lnTo>
                <a:lnTo>
                  <a:pt x="448" y="343"/>
                </a:lnTo>
                <a:lnTo>
                  <a:pt x="446" y="342"/>
                </a:lnTo>
                <a:lnTo>
                  <a:pt x="445" y="340"/>
                </a:lnTo>
                <a:lnTo>
                  <a:pt x="444" y="338"/>
                </a:lnTo>
                <a:lnTo>
                  <a:pt x="444" y="335"/>
                </a:lnTo>
                <a:lnTo>
                  <a:pt x="436" y="327"/>
                </a:lnTo>
                <a:lnTo>
                  <a:pt x="436" y="320"/>
                </a:lnTo>
                <a:lnTo>
                  <a:pt x="436" y="313"/>
                </a:lnTo>
                <a:lnTo>
                  <a:pt x="435" y="313"/>
                </a:lnTo>
                <a:lnTo>
                  <a:pt x="434" y="312"/>
                </a:lnTo>
                <a:lnTo>
                  <a:pt x="432" y="311"/>
                </a:lnTo>
                <a:lnTo>
                  <a:pt x="432" y="309"/>
                </a:lnTo>
                <a:lnTo>
                  <a:pt x="432" y="303"/>
                </a:lnTo>
                <a:lnTo>
                  <a:pt x="432" y="297"/>
                </a:lnTo>
                <a:lnTo>
                  <a:pt x="435" y="285"/>
                </a:lnTo>
                <a:lnTo>
                  <a:pt x="436" y="280"/>
                </a:lnTo>
                <a:lnTo>
                  <a:pt x="445" y="272"/>
                </a:lnTo>
                <a:lnTo>
                  <a:pt x="457" y="263"/>
                </a:lnTo>
                <a:lnTo>
                  <a:pt x="457" y="261"/>
                </a:lnTo>
                <a:lnTo>
                  <a:pt x="458" y="258"/>
                </a:lnTo>
                <a:lnTo>
                  <a:pt x="459" y="254"/>
                </a:lnTo>
                <a:lnTo>
                  <a:pt x="461" y="252"/>
                </a:lnTo>
                <a:lnTo>
                  <a:pt x="467" y="246"/>
                </a:lnTo>
                <a:lnTo>
                  <a:pt x="474" y="243"/>
                </a:lnTo>
                <a:lnTo>
                  <a:pt x="475" y="237"/>
                </a:lnTo>
                <a:lnTo>
                  <a:pt x="477" y="233"/>
                </a:lnTo>
                <a:lnTo>
                  <a:pt x="480" y="227"/>
                </a:lnTo>
                <a:lnTo>
                  <a:pt x="486" y="223"/>
                </a:lnTo>
                <a:lnTo>
                  <a:pt x="491" y="220"/>
                </a:lnTo>
                <a:lnTo>
                  <a:pt x="496" y="216"/>
                </a:lnTo>
                <a:lnTo>
                  <a:pt x="502" y="214"/>
                </a:lnTo>
                <a:lnTo>
                  <a:pt x="507" y="213"/>
                </a:lnTo>
                <a:lnTo>
                  <a:pt x="511" y="205"/>
                </a:lnTo>
                <a:lnTo>
                  <a:pt x="517" y="204"/>
                </a:lnTo>
                <a:lnTo>
                  <a:pt x="524" y="201"/>
                </a:lnTo>
                <a:lnTo>
                  <a:pt x="531" y="196"/>
                </a:lnTo>
                <a:lnTo>
                  <a:pt x="537" y="191"/>
                </a:lnTo>
                <a:lnTo>
                  <a:pt x="544" y="185"/>
                </a:lnTo>
                <a:lnTo>
                  <a:pt x="551" y="181"/>
                </a:lnTo>
                <a:lnTo>
                  <a:pt x="556" y="177"/>
                </a:lnTo>
                <a:lnTo>
                  <a:pt x="562" y="176"/>
                </a:lnTo>
                <a:lnTo>
                  <a:pt x="563" y="173"/>
                </a:lnTo>
                <a:lnTo>
                  <a:pt x="565" y="169"/>
                </a:lnTo>
                <a:lnTo>
                  <a:pt x="570" y="167"/>
                </a:lnTo>
                <a:lnTo>
                  <a:pt x="575" y="164"/>
                </a:lnTo>
                <a:lnTo>
                  <a:pt x="587" y="160"/>
                </a:lnTo>
                <a:lnTo>
                  <a:pt x="595" y="159"/>
                </a:lnTo>
                <a:lnTo>
                  <a:pt x="603" y="150"/>
                </a:lnTo>
                <a:lnTo>
                  <a:pt x="621" y="149"/>
                </a:lnTo>
                <a:lnTo>
                  <a:pt x="639" y="148"/>
                </a:lnTo>
                <a:lnTo>
                  <a:pt x="655" y="145"/>
                </a:lnTo>
                <a:lnTo>
                  <a:pt x="670" y="143"/>
                </a:lnTo>
                <a:lnTo>
                  <a:pt x="689" y="136"/>
                </a:lnTo>
                <a:lnTo>
                  <a:pt x="716" y="126"/>
                </a:lnTo>
                <a:lnTo>
                  <a:pt x="742" y="117"/>
                </a:lnTo>
                <a:lnTo>
                  <a:pt x="758" y="112"/>
                </a:lnTo>
                <a:lnTo>
                  <a:pt x="763" y="109"/>
                </a:lnTo>
                <a:lnTo>
                  <a:pt x="763" y="100"/>
                </a:lnTo>
                <a:lnTo>
                  <a:pt x="763" y="91"/>
                </a:lnTo>
                <a:lnTo>
                  <a:pt x="754" y="91"/>
                </a:lnTo>
                <a:lnTo>
                  <a:pt x="746" y="83"/>
                </a:lnTo>
                <a:lnTo>
                  <a:pt x="733" y="82"/>
                </a:lnTo>
                <a:lnTo>
                  <a:pt x="720" y="81"/>
                </a:lnTo>
                <a:lnTo>
                  <a:pt x="707" y="78"/>
                </a:lnTo>
                <a:lnTo>
                  <a:pt x="694" y="75"/>
                </a:lnTo>
                <a:lnTo>
                  <a:pt x="681" y="72"/>
                </a:lnTo>
                <a:lnTo>
                  <a:pt x="669" y="69"/>
                </a:lnTo>
                <a:lnTo>
                  <a:pt x="657" y="68"/>
                </a:lnTo>
                <a:lnTo>
                  <a:pt x="646" y="67"/>
                </a:lnTo>
                <a:lnTo>
                  <a:pt x="642" y="63"/>
                </a:lnTo>
                <a:lnTo>
                  <a:pt x="635" y="59"/>
                </a:lnTo>
                <a:lnTo>
                  <a:pt x="626" y="56"/>
                </a:lnTo>
                <a:lnTo>
                  <a:pt x="620" y="54"/>
                </a:lnTo>
                <a:lnTo>
                  <a:pt x="611" y="48"/>
                </a:lnTo>
                <a:lnTo>
                  <a:pt x="599" y="41"/>
                </a:lnTo>
                <a:lnTo>
                  <a:pt x="599" y="40"/>
                </a:lnTo>
                <a:lnTo>
                  <a:pt x="597" y="38"/>
                </a:lnTo>
                <a:lnTo>
                  <a:pt x="594" y="34"/>
                </a:lnTo>
                <a:lnTo>
                  <a:pt x="591" y="33"/>
                </a:lnTo>
                <a:lnTo>
                  <a:pt x="591" y="24"/>
                </a:lnTo>
                <a:lnTo>
                  <a:pt x="587" y="21"/>
                </a:lnTo>
                <a:lnTo>
                  <a:pt x="579" y="16"/>
                </a:lnTo>
                <a:lnTo>
                  <a:pt x="578" y="13"/>
                </a:lnTo>
                <a:lnTo>
                  <a:pt x="575" y="10"/>
                </a:lnTo>
                <a:lnTo>
                  <a:pt x="573" y="8"/>
                </a:lnTo>
                <a:lnTo>
                  <a:pt x="570" y="5"/>
                </a:lnTo>
                <a:lnTo>
                  <a:pt x="564" y="1"/>
                </a:lnTo>
                <a:lnTo>
                  <a:pt x="562" y="0"/>
                </a:lnTo>
                <a:lnTo>
                  <a:pt x="532" y="0"/>
                </a:lnTo>
                <a:lnTo>
                  <a:pt x="532" y="1"/>
                </a:lnTo>
                <a:lnTo>
                  <a:pt x="530" y="4"/>
                </a:lnTo>
                <a:lnTo>
                  <a:pt x="527" y="6"/>
                </a:lnTo>
                <a:lnTo>
                  <a:pt x="524" y="8"/>
                </a:lnTo>
                <a:lnTo>
                  <a:pt x="524" y="21"/>
                </a:lnTo>
                <a:lnTo>
                  <a:pt x="520" y="25"/>
                </a:lnTo>
                <a:lnTo>
                  <a:pt x="515" y="33"/>
                </a:lnTo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21" name="Freeform 82">
            <a:extLst>
              <a:ext uri="{FF2B5EF4-FFF2-40B4-BE49-F238E27FC236}">
                <a16:creationId xmlns:a16="http://schemas.microsoft.com/office/drawing/2014/main" id="{2C316DC5-00A7-404C-8281-90E909EFCF92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437563" y="4694238"/>
            <a:ext cx="67442" cy="60325"/>
          </a:xfrm>
          <a:custGeom>
            <a:avLst/>
            <a:gdLst/>
            <a:ahLst/>
            <a:cxnLst>
              <a:cxn ang="0">
                <a:pos x="66" y="36"/>
              </a:cxn>
              <a:cxn ang="0">
                <a:pos x="48" y="55"/>
              </a:cxn>
              <a:cxn ang="0">
                <a:pos x="38" y="59"/>
              </a:cxn>
              <a:cxn ang="0">
                <a:pos x="24" y="75"/>
              </a:cxn>
              <a:cxn ang="0">
                <a:pos x="12" y="84"/>
              </a:cxn>
              <a:cxn ang="0">
                <a:pos x="4" y="102"/>
              </a:cxn>
              <a:cxn ang="0">
                <a:pos x="1" y="123"/>
              </a:cxn>
              <a:cxn ang="0">
                <a:pos x="7" y="146"/>
              </a:cxn>
              <a:cxn ang="0">
                <a:pos x="26" y="163"/>
              </a:cxn>
              <a:cxn ang="0">
                <a:pos x="59" y="188"/>
              </a:cxn>
              <a:cxn ang="0">
                <a:pos x="99" y="218"/>
              </a:cxn>
              <a:cxn ang="0">
                <a:pos x="114" y="226"/>
              </a:cxn>
              <a:cxn ang="0">
                <a:pos x="139" y="256"/>
              </a:cxn>
              <a:cxn ang="0">
                <a:pos x="171" y="300"/>
              </a:cxn>
              <a:cxn ang="0">
                <a:pos x="192" y="335"/>
              </a:cxn>
              <a:cxn ang="0">
                <a:pos x="200" y="348"/>
              </a:cxn>
              <a:cxn ang="0">
                <a:pos x="209" y="355"/>
              </a:cxn>
              <a:cxn ang="0">
                <a:pos x="222" y="365"/>
              </a:cxn>
              <a:cxn ang="0">
                <a:pos x="231" y="369"/>
              </a:cxn>
              <a:cxn ang="0">
                <a:pos x="240" y="362"/>
              </a:cxn>
              <a:cxn ang="0">
                <a:pos x="246" y="351"/>
              </a:cxn>
              <a:cxn ang="0">
                <a:pos x="256" y="329"/>
              </a:cxn>
              <a:cxn ang="0">
                <a:pos x="263" y="314"/>
              </a:cxn>
              <a:cxn ang="0">
                <a:pos x="277" y="308"/>
              </a:cxn>
              <a:cxn ang="0">
                <a:pos x="302" y="286"/>
              </a:cxn>
              <a:cxn ang="0">
                <a:pos x="319" y="275"/>
              </a:cxn>
              <a:cxn ang="0">
                <a:pos x="328" y="269"/>
              </a:cxn>
              <a:cxn ang="0">
                <a:pos x="336" y="261"/>
              </a:cxn>
              <a:cxn ang="0">
                <a:pos x="350" y="249"/>
              </a:cxn>
              <a:cxn ang="0">
                <a:pos x="361" y="239"/>
              </a:cxn>
              <a:cxn ang="0">
                <a:pos x="369" y="230"/>
              </a:cxn>
              <a:cxn ang="0">
                <a:pos x="347" y="212"/>
              </a:cxn>
              <a:cxn ang="0">
                <a:pos x="301" y="184"/>
              </a:cxn>
              <a:cxn ang="0">
                <a:pos x="270" y="178"/>
              </a:cxn>
              <a:cxn ang="0">
                <a:pos x="258" y="172"/>
              </a:cxn>
              <a:cxn ang="0">
                <a:pos x="246" y="163"/>
              </a:cxn>
              <a:cxn ang="0">
                <a:pos x="231" y="152"/>
              </a:cxn>
              <a:cxn ang="0">
                <a:pos x="217" y="141"/>
              </a:cxn>
              <a:cxn ang="0">
                <a:pos x="210" y="126"/>
              </a:cxn>
              <a:cxn ang="0">
                <a:pos x="198" y="101"/>
              </a:cxn>
              <a:cxn ang="0">
                <a:pos x="172" y="59"/>
              </a:cxn>
              <a:cxn ang="0">
                <a:pos x="153" y="32"/>
              </a:cxn>
              <a:cxn ang="0">
                <a:pos x="144" y="20"/>
              </a:cxn>
              <a:cxn ang="0">
                <a:pos x="138" y="13"/>
              </a:cxn>
              <a:cxn ang="0">
                <a:pos x="122" y="10"/>
              </a:cxn>
              <a:cxn ang="0">
                <a:pos x="99" y="5"/>
              </a:cxn>
            </a:cxnLst>
            <a:rect l="0" t="0" r="r" b="b"/>
            <a:pathLst>
              <a:path w="373" h="369">
                <a:moveTo>
                  <a:pt x="88" y="0"/>
                </a:moveTo>
                <a:lnTo>
                  <a:pt x="79" y="17"/>
                </a:lnTo>
                <a:lnTo>
                  <a:pt x="66" y="36"/>
                </a:lnTo>
                <a:lnTo>
                  <a:pt x="59" y="45"/>
                </a:lnTo>
                <a:lnTo>
                  <a:pt x="51" y="52"/>
                </a:lnTo>
                <a:lnTo>
                  <a:pt x="48" y="55"/>
                </a:lnTo>
                <a:lnTo>
                  <a:pt x="45" y="57"/>
                </a:lnTo>
                <a:lnTo>
                  <a:pt x="41" y="58"/>
                </a:lnTo>
                <a:lnTo>
                  <a:pt x="38" y="59"/>
                </a:lnTo>
                <a:lnTo>
                  <a:pt x="33" y="67"/>
                </a:lnTo>
                <a:lnTo>
                  <a:pt x="26" y="72"/>
                </a:lnTo>
                <a:lnTo>
                  <a:pt x="24" y="75"/>
                </a:lnTo>
                <a:lnTo>
                  <a:pt x="21" y="79"/>
                </a:lnTo>
                <a:lnTo>
                  <a:pt x="17" y="83"/>
                </a:lnTo>
                <a:lnTo>
                  <a:pt x="12" y="84"/>
                </a:lnTo>
                <a:lnTo>
                  <a:pt x="11" y="90"/>
                </a:lnTo>
                <a:lnTo>
                  <a:pt x="8" y="96"/>
                </a:lnTo>
                <a:lnTo>
                  <a:pt x="4" y="102"/>
                </a:lnTo>
                <a:lnTo>
                  <a:pt x="0" y="105"/>
                </a:lnTo>
                <a:lnTo>
                  <a:pt x="0" y="114"/>
                </a:lnTo>
                <a:lnTo>
                  <a:pt x="1" y="123"/>
                </a:lnTo>
                <a:lnTo>
                  <a:pt x="1" y="131"/>
                </a:lnTo>
                <a:lnTo>
                  <a:pt x="3" y="139"/>
                </a:lnTo>
                <a:lnTo>
                  <a:pt x="7" y="146"/>
                </a:lnTo>
                <a:lnTo>
                  <a:pt x="11" y="153"/>
                </a:lnTo>
                <a:lnTo>
                  <a:pt x="17" y="159"/>
                </a:lnTo>
                <a:lnTo>
                  <a:pt x="26" y="163"/>
                </a:lnTo>
                <a:lnTo>
                  <a:pt x="35" y="169"/>
                </a:lnTo>
                <a:lnTo>
                  <a:pt x="46" y="177"/>
                </a:lnTo>
                <a:lnTo>
                  <a:pt x="59" y="188"/>
                </a:lnTo>
                <a:lnTo>
                  <a:pt x="73" y="198"/>
                </a:lnTo>
                <a:lnTo>
                  <a:pt x="87" y="209"/>
                </a:lnTo>
                <a:lnTo>
                  <a:pt x="99" y="218"/>
                </a:lnTo>
                <a:lnTo>
                  <a:pt x="105" y="221"/>
                </a:lnTo>
                <a:lnTo>
                  <a:pt x="109" y="225"/>
                </a:lnTo>
                <a:lnTo>
                  <a:pt x="114" y="226"/>
                </a:lnTo>
                <a:lnTo>
                  <a:pt x="117" y="227"/>
                </a:lnTo>
                <a:lnTo>
                  <a:pt x="124" y="237"/>
                </a:lnTo>
                <a:lnTo>
                  <a:pt x="139" y="256"/>
                </a:lnTo>
                <a:lnTo>
                  <a:pt x="155" y="277"/>
                </a:lnTo>
                <a:lnTo>
                  <a:pt x="164" y="289"/>
                </a:lnTo>
                <a:lnTo>
                  <a:pt x="171" y="300"/>
                </a:lnTo>
                <a:lnTo>
                  <a:pt x="182" y="317"/>
                </a:lnTo>
                <a:lnTo>
                  <a:pt x="187" y="326"/>
                </a:lnTo>
                <a:lnTo>
                  <a:pt x="192" y="335"/>
                </a:lnTo>
                <a:lnTo>
                  <a:pt x="196" y="342"/>
                </a:lnTo>
                <a:lnTo>
                  <a:pt x="198" y="348"/>
                </a:lnTo>
                <a:lnTo>
                  <a:pt x="200" y="348"/>
                </a:lnTo>
                <a:lnTo>
                  <a:pt x="203" y="350"/>
                </a:lnTo>
                <a:lnTo>
                  <a:pt x="206" y="352"/>
                </a:lnTo>
                <a:lnTo>
                  <a:pt x="209" y="355"/>
                </a:lnTo>
                <a:lnTo>
                  <a:pt x="212" y="361"/>
                </a:lnTo>
                <a:lnTo>
                  <a:pt x="214" y="365"/>
                </a:lnTo>
                <a:lnTo>
                  <a:pt x="222" y="365"/>
                </a:lnTo>
                <a:lnTo>
                  <a:pt x="223" y="367"/>
                </a:lnTo>
                <a:lnTo>
                  <a:pt x="227" y="369"/>
                </a:lnTo>
                <a:lnTo>
                  <a:pt x="231" y="369"/>
                </a:lnTo>
                <a:lnTo>
                  <a:pt x="234" y="369"/>
                </a:lnTo>
                <a:lnTo>
                  <a:pt x="239" y="365"/>
                </a:lnTo>
                <a:lnTo>
                  <a:pt x="240" y="362"/>
                </a:lnTo>
                <a:lnTo>
                  <a:pt x="241" y="357"/>
                </a:lnTo>
                <a:lnTo>
                  <a:pt x="243" y="354"/>
                </a:lnTo>
                <a:lnTo>
                  <a:pt x="246" y="351"/>
                </a:lnTo>
                <a:lnTo>
                  <a:pt x="251" y="344"/>
                </a:lnTo>
                <a:lnTo>
                  <a:pt x="256" y="340"/>
                </a:lnTo>
                <a:lnTo>
                  <a:pt x="256" y="329"/>
                </a:lnTo>
                <a:lnTo>
                  <a:pt x="256" y="318"/>
                </a:lnTo>
                <a:lnTo>
                  <a:pt x="260" y="315"/>
                </a:lnTo>
                <a:lnTo>
                  <a:pt x="263" y="314"/>
                </a:lnTo>
                <a:lnTo>
                  <a:pt x="268" y="313"/>
                </a:lnTo>
                <a:lnTo>
                  <a:pt x="272" y="311"/>
                </a:lnTo>
                <a:lnTo>
                  <a:pt x="277" y="308"/>
                </a:lnTo>
                <a:lnTo>
                  <a:pt x="285" y="302"/>
                </a:lnTo>
                <a:lnTo>
                  <a:pt x="294" y="294"/>
                </a:lnTo>
                <a:lnTo>
                  <a:pt x="302" y="286"/>
                </a:lnTo>
                <a:lnTo>
                  <a:pt x="310" y="279"/>
                </a:lnTo>
                <a:lnTo>
                  <a:pt x="315" y="276"/>
                </a:lnTo>
                <a:lnTo>
                  <a:pt x="319" y="275"/>
                </a:lnTo>
                <a:lnTo>
                  <a:pt x="323" y="273"/>
                </a:lnTo>
                <a:lnTo>
                  <a:pt x="327" y="273"/>
                </a:lnTo>
                <a:lnTo>
                  <a:pt x="328" y="269"/>
                </a:lnTo>
                <a:lnTo>
                  <a:pt x="329" y="267"/>
                </a:lnTo>
                <a:lnTo>
                  <a:pt x="333" y="264"/>
                </a:lnTo>
                <a:lnTo>
                  <a:pt x="336" y="261"/>
                </a:lnTo>
                <a:lnTo>
                  <a:pt x="343" y="257"/>
                </a:lnTo>
                <a:lnTo>
                  <a:pt x="348" y="256"/>
                </a:lnTo>
                <a:lnTo>
                  <a:pt x="350" y="249"/>
                </a:lnTo>
                <a:lnTo>
                  <a:pt x="353" y="247"/>
                </a:lnTo>
                <a:lnTo>
                  <a:pt x="356" y="245"/>
                </a:lnTo>
                <a:lnTo>
                  <a:pt x="361" y="239"/>
                </a:lnTo>
                <a:lnTo>
                  <a:pt x="369" y="239"/>
                </a:lnTo>
                <a:lnTo>
                  <a:pt x="373" y="235"/>
                </a:lnTo>
                <a:lnTo>
                  <a:pt x="369" y="230"/>
                </a:lnTo>
                <a:lnTo>
                  <a:pt x="364" y="225"/>
                </a:lnTo>
                <a:lnTo>
                  <a:pt x="357" y="218"/>
                </a:lnTo>
                <a:lnTo>
                  <a:pt x="347" y="212"/>
                </a:lnTo>
                <a:lnTo>
                  <a:pt x="337" y="206"/>
                </a:lnTo>
                <a:lnTo>
                  <a:pt x="317" y="194"/>
                </a:lnTo>
                <a:lnTo>
                  <a:pt x="301" y="184"/>
                </a:lnTo>
                <a:lnTo>
                  <a:pt x="291" y="183"/>
                </a:lnTo>
                <a:lnTo>
                  <a:pt x="281" y="180"/>
                </a:lnTo>
                <a:lnTo>
                  <a:pt x="270" y="178"/>
                </a:lnTo>
                <a:lnTo>
                  <a:pt x="260" y="177"/>
                </a:lnTo>
                <a:lnTo>
                  <a:pt x="259" y="174"/>
                </a:lnTo>
                <a:lnTo>
                  <a:pt x="258" y="172"/>
                </a:lnTo>
                <a:lnTo>
                  <a:pt x="254" y="172"/>
                </a:lnTo>
                <a:lnTo>
                  <a:pt x="251" y="172"/>
                </a:lnTo>
                <a:lnTo>
                  <a:pt x="246" y="163"/>
                </a:lnTo>
                <a:lnTo>
                  <a:pt x="239" y="155"/>
                </a:lnTo>
                <a:lnTo>
                  <a:pt x="235" y="154"/>
                </a:lnTo>
                <a:lnTo>
                  <a:pt x="231" y="152"/>
                </a:lnTo>
                <a:lnTo>
                  <a:pt x="227" y="150"/>
                </a:lnTo>
                <a:lnTo>
                  <a:pt x="221" y="145"/>
                </a:lnTo>
                <a:lnTo>
                  <a:pt x="217" y="141"/>
                </a:lnTo>
                <a:lnTo>
                  <a:pt x="213" y="136"/>
                </a:lnTo>
                <a:lnTo>
                  <a:pt x="211" y="131"/>
                </a:lnTo>
                <a:lnTo>
                  <a:pt x="210" y="126"/>
                </a:lnTo>
                <a:lnTo>
                  <a:pt x="201" y="122"/>
                </a:lnTo>
                <a:lnTo>
                  <a:pt x="198" y="113"/>
                </a:lnTo>
                <a:lnTo>
                  <a:pt x="198" y="101"/>
                </a:lnTo>
                <a:lnTo>
                  <a:pt x="183" y="85"/>
                </a:lnTo>
                <a:lnTo>
                  <a:pt x="172" y="72"/>
                </a:lnTo>
                <a:lnTo>
                  <a:pt x="172" y="59"/>
                </a:lnTo>
                <a:lnTo>
                  <a:pt x="165" y="50"/>
                </a:lnTo>
                <a:lnTo>
                  <a:pt x="158" y="40"/>
                </a:lnTo>
                <a:lnTo>
                  <a:pt x="153" y="32"/>
                </a:lnTo>
                <a:lnTo>
                  <a:pt x="151" y="26"/>
                </a:lnTo>
                <a:lnTo>
                  <a:pt x="147" y="21"/>
                </a:lnTo>
                <a:lnTo>
                  <a:pt x="144" y="20"/>
                </a:lnTo>
                <a:lnTo>
                  <a:pt x="141" y="18"/>
                </a:lnTo>
                <a:lnTo>
                  <a:pt x="139" y="16"/>
                </a:lnTo>
                <a:lnTo>
                  <a:pt x="138" y="13"/>
                </a:lnTo>
                <a:lnTo>
                  <a:pt x="132" y="13"/>
                </a:lnTo>
                <a:lnTo>
                  <a:pt x="126" y="13"/>
                </a:lnTo>
                <a:lnTo>
                  <a:pt x="122" y="10"/>
                </a:lnTo>
                <a:lnTo>
                  <a:pt x="112" y="8"/>
                </a:lnTo>
                <a:lnTo>
                  <a:pt x="106" y="7"/>
                </a:lnTo>
                <a:lnTo>
                  <a:pt x="99" y="5"/>
                </a:lnTo>
                <a:lnTo>
                  <a:pt x="94" y="4"/>
                </a:lnTo>
                <a:lnTo>
                  <a:pt x="88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22" name="Freeform 83">
            <a:extLst>
              <a:ext uri="{FF2B5EF4-FFF2-40B4-BE49-F238E27FC236}">
                <a16:creationId xmlns:a16="http://schemas.microsoft.com/office/drawing/2014/main" id="{23266CE0-8F5F-42F6-B775-F35695FF888F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380413" y="4703763"/>
            <a:ext cx="34110" cy="30163"/>
          </a:xfrm>
          <a:custGeom>
            <a:avLst/>
            <a:gdLst/>
            <a:ahLst/>
            <a:cxnLst>
              <a:cxn ang="0">
                <a:pos x="133" y="14"/>
              </a:cxn>
              <a:cxn ang="0">
                <a:pos x="121" y="32"/>
              </a:cxn>
              <a:cxn ang="0">
                <a:pos x="108" y="41"/>
              </a:cxn>
              <a:cxn ang="0">
                <a:pos x="100" y="50"/>
              </a:cxn>
              <a:cxn ang="0">
                <a:pos x="93" y="55"/>
              </a:cxn>
              <a:cxn ang="0">
                <a:pos x="83" y="58"/>
              </a:cxn>
              <a:cxn ang="0">
                <a:pos x="77" y="67"/>
              </a:cxn>
              <a:cxn ang="0">
                <a:pos x="66" y="74"/>
              </a:cxn>
              <a:cxn ang="0">
                <a:pos x="62" y="74"/>
              </a:cxn>
              <a:cxn ang="0">
                <a:pos x="55" y="81"/>
              </a:cxn>
              <a:cxn ang="0">
                <a:pos x="50" y="86"/>
              </a:cxn>
              <a:cxn ang="0">
                <a:pos x="39" y="96"/>
              </a:cxn>
              <a:cxn ang="0">
                <a:pos x="29" y="100"/>
              </a:cxn>
              <a:cxn ang="0">
                <a:pos x="18" y="110"/>
              </a:cxn>
              <a:cxn ang="0">
                <a:pos x="13" y="117"/>
              </a:cxn>
              <a:cxn ang="0">
                <a:pos x="8" y="119"/>
              </a:cxn>
              <a:cxn ang="0">
                <a:pos x="4" y="126"/>
              </a:cxn>
              <a:cxn ang="0">
                <a:pos x="2" y="136"/>
              </a:cxn>
              <a:cxn ang="0">
                <a:pos x="0" y="146"/>
              </a:cxn>
              <a:cxn ang="0">
                <a:pos x="0" y="155"/>
              </a:cxn>
              <a:cxn ang="0">
                <a:pos x="0" y="163"/>
              </a:cxn>
              <a:cxn ang="0">
                <a:pos x="0" y="175"/>
              </a:cxn>
              <a:cxn ang="0">
                <a:pos x="3" y="188"/>
              </a:cxn>
              <a:cxn ang="0">
                <a:pos x="10" y="190"/>
              </a:cxn>
              <a:cxn ang="0">
                <a:pos x="16" y="196"/>
              </a:cxn>
              <a:cxn ang="0">
                <a:pos x="33" y="196"/>
              </a:cxn>
              <a:cxn ang="0">
                <a:pos x="35" y="199"/>
              </a:cxn>
              <a:cxn ang="0">
                <a:pos x="41" y="201"/>
              </a:cxn>
              <a:cxn ang="0">
                <a:pos x="53" y="201"/>
              </a:cxn>
              <a:cxn ang="0">
                <a:pos x="60" y="201"/>
              </a:cxn>
              <a:cxn ang="0">
                <a:pos x="66" y="201"/>
              </a:cxn>
              <a:cxn ang="0">
                <a:pos x="77" y="198"/>
              </a:cxn>
              <a:cxn ang="0">
                <a:pos x="85" y="194"/>
              </a:cxn>
              <a:cxn ang="0">
                <a:pos x="91" y="188"/>
              </a:cxn>
              <a:cxn ang="0">
                <a:pos x="96" y="184"/>
              </a:cxn>
              <a:cxn ang="0">
                <a:pos x="112" y="174"/>
              </a:cxn>
              <a:cxn ang="0">
                <a:pos x="121" y="158"/>
              </a:cxn>
              <a:cxn ang="0">
                <a:pos x="126" y="150"/>
              </a:cxn>
              <a:cxn ang="0">
                <a:pos x="133" y="146"/>
              </a:cxn>
              <a:cxn ang="0">
                <a:pos x="138" y="129"/>
              </a:cxn>
              <a:cxn ang="0">
                <a:pos x="144" y="127"/>
              </a:cxn>
              <a:cxn ang="0">
                <a:pos x="150" y="120"/>
              </a:cxn>
              <a:cxn ang="0">
                <a:pos x="162" y="103"/>
              </a:cxn>
              <a:cxn ang="0">
                <a:pos x="179" y="96"/>
              </a:cxn>
              <a:cxn ang="0">
                <a:pos x="184" y="86"/>
              </a:cxn>
              <a:cxn ang="0">
                <a:pos x="192" y="79"/>
              </a:cxn>
              <a:cxn ang="0">
                <a:pos x="196" y="62"/>
              </a:cxn>
              <a:cxn ang="0">
                <a:pos x="200" y="58"/>
              </a:cxn>
              <a:cxn ang="0">
                <a:pos x="200" y="52"/>
              </a:cxn>
              <a:cxn ang="0">
                <a:pos x="200" y="41"/>
              </a:cxn>
              <a:cxn ang="0">
                <a:pos x="192" y="33"/>
              </a:cxn>
              <a:cxn ang="0">
                <a:pos x="187" y="26"/>
              </a:cxn>
              <a:cxn ang="0">
                <a:pos x="179" y="24"/>
              </a:cxn>
              <a:cxn ang="0">
                <a:pos x="171" y="16"/>
              </a:cxn>
              <a:cxn ang="0">
                <a:pos x="167" y="3"/>
              </a:cxn>
              <a:cxn ang="0">
                <a:pos x="156" y="0"/>
              </a:cxn>
            </a:cxnLst>
            <a:rect l="0" t="0" r="r" b="b"/>
            <a:pathLst>
              <a:path w="200" h="201">
                <a:moveTo>
                  <a:pt x="141" y="3"/>
                </a:moveTo>
                <a:lnTo>
                  <a:pt x="133" y="14"/>
                </a:lnTo>
                <a:lnTo>
                  <a:pt x="125" y="24"/>
                </a:lnTo>
                <a:lnTo>
                  <a:pt x="121" y="32"/>
                </a:lnTo>
                <a:lnTo>
                  <a:pt x="117" y="36"/>
                </a:lnTo>
                <a:lnTo>
                  <a:pt x="108" y="41"/>
                </a:lnTo>
                <a:lnTo>
                  <a:pt x="104" y="45"/>
                </a:lnTo>
                <a:lnTo>
                  <a:pt x="100" y="50"/>
                </a:lnTo>
                <a:lnTo>
                  <a:pt x="97" y="52"/>
                </a:lnTo>
                <a:lnTo>
                  <a:pt x="93" y="55"/>
                </a:lnTo>
                <a:lnTo>
                  <a:pt x="89" y="58"/>
                </a:lnTo>
                <a:lnTo>
                  <a:pt x="83" y="58"/>
                </a:lnTo>
                <a:lnTo>
                  <a:pt x="79" y="62"/>
                </a:lnTo>
                <a:lnTo>
                  <a:pt x="77" y="67"/>
                </a:lnTo>
                <a:lnTo>
                  <a:pt x="74" y="70"/>
                </a:lnTo>
                <a:lnTo>
                  <a:pt x="66" y="74"/>
                </a:lnTo>
                <a:lnTo>
                  <a:pt x="64" y="74"/>
                </a:lnTo>
                <a:lnTo>
                  <a:pt x="62" y="74"/>
                </a:lnTo>
                <a:lnTo>
                  <a:pt x="58" y="79"/>
                </a:lnTo>
                <a:lnTo>
                  <a:pt x="55" y="81"/>
                </a:lnTo>
                <a:lnTo>
                  <a:pt x="53" y="83"/>
                </a:lnTo>
                <a:lnTo>
                  <a:pt x="50" y="86"/>
                </a:lnTo>
                <a:lnTo>
                  <a:pt x="44" y="90"/>
                </a:lnTo>
                <a:lnTo>
                  <a:pt x="39" y="96"/>
                </a:lnTo>
                <a:lnTo>
                  <a:pt x="36" y="100"/>
                </a:lnTo>
                <a:lnTo>
                  <a:pt x="29" y="100"/>
                </a:lnTo>
                <a:lnTo>
                  <a:pt x="20" y="103"/>
                </a:lnTo>
                <a:lnTo>
                  <a:pt x="18" y="110"/>
                </a:lnTo>
                <a:lnTo>
                  <a:pt x="16" y="117"/>
                </a:lnTo>
                <a:lnTo>
                  <a:pt x="13" y="117"/>
                </a:lnTo>
                <a:lnTo>
                  <a:pt x="11" y="118"/>
                </a:lnTo>
                <a:lnTo>
                  <a:pt x="8" y="119"/>
                </a:lnTo>
                <a:lnTo>
                  <a:pt x="6" y="121"/>
                </a:lnTo>
                <a:lnTo>
                  <a:pt x="4" y="126"/>
                </a:lnTo>
                <a:lnTo>
                  <a:pt x="3" y="129"/>
                </a:lnTo>
                <a:lnTo>
                  <a:pt x="2" y="136"/>
                </a:lnTo>
                <a:lnTo>
                  <a:pt x="0" y="141"/>
                </a:lnTo>
                <a:lnTo>
                  <a:pt x="0" y="146"/>
                </a:lnTo>
                <a:lnTo>
                  <a:pt x="0" y="150"/>
                </a:lnTo>
                <a:lnTo>
                  <a:pt x="0" y="155"/>
                </a:lnTo>
                <a:lnTo>
                  <a:pt x="0" y="158"/>
                </a:lnTo>
                <a:lnTo>
                  <a:pt x="0" y="163"/>
                </a:lnTo>
                <a:lnTo>
                  <a:pt x="0" y="167"/>
                </a:lnTo>
                <a:lnTo>
                  <a:pt x="0" y="175"/>
                </a:lnTo>
                <a:lnTo>
                  <a:pt x="0" y="184"/>
                </a:lnTo>
                <a:lnTo>
                  <a:pt x="3" y="188"/>
                </a:lnTo>
                <a:lnTo>
                  <a:pt x="6" y="188"/>
                </a:lnTo>
                <a:lnTo>
                  <a:pt x="10" y="190"/>
                </a:lnTo>
                <a:lnTo>
                  <a:pt x="13" y="193"/>
                </a:lnTo>
                <a:lnTo>
                  <a:pt x="16" y="196"/>
                </a:lnTo>
                <a:lnTo>
                  <a:pt x="24" y="196"/>
                </a:lnTo>
                <a:lnTo>
                  <a:pt x="33" y="196"/>
                </a:lnTo>
                <a:lnTo>
                  <a:pt x="33" y="198"/>
                </a:lnTo>
                <a:lnTo>
                  <a:pt x="35" y="199"/>
                </a:lnTo>
                <a:lnTo>
                  <a:pt x="37" y="201"/>
                </a:lnTo>
                <a:lnTo>
                  <a:pt x="41" y="201"/>
                </a:lnTo>
                <a:lnTo>
                  <a:pt x="48" y="201"/>
                </a:lnTo>
                <a:lnTo>
                  <a:pt x="53" y="201"/>
                </a:lnTo>
                <a:lnTo>
                  <a:pt x="58" y="201"/>
                </a:lnTo>
                <a:lnTo>
                  <a:pt x="60" y="201"/>
                </a:lnTo>
                <a:lnTo>
                  <a:pt x="62" y="201"/>
                </a:lnTo>
                <a:lnTo>
                  <a:pt x="66" y="201"/>
                </a:lnTo>
                <a:lnTo>
                  <a:pt x="70" y="201"/>
                </a:lnTo>
                <a:lnTo>
                  <a:pt x="77" y="198"/>
                </a:lnTo>
                <a:lnTo>
                  <a:pt x="83" y="196"/>
                </a:lnTo>
                <a:lnTo>
                  <a:pt x="85" y="194"/>
                </a:lnTo>
                <a:lnTo>
                  <a:pt x="88" y="192"/>
                </a:lnTo>
                <a:lnTo>
                  <a:pt x="91" y="188"/>
                </a:lnTo>
                <a:lnTo>
                  <a:pt x="93" y="186"/>
                </a:lnTo>
                <a:lnTo>
                  <a:pt x="96" y="184"/>
                </a:lnTo>
                <a:lnTo>
                  <a:pt x="100" y="184"/>
                </a:lnTo>
                <a:lnTo>
                  <a:pt x="112" y="174"/>
                </a:lnTo>
                <a:lnTo>
                  <a:pt x="121" y="167"/>
                </a:lnTo>
                <a:lnTo>
                  <a:pt x="121" y="158"/>
                </a:lnTo>
                <a:lnTo>
                  <a:pt x="122" y="155"/>
                </a:lnTo>
                <a:lnTo>
                  <a:pt x="126" y="150"/>
                </a:lnTo>
                <a:lnTo>
                  <a:pt x="129" y="147"/>
                </a:lnTo>
                <a:lnTo>
                  <a:pt x="133" y="146"/>
                </a:lnTo>
                <a:lnTo>
                  <a:pt x="136" y="137"/>
                </a:lnTo>
                <a:lnTo>
                  <a:pt x="138" y="129"/>
                </a:lnTo>
                <a:lnTo>
                  <a:pt x="141" y="129"/>
                </a:lnTo>
                <a:lnTo>
                  <a:pt x="144" y="127"/>
                </a:lnTo>
                <a:lnTo>
                  <a:pt x="146" y="125"/>
                </a:lnTo>
                <a:lnTo>
                  <a:pt x="150" y="120"/>
                </a:lnTo>
                <a:lnTo>
                  <a:pt x="156" y="112"/>
                </a:lnTo>
                <a:lnTo>
                  <a:pt x="162" y="103"/>
                </a:lnTo>
                <a:lnTo>
                  <a:pt x="173" y="100"/>
                </a:lnTo>
                <a:lnTo>
                  <a:pt x="179" y="96"/>
                </a:lnTo>
                <a:lnTo>
                  <a:pt x="180" y="91"/>
                </a:lnTo>
                <a:lnTo>
                  <a:pt x="184" y="86"/>
                </a:lnTo>
                <a:lnTo>
                  <a:pt x="188" y="81"/>
                </a:lnTo>
                <a:lnTo>
                  <a:pt x="192" y="79"/>
                </a:lnTo>
                <a:lnTo>
                  <a:pt x="194" y="70"/>
                </a:lnTo>
                <a:lnTo>
                  <a:pt x="196" y="62"/>
                </a:lnTo>
                <a:lnTo>
                  <a:pt x="198" y="60"/>
                </a:lnTo>
                <a:lnTo>
                  <a:pt x="200" y="58"/>
                </a:lnTo>
                <a:lnTo>
                  <a:pt x="200" y="53"/>
                </a:lnTo>
                <a:lnTo>
                  <a:pt x="200" y="52"/>
                </a:lnTo>
                <a:lnTo>
                  <a:pt x="200" y="50"/>
                </a:lnTo>
                <a:lnTo>
                  <a:pt x="200" y="41"/>
                </a:lnTo>
                <a:lnTo>
                  <a:pt x="200" y="33"/>
                </a:lnTo>
                <a:lnTo>
                  <a:pt x="192" y="33"/>
                </a:lnTo>
                <a:lnTo>
                  <a:pt x="190" y="30"/>
                </a:lnTo>
                <a:lnTo>
                  <a:pt x="187" y="26"/>
                </a:lnTo>
                <a:lnTo>
                  <a:pt x="183" y="25"/>
                </a:lnTo>
                <a:lnTo>
                  <a:pt x="179" y="24"/>
                </a:lnTo>
                <a:lnTo>
                  <a:pt x="175" y="20"/>
                </a:lnTo>
                <a:lnTo>
                  <a:pt x="171" y="16"/>
                </a:lnTo>
                <a:lnTo>
                  <a:pt x="171" y="7"/>
                </a:lnTo>
                <a:lnTo>
                  <a:pt x="167" y="3"/>
                </a:lnTo>
                <a:lnTo>
                  <a:pt x="162" y="0"/>
                </a:lnTo>
                <a:lnTo>
                  <a:pt x="156" y="0"/>
                </a:lnTo>
                <a:lnTo>
                  <a:pt x="141" y="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23" name="Freeform 84">
            <a:extLst>
              <a:ext uri="{FF2B5EF4-FFF2-40B4-BE49-F238E27FC236}">
                <a16:creationId xmlns:a16="http://schemas.microsoft.com/office/drawing/2014/main" id="{14447D37-09C8-46BC-AB94-E7AEFD100FF9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285163" y="4725988"/>
            <a:ext cx="45554" cy="33338"/>
          </a:xfrm>
          <a:custGeom>
            <a:avLst/>
            <a:gdLst/>
            <a:ahLst/>
            <a:cxnLst>
              <a:cxn ang="0">
                <a:pos x="26" y="40"/>
              </a:cxn>
              <a:cxn ang="0">
                <a:pos x="48" y="50"/>
              </a:cxn>
              <a:cxn ang="0">
                <a:pos x="69" y="70"/>
              </a:cxn>
              <a:cxn ang="0">
                <a:pos x="80" y="93"/>
              </a:cxn>
              <a:cxn ang="0">
                <a:pos x="80" y="105"/>
              </a:cxn>
              <a:cxn ang="0">
                <a:pos x="80" y="113"/>
              </a:cxn>
              <a:cxn ang="0">
                <a:pos x="72" y="138"/>
              </a:cxn>
              <a:cxn ang="0">
                <a:pos x="69" y="152"/>
              </a:cxn>
              <a:cxn ang="0">
                <a:pos x="67" y="163"/>
              </a:cxn>
              <a:cxn ang="0">
                <a:pos x="64" y="172"/>
              </a:cxn>
              <a:cxn ang="0">
                <a:pos x="64" y="180"/>
              </a:cxn>
              <a:cxn ang="0">
                <a:pos x="66" y="199"/>
              </a:cxn>
              <a:cxn ang="0">
                <a:pos x="72" y="210"/>
              </a:cxn>
              <a:cxn ang="0">
                <a:pos x="80" y="213"/>
              </a:cxn>
              <a:cxn ang="0">
                <a:pos x="88" y="213"/>
              </a:cxn>
              <a:cxn ang="0">
                <a:pos x="106" y="211"/>
              </a:cxn>
              <a:cxn ang="0">
                <a:pos x="114" y="210"/>
              </a:cxn>
              <a:cxn ang="0">
                <a:pos x="116" y="203"/>
              </a:cxn>
              <a:cxn ang="0">
                <a:pos x="126" y="201"/>
              </a:cxn>
              <a:cxn ang="0">
                <a:pos x="134" y="193"/>
              </a:cxn>
              <a:cxn ang="0">
                <a:pos x="138" y="184"/>
              </a:cxn>
              <a:cxn ang="0">
                <a:pos x="144" y="180"/>
              </a:cxn>
              <a:cxn ang="0">
                <a:pos x="160" y="176"/>
              </a:cxn>
              <a:cxn ang="0">
                <a:pos x="163" y="169"/>
              </a:cxn>
              <a:cxn ang="0">
                <a:pos x="172" y="163"/>
              </a:cxn>
              <a:cxn ang="0">
                <a:pos x="186" y="162"/>
              </a:cxn>
              <a:cxn ang="0">
                <a:pos x="205" y="151"/>
              </a:cxn>
              <a:cxn ang="0">
                <a:pos x="218" y="143"/>
              </a:cxn>
              <a:cxn ang="0">
                <a:pos x="231" y="130"/>
              </a:cxn>
              <a:cxn ang="0">
                <a:pos x="251" y="109"/>
              </a:cxn>
              <a:cxn ang="0">
                <a:pos x="245" y="104"/>
              </a:cxn>
              <a:cxn ang="0">
                <a:pos x="234" y="98"/>
              </a:cxn>
              <a:cxn ang="0">
                <a:pos x="227" y="90"/>
              </a:cxn>
              <a:cxn ang="0">
                <a:pos x="214" y="79"/>
              </a:cxn>
              <a:cxn ang="0">
                <a:pos x="194" y="77"/>
              </a:cxn>
              <a:cxn ang="0">
                <a:pos x="184" y="71"/>
              </a:cxn>
              <a:cxn ang="0">
                <a:pos x="172" y="67"/>
              </a:cxn>
              <a:cxn ang="0">
                <a:pos x="162" y="63"/>
              </a:cxn>
              <a:cxn ang="0">
                <a:pos x="151" y="58"/>
              </a:cxn>
              <a:cxn ang="0">
                <a:pos x="138" y="50"/>
              </a:cxn>
              <a:cxn ang="0">
                <a:pos x="121" y="44"/>
              </a:cxn>
              <a:cxn ang="0">
                <a:pos x="114" y="42"/>
              </a:cxn>
              <a:cxn ang="0">
                <a:pos x="104" y="30"/>
              </a:cxn>
              <a:cxn ang="0">
                <a:pos x="97" y="26"/>
              </a:cxn>
              <a:cxn ang="0">
                <a:pos x="80" y="9"/>
              </a:cxn>
              <a:cxn ang="0">
                <a:pos x="72" y="5"/>
              </a:cxn>
              <a:cxn ang="0">
                <a:pos x="55" y="0"/>
              </a:cxn>
              <a:cxn ang="0">
                <a:pos x="42" y="0"/>
              </a:cxn>
              <a:cxn ang="0">
                <a:pos x="31" y="0"/>
              </a:cxn>
              <a:cxn ang="0">
                <a:pos x="17" y="0"/>
              </a:cxn>
              <a:cxn ang="0">
                <a:pos x="0" y="17"/>
              </a:cxn>
            </a:cxnLst>
            <a:rect l="0" t="0" r="r" b="b"/>
            <a:pathLst>
              <a:path w="251" h="213">
                <a:moveTo>
                  <a:pt x="0" y="17"/>
                </a:moveTo>
                <a:lnTo>
                  <a:pt x="21" y="38"/>
                </a:lnTo>
                <a:lnTo>
                  <a:pt x="26" y="40"/>
                </a:lnTo>
                <a:lnTo>
                  <a:pt x="29" y="42"/>
                </a:lnTo>
                <a:lnTo>
                  <a:pt x="38" y="46"/>
                </a:lnTo>
                <a:lnTo>
                  <a:pt x="48" y="50"/>
                </a:lnTo>
                <a:lnTo>
                  <a:pt x="59" y="55"/>
                </a:lnTo>
                <a:lnTo>
                  <a:pt x="64" y="59"/>
                </a:lnTo>
                <a:lnTo>
                  <a:pt x="69" y="70"/>
                </a:lnTo>
                <a:lnTo>
                  <a:pt x="76" y="79"/>
                </a:lnTo>
                <a:lnTo>
                  <a:pt x="78" y="86"/>
                </a:lnTo>
                <a:lnTo>
                  <a:pt x="80" y="93"/>
                </a:lnTo>
                <a:lnTo>
                  <a:pt x="80" y="96"/>
                </a:lnTo>
                <a:lnTo>
                  <a:pt x="80" y="101"/>
                </a:lnTo>
                <a:lnTo>
                  <a:pt x="80" y="105"/>
                </a:lnTo>
                <a:lnTo>
                  <a:pt x="80" y="107"/>
                </a:lnTo>
                <a:lnTo>
                  <a:pt x="80" y="109"/>
                </a:lnTo>
                <a:lnTo>
                  <a:pt x="80" y="113"/>
                </a:lnTo>
                <a:lnTo>
                  <a:pt x="80" y="122"/>
                </a:lnTo>
                <a:lnTo>
                  <a:pt x="80" y="130"/>
                </a:lnTo>
                <a:lnTo>
                  <a:pt x="72" y="138"/>
                </a:lnTo>
                <a:lnTo>
                  <a:pt x="72" y="145"/>
                </a:lnTo>
                <a:lnTo>
                  <a:pt x="72" y="151"/>
                </a:lnTo>
                <a:lnTo>
                  <a:pt x="69" y="152"/>
                </a:lnTo>
                <a:lnTo>
                  <a:pt x="68" y="155"/>
                </a:lnTo>
                <a:lnTo>
                  <a:pt x="67" y="160"/>
                </a:lnTo>
                <a:lnTo>
                  <a:pt x="67" y="163"/>
                </a:lnTo>
                <a:lnTo>
                  <a:pt x="65" y="165"/>
                </a:lnTo>
                <a:lnTo>
                  <a:pt x="64" y="167"/>
                </a:lnTo>
                <a:lnTo>
                  <a:pt x="64" y="172"/>
                </a:lnTo>
                <a:lnTo>
                  <a:pt x="64" y="174"/>
                </a:lnTo>
                <a:lnTo>
                  <a:pt x="64" y="176"/>
                </a:lnTo>
                <a:lnTo>
                  <a:pt x="64" y="180"/>
                </a:lnTo>
                <a:lnTo>
                  <a:pt x="64" y="189"/>
                </a:lnTo>
                <a:lnTo>
                  <a:pt x="64" y="196"/>
                </a:lnTo>
                <a:lnTo>
                  <a:pt x="66" y="199"/>
                </a:lnTo>
                <a:lnTo>
                  <a:pt x="69" y="202"/>
                </a:lnTo>
                <a:lnTo>
                  <a:pt x="70" y="205"/>
                </a:lnTo>
                <a:lnTo>
                  <a:pt x="72" y="210"/>
                </a:lnTo>
                <a:lnTo>
                  <a:pt x="76" y="213"/>
                </a:lnTo>
                <a:lnTo>
                  <a:pt x="78" y="213"/>
                </a:lnTo>
                <a:lnTo>
                  <a:pt x="80" y="213"/>
                </a:lnTo>
                <a:lnTo>
                  <a:pt x="84" y="213"/>
                </a:lnTo>
                <a:lnTo>
                  <a:pt x="86" y="213"/>
                </a:lnTo>
                <a:lnTo>
                  <a:pt x="88" y="213"/>
                </a:lnTo>
                <a:lnTo>
                  <a:pt x="97" y="213"/>
                </a:lnTo>
                <a:lnTo>
                  <a:pt x="105" y="213"/>
                </a:lnTo>
                <a:lnTo>
                  <a:pt x="106" y="211"/>
                </a:lnTo>
                <a:lnTo>
                  <a:pt x="107" y="210"/>
                </a:lnTo>
                <a:lnTo>
                  <a:pt x="111" y="210"/>
                </a:lnTo>
                <a:lnTo>
                  <a:pt x="114" y="210"/>
                </a:lnTo>
                <a:lnTo>
                  <a:pt x="114" y="207"/>
                </a:lnTo>
                <a:lnTo>
                  <a:pt x="115" y="204"/>
                </a:lnTo>
                <a:lnTo>
                  <a:pt x="116" y="203"/>
                </a:lnTo>
                <a:lnTo>
                  <a:pt x="118" y="202"/>
                </a:lnTo>
                <a:lnTo>
                  <a:pt x="122" y="201"/>
                </a:lnTo>
                <a:lnTo>
                  <a:pt x="126" y="201"/>
                </a:lnTo>
                <a:lnTo>
                  <a:pt x="128" y="199"/>
                </a:lnTo>
                <a:lnTo>
                  <a:pt x="131" y="196"/>
                </a:lnTo>
                <a:lnTo>
                  <a:pt x="134" y="193"/>
                </a:lnTo>
                <a:lnTo>
                  <a:pt x="136" y="191"/>
                </a:lnTo>
                <a:lnTo>
                  <a:pt x="138" y="189"/>
                </a:lnTo>
                <a:lnTo>
                  <a:pt x="138" y="184"/>
                </a:lnTo>
                <a:lnTo>
                  <a:pt x="140" y="183"/>
                </a:lnTo>
                <a:lnTo>
                  <a:pt x="142" y="181"/>
                </a:lnTo>
                <a:lnTo>
                  <a:pt x="144" y="180"/>
                </a:lnTo>
                <a:lnTo>
                  <a:pt x="147" y="179"/>
                </a:lnTo>
                <a:lnTo>
                  <a:pt x="154" y="176"/>
                </a:lnTo>
                <a:lnTo>
                  <a:pt x="160" y="176"/>
                </a:lnTo>
                <a:lnTo>
                  <a:pt x="160" y="173"/>
                </a:lnTo>
                <a:lnTo>
                  <a:pt x="162" y="171"/>
                </a:lnTo>
                <a:lnTo>
                  <a:pt x="163" y="169"/>
                </a:lnTo>
                <a:lnTo>
                  <a:pt x="165" y="166"/>
                </a:lnTo>
                <a:lnTo>
                  <a:pt x="170" y="164"/>
                </a:lnTo>
                <a:lnTo>
                  <a:pt x="172" y="163"/>
                </a:lnTo>
                <a:lnTo>
                  <a:pt x="176" y="163"/>
                </a:lnTo>
                <a:lnTo>
                  <a:pt x="181" y="163"/>
                </a:lnTo>
                <a:lnTo>
                  <a:pt x="186" y="162"/>
                </a:lnTo>
                <a:lnTo>
                  <a:pt x="193" y="160"/>
                </a:lnTo>
                <a:lnTo>
                  <a:pt x="198" y="155"/>
                </a:lnTo>
                <a:lnTo>
                  <a:pt x="205" y="151"/>
                </a:lnTo>
                <a:lnTo>
                  <a:pt x="210" y="146"/>
                </a:lnTo>
                <a:lnTo>
                  <a:pt x="214" y="143"/>
                </a:lnTo>
                <a:lnTo>
                  <a:pt x="218" y="143"/>
                </a:lnTo>
                <a:lnTo>
                  <a:pt x="222" y="138"/>
                </a:lnTo>
                <a:lnTo>
                  <a:pt x="227" y="134"/>
                </a:lnTo>
                <a:lnTo>
                  <a:pt x="231" y="130"/>
                </a:lnTo>
                <a:lnTo>
                  <a:pt x="240" y="124"/>
                </a:lnTo>
                <a:lnTo>
                  <a:pt x="251" y="117"/>
                </a:lnTo>
                <a:lnTo>
                  <a:pt x="251" y="109"/>
                </a:lnTo>
                <a:lnTo>
                  <a:pt x="249" y="108"/>
                </a:lnTo>
                <a:lnTo>
                  <a:pt x="246" y="106"/>
                </a:lnTo>
                <a:lnTo>
                  <a:pt x="245" y="104"/>
                </a:lnTo>
                <a:lnTo>
                  <a:pt x="243" y="101"/>
                </a:lnTo>
                <a:lnTo>
                  <a:pt x="234" y="101"/>
                </a:lnTo>
                <a:lnTo>
                  <a:pt x="234" y="98"/>
                </a:lnTo>
                <a:lnTo>
                  <a:pt x="234" y="96"/>
                </a:lnTo>
                <a:lnTo>
                  <a:pt x="231" y="93"/>
                </a:lnTo>
                <a:lnTo>
                  <a:pt x="227" y="90"/>
                </a:lnTo>
                <a:lnTo>
                  <a:pt x="221" y="87"/>
                </a:lnTo>
                <a:lnTo>
                  <a:pt x="216" y="84"/>
                </a:lnTo>
                <a:lnTo>
                  <a:pt x="214" y="79"/>
                </a:lnTo>
                <a:lnTo>
                  <a:pt x="205" y="79"/>
                </a:lnTo>
                <a:lnTo>
                  <a:pt x="198" y="79"/>
                </a:lnTo>
                <a:lnTo>
                  <a:pt x="194" y="77"/>
                </a:lnTo>
                <a:lnTo>
                  <a:pt x="191" y="74"/>
                </a:lnTo>
                <a:lnTo>
                  <a:pt x="188" y="73"/>
                </a:lnTo>
                <a:lnTo>
                  <a:pt x="184" y="71"/>
                </a:lnTo>
                <a:lnTo>
                  <a:pt x="181" y="69"/>
                </a:lnTo>
                <a:lnTo>
                  <a:pt x="176" y="67"/>
                </a:lnTo>
                <a:lnTo>
                  <a:pt x="172" y="67"/>
                </a:lnTo>
                <a:lnTo>
                  <a:pt x="168" y="67"/>
                </a:lnTo>
                <a:lnTo>
                  <a:pt x="164" y="63"/>
                </a:lnTo>
                <a:lnTo>
                  <a:pt x="162" y="63"/>
                </a:lnTo>
                <a:lnTo>
                  <a:pt x="160" y="63"/>
                </a:lnTo>
                <a:lnTo>
                  <a:pt x="155" y="59"/>
                </a:lnTo>
                <a:lnTo>
                  <a:pt x="151" y="58"/>
                </a:lnTo>
                <a:lnTo>
                  <a:pt x="145" y="56"/>
                </a:lnTo>
                <a:lnTo>
                  <a:pt x="141" y="54"/>
                </a:lnTo>
                <a:lnTo>
                  <a:pt x="138" y="50"/>
                </a:lnTo>
                <a:lnTo>
                  <a:pt x="131" y="46"/>
                </a:lnTo>
                <a:lnTo>
                  <a:pt x="122" y="46"/>
                </a:lnTo>
                <a:lnTo>
                  <a:pt x="121" y="44"/>
                </a:lnTo>
                <a:lnTo>
                  <a:pt x="120" y="42"/>
                </a:lnTo>
                <a:lnTo>
                  <a:pt x="116" y="42"/>
                </a:lnTo>
                <a:lnTo>
                  <a:pt x="114" y="42"/>
                </a:lnTo>
                <a:lnTo>
                  <a:pt x="109" y="38"/>
                </a:lnTo>
                <a:lnTo>
                  <a:pt x="105" y="34"/>
                </a:lnTo>
                <a:lnTo>
                  <a:pt x="104" y="30"/>
                </a:lnTo>
                <a:lnTo>
                  <a:pt x="103" y="28"/>
                </a:lnTo>
                <a:lnTo>
                  <a:pt x="99" y="26"/>
                </a:lnTo>
                <a:lnTo>
                  <a:pt x="97" y="26"/>
                </a:lnTo>
                <a:lnTo>
                  <a:pt x="93" y="17"/>
                </a:lnTo>
                <a:lnTo>
                  <a:pt x="88" y="9"/>
                </a:lnTo>
                <a:lnTo>
                  <a:pt x="80" y="9"/>
                </a:lnTo>
                <a:lnTo>
                  <a:pt x="78" y="6"/>
                </a:lnTo>
                <a:lnTo>
                  <a:pt x="75" y="5"/>
                </a:lnTo>
                <a:lnTo>
                  <a:pt x="72" y="5"/>
                </a:lnTo>
                <a:lnTo>
                  <a:pt x="67" y="5"/>
                </a:lnTo>
                <a:lnTo>
                  <a:pt x="61" y="2"/>
                </a:lnTo>
                <a:lnTo>
                  <a:pt x="55" y="0"/>
                </a:lnTo>
                <a:lnTo>
                  <a:pt x="50" y="0"/>
                </a:lnTo>
                <a:lnTo>
                  <a:pt x="47" y="0"/>
                </a:lnTo>
                <a:lnTo>
                  <a:pt x="42" y="0"/>
                </a:lnTo>
                <a:lnTo>
                  <a:pt x="38" y="0"/>
                </a:lnTo>
                <a:lnTo>
                  <a:pt x="34" y="0"/>
                </a:lnTo>
                <a:lnTo>
                  <a:pt x="31" y="0"/>
                </a:lnTo>
                <a:lnTo>
                  <a:pt x="29" y="0"/>
                </a:lnTo>
                <a:lnTo>
                  <a:pt x="26" y="0"/>
                </a:lnTo>
                <a:lnTo>
                  <a:pt x="17" y="0"/>
                </a:lnTo>
                <a:lnTo>
                  <a:pt x="9" y="0"/>
                </a:lnTo>
                <a:lnTo>
                  <a:pt x="9" y="9"/>
                </a:lnTo>
                <a:lnTo>
                  <a:pt x="0" y="1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24" name="Freeform 85">
            <a:extLst>
              <a:ext uri="{FF2B5EF4-FFF2-40B4-BE49-F238E27FC236}">
                <a16:creationId xmlns:a16="http://schemas.microsoft.com/office/drawing/2014/main" id="{EFD24D6E-C0EA-406E-A212-A83973BDEF66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489950" y="4541838"/>
            <a:ext cx="93495" cy="104775"/>
          </a:xfrm>
          <a:custGeom>
            <a:avLst/>
            <a:gdLst/>
            <a:ahLst/>
            <a:cxnLst>
              <a:cxn ang="0">
                <a:pos x="223" y="14"/>
              </a:cxn>
              <a:cxn ang="0">
                <a:pos x="202" y="53"/>
              </a:cxn>
              <a:cxn ang="0">
                <a:pos x="194" y="116"/>
              </a:cxn>
              <a:cxn ang="0">
                <a:pos x="174" y="132"/>
              </a:cxn>
              <a:cxn ang="0">
                <a:pos x="137" y="150"/>
              </a:cxn>
              <a:cxn ang="0">
                <a:pos x="101" y="173"/>
              </a:cxn>
              <a:cxn ang="0">
                <a:pos x="85" y="186"/>
              </a:cxn>
              <a:cxn ang="0">
                <a:pos x="58" y="201"/>
              </a:cxn>
              <a:cxn ang="0">
                <a:pos x="39" y="212"/>
              </a:cxn>
              <a:cxn ang="0">
                <a:pos x="37" y="215"/>
              </a:cxn>
              <a:cxn ang="0">
                <a:pos x="13" y="249"/>
              </a:cxn>
              <a:cxn ang="0">
                <a:pos x="4" y="272"/>
              </a:cxn>
              <a:cxn ang="0">
                <a:pos x="0" y="317"/>
              </a:cxn>
              <a:cxn ang="0">
                <a:pos x="8" y="408"/>
              </a:cxn>
              <a:cxn ang="0">
                <a:pos x="32" y="480"/>
              </a:cxn>
              <a:cxn ang="0">
                <a:pos x="49" y="505"/>
              </a:cxn>
              <a:cxn ang="0">
                <a:pos x="60" y="529"/>
              </a:cxn>
              <a:cxn ang="0">
                <a:pos x="70" y="554"/>
              </a:cxn>
              <a:cxn ang="0">
                <a:pos x="109" y="606"/>
              </a:cxn>
              <a:cxn ang="0">
                <a:pos x="131" y="626"/>
              </a:cxn>
              <a:cxn ang="0">
                <a:pos x="158" y="641"/>
              </a:cxn>
              <a:cxn ang="0">
                <a:pos x="251" y="630"/>
              </a:cxn>
              <a:cxn ang="0">
                <a:pos x="289" y="602"/>
              </a:cxn>
              <a:cxn ang="0">
                <a:pos x="303" y="584"/>
              </a:cxn>
              <a:cxn ang="0">
                <a:pos x="317" y="575"/>
              </a:cxn>
              <a:cxn ang="0">
                <a:pos x="337" y="565"/>
              </a:cxn>
              <a:cxn ang="0">
                <a:pos x="352" y="553"/>
              </a:cxn>
              <a:cxn ang="0">
                <a:pos x="400" y="527"/>
              </a:cxn>
              <a:cxn ang="0">
                <a:pos x="425" y="517"/>
              </a:cxn>
              <a:cxn ang="0">
                <a:pos x="448" y="500"/>
              </a:cxn>
              <a:cxn ang="0">
                <a:pos x="466" y="488"/>
              </a:cxn>
              <a:cxn ang="0">
                <a:pos x="481" y="469"/>
              </a:cxn>
              <a:cxn ang="0">
                <a:pos x="497" y="442"/>
              </a:cxn>
              <a:cxn ang="0">
                <a:pos x="504" y="427"/>
              </a:cxn>
              <a:cxn ang="0">
                <a:pos x="509" y="383"/>
              </a:cxn>
              <a:cxn ang="0">
                <a:pos x="497" y="345"/>
              </a:cxn>
              <a:cxn ang="0">
                <a:pos x="481" y="306"/>
              </a:cxn>
              <a:cxn ang="0">
                <a:pos x="466" y="270"/>
              </a:cxn>
              <a:cxn ang="0">
                <a:pos x="450" y="238"/>
              </a:cxn>
              <a:cxn ang="0">
                <a:pos x="430" y="201"/>
              </a:cxn>
              <a:cxn ang="0">
                <a:pos x="425" y="125"/>
              </a:cxn>
              <a:cxn ang="0">
                <a:pos x="423" y="63"/>
              </a:cxn>
              <a:cxn ang="0">
                <a:pos x="400" y="52"/>
              </a:cxn>
              <a:cxn ang="0">
                <a:pos x="382" y="39"/>
              </a:cxn>
              <a:cxn ang="0">
                <a:pos x="356" y="33"/>
              </a:cxn>
              <a:cxn ang="0">
                <a:pos x="282" y="22"/>
              </a:cxn>
              <a:cxn ang="0">
                <a:pos x="269" y="4"/>
              </a:cxn>
              <a:cxn ang="0">
                <a:pos x="257" y="0"/>
              </a:cxn>
            </a:cxnLst>
            <a:rect l="0" t="0" r="r" b="b"/>
            <a:pathLst>
              <a:path w="509" h="641">
                <a:moveTo>
                  <a:pt x="237" y="4"/>
                </a:moveTo>
                <a:lnTo>
                  <a:pt x="233" y="6"/>
                </a:lnTo>
                <a:lnTo>
                  <a:pt x="227" y="9"/>
                </a:lnTo>
                <a:lnTo>
                  <a:pt x="223" y="14"/>
                </a:lnTo>
                <a:lnTo>
                  <a:pt x="218" y="18"/>
                </a:lnTo>
                <a:lnTo>
                  <a:pt x="209" y="27"/>
                </a:lnTo>
                <a:lnTo>
                  <a:pt x="203" y="35"/>
                </a:lnTo>
                <a:lnTo>
                  <a:pt x="202" y="53"/>
                </a:lnTo>
                <a:lnTo>
                  <a:pt x="200" y="73"/>
                </a:lnTo>
                <a:lnTo>
                  <a:pt x="198" y="93"/>
                </a:lnTo>
                <a:lnTo>
                  <a:pt x="198" y="114"/>
                </a:lnTo>
                <a:lnTo>
                  <a:pt x="194" y="116"/>
                </a:lnTo>
                <a:lnTo>
                  <a:pt x="189" y="119"/>
                </a:lnTo>
                <a:lnTo>
                  <a:pt x="185" y="128"/>
                </a:lnTo>
                <a:lnTo>
                  <a:pt x="180" y="129"/>
                </a:lnTo>
                <a:lnTo>
                  <a:pt x="174" y="132"/>
                </a:lnTo>
                <a:lnTo>
                  <a:pt x="167" y="136"/>
                </a:lnTo>
                <a:lnTo>
                  <a:pt x="162" y="140"/>
                </a:lnTo>
                <a:lnTo>
                  <a:pt x="149" y="140"/>
                </a:lnTo>
                <a:lnTo>
                  <a:pt x="137" y="150"/>
                </a:lnTo>
                <a:lnTo>
                  <a:pt x="121" y="159"/>
                </a:lnTo>
                <a:lnTo>
                  <a:pt x="113" y="163"/>
                </a:lnTo>
                <a:lnTo>
                  <a:pt x="107" y="168"/>
                </a:lnTo>
                <a:lnTo>
                  <a:pt x="101" y="173"/>
                </a:lnTo>
                <a:lnTo>
                  <a:pt x="97" y="180"/>
                </a:lnTo>
                <a:lnTo>
                  <a:pt x="93" y="180"/>
                </a:lnTo>
                <a:lnTo>
                  <a:pt x="89" y="182"/>
                </a:lnTo>
                <a:lnTo>
                  <a:pt x="85" y="186"/>
                </a:lnTo>
                <a:lnTo>
                  <a:pt x="83" y="189"/>
                </a:lnTo>
                <a:lnTo>
                  <a:pt x="74" y="191"/>
                </a:lnTo>
                <a:lnTo>
                  <a:pt x="66" y="193"/>
                </a:lnTo>
                <a:lnTo>
                  <a:pt x="58" y="201"/>
                </a:lnTo>
                <a:lnTo>
                  <a:pt x="49" y="210"/>
                </a:lnTo>
                <a:lnTo>
                  <a:pt x="43" y="211"/>
                </a:lnTo>
                <a:lnTo>
                  <a:pt x="40" y="211"/>
                </a:lnTo>
                <a:lnTo>
                  <a:pt x="39" y="212"/>
                </a:lnTo>
                <a:lnTo>
                  <a:pt x="39" y="212"/>
                </a:lnTo>
                <a:lnTo>
                  <a:pt x="39" y="213"/>
                </a:lnTo>
                <a:lnTo>
                  <a:pt x="39" y="215"/>
                </a:lnTo>
                <a:lnTo>
                  <a:pt x="37" y="215"/>
                </a:lnTo>
                <a:lnTo>
                  <a:pt x="35" y="215"/>
                </a:lnTo>
                <a:lnTo>
                  <a:pt x="31" y="224"/>
                </a:lnTo>
                <a:lnTo>
                  <a:pt x="22" y="236"/>
                </a:lnTo>
                <a:lnTo>
                  <a:pt x="13" y="249"/>
                </a:lnTo>
                <a:lnTo>
                  <a:pt x="8" y="255"/>
                </a:lnTo>
                <a:lnTo>
                  <a:pt x="8" y="268"/>
                </a:lnTo>
                <a:lnTo>
                  <a:pt x="6" y="269"/>
                </a:lnTo>
                <a:lnTo>
                  <a:pt x="4" y="272"/>
                </a:lnTo>
                <a:lnTo>
                  <a:pt x="2" y="277"/>
                </a:lnTo>
                <a:lnTo>
                  <a:pt x="1" y="283"/>
                </a:lnTo>
                <a:lnTo>
                  <a:pt x="0" y="299"/>
                </a:lnTo>
                <a:lnTo>
                  <a:pt x="0" y="317"/>
                </a:lnTo>
                <a:lnTo>
                  <a:pt x="3" y="355"/>
                </a:lnTo>
                <a:lnTo>
                  <a:pt x="4" y="378"/>
                </a:lnTo>
                <a:lnTo>
                  <a:pt x="5" y="391"/>
                </a:lnTo>
                <a:lnTo>
                  <a:pt x="8" y="408"/>
                </a:lnTo>
                <a:lnTo>
                  <a:pt x="13" y="426"/>
                </a:lnTo>
                <a:lnTo>
                  <a:pt x="18" y="445"/>
                </a:lnTo>
                <a:lnTo>
                  <a:pt x="25" y="463"/>
                </a:lnTo>
                <a:lnTo>
                  <a:pt x="32" y="480"/>
                </a:lnTo>
                <a:lnTo>
                  <a:pt x="36" y="488"/>
                </a:lnTo>
                <a:lnTo>
                  <a:pt x="40" y="495"/>
                </a:lnTo>
                <a:lnTo>
                  <a:pt x="44" y="500"/>
                </a:lnTo>
                <a:lnTo>
                  <a:pt x="49" y="505"/>
                </a:lnTo>
                <a:lnTo>
                  <a:pt x="50" y="511"/>
                </a:lnTo>
                <a:lnTo>
                  <a:pt x="52" y="517"/>
                </a:lnTo>
                <a:lnTo>
                  <a:pt x="55" y="524"/>
                </a:lnTo>
                <a:lnTo>
                  <a:pt x="60" y="529"/>
                </a:lnTo>
                <a:lnTo>
                  <a:pt x="63" y="535"/>
                </a:lnTo>
                <a:lnTo>
                  <a:pt x="66" y="540"/>
                </a:lnTo>
                <a:lnTo>
                  <a:pt x="70" y="547"/>
                </a:lnTo>
                <a:lnTo>
                  <a:pt x="70" y="554"/>
                </a:lnTo>
                <a:lnTo>
                  <a:pt x="81" y="566"/>
                </a:lnTo>
                <a:lnTo>
                  <a:pt x="96" y="586"/>
                </a:lnTo>
                <a:lnTo>
                  <a:pt x="102" y="597"/>
                </a:lnTo>
                <a:lnTo>
                  <a:pt x="109" y="606"/>
                </a:lnTo>
                <a:lnTo>
                  <a:pt x="112" y="614"/>
                </a:lnTo>
                <a:lnTo>
                  <a:pt x="114" y="620"/>
                </a:lnTo>
                <a:lnTo>
                  <a:pt x="122" y="622"/>
                </a:lnTo>
                <a:lnTo>
                  <a:pt x="131" y="626"/>
                </a:lnTo>
                <a:lnTo>
                  <a:pt x="140" y="632"/>
                </a:lnTo>
                <a:lnTo>
                  <a:pt x="145" y="636"/>
                </a:lnTo>
                <a:lnTo>
                  <a:pt x="151" y="639"/>
                </a:lnTo>
                <a:lnTo>
                  <a:pt x="158" y="641"/>
                </a:lnTo>
                <a:lnTo>
                  <a:pt x="224" y="641"/>
                </a:lnTo>
                <a:lnTo>
                  <a:pt x="229" y="640"/>
                </a:lnTo>
                <a:lnTo>
                  <a:pt x="238" y="635"/>
                </a:lnTo>
                <a:lnTo>
                  <a:pt x="251" y="630"/>
                </a:lnTo>
                <a:lnTo>
                  <a:pt x="263" y="622"/>
                </a:lnTo>
                <a:lnTo>
                  <a:pt x="274" y="614"/>
                </a:lnTo>
                <a:lnTo>
                  <a:pt x="285" y="606"/>
                </a:lnTo>
                <a:lnTo>
                  <a:pt x="289" y="602"/>
                </a:lnTo>
                <a:lnTo>
                  <a:pt x="292" y="599"/>
                </a:lnTo>
                <a:lnTo>
                  <a:pt x="294" y="595"/>
                </a:lnTo>
                <a:lnTo>
                  <a:pt x="294" y="593"/>
                </a:lnTo>
                <a:lnTo>
                  <a:pt x="303" y="584"/>
                </a:lnTo>
                <a:lnTo>
                  <a:pt x="308" y="583"/>
                </a:lnTo>
                <a:lnTo>
                  <a:pt x="312" y="582"/>
                </a:lnTo>
                <a:lnTo>
                  <a:pt x="315" y="578"/>
                </a:lnTo>
                <a:lnTo>
                  <a:pt x="317" y="575"/>
                </a:lnTo>
                <a:lnTo>
                  <a:pt x="327" y="573"/>
                </a:lnTo>
                <a:lnTo>
                  <a:pt x="334" y="571"/>
                </a:lnTo>
                <a:lnTo>
                  <a:pt x="334" y="567"/>
                </a:lnTo>
                <a:lnTo>
                  <a:pt x="337" y="565"/>
                </a:lnTo>
                <a:lnTo>
                  <a:pt x="340" y="563"/>
                </a:lnTo>
                <a:lnTo>
                  <a:pt x="343" y="562"/>
                </a:lnTo>
                <a:lnTo>
                  <a:pt x="346" y="558"/>
                </a:lnTo>
                <a:lnTo>
                  <a:pt x="352" y="553"/>
                </a:lnTo>
                <a:lnTo>
                  <a:pt x="363" y="546"/>
                </a:lnTo>
                <a:lnTo>
                  <a:pt x="376" y="539"/>
                </a:lnTo>
                <a:lnTo>
                  <a:pt x="388" y="533"/>
                </a:lnTo>
                <a:lnTo>
                  <a:pt x="400" y="527"/>
                </a:lnTo>
                <a:lnTo>
                  <a:pt x="410" y="524"/>
                </a:lnTo>
                <a:lnTo>
                  <a:pt x="418" y="523"/>
                </a:lnTo>
                <a:lnTo>
                  <a:pt x="421" y="519"/>
                </a:lnTo>
                <a:lnTo>
                  <a:pt x="425" y="517"/>
                </a:lnTo>
                <a:lnTo>
                  <a:pt x="429" y="515"/>
                </a:lnTo>
                <a:lnTo>
                  <a:pt x="435" y="514"/>
                </a:lnTo>
                <a:lnTo>
                  <a:pt x="444" y="500"/>
                </a:lnTo>
                <a:lnTo>
                  <a:pt x="448" y="500"/>
                </a:lnTo>
                <a:lnTo>
                  <a:pt x="453" y="498"/>
                </a:lnTo>
                <a:lnTo>
                  <a:pt x="456" y="496"/>
                </a:lnTo>
                <a:lnTo>
                  <a:pt x="459" y="494"/>
                </a:lnTo>
                <a:lnTo>
                  <a:pt x="466" y="488"/>
                </a:lnTo>
                <a:lnTo>
                  <a:pt x="475" y="484"/>
                </a:lnTo>
                <a:lnTo>
                  <a:pt x="475" y="479"/>
                </a:lnTo>
                <a:lnTo>
                  <a:pt x="477" y="475"/>
                </a:lnTo>
                <a:lnTo>
                  <a:pt x="481" y="469"/>
                </a:lnTo>
                <a:lnTo>
                  <a:pt x="484" y="463"/>
                </a:lnTo>
                <a:lnTo>
                  <a:pt x="492" y="455"/>
                </a:lnTo>
                <a:lnTo>
                  <a:pt x="497" y="448"/>
                </a:lnTo>
                <a:lnTo>
                  <a:pt x="497" y="442"/>
                </a:lnTo>
                <a:lnTo>
                  <a:pt x="500" y="436"/>
                </a:lnTo>
                <a:lnTo>
                  <a:pt x="501" y="432"/>
                </a:lnTo>
                <a:lnTo>
                  <a:pt x="502" y="429"/>
                </a:lnTo>
                <a:lnTo>
                  <a:pt x="504" y="427"/>
                </a:lnTo>
                <a:lnTo>
                  <a:pt x="505" y="426"/>
                </a:lnTo>
                <a:lnTo>
                  <a:pt x="505" y="400"/>
                </a:lnTo>
                <a:lnTo>
                  <a:pt x="507" y="392"/>
                </a:lnTo>
                <a:lnTo>
                  <a:pt x="509" y="383"/>
                </a:lnTo>
                <a:lnTo>
                  <a:pt x="507" y="373"/>
                </a:lnTo>
                <a:lnTo>
                  <a:pt x="505" y="363"/>
                </a:lnTo>
                <a:lnTo>
                  <a:pt x="502" y="354"/>
                </a:lnTo>
                <a:lnTo>
                  <a:pt x="497" y="345"/>
                </a:lnTo>
                <a:lnTo>
                  <a:pt x="493" y="338"/>
                </a:lnTo>
                <a:lnTo>
                  <a:pt x="488" y="334"/>
                </a:lnTo>
                <a:lnTo>
                  <a:pt x="488" y="316"/>
                </a:lnTo>
                <a:lnTo>
                  <a:pt x="481" y="306"/>
                </a:lnTo>
                <a:lnTo>
                  <a:pt x="474" y="293"/>
                </a:lnTo>
                <a:lnTo>
                  <a:pt x="471" y="285"/>
                </a:lnTo>
                <a:lnTo>
                  <a:pt x="468" y="278"/>
                </a:lnTo>
                <a:lnTo>
                  <a:pt x="466" y="270"/>
                </a:lnTo>
                <a:lnTo>
                  <a:pt x="466" y="264"/>
                </a:lnTo>
                <a:lnTo>
                  <a:pt x="457" y="255"/>
                </a:lnTo>
                <a:lnTo>
                  <a:pt x="457" y="246"/>
                </a:lnTo>
                <a:lnTo>
                  <a:pt x="450" y="238"/>
                </a:lnTo>
                <a:lnTo>
                  <a:pt x="443" y="230"/>
                </a:lnTo>
                <a:lnTo>
                  <a:pt x="436" y="222"/>
                </a:lnTo>
                <a:lnTo>
                  <a:pt x="430" y="215"/>
                </a:lnTo>
                <a:lnTo>
                  <a:pt x="430" y="201"/>
                </a:lnTo>
                <a:lnTo>
                  <a:pt x="427" y="193"/>
                </a:lnTo>
                <a:lnTo>
                  <a:pt x="423" y="184"/>
                </a:lnTo>
                <a:lnTo>
                  <a:pt x="423" y="154"/>
                </a:lnTo>
                <a:lnTo>
                  <a:pt x="425" y="125"/>
                </a:lnTo>
                <a:lnTo>
                  <a:pt x="426" y="95"/>
                </a:lnTo>
                <a:lnTo>
                  <a:pt x="427" y="65"/>
                </a:lnTo>
                <a:lnTo>
                  <a:pt x="424" y="65"/>
                </a:lnTo>
                <a:lnTo>
                  <a:pt x="423" y="63"/>
                </a:lnTo>
                <a:lnTo>
                  <a:pt x="423" y="59"/>
                </a:lnTo>
                <a:lnTo>
                  <a:pt x="423" y="56"/>
                </a:lnTo>
                <a:lnTo>
                  <a:pt x="413" y="55"/>
                </a:lnTo>
                <a:lnTo>
                  <a:pt x="400" y="52"/>
                </a:lnTo>
                <a:lnTo>
                  <a:pt x="395" y="48"/>
                </a:lnTo>
                <a:lnTo>
                  <a:pt x="389" y="46"/>
                </a:lnTo>
                <a:lnTo>
                  <a:pt x="385" y="43"/>
                </a:lnTo>
                <a:lnTo>
                  <a:pt x="382" y="39"/>
                </a:lnTo>
                <a:lnTo>
                  <a:pt x="369" y="39"/>
                </a:lnTo>
                <a:lnTo>
                  <a:pt x="362" y="37"/>
                </a:lnTo>
                <a:lnTo>
                  <a:pt x="356" y="35"/>
                </a:lnTo>
                <a:lnTo>
                  <a:pt x="356" y="33"/>
                </a:lnTo>
                <a:lnTo>
                  <a:pt x="353" y="30"/>
                </a:lnTo>
                <a:lnTo>
                  <a:pt x="350" y="30"/>
                </a:lnTo>
                <a:lnTo>
                  <a:pt x="348" y="30"/>
                </a:lnTo>
                <a:lnTo>
                  <a:pt x="282" y="22"/>
                </a:lnTo>
                <a:lnTo>
                  <a:pt x="277" y="17"/>
                </a:lnTo>
                <a:lnTo>
                  <a:pt x="273" y="13"/>
                </a:lnTo>
                <a:lnTo>
                  <a:pt x="271" y="8"/>
                </a:lnTo>
                <a:lnTo>
                  <a:pt x="269" y="4"/>
                </a:lnTo>
                <a:lnTo>
                  <a:pt x="260" y="4"/>
                </a:lnTo>
                <a:lnTo>
                  <a:pt x="260" y="3"/>
                </a:lnTo>
                <a:lnTo>
                  <a:pt x="258" y="1"/>
                </a:lnTo>
                <a:lnTo>
                  <a:pt x="257" y="0"/>
                </a:lnTo>
                <a:lnTo>
                  <a:pt x="255" y="0"/>
                </a:lnTo>
                <a:lnTo>
                  <a:pt x="248" y="1"/>
                </a:lnTo>
                <a:lnTo>
                  <a:pt x="237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25" name="Freeform 86">
            <a:extLst>
              <a:ext uri="{FF2B5EF4-FFF2-40B4-BE49-F238E27FC236}">
                <a16:creationId xmlns:a16="http://schemas.microsoft.com/office/drawing/2014/main" id="{C25BEC3E-7909-4741-96AC-26588D0E44C7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489950" y="4541838"/>
            <a:ext cx="93495" cy="104775"/>
          </a:xfrm>
          <a:custGeom>
            <a:avLst/>
            <a:gdLst/>
            <a:ahLst/>
            <a:cxnLst>
              <a:cxn ang="0">
                <a:pos x="223" y="14"/>
              </a:cxn>
              <a:cxn ang="0">
                <a:pos x="202" y="53"/>
              </a:cxn>
              <a:cxn ang="0">
                <a:pos x="194" y="116"/>
              </a:cxn>
              <a:cxn ang="0">
                <a:pos x="174" y="132"/>
              </a:cxn>
              <a:cxn ang="0">
                <a:pos x="137" y="150"/>
              </a:cxn>
              <a:cxn ang="0">
                <a:pos x="101" y="173"/>
              </a:cxn>
              <a:cxn ang="0">
                <a:pos x="85" y="186"/>
              </a:cxn>
              <a:cxn ang="0">
                <a:pos x="58" y="201"/>
              </a:cxn>
              <a:cxn ang="0">
                <a:pos x="39" y="212"/>
              </a:cxn>
              <a:cxn ang="0">
                <a:pos x="37" y="215"/>
              </a:cxn>
              <a:cxn ang="0">
                <a:pos x="13" y="249"/>
              </a:cxn>
              <a:cxn ang="0">
                <a:pos x="4" y="272"/>
              </a:cxn>
              <a:cxn ang="0">
                <a:pos x="0" y="317"/>
              </a:cxn>
              <a:cxn ang="0">
                <a:pos x="8" y="408"/>
              </a:cxn>
              <a:cxn ang="0">
                <a:pos x="32" y="480"/>
              </a:cxn>
              <a:cxn ang="0">
                <a:pos x="49" y="505"/>
              </a:cxn>
              <a:cxn ang="0">
                <a:pos x="60" y="529"/>
              </a:cxn>
              <a:cxn ang="0">
                <a:pos x="70" y="554"/>
              </a:cxn>
              <a:cxn ang="0">
                <a:pos x="109" y="606"/>
              </a:cxn>
              <a:cxn ang="0">
                <a:pos x="131" y="626"/>
              </a:cxn>
              <a:cxn ang="0">
                <a:pos x="158" y="641"/>
              </a:cxn>
              <a:cxn ang="0">
                <a:pos x="251" y="630"/>
              </a:cxn>
              <a:cxn ang="0">
                <a:pos x="289" y="602"/>
              </a:cxn>
              <a:cxn ang="0">
                <a:pos x="303" y="584"/>
              </a:cxn>
              <a:cxn ang="0">
                <a:pos x="317" y="575"/>
              </a:cxn>
              <a:cxn ang="0">
                <a:pos x="337" y="565"/>
              </a:cxn>
              <a:cxn ang="0">
                <a:pos x="352" y="553"/>
              </a:cxn>
              <a:cxn ang="0">
                <a:pos x="400" y="527"/>
              </a:cxn>
              <a:cxn ang="0">
                <a:pos x="425" y="517"/>
              </a:cxn>
              <a:cxn ang="0">
                <a:pos x="448" y="500"/>
              </a:cxn>
              <a:cxn ang="0">
                <a:pos x="466" y="488"/>
              </a:cxn>
              <a:cxn ang="0">
                <a:pos x="481" y="469"/>
              </a:cxn>
              <a:cxn ang="0">
                <a:pos x="497" y="442"/>
              </a:cxn>
              <a:cxn ang="0">
                <a:pos x="504" y="427"/>
              </a:cxn>
              <a:cxn ang="0">
                <a:pos x="509" y="383"/>
              </a:cxn>
              <a:cxn ang="0">
                <a:pos x="497" y="345"/>
              </a:cxn>
              <a:cxn ang="0">
                <a:pos x="481" y="306"/>
              </a:cxn>
              <a:cxn ang="0">
                <a:pos x="466" y="270"/>
              </a:cxn>
              <a:cxn ang="0">
                <a:pos x="450" y="238"/>
              </a:cxn>
              <a:cxn ang="0">
                <a:pos x="430" y="201"/>
              </a:cxn>
              <a:cxn ang="0">
                <a:pos x="425" y="125"/>
              </a:cxn>
              <a:cxn ang="0">
                <a:pos x="423" y="63"/>
              </a:cxn>
              <a:cxn ang="0">
                <a:pos x="400" y="52"/>
              </a:cxn>
              <a:cxn ang="0">
                <a:pos x="382" y="39"/>
              </a:cxn>
              <a:cxn ang="0">
                <a:pos x="356" y="33"/>
              </a:cxn>
              <a:cxn ang="0">
                <a:pos x="282" y="22"/>
              </a:cxn>
              <a:cxn ang="0">
                <a:pos x="269" y="4"/>
              </a:cxn>
              <a:cxn ang="0">
                <a:pos x="257" y="0"/>
              </a:cxn>
            </a:cxnLst>
            <a:rect l="0" t="0" r="r" b="b"/>
            <a:pathLst>
              <a:path w="509" h="641">
                <a:moveTo>
                  <a:pt x="237" y="4"/>
                </a:moveTo>
                <a:lnTo>
                  <a:pt x="233" y="6"/>
                </a:lnTo>
                <a:lnTo>
                  <a:pt x="227" y="9"/>
                </a:lnTo>
                <a:lnTo>
                  <a:pt x="223" y="14"/>
                </a:lnTo>
                <a:lnTo>
                  <a:pt x="218" y="18"/>
                </a:lnTo>
                <a:lnTo>
                  <a:pt x="209" y="27"/>
                </a:lnTo>
                <a:lnTo>
                  <a:pt x="203" y="35"/>
                </a:lnTo>
                <a:lnTo>
                  <a:pt x="202" y="53"/>
                </a:lnTo>
                <a:lnTo>
                  <a:pt x="200" y="73"/>
                </a:lnTo>
                <a:lnTo>
                  <a:pt x="198" y="93"/>
                </a:lnTo>
                <a:lnTo>
                  <a:pt x="198" y="114"/>
                </a:lnTo>
                <a:lnTo>
                  <a:pt x="194" y="116"/>
                </a:lnTo>
                <a:lnTo>
                  <a:pt x="189" y="119"/>
                </a:lnTo>
                <a:lnTo>
                  <a:pt x="185" y="128"/>
                </a:lnTo>
                <a:lnTo>
                  <a:pt x="180" y="129"/>
                </a:lnTo>
                <a:lnTo>
                  <a:pt x="174" y="132"/>
                </a:lnTo>
                <a:lnTo>
                  <a:pt x="167" y="136"/>
                </a:lnTo>
                <a:lnTo>
                  <a:pt x="162" y="140"/>
                </a:lnTo>
                <a:lnTo>
                  <a:pt x="149" y="140"/>
                </a:lnTo>
                <a:lnTo>
                  <a:pt x="137" y="150"/>
                </a:lnTo>
                <a:lnTo>
                  <a:pt x="121" y="159"/>
                </a:lnTo>
                <a:lnTo>
                  <a:pt x="113" y="163"/>
                </a:lnTo>
                <a:lnTo>
                  <a:pt x="107" y="168"/>
                </a:lnTo>
                <a:lnTo>
                  <a:pt x="101" y="173"/>
                </a:lnTo>
                <a:lnTo>
                  <a:pt x="97" y="180"/>
                </a:lnTo>
                <a:lnTo>
                  <a:pt x="93" y="180"/>
                </a:lnTo>
                <a:lnTo>
                  <a:pt x="89" y="182"/>
                </a:lnTo>
                <a:lnTo>
                  <a:pt x="85" y="186"/>
                </a:lnTo>
                <a:lnTo>
                  <a:pt x="83" y="189"/>
                </a:lnTo>
                <a:lnTo>
                  <a:pt x="74" y="191"/>
                </a:lnTo>
                <a:lnTo>
                  <a:pt x="66" y="193"/>
                </a:lnTo>
                <a:lnTo>
                  <a:pt x="58" y="201"/>
                </a:lnTo>
                <a:lnTo>
                  <a:pt x="49" y="210"/>
                </a:lnTo>
                <a:lnTo>
                  <a:pt x="43" y="211"/>
                </a:lnTo>
                <a:lnTo>
                  <a:pt x="40" y="211"/>
                </a:lnTo>
                <a:lnTo>
                  <a:pt x="39" y="212"/>
                </a:lnTo>
                <a:lnTo>
                  <a:pt x="39" y="212"/>
                </a:lnTo>
                <a:lnTo>
                  <a:pt x="39" y="213"/>
                </a:lnTo>
                <a:lnTo>
                  <a:pt x="39" y="215"/>
                </a:lnTo>
                <a:lnTo>
                  <a:pt x="37" y="215"/>
                </a:lnTo>
                <a:lnTo>
                  <a:pt x="35" y="215"/>
                </a:lnTo>
                <a:lnTo>
                  <a:pt x="31" y="224"/>
                </a:lnTo>
                <a:lnTo>
                  <a:pt x="22" y="236"/>
                </a:lnTo>
                <a:lnTo>
                  <a:pt x="13" y="249"/>
                </a:lnTo>
                <a:lnTo>
                  <a:pt x="8" y="255"/>
                </a:lnTo>
                <a:lnTo>
                  <a:pt x="8" y="268"/>
                </a:lnTo>
                <a:lnTo>
                  <a:pt x="6" y="269"/>
                </a:lnTo>
                <a:lnTo>
                  <a:pt x="4" y="272"/>
                </a:lnTo>
                <a:lnTo>
                  <a:pt x="2" y="277"/>
                </a:lnTo>
                <a:lnTo>
                  <a:pt x="1" y="283"/>
                </a:lnTo>
                <a:lnTo>
                  <a:pt x="0" y="299"/>
                </a:lnTo>
                <a:lnTo>
                  <a:pt x="0" y="317"/>
                </a:lnTo>
                <a:lnTo>
                  <a:pt x="3" y="355"/>
                </a:lnTo>
                <a:lnTo>
                  <a:pt x="4" y="378"/>
                </a:lnTo>
                <a:lnTo>
                  <a:pt x="5" y="391"/>
                </a:lnTo>
                <a:lnTo>
                  <a:pt x="8" y="408"/>
                </a:lnTo>
                <a:lnTo>
                  <a:pt x="13" y="426"/>
                </a:lnTo>
                <a:lnTo>
                  <a:pt x="18" y="445"/>
                </a:lnTo>
                <a:lnTo>
                  <a:pt x="25" y="463"/>
                </a:lnTo>
                <a:lnTo>
                  <a:pt x="32" y="480"/>
                </a:lnTo>
                <a:lnTo>
                  <a:pt x="36" y="488"/>
                </a:lnTo>
                <a:lnTo>
                  <a:pt x="40" y="495"/>
                </a:lnTo>
                <a:lnTo>
                  <a:pt x="44" y="500"/>
                </a:lnTo>
                <a:lnTo>
                  <a:pt x="49" y="505"/>
                </a:lnTo>
                <a:lnTo>
                  <a:pt x="50" y="511"/>
                </a:lnTo>
                <a:lnTo>
                  <a:pt x="52" y="517"/>
                </a:lnTo>
                <a:lnTo>
                  <a:pt x="55" y="524"/>
                </a:lnTo>
                <a:lnTo>
                  <a:pt x="60" y="529"/>
                </a:lnTo>
                <a:lnTo>
                  <a:pt x="63" y="535"/>
                </a:lnTo>
                <a:lnTo>
                  <a:pt x="66" y="540"/>
                </a:lnTo>
                <a:lnTo>
                  <a:pt x="70" y="547"/>
                </a:lnTo>
                <a:lnTo>
                  <a:pt x="70" y="554"/>
                </a:lnTo>
                <a:lnTo>
                  <a:pt x="81" y="566"/>
                </a:lnTo>
                <a:lnTo>
                  <a:pt x="96" y="586"/>
                </a:lnTo>
                <a:lnTo>
                  <a:pt x="102" y="597"/>
                </a:lnTo>
                <a:lnTo>
                  <a:pt x="109" y="606"/>
                </a:lnTo>
                <a:lnTo>
                  <a:pt x="112" y="614"/>
                </a:lnTo>
                <a:lnTo>
                  <a:pt x="114" y="620"/>
                </a:lnTo>
                <a:lnTo>
                  <a:pt x="122" y="622"/>
                </a:lnTo>
                <a:lnTo>
                  <a:pt x="131" y="626"/>
                </a:lnTo>
                <a:lnTo>
                  <a:pt x="140" y="632"/>
                </a:lnTo>
                <a:lnTo>
                  <a:pt x="145" y="636"/>
                </a:lnTo>
                <a:lnTo>
                  <a:pt x="151" y="639"/>
                </a:lnTo>
                <a:lnTo>
                  <a:pt x="158" y="641"/>
                </a:lnTo>
                <a:lnTo>
                  <a:pt x="224" y="641"/>
                </a:lnTo>
                <a:lnTo>
                  <a:pt x="229" y="640"/>
                </a:lnTo>
                <a:lnTo>
                  <a:pt x="238" y="635"/>
                </a:lnTo>
                <a:lnTo>
                  <a:pt x="251" y="630"/>
                </a:lnTo>
                <a:lnTo>
                  <a:pt x="263" y="622"/>
                </a:lnTo>
                <a:lnTo>
                  <a:pt x="274" y="614"/>
                </a:lnTo>
                <a:lnTo>
                  <a:pt x="285" y="606"/>
                </a:lnTo>
                <a:lnTo>
                  <a:pt x="289" y="602"/>
                </a:lnTo>
                <a:lnTo>
                  <a:pt x="292" y="599"/>
                </a:lnTo>
                <a:lnTo>
                  <a:pt x="294" y="595"/>
                </a:lnTo>
                <a:lnTo>
                  <a:pt x="294" y="593"/>
                </a:lnTo>
                <a:lnTo>
                  <a:pt x="303" y="584"/>
                </a:lnTo>
                <a:lnTo>
                  <a:pt x="308" y="583"/>
                </a:lnTo>
                <a:lnTo>
                  <a:pt x="312" y="582"/>
                </a:lnTo>
                <a:lnTo>
                  <a:pt x="315" y="578"/>
                </a:lnTo>
                <a:lnTo>
                  <a:pt x="317" y="575"/>
                </a:lnTo>
                <a:lnTo>
                  <a:pt x="327" y="573"/>
                </a:lnTo>
                <a:lnTo>
                  <a:pt x="334" y="571"/>
                </a:lnTo>
                <a:lnTo>
                  <a:pt x="334" y="567"/>
                </a:lnTo>
                <a:lnTo>
                  <a:pt x="337" y="565"/>
                </a:lnTo>
                <a:lnTo>
                  <a:pt x="340" y="563"/>
                </a:lnTo>
                <a:lnTo>
                  <a:pt x="343" y="562"/>
                </a:lnTo>
                <a:lnTo>
                  <a:pt x="346" y="558"/>
                </a:lnTo>
                <a:lnTo>
                  <a:pt x="352" y="553"/>
                </a:lnTo>
                <a:lnTo>
                  <a:pt x="363" y="546"/>
                </a:lnTo>
                <a:lnTo>
                  <a:pt x="376" y="539"/>
                </a:lnTo>
                <a:lnTo>
                  <a:pt x="388" y="533"/>
                </a:lnTo>
                <a:lnTo>
                  <a:pt x="400" y="527"/>
                </a:lnTo>
                <a:lnTo>
                  <a:pt x="410" y="524"/>
                </a:lnTo>
                <a:lnTo>
                  <a:pt x="418" y="523"/>
                </a:lnTo>
                <a:lnTo>
                  <a:pt x="421" y="519"/>
                </a:lnTo>
                <a:lnTo>
                  <a:pt x="425" y="517"/>
                </a:lnTo>
                <a:lnTo>
                  <a:pt x="429" y="515"/>
                </a:lnTo>
                <a:lnTo>
                  <a:pt x="435" y="514"/>
                </a:lnTo>
                <a:lnTo>
                  <a:pt x="444" y="500"/>
                </a:lnTo>
                <a:lnTo>
                  <a:pt x="448" y="500"/>
                </a:lnTo>
                <a:lnTo>
                  <a:pt x="453" y="498"/>
                </a:lnTo>
                <a:lnTo>
                  <a:pt x="456" y="496"/>
                </a:lnTo>
                <a:lnTo>
                  <a:pt x="459" y="494"/>
                </a:lnTo>
                <a:lnTo>
                  <a:pt x="466" y="488"/>
                </a:lnTo>
                <a:lnTo>
                  <a:pt x="475" y="484"/>
                </a:lnTo>
                <a:lnTo>
                  <a:pt x="475" y="479"/>
                </a:lnTo>
                <a:lnTo>
                  <a:pt x="477" y="475"/>
                </a:lnTo>
                <a:lnTo>
                  <a:pt x="481" y="469"/>
                </a:lnTo>
                <a:lnTo>
                  <a:pt x="484" y="463"/>
                </a:lnTo>
                <a:lnTo>
                  <a:pt x="492" y="455"/>
                </a:lnTo>
                <a:lnTo>
                  <a:pt x="497" y="448"/>
                </a:lnTo>
                <a:lnTo>
                  <a:pt x="497" y="442"/>
                </a:lnTo>
                <a:lnTo>
                  <a:pt x="500" y="436"/>
                </a:lnTo>
                <a:lnTo>
                  <a:pt x="501" y="432"/>
                </a:lnTo>
                <a:lnTo>
                  <a:pt x="502" y="429"/>
                </a:lnTo>
                <a:lnTo>
                  <a:pt x="504" y="427"/>
                </a:lnTo>
                <a:lnTo>
                  <a:pt x="505" y="426"/>
                </a:lnTo>
                <a:lnTo>
                  <a:pt x="505" y="400"/>
                </a:lnTo>
                <a:lnTo>
                  <a:pt x="507" y="392"/>
                </a:lnTo>
                <a:lnTo>
                  <a:pt x="509" y="383"/>
                </a:lnTo>
                <a:lnTo>
                  <a:pt x="507" y="373"/>
                </a:lnTo>
                <a:lnTo>
                  <a:pt x="505" y="363"/>
                </a:lnTo>
                <a:lnTo>
                  <a:pt x="502" y="354"/>
                </a:lnTo>
                <a:lnTo>
                  <a:pt x="497" y="345"/>
                </a:lnTo>
                <a:lnTo>
                  <a:pt x="493" y="338"/>
                </a:lnTo>
                <a:lnTo>
                  <a:pt x="488" y="334"/>
                </a:lnTo>
                <a:lnTo>
                  <a:pt x="488" y="316"/>
                </a:lnTo>
                <a:lnTo>
                  <a:pt x="481" y="306"/>
                </a:lnTo>
                <a:lnTo>
                  <a:pt x="474" y="293"/>
                </a:lnTo>
                <a:lnTo>
                  <a:pt x="471" y="285"/>
                </a:lnTo>
                <a:lnTo>
                  <a:pt x="468" y="278"/>
                </a:lnTo>
                <a:lnTo>
                  <a:pt x="466" y="270"/>
                </a:lnTo>
                <a:lnTo>
                  <a:pt x="466" y="264"/>
                </a:lnTo>
                <a:lnTo>
                  <a:pt x="457" y="255"/>
                </a:lnTo>
                <a:lnTo>
                  <a:pt x="457" y="246"/>
                </a:lnTo>
                <a:lnTo>
                  <a:pt x="450" y="238"/>
                </a:lnTo>
                <a:lnTo>
                  <a:pt x="443" y="230"/>
                </a:lnTo>
                <a:lnTo>
                  <a:pt x="436" y="222"/>
                </a:lnTo>
                <a:lnTo>
                  <a:pt x="430" y="215"/>
                </a:lnTo>
                <a:lnTo>
                  <a:pt x="430" y="201"/>
                </a:lnTo>
                <a:lnTo>
                  <a:pt x="427" y="193"/>
                </a:lnTo>
                <a:lnTo>
                  <a:pt x="423" y="184"/>
                </a:lnTo>
                <a:lnTo>
                  <a:pt x="423" y="154"/>
                </a:lnTo>
                <a:lnTo>
                  <a:pt x="425" y="125"/>
                </a:lnTo>
                <a:lnTo>
                  <a:pt x="426" y="95"/>
                </a:lnTo>
                <a:lnTo>
                  <a:pt x="427" y="65"/>
                </a:lnTo>
                <a:lnTo>
                  <a:pt x="424" y="65"/>
                </a:lnTo>
                <a:lnTo>
                  <a:pt x="423" y="63"/>
                </a:lnTo>
                <a:lnTo>
                  <a:pt x="423" y="59"/>
                </a:lnTo>
                <a:lnTo>
                  <a:pt x="423" y="56"/>
                </a:lnTo>
                <a:lnTo>
                  <a:pt x="413" y="55"/>
                </a:lnTo>
                <a:lnTo>
                  <a:pt x="400" y="52"/>
                </a:lnTo>
                <a:lnTo>
                  <a:pt x="395" y="48"/>
                </a:lnTo>
                <a:lnTo>
                  <a:pt x="389" y="46"/>
                </a:lnTo>
                <a:lnTo>
                  <a:pt x="385" y="43"/>
                </a:lnTo>
                <a:lnTo>
                  <a:pt x="382" y="39"/>
                </a:lnTo>
                <a:lnTo>
                  <a:pt x="369" y="39"/>
                </a:lnTo>
                <a:lnTo>
                  <a:pt x="362" y="37"/>
                </a:lnTo>
                <a:lnTo>
                  <a:pt x="356" y="35"/>
                </a:lnTo>
                <a:lnTo>
                  <a:pt x="356" y="33"/>
                </a:lnTo>
                <a:lnTo>
                  <a:pt x="353" y="30"/>
                </a:lnTo>
                <a:lnTo>
                  <a:pt x="350" y="30"/>
                </a:lnTo>
                <a:lnTo>
                  <a:pt x="348" y="30"/>
                </a:lnTo>
                <a:lnTo>
                  <a:pt x="282" y="22"/>
                </a:lnTo>
                <a:lnTo>
                  <a:pt x="277" y="17"/>
                </a:lnTo>
                <a:lnTo>
                  <a:pt x="273" y="13"/>
                </a:lnTo>
                <a:lnTo>
                  <a:pt x="271" y="8"/>
                </a:lnTo>
                <a:lnTo>
                  <a:pt x="269" y="4"/>
                </a:lnTo>
                <a:lnTo>
                  <a:pt x="260" y="4"/>
                </a:lnTo>
                <a:lnTo>
                  <a:pt x="260" y="3"/>
                </a:lnTo>
                <a:lnTo>
                  <a:pt x="258" y="1"/>
                </a:lnTo>
                <a:lnTo>
                  <a:pt x="257" y="0"/>
                </a:lnTo>
                <a:lnTo>
                  <a:pt x="255" y="0"/>
                </a:lnTo>
                <a:lnTo>
                  <a:pt x="248" y="1"/>
                </a:lnTo>
                <a:lnTo>
                  <a:pt x="237" y="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26" name="Freeform 87">
            <a:extLst>
              <a:ext uri="{FF2B5EF4-FFF2-40B4-BE49-F238E27FC236}">
                <a16:creationId xmlns:a16="http://schemas.microsoft.com/office/drawing/2014/main" id="{BEB0DD6D-18C5-4347-B2AF-3A99CDA9BD07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342313" y="4557713"/>
            <a:ext cx="117794" cy="53975"/>
          </a:xfrm>
          <a:custGeom>
            <a:avLst/>
            <a:gdLst/>
            <a:ahLst/>
            <a:cxnLst>
              <a:cxn ang="0">
                <a:pos x="269" y="21"/>
              </a:cxn>
              <a:cxn ang="0">
                <a:pos x="252" y="35"/>
              </a:cxn>
              <a:cxn ang="0">
                <a:pos x="248" y="80"/>
              </a:cxn>
              <a:cxn ang="0">
                <a:pos x="254" y="106"/>
              </a:cxn>
              <a:cxn ang="0">
                <a:pos x="260" y="112"/>
              </a:cxn>
              <a:cxn ang="0">
                <a:pos x="264" y="167"/>
              </a:cxn>
              <a:cxn ang="0">
                <a:pos x="241" y="192"/>
              </a:cxn>
              <a:cxn ang="0">
                <a:pos x="175" y="199"/>
              </a:cxn>
              <a:cxn ang="0">
                <a:pos x="115" y="206"/>
              </a:cxn>
              <a:cxn ang="0">
                <a:pos x="95" y="213"/>
              </a:cxn>
              <a:cxn ang="0">
                <a:pos x="86" y="218"/>
              </a:cxn>
              <a:cxn ang="0">
                <a:pos x="68" y="224"/>
              </a:cxn>
              <a:cxn ang="0">
                <a:pos x="55" y="228"/>
              </a:cxn>
              <a:cxn ang="0">
                <a:pos x="34" y="244"/>
              </a:cxn>
              <a:cxn ang="0">
                <a:pos x="24" y="251"/>
              </a:cxn>
              <a:cxn ang="0">
                <a:pos x="13" y="265"/>
              </a:cxn>
              <a:cxn ang="0">
                <a:pos x="3" y="274"/>
              </a:cxn>
              <a:cxn ang="0">
                <a:pos x="9" y="304"/>
              </a:cxn>
              <a:cxn ang="0">
                <a:pos x="33" y="323"/>
              </a:cxn>
              <a:cxn ang="0">
                <a:pos x="120" y="328"/>
              </a:cxn>
              <a:cxn ang="0">
                <a:pos x="152" y="323"/>
              </a:cxn>
              <a:cxn ang="0">
                <a:pos x="175" y="312"/>
              </a:cxn>
              <a:cxn ang="0">
                <a:pos x="187" y="298"/>
              </a:cxn>
              <a:cxn ang="0">
                <a:pos x="204" y="287"/>
              </a:cxn>
              <a:cxn ang="0">
                <a:pos x="216" y="270"/>
              </a:cxn>
              <a:cxn ang="0">
                <a:pos x="229" y="255"/>
              </a:cxn>
              <a:cxn ang="0">
                <a:pos x="238" y="242"/>
              </a:cxn>
              <a:cxn ang="0">
                <a:pos x="248" y="235"/>
              </a:cxn>
              <a:cxn ang="0">
                <a:pos x="288" y="241"/>
              </a:cxn>
              <a:cxn ang="0">
                <a:pos x="308" y="253"/>
              </a:cxn>
              <a:cxn ang="0">
                <a:pos x="320" y="274"/>
              </a:cxn>
              <a:cxn ang="0">
                <a:pos x="346" y="307"/>
              </a:cxn>
              <a:cxn ang="0">
                <a:pos x="372" y="325"/>
              </a:cxn>
              <a:cxn ang="0">
                <a:pos x="414" y="325"/>
              </a:cxn>
              <a:cxn ang="0">
                <a:pos x="437" y="322"/>
              </a:cxn>
              <a:cxn ang="0">
                <a:pos x="457" y="311"/>
              </a:cxn>
              <a:cxn ang="0">
                <a:pos x="479" y="304"/>
              </a:cxn>
              <a:cxn ang="0">
                <a:pos x="501" y="292"/>
              </a:cxn>
              <a:cxn ang="0">
                <a:pos x="548" y="277"/>
              </a:cxn>
              <a:cxn ang="0">
                <a:pos x="578" y="267"/>
              </a:cxn>
              <a:cxn ang="0">
                <a:pos x="598" y="260"/>
              </a:cxn>
              <a:cxn ang="0">
                <a:pos x="603" y="251"/>
              </a:cxn>
              <a:cxn ang="0">
                <a:pos x="610" y="248"/>
              </a:cxn>
              <a:cxn ang="0">
                <a:pos x="617" y="221"/>
              </a:cxn>
              <a:cxn ang="0">
                <a:pos x="620" y="211"/>
              </a:cxn>
              <a:cxn ang="0">
                <a:pos x="623" y="173"/>
              </a:cxn>
              <a:cxn ang="0">
                <a:pos x="625" y="153"/>
              </a:cxn>
              <a:cxn ang="0">
                <a:pos x="629" y="142"/>
              </a:cxn>
              <a:cxn ang="0">
                <a:pos x="634" y="123"/>
              </a:cxn>
              <a:cxn ang="0">
                <a:pos x="639" y="115"/>
              </a:cxn>
              <a:cxn ang="0">
                <a:pos x="645" y="81"/>
              </a:cxn>
              <a:cxn ang="0">
                <a:pos x="618" y="40"/>
              </a:cxn>
              <a:cxn ang="0">
                <a:pos x="594" y="32"/>
              </a:cxn>
              <a:cxn ang="0">
                <a:pos x="519" y="33"/>
              </a:cxn>
              <a:cxn ang="0">
                <a:pos x="472" y="37"/>
              </a:cxn>
              <a:cxn ang="0">
                <a:pos x="436" y="26"/>
              </a:cxn>
              <a:cxn ang="0">
                <a:pos x="394" y="8"/>
              </a:cxn>
              <a:cxn ang="0">
                <a:pos x="375" y="4"/>
              </a:cxn>
              <a:cxn ang="0">
                <a:pos x="363" y="1"/>
              </a:cxn>
              <a:cxn ang="0">
                <a:pos x="343" y="4"/>
              </a:cxn>
              <a:cxn ang="0">
                <a:pos x="337" y="14"/>
              </a:cxn>
              <a:cxn ang="0">
                <a:pos x="327" y="17"/>
              </a:cxn>
              <a:cxn ang="0">
                <a:pos x="312" y="15"/>
              </a:cxn>
            </a:cxnLst>
            <a:rect l="0" t="0" r="r" b="b"/>
            <a:pathLst>
              <a:path w="645" h="330">
                <a:moveTo>
                  <a:pt x="299" y="14"/>
                </a:moveTo>
                <a:lnTo>
                  <a:pt x="273" y="14"/>
                </a:lnTo>
                <a:lnTo>
                  <a:pt x="269" y="21"/>
                </a:lnTo>
                <a:lnTo>
                  <a:pt x="262" y="24"/>
                </a:lnTo>
                <a:lnTo>
                  <a:pt x="257" y="26"/>
                </a:lnTo>
                <a:lnTo>
                  <a:pt x="252" y="35"/>
                </a:lnTo>
                <a:lnTo>
                  <a:pt x="243" y="38"/>
                </a:lnTo>
                <a:lnTo>
                  <a:pt x="244" y="55"/>
                </a:lnTo>
                <a:lnTo>
                  <a:pt x="248" y="80"/>
                </a:lnTo>
                <a:lnTo>
                  <a:pt x="250" y="92"/>
                </a:lnTo>
                <a:lnTo>
                  <a:pt x="252" y="102"/>
                </a:lnTo>
                <a:lnTo>
                  <a:pt x="254" y="106"/>
                </a:lnTo>
                <a:lnTo>
                  <a:pt x="257" y="109"/>
                </a:lnTo>
                <a:lnTo>
                  <a:pt x="258" y="111"/>
                </a:lnTo>
                <a:lnTo>
                  <a:pt x="260" y="112"/>
                </a:lnTo>
                <a:lnTo>
                  <a:pt x="261" y="129"/>
                </a:lnTo>
                <a:lnTo>
                  <a:pt x="262" y="148"/>
                </a:lnTo>
                <a:lnTo>
                  <a:pt x="264" y="167"/>
                </a:lnTo>
                <a:lnTo>
                  <a:pt x="264" y="184"/>
                </a:lnTo>
                <a:lnTo>
                  <a:pt x="257" y="184"/>
                </a:lnTo>
                <a:lnTo>
                  <a:pt x="241" y="192"/>
                </a:lnTo>
                <a:lnTo>
                  <a:pt x="226" y="201"/>
                </a:lnTo>
                <a:lnTo>
                  <a:pt x="201" y="200"/>
                </a:lnTo>
                <a:lnTo>
                  <a:pt x="175" y="199"/>
                </a:lnTo>
                <a:lnTo>
                  <a:pt x="149" y="198"/>
                </a:lnTo>
                <a:lnTo>
                  <a:pt x="124" y="197"/>
                </a:lnTo>
                <a:lnTo>
                  <a:pt x="115" y="206"/>
                </a:lnTo>
                <a:lnTo>
                  <a:pt x="103" y="206"/>
                </a:lnTo>
                <a:lnTo>
                  <a:pt x="98" y="213"/>
                </a:lnTo>
                <a:lnTo>
                  <a:pt x="95" y="213"/>
                </a:lnTo>
                <a:lnTo>
                  <a:pt x="90" y="215"/>
                </a:lnTo>
                <a:lnTo>
                  <a:pt x="87" y="216"/>
                </a:lnTo>
                <a:lnTo>
                  <a:pt x="86" y="218"/>
                </a:lnTo>
                <a:lnTo>
                  <a:pt x="72" y="218"/>
                </a:lnTo>
                <a:lnTo>
                  <a:pt x="70" y="221"/>
                </a:lnTo>
                <a:lnTo>
                  <a:pt x="68" y="224"/>
                </a:lnTo>
                <a:lnTo>
                  <a:pt x="65" y="225"/>
                </a:lnTo>
                <a:lnTo>
                  <a:pt x="61" y="226"/>
                </a:lnTo>
                <a:lnTo>
                  <a:pt x="55" y="228"/>
                </a:lnTo>
                <a:lnTo>
                  <a:pt x="47" y="231"/>
                </a:lnTo>
                <a:lnTo>
                  <a:pt x="40" y="236"/>
                </a:lnTo>
                <a:lnTo>
                  <a:pt x="34" y="244"/>
                </a:lnTo>
                <a:lnTo>
                  <a:pt x="31" y="247"/>
                </a:lnTo>
                <a:lnTo>
                  <a:pt x="28" y="249"/>
                </a:lnTo>
                <a:lnTo>
                  <a:pt x="24" y="251"/>
                </a:lnTo>
                <a:lnTo>
                  <a:pt x="21" y="253"/>
                </a:lnTo>
                <a:lnTo>
                  <a:pt x="17" y="257"/>
                </a:lnTo>
                <a:lnTo>
                  <a:pt x="13" y="265"/>
                </a:lnTo>
                <a:lnTo>
                  <a:pt x="10" y="266"/>
                </a:lnTo>
                <a:lnTo>
                  <a:pt x="7" y="270"/>
                </a:lnTo>
                <a:lnTo>
                  <a:pt x="3" y="274"/>
                </a:lnTo>
                <a:lnTo>
                  <a:pt x="0" y="278"/>
                </a:lnTo>
                <a:lnTo>
                  <a:pt x="0" y="295"/>
                </a:lnTo>
                <a:lnTo>
                  <a:pt x="9" y="304"/>
                </a:lnTo>
                <a:lnTo>
                  <a:pt x="13" y="307"/>
                </a:lnTo>
                <a:lnTo>
                  <a:pt x="23" y="315"/>
                </a:lnTo>
                <a:lnTo>
                  <a:pt x="33" y="323"/>
                </a:lnTo>
                <a:lnTo>
                  <a:pt x="39" y="330"/>
                </a:lnTo>
                <a:lnTo>
                  <a:pt x="76" y="330"/>
                </a:lnTo>
                <a:lnTo>
                  <a:pt x="120" y="328"/>
                </a:lnTo>
                <a:lnTo>
                  <a:pt x="132" y="327"/>
                </a:lnTo>
                <a:lnTo>
                  <a:pt x="143" y="325"/>
                </a:lnTo>
                <a:lnTo>
                  <a:pt x="152" y="323"/>
                </a:lnTo>
                <a:lnTo>
                  <a:pt x="161" y="321"/>
                </a:lnTo>
                <a:lnTo>
                  <a:pt x="168" y="316"/>
                </a:lnTo>
                <a:lnTo>
                  <a:pt x="175" y="312"/>
                </a:lnTo>
                <a:lnTo>
                  <a:pt x="181" y="306"/>
                </a:lnTo>
                <a:lnTo>
                  <a:pt x="184" y="299"/>
                </a:lnTo>
                <a:lnTo>
                  <a:pt x="187" y="298"/>
                </a:lnTo>
                <a:lnTo>
                  <a:pt x="193" y="296"/>
                </a:lnTo>
                <a:lnTo>
                  <a:pt x="199" y="292"/>
                </a:lnTo>
                <a:lnTo>
                  <a:pt x="204" y="287"/>
                </a:lnTo>
                <a:lnTo>
                  <a:pt x="210" y="282"/>
                </a:lnTo>
                <a:lnTo>
                  <a:pt x="214" y="276"/>
                </a:lnTo>
                <a:lnTo>
                  <a:pt x="216" y="270"/>
                </a:lnTo>
                <a:lnTo>
                  <a:pt x="217" y="265"/>
                </a:lnTo>
                <a:lnTo>
                  <a:pt x="226" y="260"/>
                </a:lnTo>
                <a:lnTo>
                  <a:pt x="229" y="255"/>
                </a:lnTo>
                <a:lnTo>
                  <a:pt x="231" y="248"/>
                </a:lnTo>
                <a:lnTo>
                  <a:pt x="235" y="244"/>
                </a:lnTo>
                <a:lnTo>
                  <a:pt x="238" y="242"/>
                </a:lnTo>
                <a:lnTo>
                  <a:pt x="241" y="241"/>
                </a:lnTo>
                <a:lnTo>
                  <a:pt x="244" y="238"/>
                </a:lnTo>
                <a:lnTo>
                  <a:pt x="248" y="235"/>
                </a:lnTo>
                <a:lnTo>
                  <a:pt x="269" y="235"/>
                </a:lnTo>
                <a:lnTo>
                  <a:pt x="277" y="237"/>
                </a:lnTo>
                <a:lnTo>
                  <a:pt x="288" y="241"/>
                </a:lnTo>
                <a:lnTo>
                  <a:pt x="298" y="246"/>
                </a:lnTo>
                <a:lnTo>
                  <a:pt x="303" y="248"/>
                </a:lnTo>
                <a:lnTo>
                  <a:pt x="308" y="253"/>
                </a:lnTo>
                <a:lnTo>
                  <a:pt x="311" y="260"/>
                </a:lnTo>
                <a:lnTo>
                  <a:pt x="320" y="265"/>
                </a:lnTo>
                <a:lnTo>
                  <a:pt x="320" y="274"/>
                </a:lnTo>
                <a:lnTo>
                  <a:pt x="327" y="285"/>
                </a:lnTo>
                <a:lnTo>
                  <a:pt x="334" y="299"/>
                </a:lnTo>
                <a:lnTo>
                  <a:pt x="346" y="307"/>
                </a:lnTo>
                <a:lnTo>
                  <a:pt x="355" y="316"/>
                </a:lnTo>
                <a:lnTo>
                  <a:pt x="363" y="316"/>
                </a:lnTo>
                <a:lnTo>
                  <a:pt x="372" y="325"/>
                </a:lnTo>
                <a:lnTo>
                  <a:pt x="385" y="325"/>
                </a:lnTo>
                <a:lnTo>
                  <a:pt x="399" y="325"/>
                </a:lnTo>
                <a:lnTo>
                  <a:pt x="414" y="325"/>
                </a:lnTo>
                <a:lnTo>
                  <a:pt x="427" y="325"/>
                </a:lnTo>
                <a:lnTo>
                  <a:pt x="432" y="324"/>
                </a:lnTo>
                <a:lnTo>
                  <a:pt x="437" y="322"/>
                </a:lnTo>
                <a:lnTo>
                  <a:pt x="444" y="318"/>
                </a:lnTo>
                <a:lnTo>
                  <a:pt x="451" y="314"/>
                </a:lnTo>
                <a:lnTo>
                  <a:pt x="457" y="311"/>
                </a:lnTo>
                <a:lnTo>
                  <a:pt x="465" y="307"/>
                </a:lnTo>
                <a:lnTo>
                  <a:pt x="472" y="304"/>
                </a:lnTo>
                <a:lnTo>
                  <a:pt x="479" y="304"/>
                </a:lnTo>
                <a:lnTo>
                  <a:pt x="485" y="301"/>
                </a:lnTo>
                <a:lnTo>
                  <a:pt x="493" y="296"/>
                </a:lnTo>
                <a:lnTo>
                  <a:pt x="501" y="292"/>
                </a:lnTo>
                <a:lnTo>
                  <a:pt x="508" y="286"/>
                </a:lnTo>
                <a:lnTo>
                  <a:pt x="523" y="284"/>
                </a:lnTo>
                <a:lnTo>
                  <a:pt x="548" y="277"/>
                </a:lnTo>
                <a:lnTo>
                  <a:pt x="560" y="274"/>
                </a:lnTo>
                <a:lnTo>
                  <a:pt x="570" y="270"/>
                </a:lnTo>
                <a:lnTo>
                  <a:pt x="578" y="267"/>
                </a:lnTo>
                <a:lnTo>
                  <a:pt x="580" y="265"/>
                </a:lnTo>
                <a:lnTo>
                  <a:pt x="589" y="263"/>
                </a:lnTo>
                <a:lnTo>
                  <a:pt x="598" y="260"/>
                </a:lnTo>
                <a:lnTo>
                  <a:pt x="598" y="257"/>
                </a:lnTo>
                <a:lnTo>
                  <a:pt x="601" y="253"/>
                </a:lnTo>
                <a:lnTo>
                  <a:pt x="603" y="251"/>
                </a:lnTo>
                <a:lnTo>
                  <a:pt x="605" y="249"/>
                </a:lnTo>
                <a:lnTo>
                  <a:pt x="607" y="248"/>
                </a:lnTo>
                <a:lnTo>
                  <a:pt x="610" y="248"/>
                </a:lnTo>
                <a:lnTo>
                  <a:pt x="613" y="235"/>
                </a:lnTo>
                <a:lnTo>
                  <a:pt x="615" y="222"/>
                </a:lnTo>
                <a:lnTo>
                  <a:pt x="617" y="221"/>
                </a:lnTo>
                <a:lnTo>
                  <a:pt x="618" y="219"/>
                </a:lnTo>
                <a:lnTo>
                  <a:pt x="620" y="216"/>
                </a:lnTo>
                <a:lnTo>
                  <a:pt x="620" y="211"/>
                </a:lnTo>
                <a:lnTo>
                  <a:pt x="623" y="199"/>
                </a:lnTo>
                <a:lnTo>
                  <a:pt x="623" y="186"/>
                </a:lnTo>
                <a:lnTo>
                  <a:pt x="623" y="173"/>
                </a:lnTo>
                <a:lnTo>
                  <a:pt x="624" y="161"/>
                </a:lnTo>
                <a:lnTo>
                  <a:pt x="624" y="157"/>
                </a:lnTo>
                <a:lnTo>
                  <a:pt x="625" y="153"/>
                </a:lnTo>
                <a:lnTo>
                  <a:pt x="626" y="151"/>
                </a:lnTo>
                <a:lnTo>
                  <a:pt x="627" y="150"/>
                </a:lnTo>
                <a:lnTo>
                  <a:pt x="629" y="142"/>
                </a:lnTo>
                <a:lnTo>
                  <a:pt x="632" y="136"/>
                </a:lnTo>
                <a:lnTo>
                  <a:pt x="632" y="124"/>
                </a:lnTo>
                <a:lnTo>
                  <a:pt x="634" y="123"/>
                </a:lnTo>
                <a:lnTo>
                  <a:pt x="636" y="121"/>
                </a:lnTo>
                <a:lnTo>
                  <a:pt x="638" y="119"/>
                </a:lnTo>
                <a:lnTo>
                  <a:pt x="639" y="115"/>
                </a:lnTo>
                <a:lnTo>
                  <a:pt x="642" y="107"/>
                </a:lnTo>
                <a:lnTo>
                  <a:pt x="643" y="100"/>
                </a:lnTo>
                <a:lnTo>
                  <a:pt x="645" y="81"/>
                </a:lnTo>
                <a:lnTo>
                  <a:pt x="645" y="64"/>
                </a:lnTo>
                <a:lnTo>
                  <a:pt x="632" y="52"/>
                </a:lnTo>
                <a:lnTo>
                  <a:pt x="618" y="40"/>
                </a:lnTo>
                <a:lnTo>
                  <a:pt x="610" y="36"/>
                </a:lnTo>
                <a:lnTo>
                  <a:pt x="603" y="33"/>
                </a:lnTo>
                <a:lnTo>
                  <a:pt x="594" y="32"/>
                </a:lnTo>
                <a:lnTo>
                  <a:pt x="585" y="30"/>
                </a:lnTo>
                <a:lnTo>
                  <a:pt x="538" y="30"/>
                </a:lnTo>
                <a:lnTo>
                  <a:pt x="519" y="33"/>
                </a:lnTo>
                <a:lnTo>
                  <a:pt x="495" y="36"/>
                </a:lnTo>
                <a:lnTo>
                  <a:pt x="483" y="37"/>
                </a:lnTo>
                <a:lnTo>
                  <a:pt x="472" y="37"/>
                </a:lnTo>
                <a:lnTo>
                  <a:pt x="462" y="37"/>
                </a:lnTo>
                <a:lnTo>
                  <a:pt x="453" y="35"/>
                </a:lnTo>
                <a:lnTo>
                  <a:pt x="436" y="26"/>
                </a:lnTo>
                <a:lnTo>
                  <a:pt x="416" y="16"/>
                </a:lnTo>
                <a:lnTo>
                  <a:pt x="405" y="11"/>
                </a:lnTo>
                <a:lnTo>
                  <a:pt x="394" y="8"/>
                </a:lnTo>
                <a:lnTo>
                  <a:pt x="385" y="6"/>
                </a:lnTo>
                <a:lnTo>
                  <a:pt x="376" y="5"/>
                </a:lnTo>
                <a:lnTo>
                  <a:pt x="375" y="4"/>
                </a:lnTo>
                <a:lnTo>
                  <a:pt x="372" y="3"/>
                </a:lnTo>
                <a:lnTo>
                  <a:pt x="367" y="1"/>
                </a:lnTo>
                <a:lnTo>
                  <a:pt x="363" y="1"/>
                </a:lnTo>
                <a:lnTo>
                  <a:pt x="353" y="0"/>
                </a:lnTo>
                <a:lnTo>
                  <a:pt x="346" y="0"/>
                </a:lnTo>
                <a:lnTo>
                  <a:pt x="343" y="4"/>
                </a:lnTo>
                <a:lnTo>
                  <a:pt x="340" y="7"/>
                </a:lnTo>
                <a:lnTo>
                  <a:pt x="338" y="10"/>
                </a:lnTo>
                <a:lnTo>
                  <a:pt x="337" y="14"/>
                </a:lnTo>
                <a:lnTo>
                  <a:pt x="329" y="14"/>
                </a:lnTo>
                <a:lnTo>
                  <a:pt x="328" y="16"/>
                </a:lnTo>
                <a:lnTo>
                  <a:pt x="327" y="17"/>
                </a:lnTo>
                <a:lnTo>
                  <a:pt x="325" y="17"/>
                </a:lnTo>
                <a:lnTo>
                  <a:pt x="321" y="16"/>
                </a:lnTo>
                <a:lnTo>
                  <a:pt x="312" y="15"/>
                </a:lnTo>
                <a:lnTo>
                  <a:pt x="299" y="1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27" name="Freeform 88">
            <a:extLst>
              <a:ext uri="{FF2B5EF4-FFF2-40B4-BE49-F238E27FC236}">
                <a16:creationId xmlns:a16="http://schemas.microsoft.com/office/drawing/2014/main" id="{D9B58A34-8CC8-4D21-A66D-D1EB47D84DAF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091488" y="4619625"/>
            <a:ext cx="138827" cy="111125"/>
          </a:xfrm>
          <a:custGeom>
            <a:avLst/>
            <a:gdLst/>
            <a:ahLst/>
            <a:cxnLst>
              <a:cxn ang="0">
                <a:pos x="346" y="317"/>
              </a:cxn>
              <a:cxn ang="0">
                <a:pos x="313" y="345"/>
              </a:cxn>
              <a:cxn ang="0">
                <a:pos x="250" y="370"/>
              </a:cxn>
              <a:cxn ang="0">
                <a:pos x="172" y="378"/>
              </a:cxn>
              <a:cxn ang="0">
                <a:pos x="59" y="383"/>
              </a:cxn>
              <a:cxn ang="0">
                <a:pos x="26" y="423"/>
              </a:cxn>
              <a:cxn ang="0">
                <a:pos x="14" y="438"/>
              </a:cxn>
              <a:cxn ang="0">
                <a:pos x="1" y="526"/>
              </a:cxn>
              <a:cxn ang="0">
                <a:pos x="3" y="648"/>
              </a:cxn>
              <a:cxn ang="0">
                <a:pos x="12" y="682"/>
              </a:cxn>
              <a:cxn ang="0">
                <a:pos x="17" y="690"/>
              </a:cxn>
              <a:cxn ang="0">
                <a:pos x="25" y="692"/>
              </a:cxn>
              <a:cxn ang="0">
                <a:pos x="28" y="696"/>
              </a:cxn>
              <a:cxn ang="0">
                <a:pos x="50" y="688"/>
              </a:cxn>
              <a:cxn ang="0">
                <a:pos x="103" y="649"/>
              </a:cxn>
              <a:cxn ang="0">
                <a:pos x="126" y="620"/>
              </a:cxn>
              <a:cxn ang="0">
                <a:pos x="164" y="591"/>
              </a:cxn>
              <a:cxn ang="0">
                <a:pos x="209" y="569"/>
              </a:cxn>
              <a:cxn ang="0">
                <a:pos x="252" y="557"/>
              </a:cxn>
              <a:cxn ang="0">
                <a:pos x="303" y="551"/>
              </a:cxn>
              <a:cxn ang="0">
                <a:pos x="363" y="528"/>
              </a:cxn>
              <a:cxn ang="0">
                <a:pos x="420" y="493"/>
              </a:cxn>
              <a:cxn ang="0">
                <a:pos x="460" y="454"/>
              </a:cxn>
              <a:cxn ang="0">
                <a:pos x="472" y="422"/>
              </a:cxn>
              <a:cxn ang="0">
                <a:pos x="473" y="328"/>
              </a:cxn>
              <a:cxn ang="0">
                <a:pos x="477" y="283"/>
              </a:cxn>
              <a:cxn ang="0">
                <a:pos x="481" y="272"/>
              </a:cxn>
              <a:cxn ang="0">
                <a:pos x="487" y="265"/>
              </a:cxn>
              <a:cxn ang="0">
                <a:pos x="507" y="253"/>
              </a:cxn>
              <a:cxn ang="0">
                <a:pos x="518" y="247"/>
              </a:cxn>
              <a:cxn ang="0">
                <a:pos x="534" y="242"/>
              </a:cxn>
              <a:cxn ang="0">
                <a:pos x="586" y="241"/>
              </a:cxn>
              <a:cxn ang="0">
                <a:pos x="624" y="291"/>
              </a:cxn>
              <a:cxn ang="0">
                <a:pos x="678" y="341"/>
              </a:cxn>
              <a:cxn ang="0">
                <a:pos x="710" y="356"/>
              </a:cxn>
              <a:cxn ang="0">
                <a:pos x="732" y="351"/>
              </a:cxn>
              <a:cxn ang="0">
                <a:pos x="749" y="326"/>
              </a:cxn>
              <a:cxn ang="0">
                <a:pos x="754" y="277"/>
              </a:cxn>
              <a:cxn ang="0">
                <a:pos x="732" y="233"/>
              </a:cxn>
              <a:cxn ang="0">
                <a:pos x="693" y="203"/>
              </a:cxn>
              <a:cxn ang="0">
                <a:pos x="645" y="188"/>
              </a:cxn>
              <a:cxn ang="0">
                <a:pos x="616" y="164"/>
              </a:cxn>
              <a:cxn ang="0">
                <a:pos x="606" y="127"/>
              </a:cxn>
              <a:cxn ang="0">
                <a:pos x="584" y="66"/>
              </a:cxn>
              <a:cxn ang="0">
                <a:pos x="540" y="17"/>
              </a:cxn>
              <a:cxn ang="0">
                <a:pos x="507" y="1"/>
              </a:cxn>
              <a:cxn ang="0">
                <a:pos x="479" y="1"/>
              </a:cxn>
              <a:cxn ang="0">
                <a:pos x="451" y="17"/>
              </a:cxn>
              <a:cxn ang="0">
                <a:pos x="420" y="58"/>
              </a:cxn>
              <a:cxn ang="0">
                <a:pos x="408" y="114"/>
              </a:cxn>
              <a:cxn ang="0">
                <a:pos x="393" y="196"/>
              </a:cxn>
              <a:cxn ang="0">
                <a:pos x="383" y="222"/>
              </a:cxn>
              <a:cxn ang="0">
                <a:pos x="379" y="233"/>
              </a:cxn>
              <a:cxn ang="0">
                <a:pos x="374" y="245"/>
              </a:cxn>
              <a:cxn ang="0">
                <a:pos x="379" y="279"/>
              </a:cxn>
            </a:cxnLst>
            <a:rect l="0" t="0" r="r" b="b"/>
            <a:pathLst>
              <a:path w="755" h="696">
                <a:moveTo>
                  <a:pt x="370" y="288"/>
                </a:moveTo>
                <a:lnTo>
                  <a:pt x="362" y="299"/>
                </a:lnTo>
                <a:lnTo>
                  <a:pt x="354" y="308"/>
                </a:lnTo>
                <a:lnTo>
                  <a:pt x="346" y="317"/>
                </a:lnTo>
                <a:lnTo>
                  <a:pt x="338" y="325"/>
                </a:lnTo>
                <a:lnTo>
                  <a:pt x="329" y="332"/>
                </a:lnTo>
                <a:lnTo>
                  <a:pt x="322" y="339"/>
                </a:lnTo>
                <a:lnTo>
                  <a:pt x="313" y="345"/>
                </a:lnTo>
                <a:lnTo>
                  <a:pt x="304" y="350"/>
                </a:lnTo>
                <a:lnTo>
                  <a:pt x="287" y="359"/>
                </a:lnTo>
                <a:lnTo>
                  <a:pt x="268" y="366"/>
                </a:lnTo>
                <a:lnTo>
                  <a:pt x="250" y="370"/>
                </a:lnTo>
                <a:lnTo>
                  <a:pt x="231" y="375"/>
                </a:lnTo>
                <a:lnTo>
                  <a:pt x="212" y="376"/>
                </a:lnTo>
                <a:lnTo>
                  <a:pt x="192" y="377"/>
                </a:lnTo>
                <a:lnTo>
                  <a:pt x="172" y="378"/>
                </a:lnTo>
                <a:lnTo>
                  <a:pt x="152" y="377"/>
                </a:lnTo>
                <a:lnTo>
                  <a:pt x="110" y="376"/>
                </a:lnTo>
                <a:lnTo>
                  <a:pt x="66" y="375"/>
                </a:lnTo>
                <a:lnTo>
                  <a:pt x="59" y="383"/>
                </a:lnTo>
                <a:lnTo>
                  <a:pt x="46" y="398"/>
                </a:lnTo>
                <a:lnTo>
                  <a:pt x="38" y="407"/>
                </a:lnTo>
                <a:lnTo>
                  <a:pt x="31" y="415"/>
                </a:lnTo>
                <a:lnTo>
                  <a:pt x="26" y="423"/>
                </a:lnTo>
                <a:lnTo>
                  <a:pt x="25" y="428"/>
                </a:lnTo>
                <a:lnTo>
                  <a:pt x="20" y="430"/>
                </a:lnTo>
                <a:lnTo>
                  <a:pt x="17" y="433"/>
                </a:lnTo>
                <a:lnTo>
                  <a:pt x="14" y="438"/>
                </a:lnTo>
                <a:lnTo>
                  <a:pt x="11" y="445"/>
                </a:lnTo>
                <a:lnTo>
                  <a:pt x="7" y="463"/>
                </a:lnTo>
                <a:lnTo>
                  <a:pt x="3" y="483"/>
                </a:lnTo>
                <a:lnTo>
                  <a:pt x="1" y="526"/>
                </a:lnTo>
                <a:lnTo>
                  <a:pt x="1" y="555"/>
                </a:lnTo>
                <a:lnTo>
                  <a:pt x="0" y="581"/>
                </a:lnTo>
                <a:lnTo>
                  <a:pt x="1" y="626"/>
                </a:lnTo>
                <a:lnTo>
                  <a:pt x="3" y="648"/>
                </a:lnTo>
                <a:lnTo>
                  <a:pt x="6" y="667"/>
                </a:lnTo>
                <a:lnTo>
                  <a:pt x="8" y="674"/>
                </a:lnTo>
                <a:lnTo>
                  <a:pt x="10" y="680"/>
                </a:lnTo>
                <a:lnTo>
                  <a:pt x="12" y="682"/>
                </a:lnTo>
                <a:lnTo>
                  <a:pt x="14" y="684"/>
                </a:lnTo>
                <a:lnTo>
                  <a:pt x="16" y="685"/>
                </a:lnTo>
                <a:lnTo>
                  <a:pt x="17" y="685"/>
                </a:lnTo>
                <a:lnTo>
                  <a:pt x="17" y="690"/>
                </a:lnTo>
                <a:lnTo>
                  <a:pt x="22" y="690"/>
                </a:lnTo>
                <a:lnTo>
                  <a:pt x="22" y="691"/>
                </a:lnTo>
                <a:lnTo>
                  <a:pt x="24" y="692"/>
                </a:lnTo>
                <a:lnTo>
                  <a:pt x="25" y="692"/>
                </a:lnTo>
                <a:lnTo>
                  <a:pt x="27" y="692"/>
                </a:lnTo>
                <a:lnTo>
                  <a:pt x="27" y="694"/>
                </a:lnTo>
                <a:lnTo>
                  <a:pt x="28" y="695"/>
                </a:lnTo>
                <a:lnTo>
                  <a:pt x="28" y="696"/>
                </a:lnTo>
                <a:lnTo>
                  <a:pt x="30" y="696"/>
                </a:lnTo>
                <a:lnTo>
                  <a:pt x="34" y="696"/>
                </a:lnTo>
                <a:lnTo>
                  <a:pt x="38" y="695"/>
                </a:lnTo>
                <a:lnTo>
                  <a:pt x="50" y="688"/>
                </a:lnTo>
                <a:lnTo>
                  <a:pt x="65" y="680"/>
                </a:lnTo>
                <a:lnTo>
                  <a:pt x="79" y="669"/>
                </a:lnTo>
                <a:lnTo>
                  <a:pt x="93" y="658"/>
                </a:lnTo>
                <a:lnTo>
                  <a:pt x="103" y="649"/>
                </a:lnTo>
                <a:lnTo>
                  <a:pt x="108" y="643"/>
                </a:lnTo>
                <a:lnTo>
                  <a:pt x="113" y="635"/>
                </a:lnTo>
                <a:lnTo>
                  <a:pt x="120" y="628"/>
                </a:lnTo>
                <a:lnTo>
                  <a:pt x="126" y="620"/>
                </a:lnTo>
                <a:lnTo>
                  <a:pt x="135" y="613"/>
                </a:lnTo>
                <a:lnTo>
                  <a:pt x="144" y="606"/>
                </a:lnTo>
                <a:lnTo>
                  <a:pt x="154" y="598"/>
                </a:lnTo>
                <a:lnTo>
                  <a:pt x="164" y="591"/>
                </a:lnTo>
                <a:lnTo>
                  <a:pt x="175" y="585"/>
                </a:lnTo>
                <a:lnTo>
                  <a:pt x="185" y="579"/>
                </a:lnTo>
                <a:lnTo>
                  <a:pt x="198" y="574"/>
                </a:lnTo>
                <a:lnTo>
                  <a:pt x="209" y="569"/>
                </a:lnTo>
                <a:lnTo>
                  <a:pt x="220" y="565"/>
                </a:lnTo>
                <a:lnTo>
                  <a:pt x="231" y="561"/>
                </a:lnTo>
                <a:lnTo>
                  <a:pt x="242" y="559"/>
                </a:lnTo>
                <a:lnTo>
                  <a:pt x="252" y="557"/>
                </a:lnTo>
                <a:lnTo>
                  <a:pt x="262" y="557"/>
                </a:lnTo>
                <a:lnTo>
                  <a:pt x="275" y="556"/>
                </a:lnTo>
                <a:lnTo>
                  <a:pt x="288" y="553"/>
                </a:lnTo>
                <a:lnTo>
                  <a:pt x="303" y="551"/>
                </a:lnTo>
                <a:lnTo>
                  <a:pt x="317" y="547"/>
                </a:lnTo>
                <a:lnTo>
                  <a:pt x="332" y="541"/>
                </a:lnTo>
                <a:lnTo>
                  <a:pt x="347" y="534"/>
                </a:lnTo>
                <a:lnTo>
                  <a:pt x="363" y="528"/>
                </a:lnTo>
                <a:lnTo>
                  <a:pt x="377" y="520"/>
                </a:lnTo>
                <a:lnTo>
                  <a:pt x="392" y="511"/>
                </a:lnTo>
                <a:lnTo>
                  <a:pt x="406" y="502"/>
                </a:lnTo>
                <a:lnTo>
                  <a:pt x="420" y="493"/>
                </a:lnTo>
                <a:lnTo>
                  <a:pt x="432" y="484"/>
                </a:lnTo>
                <a:lnTo>
                  <a:pt x="442" y="474"/>
                </a:lnTo>
                <a:lnTo>
                  <a:pt x="452" y="464"/>
                </a:lnTo>
                <a:lnTo>
                  <a:pt x="460" y="454"/>
                </a:lnTo>
                <a:lnTo>
                  <a:pt x="466" y="444"/>
                </a:lnTo>
                <a:lnTo>
                  <a:pt x="468" y="438"/>
                </a:lnTo>
                <a:lnTo>
                  <a:pt x="470" y="431"/>
                </a:lnTo>
                <a:lnTo>
                  <a:pt x="472" y="422"/>
                </a:lnTo>
                <a:lnTo>
                  <a:pt x="473" y="413"/>
                </a:lnTo>
                <a:lnTo>
                  <a:pt x="475" y="392"/>
                </a:lnTo>
                <a:lnTo>
                  <a:pt x="475" y="370"/>
                </a:lnTo>
                <a:lnTo>
                  <a:pt x="473" y="328"/>
                </a:lnTo>
                <a:lnTo>
                  <a:pt x="472" y="293"/>
                </a:lnTo>
                <a:lnTo>
                  <a:pt x="475" y="292"/>
                </a:lnTo>
                <a:lnTo>
                  <a:pt x="477" y="291"/>
                </a:lnTo>
                <a:lnTo>
                  <a:pt x="477" y="283"/>
                </a:lnTo>
                <a:lnTo>
                  <a:pt x="479" y="282"/>
                </a:lnTo>
                <a:lnTo>
                  <a:pt x="480" y="279"/>
                </a:lnTo>
                <a:lnTo>
                  <a:pt x="481" y="274"/>
                </a:lnTo>
                <a:lnTo>
                  <a:pt x="481" y="272"/>
                </a:lnTo>
                <a:lnTo>
                  <a:pt x="485" y="271"/>
                </a:lnTo>
                <a:lnTo>
                  <a:pt x="486" y="269"/>
                </a:lnTo>
                <a:lnTo>
                  <a:pt x="486" y="267"/>
                </a:lnTo>
                <a:lnTo>
                  <a:pt x="487" y="265"/>
                </a:lnTo>
                <a:lnTo>
                  <a:pt x="492" y="264"/>
                </a:lnTo>
                <a:lnTo>
                  <a:pt x="498" y="262"/>
                </a:lnTo>
                <a:lnTo>
                  <a:pt x="502" y="258"/>
                </a:lnTo>
                <a:lnTo>
                  <a:pt x="507" y="253"/>
                </a:lnTo>
                <a:lnTo>
                  <a:pt x="513" y="253"/>
                </a:lnTo>
                <a:lnTo>
                  <a:pt x="515" y="250"/>
                </a:lnTo>
                <a:lnTo>
                  <a:pt x="517" y="247"/>
                </a:lnTo>
                <a:lnTo>
                  <a:pt x="518" y="247"/>
                </a:lnTo>
                <a:lnTo>
                  <a:pt x="520" y="247"/>
                </a:lnTo>
                <a:lnTo>
                  <a:pt x="521" y="245"/>
                </a:lnTo>
                <a:lnTo>
                  <a:pt x="521" y="244"/>
                </a:lnTo>
                <a:lnTo>
                  <a:pt x="534" y="242"/>
                </a:lnTo>
                <a:lnTo>
                  <a:pt x="550" y="239"/>
                </a:lnTo>
                <a:lnTo>
                  <a:pt x="566" y="234"/>
                </a:lnTo>
                <a:lnTo>
                  <a:pt x="582" y="232"/>
                </a:lnTo>
                <a:lnTo>
                  <a:pt x="586" y="241"/>
                </a:lnTo>
                <a:lnTo>
                  <a:pt x="594" y="251"/>
                </a:lnTo>
                <a:lnTo>
                  <a:pt x="602" y="263"/>
                </a:lnTo>
                <a:lnTo>
                  <a:pt x="613" y="278"/>
                </a:lnTo>
                <a:lnTo>
                  <a:pt x="624" y="291"/>
                </a:lnTo>
                <a:lnTo>
                  <a:pt x="636" y="306"/>
                </a:lnTo>
                <a:lnTo>
                  <a:pt x="650" y="319"/>
                </a:lnTo>
                <a:lnTo>
                  <a:pt x="663" y="331"/>
                </a:lnTo>
                <a:lnTo>
                  <a:pt x="678" y="341"/>
                </a:lnTo>
                <a:lnTo>
                  <a:pt x="691" y="350"/>
                </a:lnTo>
                <a:lnTo>
                  <a:pt x="698" y="353"/>
                </a:lnTo>
                <a:lnTo>
                  <a:pt x="705" y="355"/>
                </a:lnTo>
                <a:lnTo>
                  <a:pt x="710" y="356"/>
                </a:lnTo>
                <a:lnTo>
                  <a:pt x="717" y="357"/>
                </a:lnTo>
                <a:lnTo>
                  <a:pt x="722" y="356"/>
                </a:lnTo>
                <a:lnTo>
                  <a:pt x="728" y="355"/>
                </a:lnTo>
                <a:lnTo>
                  <a:pt x="732" y="351"/>
                </a:lnTo>
                <a:lnTo>
                  <a:pt x="738" y="347"/>
                </a:lnTo>
                <a:lnTo>
                  <a:pt x="742" y="341"/>
                </a:lnTo>
                <a:lnTo>
                  <a:pt x="746" y="335"/>
                </a:lnTo>
                <a:lnTo>
                  <a:pt x="749" y="326"/>
                </a:lnTo>
                <a:lnTo>
                  <a:pt x="753" y="317"/>
                </a:lnTo>
                <a:lnTo>
                  <a:pt x="755" y="302"/>
                </a:lnTo>
                <a:lnTo>
                  <a:pt x="755" y="289"/>
                </a:lnTo>
                <a:lnTo>
                  <a:pt x="754" y="277"/>
                </a:lnTo>
                <a:lnTo>
                  <a:pt x="750" y="264"/>
                </a:lnTo>
                <a:lnTo>
                  <a:pt x="746" y="253"/>
                </a:lnTo>
                <a:lnTo>
                  <a:pt x="740" y="243"/>
                </a:lnTo>
                <a:lnTo>
                  <a:pt x="732" y="233"/>
                </a:lnTo>
                <a:lnTo>
                  <a:pt x="725" y="224"/>
                </a:lnTo>
                <a:lnTo>
                  <a:pt x="715" y="216"/>
                </a:lnTo>
                <a:lnTo>
                  <a:pt x="705" y="209"/>
                </a:lnTo>
                <a:lnTo>
                  <a:pt x="693" y="203"/>
                </a:lnTo>
                <a:lnTo>
                  <a:pt x="682" y="197"/>
                </a:lnTo>
                <a:lnTo>
                  <a:pt x="670" y="193"/>
                </a:lnTo>
                <a:lnTo>
                  <a:pt x="658" y="191"/>
                </a:lnTo>
                <a:lnTo>
                  <a:pt x="645" y="188"/>
                </a:lnTo>
                <a:lnTo>
                  <a:pt x="633" y="188"/>
                </a:lnTo>
                <a:lnTo>
                  <a:pt x="630" y="182"/>
                </a:lnTo>
                <a:lnTo>
                  <a:pt x="621" y="171"/>
                </a:lnTo>
                <a:lnTo>
                  <a:pt x="616" y="164"/>
                </a:lnTo>
                <a:lnTo>
                  <a:pt x="612" y="157"/>
                </a:lnTo>
                <a:lnTo>
                  <a:pt x="609" y="149"/>
                </a:lnTo>
                <a:lnTo>
                  <a:pt x="607" y="142"/>
                </a:lnTo>
                <a:lnTo>
                  <a:pt x="606" y="127"/>
                </a:lnTo>
                <a:lnTo>
                  <a:pt x="604" y="111"/>
                </a:lnTo>
                <a:lnTo>
                  <a:pt x="598" y="97"/>
                </a:lnTo>
                <a:lnTo>
                  <a:pt x="592" y="81"/>
                </a:lnTo>
                <a:lnTo>
                  <a:pt x="584" y="66"/>
                </a:lnTo>
                <a:lnTo>
                  <a:pt x="575" y="52"/>
                </a:lnTo>
                <a:lnTo>
                  <a:pt x="565" y="39"/>
                </a:lnTo>
                <a:lnTo>
                  <a:pt x="553" y="27"/>
                </a:lnTo>
                <a:lnTo>
                  <a:pt x="540" y="17"/>
                </a:lnTo>
                <a:lnTo>
                  <a:pt x="528" y="9"/>
                </a:lnTo>
                <a:lnTo>
                  <a:pt x="521" y="5"/>
                </a:lnTo>
                <a:lnTo>
                  <a:pt x="515" y="3"/>
                </a:lnTo>
                <a:lnTo>
                  <a:pt x="507" y="1"/>
                </a:lnTo>
                <a:lnTo>
                  <a:pt x="500" y="0"/>
                </a:lnTo>
                <a:lnTo>
                  <a:pt x="494" y="0"/>
                </a:lnTo>
                <a:lnTo>
                  <a:pt x="486" y="0"/>
                </a:lnTo>
                <a:lnTo>
                  <a:pt x="479" y="1"/>
                </a:lnTo>
                <a:lnTo>
                  <a:pt x="472" y="3"/>
                </a:lnTo>
                <a:lnTo>
                  <a:pt x="465" y="7"/>
                </a:lnTo>
                <a:lnTo>
                  <a:pt x="458" y="11"/>
                </a:lnTo>
                <a:lnTo>
                  <a:pt x="451" y="17"/>
                </a:lnTo>
                <a:lnTo>
                  <a:pt x="444" y="22"/>
                </a:lnTo>
                <a:lnTo>
                  <a:pt x="434" y="33"/>
                </a:lnTo>
                <a:lnTo>
                  <a:pt x="427" y="44"/>
                </a:lnTo>
                <a:lnTo>
                  <a:pt x="420" y="58"/>
                </a:lnTo>
                <a:lnTo>
                  <a:pt x="415" y="71"/>
                </a:lnTo>
                <a:lnTo>
                  <a:pt x="411" y="85"/>
                </a:lnTo>
                <a:lnTo>
                  <a:pt x="409" y="99"/>
                </a:lnTo>
                <a:lnTo>
                  <a:pt x="408" y="114"/>
                </a:lnTo>
                <a:lnTo>
                  <a:pt x="406" y="129"/>
                </a:lnTo>
                <a:lnTo>
                  <a:pt x="404" y="149"/>
                </a:lnTo>
                <a:lnTo>
                  <a:pt x="398" y="181"/>
                </a:lnTo>
                <a:lnTo>
                  <a:pt x="393" y="196"/>
                </a:lnTo>
                <a:lnTo>
                  <a:pt x="390" y="210"/>
                </a:lnTo>
                <a:lnTo>
                  <a:pt x="388" y="215"/>
                </a:lnTo>
                <a:lnTo>
                  <a:pt x="385" y="220"/>
                </a:lnTo>
                <a:lnTo>
                  <a:pt x="383" y="222"/>
                </a:lnTo>
                <a:lnTo>
                  <a:pt x="382" y="223"/>
                </a:lnTo>
                <a:lnTo>
                  <a:pt x="382" y="228"/>
                </a:lnTo>
                <a:lnTo>
                  <a:pt x="380" y="229"/>
                </a:lnTo>
                <a:lnTo>
                  <a:pt x="379" y="233"/>
                </a:lnTo>
                <a:lnTo>
                  <a:pt x="377" y="236"/>
                </a:lnTo>
                <a:lnTo>
                  <a:pt x="376" y="240"/>
                </a:lnTo>
                <a:lnTo>
                  <a:pt x="375" y="241"/>
                </a:lnTo>
                <a:lnTo>
                  <a:pt x="374" y="245"/>
                </a:lnTo>
                <a:lnTo>
                  <a:pt x="374" y="251"/>
                </a:lnTo>
                <a:lnTo>
                  <a:pt x="375" y="258"/>
                </a:lnTo>
                <a:lnTo>
                  <a:pt x="377" y="271"/>
                </a:lnTo>
                <a:lnTo>
                  <a:pt x="379" y="279"/>
                </a:lnTo>
                <a:lnTo>
                  <a:pt x="370" y="2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28" name="Freeform 89">
            <a:extLst>
              <a:ext uri="{FF2B5EF4-FFF2-40B4-BE49-F238E27FC236}">
                <a16:creationId xmlns:a16="http://schemas.microsoft.com/office/drawing/2014/main" id="{65ECDC99-612C-486A-8D90-590584FC5DE4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226425" y="4562475"/>
            <a:ext cx="51535" cy="63500"/>
          </a:xfrm>
          <a:custGeom>
            <a:avLst/>
            <a:gdLst/>
            <a:ahLst/>
            <a:cxnLst>
              <a:cxn ang="0">
                <a:pos x="32" y="22"/>
              </a:cxn>
              <a:cxn ang="0">
                <a:pos x="21" y="51"/>
              </a:cxn>
              <a:cxn ang="0">
                <a:pos x="11" y="72"/>
              </a:cxn>
              <a:cxn ang="0">
                <a:pos x="2" y="104"/>
              </a:cxn>
              <a:cxn ang="0">
                <a:pos x="1" y="125"/>
              </a:cxn>
              <a:cxn ang="0">
                <a:pos x="6" y="144"/>
              </a:cxn>
              <a:cxn ang="0">
                <a:pos x="12" y="153"/>
              </a:cxn>
              <a:cxn ang="0">
                <a:pos x="13" y="157"/>
              </a:cxn>
              <a:cxn ang="0">
                <a:pos x="23" y="168"/>
              </a:cxn>
              <a:cxn ang="0">
                <a:pos x="61" y="209"/>
              </a:cxn>
              <a:cxn ang="0">
                <a:pos x="75" y="225"/>
              </a:cxn>
              <a:cxn ang="0">
                <a:pos x="82" y="234"/>
              </a:cxn>
              <a:cxn ang="0">
                <a:pos x="86" y="245"/>
              </a:cxn>
              <a:cxn ang="0">
                <a:pos x="88" y="257"/>
              </a:cxn>
              <a:cxn ang="0">
                <a:pos x="88" y="280"/>
              </a:cxn>
              <a:cxn ang="0">
                <a:pos x="86" y="297"/>
              </a:cxn>
              <a:cxn ang="0">
                <a:pos x="83" y="315"/>
              </a:cxn>
              <a:cxn ang="0">
                <a:pos x="71" y="348"/>
              </a:cxn>
              <a:cxn ang="0">
                <a:pos x="67" y="364"/>
              </a:cxn>
              <a:cxn ang="0">
                <a:pos x="64" y="382"/>
              </a:cxn>
              <a:cxn ang="0">
                <a:pos x="65" y="389"/>
              </a:cxn>
              <a:cxn ang="0">
                <a:pos x="69" y="393"/>
              </a:cxn>
              <a:cxn ang="0">
                <a:pos x="80" y="396"/>
              </a:cxn>
              <a:cxn ang="0">
                <a:pos x="91" y="392"/>
              </a:cxn>
              <a:cxn ang="0">
                <a:pos x="97" y="388"/>
              </a:cxn>
              <a:cxn ang="0">
                <a:pos x="111" y="383"/>
              </a:cxn>
              <a:cxn ang="0">
                <a:pos x="128" y="372"/>
              </a:cxn>
              <a:cxn ang="0">
                <a:pos x="156" y="353"/>
              </a:cxn>
              <a:cxn ang="0">
                <a:pos x="177" y="334"/>
              </a:cxn>
              <a:cxn ang="0">
                <a:pos x="201" y="317"/>
              </a:cxn>
              <a:cxn ang="0">
                <a:pos x="233" y="288"/>
              </a:cxn>
              <a:cxn ang="0">
                <a:pos x="251" y="276"/>
              </a:cxn>
              <a:cxn ang="0">
                <a:pos x="265" y="263"/>
              </a:cxn>
              <a:cxn ang="0">
                <a:pos x="276" y="247"/>
              </a:cxn>
              <a:cxn ang="0">
                <a:pos x="284" y="229"/>
              </a:cxn>
              <a:cxn ang="0">
                <a:pos x="286" y="206"/>
              </a:cxn>
              <a:cxn ang="0">
                <a:pos x="283" y="194"/>
              </a:cxn>
              <a:cxn ang="0">
                <a:pos x="276" y="186"/>
              </a:cxn>
              <a:cxn ang="0">
                <a:pos x="236" y="156"/>
              </a:cxn>
              <a:cxn ang="0">
                <a:pos x="196" y="124"/>
              </a:cxn>
              <a:cxn ang="0">
                <a:pos x="170" y="107"/>
              </a:cxn>
              <a:cxn ang="0">
                <a:pos x="147" y="86"/>
              </a:cxn>
              <a:cxn ang="0">
                <a:pos x="126" y="54"/>
              </a:cxn>
              <a:cxn ang="0">
                <a:pos x="116" y="41"/>
              </a:cxn>
              <a:cxn ang="0">
                <a:pos x="107" y="22"/>
              </a:cxn>
              <a:cxn ang="0">
                <a:pos x="105" y="18"/>
              </a:cxn>
              <a:cxn ang="0">
                <a:pos x="105" y="14"/>
              </a:cxn>
              <a:cxn ang="0">
                <a:pos x="93" y="8"/>
              </a:cxn>
              <a:cxn ang="0">
                <a:pos x="91" y="3"/>
              </a:cxn>
              <a:cxn ang="0">
                <a:pos x="59" y="0"/>
              </a:cxn>
              <a:cxn ang="0">
                <a:pos x="55" y="3"/>
              </a:cxn>
              <a:cxn ang="0">
                <a:pos x="51" y="3"/>
              </a:cxn>
              <a:cxn ang="0">
                <a:pos x="48" y="8"/>
              </a:cxn>
            </a:cxnLst>
            <a:rect l="0" t="0" r="r" b="b"/>
            <a:pathLst>
              <a:path w="286" h="396">
                <a:moveTo>
                  <a:pt x="38" y="11"/>
                </a:moveTo>
                <a:lnTo>
                  <a:pt x="32" y="22"/>
                </a:lnTo>
                <a:lnTo>
                  <a:pt x="26" y="36"/>
                </a:lnTo>
                <a:lnTo>
                  <a:pt x="21" y="51"/>
                </a:lnTo>
                <a:lnTo>
                  <a:pt x="15" y="62"/>
                </a:lnTo>
                <a:lnTo>
                  <a:pt x="11" y="72"/>
                </a:lnTo>
                <a:lnTo>
                  <a:pt x="5" y="88"/>
                </a:lnTo>
                <a:lnTo>
                  <a:pt x="2" y="104"/>
                </a:lnTo>
                <a:lnTo>
                  <a:pt x="0" y="115"/>
                </a:lnTo>
                <a:lnTo>
                  <a:pt x="1" y="125"/>
                </a:lnTo>
                <a:lnTo>
                  <a:pt x="2" y="134"/>
                </a:lnTo>
                <a:lnTo>
                  <a:pt x="6" y="144"/>
                </a:lnTo>
                <a:lnTo>
                  <a:pt x="11" y="153"/>
                </a:lnTo>
                <a:lnTo>
                  <a:pt x="12" y="153"/>
                </a:lnTo>
                <a:lnTo>
                  <a:pt x="13" y="156"/>
                </a:lnTo>
                <a:lnTo>
                  <a:pt x="13" y="157"/>
                </a:lnTo>
                <a:lnTo>
                  <a:pt x="13" y="159"/>
                </a:lnTo>
                <a:lnTo>
                  <a:pt x="23" y="168"/>
                </a:lnTo>
                <a:lnTo>
                  <a:pt x="42" y="188"/>
                </a:lnTo>
                <a:lnTo>
                  <a:pt x="61" y="209"/>
                </a:lnTo>
                <a:lnTo>
                  <a:pt x="72" y="220"/>
                </a:lnTo>
                <a:lnTo>
                  <a:pt x="75" y="225"/>
                </a:lnTo>
                <a:lnTo>
                  <a:pt x="79" y="229"/>
                </a:lnTo>
                <a:lnTo>
                  <a:pt x="82" y="234"/>
                </a:lnTo>
                <a:lnTo>
                  <a:pt x="84" y="239"/>
                </a:lnTo>
                <a:lnTo>
                  <a:pt x="86" y="245"/>
                </a:lnTo>
                <a:lnTo>
                  <a:pt x="88" y="250"/>
                </a:lnTo>
                <a:lnTo>
                  <a:pt x="88" y="257"/>
                </a:lnTo>
                <a:lnTo>
                  <a:pt x="88" y="264"/>
                </a:lnTo>
                <a:lnTo>
                  <a:pt x="88" y="280"/>
                </a:lnTo>
                <a:lnTo>
                  <a:pt x="88" y="287"/>
                </a:lnTo>
                <a:lnTo>
                  <a:pt x="86" y="297"/>
                </a:lnTo>
                <a:lnTo>
                  <a:pt x="83" y="309"/>
                </a:lnTo>
                <a:lnTo>
                  <a:pt x="83" y="315"/>
                </a:lnTo>
                <a:lnTo>
                  <a:pt x="78" y="331"/>
                </a:lnTo>
                <a:lnTo>
                  <a:pt x="71" y="348"/>
                </a:lnTo>
                <a:lnTo>
                  <a:pt x="69" y="357"/>
                </a:lnTo>
                <a:lnTo>
                  <a:pt x="67" y="364"/>
                </a:lnTo>
                <a:lnTo>
                  <a:pt x="64" y="373"/>
                </a:lnTo>
                <a:lnTo>
                  <a:pt x="64" y="382"/>
                </a:lnTo>
                <a:lnTo>
                  <a:pt x="64" y="386"/>
                </a:lnTo>
                <a:lnTo>
                  <a:pt x="65" y="389"/>
                </a:lnTo>
                <a:lnTo>
                  <a:pt x="67" y="391"/>
                </a:lnTo>
                <a:lnTo>
                  <a:pt x="69" y="393"/>
                </a:lnTo>
                <a:lnTo>
                  <a:pt x="74" y="394"/>
                </a:lnTo>
                <a:lnTo>
                  <a:pt x="80" y="396"/>
                </a:lnTo>
                <a:lnTo>
                  <a:pt x="87" y="394"/>
                </a:lnTo>
                <a:lnTo>
                  <a:pt x="91" y="392"/>
                </a:lnTo>
                <a:lnTo>
                  <a:pt x="94" y="390"/>
                </a:lnTo>
                <a:lnTo>
                  <a:pt x="97" y="388"/>
                </a:lnTo>
                <a:lnTo>
                  <a:pt x="103" y="387"/>
                </a:lnTo>
                <a:lnTo>
                  <a:pt x="111" y="383"/>
                </a:lnTo>
                <a:lnTo>
                  <a:pt x="119" y="378"/>
                </a:lnTo>
                <a:lnTo>
                  <a:pt x="128" y="372"/>
                </a:lnTo>
                <a:lnTo>
                  <a:pt x="144" y="361"/>
                </a:lnTo>
                <a:lnTo>
                  <a:pt x="156" y="353"/>
                </a:lnTo>
                <a:lnTo>
                  <a:pt x="166" y="343"/>
                </a:lnTo>
                <a:lnTo>
                  <a:pt x="177" y="334"/>
                </a:lnTo>
                <a:lnTo>
                  <a:pt x="189" y="326"/>
                </a:lnTo>
                <a:lnTo>
                  <a:pt x="201" y="317"/>
                </a:lnTo>
                <a:lnTo>
                  <a:pt x="217" y="303"/>
                </a:lnTo>
                <a:lnTo>
                  <a:pt x="233" y="288"/>
                </a:lnTo>
                <a:lnTo>
                  <a:pt x="242" y="282"/>
                </a:lnTo>
                <a:lnTo>
                  <a:pt x="251" y="276"/>
                </a:lnTo>
                <a:lnTo>
                  <a:pt x="257" y="269"/>
                </a:lnTo>
                <a:lnTo>
                  <a:pt x="265" y="263"/>
                </a:lnTo>
                <a:lnTo>
                  <a:pt x="271" y="255"/>
                </a:lnTo>
                <a:lnTo>
                  <a:pt x="276" y="247"/>
                </a:lnTo>
                <a:lnTo>
                  <a:pt x="281" y="238"/>
                </a:lnTo>
                <a:lnTo>
                  <a:pt x="284" y="229"/>
                </a:lnTo>
                <a:lnTo>
                  <a:pt x="286" y="218"/>
                </a:lnTo>
                <a:lnTo>
                  <a:pt x="286" y="206"/>
                </a:lnTo>
                <a:lnTo>
                  <a:pt x="285" y="199"/>
                </a:lnTo>
                <a:lnTo>
                  <a:pt x="283" y="194"/>
                </a:lnTo>
                <a:lnTo>
                  <a:pt x="281" y="189"/>
                </a:lnTo>
                <a:lnTo>
                  <a:pt x="276" y="186"/>
                </a:lnTo>
                <a:lnTo>
                  <a:pt x="256" y="172"/>
                </a:lnTo>
                <a:lnTo>
                  <a:pt x="236" y="156"/>
                </a:lnTo>
                <a:lnTo>
                  <a:pt x="215" y="139"/>
                </a:lnTo>
                <a:lnTo>
                  <a:pt x="196" y="124"/>
                </a:lnTo>
                <a:lnTo>
                  <a:pt x="183" y="115"/>
                </a:lnTo>
                <a:lnTo>
                  <a:pt x="170" y="107"/>
                </a:lnTo>
                <a:lnTo>
                  <a:pt x="158" y="96"/>
                </a:lnTo>
                <a:lnTo>
                  <a:pt x="147" y="86"/>
                </a:lnTo>
                <a:lnTo>
                  <a:pt x="137" y="71"/>
                </a:lnTo>
                <a:lnTo>
                  <a:pt x="126" y="54"/>
                </a:lnTo>
                <a:lnTo>
                  <a:pt x="121" y="50"/>
                </a:lnTo>
                <a:lnTo>
                  <a:pt x="116" y="41"/>
                </a:lnTo>
                <a:lnTo>
                  <a:pt x="110" y="30"/>
                </a:lnTo>
                <a:lnTo>
                  <a:pt x="107" y="22"/>
                </a:lnTo>
                <a:lnTo>
                  <a:pt x="106" y="21"/>
                </a:lnTo>
                <a:lnTo>
                  <a:pt x="105" y="18"/>
                </a:lnTo>
                <a:lnTo>
                  <a:pt x="105" y="16"/>
                </a:lnTo>
                <a:lnTo>
                  <a:pt x="105" y="14"/>
                </a:lnTo>
                <a:lnTo>
                  <a:pt x="99" y="11"/>
                </a:lnTo>
                <a:lnTo>
                  <a:pt x="93" y="8"/>
                </a:lnTo>
                <a:lnTo>
                  <a:pt x="92" y="5"/>
                </a:lnTo>
                <a:lnTo>
                  <a:pt x="91" y="3"/>
                </a:lnTo>
                <a:lnTo>
                  <a:pt x="74" y="2"/>
                </a:lnTo>
                <a:lnTo>
                  <a:pt x="59" y="0"/>
                </a:lnTo>
                <a:lnTo>
                  <a:pt x="58" y="2"/>
                </a:lnTo>
                <a:lnTo>
                  <a:pt x="55" y="3"/>
                </a:lnTo>
                <a:lnTo>
                  <a:pt x="53" y="3"/>
                </a:lnTo>
                <a:lnTo>
                  <a:pt x="51" y="3"/>
                </a:lnTo>
                <a:lnTo>
                  <a:pt x="50" y="5"/>
                </a:lnTo>
                <a:lnTo>
                  <a:pt x="48" y="8"/>
                </a:lnTo>
                <a:lnTo>
                  <a:pt x="38" y="1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29" name="Freeform 90">
            <a:extLst>
              <a:ext uri="{FF2B5EF4-FFF2-40B4-BE49-F238E27FC236}">
                <a16:creationId xmlns:a16="http://schemas.microsoft.com/office/drawing/2014/main" id="{E7BF8C06-8C11-44C1-9D15-11D5DD4226EE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134350" y="4484688"/>
            <a:ext cx="69850" cy="57311"/>
          </a:xfrm>
          <a:custGeom>
            <a:avLst/>
            <a:gdLst/>
            <a:ahLst/>
            <a:cxnLst>
              <a:cxn ang="0">
                <a:pos x="188" y="65"/>
              </a:cxn>
              <a:cxn ang="0">
                <a:pos x="179" y="83"/>
              </a:cxn>
              <a:cxn ang="0">
                <a:pos x="167" y="102"/>
              </a:cxn>
              <a:cxn ang="0">
                <a:pos x="153" y="113"/>
              </a:cxn>
              <a:cxn ang="0">
                <a:pos x="134" y="118"/>
              </a:cxn>
              <a:cxn ang="0">
                <a:pos x="93" y="128"/>
              </a:cxn>
              <a:cxn ang="0">
                <a:pos x="65" y="133"/>
              </a:cxn>
              <a:cxn ang="0">
                <a:pos x="43" y="147"/>
              </a:cxn>
              <a:cxn ang="0">
                <a:pos x="20" y="166"/>
              </a:cxn>
              <a:cxn ang="0">
                <a:pos x="8" y="180"/>
              </a:cxn>
              <a:cxn ang="0">
                <a:pos x="2" y="190"/>
              </a:cxn>
              <a:cxn ang="0">
                <a:pos x="0" y="204"/>
              </a:cxn>
              <a:cxn ang="0">
                <a:pos x="2" y="222"/>
              </a:cxn>
              <a:cxn ang="0">
                <a:pos x="7" y="234"/>
              </a:cxn>
              <a:cxn ang="0">
                <a:pos x="11" y="241"/>
              </a:cxn>
              <a:cxn ang="0">
                <a:pos x="19" y="246"/>
              </a:cxn>
              <a:cxn ang="0">
                <a:pos x="28" y="248"/>
              </a:cxn>
              <a:cxn ang="0">
                <a:pos x="45" y="250"/>
              </a:cxn>
              <a:cxn ang="0">
                <a:pos x="72" y="253"/>
              </a:cxn>
              <a:cxn ang="0">
                <a:pos x="115" y="262"/>
              </a:cxn>
              <a:cxn ang="0">
                <a:pos x="150" y="271"/>
              </a:cxn>
              <a:cxn ang="0">
                <a:pos x="170" y="280"/>
              </a:cxn>
              <a:cxn ang="0">
                <a:pos x="197" y="296"/>
              </a:cxn>
              <a:cxn ang="0">
                <a:pos x="231" y="323"/>
              </a:cxn>
              <a:cxn ang="0">
                <a:pos x="258" y="341"/>
              </a:cxn>
              <a:cxn ang="0">
                <a:pos x="277" y="351"/>
              </a:cxn>
              <a:cxn ang="0">
                <a:pos x="296" y="357"/>
              </a:cxn>
              <a:cxn ang="0">
                <a:pos x="313" y="360"/>
              </a:cxn>
              <a:cxn ang="0">
                <a:pos x="326" y="360"/>
              </a:cxn>
              <a:cxn ang="0">
                <a:pos x="337" y="357"/>
              </a:cxn>
              <a:cxn ang="0">
                <a:pos x="347" y="351"/>
              </a:cxn>
              <a:cxn ang="0">
                <a:pos x="355" y="344"/>
              </a:cxn>
              <a:cxn ang="0">
                <a:pos x="364" y="330"/>
              </a:cxn>
              <a:cxn ang="0">
                <a:pos x="371" y="305"/>
              </a:cxn>
              <a:cxn ang="0">
                <a:pos x="373" y="277"/>
              </a:cxn>
              <a:cxn ang="0">
                <a:pos x="373" y="235"/>
              </a:cxn>
              <a:cxn ang="0">
                <a:pos x="374" y="179"/>
              </a:cxn>
              <a:cxn ang="0">
                <a:pos x="381" y="118"/>
              </a:cxn>
              <a:cxn ang="0">
                <a:pos x="386" y="80"/>
              </a:cxn>
              <a:cxn ang="0">
                <a:pos x="383" y="53"/>
              </a:cxn>
              <a:cxn ang="0">
                <a:pos x="375" y="26"/>
              </a:cxn>
              <a:cxn ang="0">
                <a:pos x="365" y="11"/>
              </a:cxn>
              <a:cxn ang="0">
                <a:pos x="356" y="5"/>
              </a:cxn>
              <a:cxn ang="0">
                <a:pos x="350" y="3"/>
              </a:cxn>
              <a:cxn ang="0">
                <a:pos x="344" y="1"/>
              </a:cxn>
              <a:cxn ang="0">
                <a:pos x="332" y="0"/>
              </a:cxn>
              <a:cxn ang="0">
                <a:pos x="308" y="1"/>
              </a:cxn>
              <a:cxn ang="0">
                <a:pos x="287" y="10"/>
              </a:cxn>
              <a:cxn ang="0">
                <a:pos x="264" y="25"/>
              </a:cxn>
              <a:cxn ang="0">
                <a:pos x="253" y="36"/>
              </a:cxn>
              <a:cxn ang="0">
                <a:pos x="244" y="43"/>
              </a:cxn>
              <a:cxn ang="0">
                <a:pos x="227" y="46"/>
              </a:cxn>
              <a:cxn ang="0">
                <a:pos x="205" y="53"/>
              </a:cxn>
            </a:cxnLst>
            <a:rect l="0" t="0" r="r" b="b"/>
            <a:pathLst>
              <a:path w="386" h="360">
                <a:moveTo>
                  <a:pt x="192" y="58"/>
                </a:moveTo>
                <a:lnTo>
                  <a:pt x="188" y="65"/>
                </a:lnTo>
                <a:lnTo>
                  <a:pt x="183" y="74"/>
                </a:lnTo>
                <a:lnTo>
                  <a:pt x="179" y="83"/>
                </a:lnTo>
                <a:lnTo>
                  <a:pt x="176" y="91"/>
                </a:lnTo>
                <a:lnTo>
                  <a:pt x="167" y="102"/>
                </a:lnTo>
                <a:lnTo>
                  <a:pt x="157" y="112"/>
                </a:lnTo>
                <a:lnTo>
                  <a:pt x="153" y="113"/>
                </a:lnTo>
                <a:lnTo>
                  <a:pt x="151" y="117"/>
                </a:lnTo>
                <a:lnTo>
                  <a:pt x="134" y="118"/>
                </a:lnTo>
                <a:lnTo>
                  <a:pt x="114" y="123"/>
                </a:lnTo>
                <a:lnTo>
                  <a:pt x="93" y="128"/>
                </a:lnTo>
                <a:lnTo>
                  <a:pt x="75" y="131"/>
                </a:lnTo>
                <a:lnTo>
                  <a:pt x="65" y="133"/>
                </a:lnTo>
                <a:lnTo>
                  <a:pt x="55" y="139"/>
                </a:lnTo>
                <a:lnTo>
                  <a:pt x="43" y="147"/>
                </a:lnTo>
                <a:lnTo>
                  <a:pt x="31" y="156"/>
                </a:lnTo>
                <a:lnTo>
                  <a:pt x="20" y="166"/>
                </a:lnTo>
                <a:lnTo>
                  <a:pt x="11" y="176"/>
                </a:lnTo>
                <a:lnTo>
                  <a:pt x="8" y="180"/>
                </a:lnTo>
                <a:lnTo>
                  <a:pt x="5" y="186"/>
                </a:lnTo>
                <a:lnTo>
                  <a:pt x="2" y="190"/>
                </a:lnTo>
                <a:lnTo>
                  <a:pt x="1" y="194"/>
                </a:lnTo>
                <a:lnTo>
                  <a:pt x="0" y="204"/>
                </a:lnTo>
                <a:lnTo>
                  <a:pt x="0" y="213"/>
                </a:lnTo>
                <a:lnTo>
                  <a:pt x="2" y="222"/>
                </a:lnTo>
                <a:lnTo>
                  <a:pt x="5" y="231"/>
                </a:lnTo>
                <a:lnTo>
                  <a:pt x="7" y="234"/>
                </a:lnTo>
                <a:lnTo>
                  <a:pt x="9" y="237"/>
                </a:lnTo>
                <a:lnTo>
                  <a:pt x="11" y="241"/>
                </a:lnTo>
                <a:lnTo>
                  <a:pt x="15" y="244"/>
                </a:lnTo>
                <a:lnTo>
                  <a:pt x="19" y="246"/>
                </a:lnTo>
                <a:lnTo>
                  <a:pt x="23" y="247"/>
                </a:lnTo>
                <a:lnTo>
                  <a:pt x="28" y="248"/>
                </a:lnTo>
                <a:lnTo>
                  <a:pt x="33" y="248"/>
                </a:lnTo>
                <a:lnTo>
                  <a:pt x="45" y="250"/>
                </a:lnTo>
                <a:lnTo>
                  <a:pt x="58" y="251"/>
                </a:lnTo>
                <a:lnTo>
                  <a:pt x="72" y="253"/>
                </a:lnTo>
                <a:lnTo>
                  <a:pt x="86" y="256"/>
                </a:lnTo>
                <a:lnTo>
                  <a:pt x="115" y="262"/>
                </a:lnTo>
                <a:lnTo>
                  <a:pt x="140" y="267"/>
                </a:lnTo>
                <a:lnTo>
                  <a:pt x="150" y="271"/>
                </a:lnTo>
                <a:lnTo>
                  <a:pt x="160" y="274"/>
                </a:lnTo>
                <a:lnTo>
                  <a:pt x="170" y="280"/>
                </a:lnTo>
                <a:lnTo>
                  <a:pt x="179" y="284"/>
                </a:lnTo>
                <a:lnTo>
                  <a:pt x="197" y="296"/>
                </a:lnTo>
                <a:lnTo>
                  <a:pt x="215" y="310"/>
                </a:lnTo>
                <a:lnTo>
                  <a:pt x="231" y="323"/>
                </a:lnTo>
                <a:lnTo>
                  <a:pt x="249" y="335"/>
                </a:lnTo>
                <a:lnTo>
                  <a:pt x="258" y="341"/>
                </a:lnTo>
                <a:lnTo>
                  <a:pt x="268" y="347"/>
                </a:lnTo>
                <a:lnTo>
                  <a:pt x="277" y="351"/>
                </a:lnTo>
                <a:lnTo>
                  <a:pt x="287" y="354"/>
                </a:lnTo>
                <a:lnTo>
                  <a:pt x="296" y="357"/>
                </a:lnTo>
                <a:lnTo>
                  <a:pt x="305" y="359"/>
                </a:lnTo>
                <a:lnTo>
                  <a:pt x="313" y="360"/>
                </a:lnTo>
                <a:lnTo>
                  <a:pt x="320" y="360"/>
                </a:lnTo>
                <a:lnTo>
                  <a:pt x="326" y="360"/>
                </a:lnTo>
                <a:lnTo>
                  <a:pt x="332" y="359"/>
                </a:lnTo>
                <a:lnTo>
                  <a:pt x="337" y="357"/>
                </a:lnTo>
                <a:lnTo>
                  <a:pt x="343" y="354"/>
                </a:lnTo>
                <a:lnTo>
                  <a:pt x="347" y="351"/>
                </a:lnTo>
                <a:lnTo>
                  <a:pt x="352" y="348"/>
                </a:lnTo>
                <a:lnTo>
                  <a:pt x="355" y="344"/>
                </a:lnTo>
                <a:lnTo>
                  <a:pt x="359" y="340"/>
                </a:lnTo>
                <a:lnTo>
                  <a:pt x="364" y="330"/>
                </a:lnTo>
                <a:lnTo>
                  <a:pt x="368" y="318"/>
                </a:lnTo>
                <a:lnTo>
                  <a:pt x="371" y="305"/>
                </a:lnTo>
                <a:lnTo>
                  <a:pt x="372" y="292"/>
                </a:lnTo>
                <a:lnTo>
                  <a:pt x="373" y="277"/>
                </a:lnTo>
                <a:lnTo>
                  <a:pt x="374" y="263"/>
                </a:lnTo>
                <a:lnTo>
                  <a:pt x="373" y="235"/>
                </a:lnTo>
                <a:lnTo>
                  <a:pt x="373" y="209"/>
                </a:lnTo>
                <a:lnTo>
                  <a:pt x="374" y="179"/>
                </a:lnTo>
                <a:lnTo>
                  <a:pt x="376" y="148"/>
                </a:lnTo>
                <a:lnTo>
                  <a:pt x="381" y="118"/>
                </a:lnTo>
                <a:lnTo>
                  <a:pt x="385" y="89"/>
                </a:lnTo>
                <a:lnTo>
                  <a:pt x="386" y="80"/>
                </a:lnTo>
                <a:lnTo>
                  <a:pt x="385" y="67"/>
                </a:lnTo>
                <a:lnTo>
                  <a:pt x="383" y="53"/>
                </a:lnTo>
                <a:lnTo>
                  <a:pt x="380" y="39"/>
                </a:lnTo>
                <a:lnTo>
                  <a:pt x="375" y="26"/>
                </a:lnTo>
                <a:lnTo>
                  <a:pt x="369" y="15"/>
                </a:lnTo>
                <a:lnTo>
                  <a:pt x="365" y="11"/>
                </a:lnTo>
                <a:lnTo>
                  <a:pt x="361" y="7"/>
                </a:lnTo>
                <a:lnTo>
                  <a:pt x="356" y="5"/>
                </a:lnTo>
                <a:lnTo>
                  <a:pt x="352" y="5"/>
                </a:lnTo>
                <a:lnTo>
                  <a:pt x="350" y="3"/>
                </a:lnTo>
                <a:lnTo>
                  <a:pt x="345" y="3"/>
                </a:lnTo>
                <a:lnTo>
                  <a:pt x="344" y="1"/>
                </a:lnTo>
                <a:lnTo>
                  <a:pt x="340" y="0"/>
                </a:lnTo>
                <a:lnTo>
                  <a:pt x="332" y="0"/>
                </a:lnTo>
                <a:lnTo>
                  <a:pt x="324" y="0"/>
                </a:lnTo>
                <a:lnTo>
                  <a:pt x="308" y="1"/>
                </a:lnTo>
                <a:lnTo>
                  <a:pt x="299" y="3"/>
                </a:lnTo>
                <a:lnTo>
                  <a:pt x="287" y="10"/>
                </a:lnTo>
                <a:lnTo>
                  <a:pt x="272" y="20"/>
                </a:lnTo>
                <a:lnTo>
                  <a:pt x="264" y="25"/>
                </a:lnTo>
                <a:lnTo>
                  <a:pt x="257" y="31"/>
                </a:lnTo>
                <a:lnTo>
                  <a:pt x="253" y="36"/>
                </a:lnTo>
                <a:lnTo>
                  <a:pt x="249" y="41"/>
                </a:lnTo>
                <a:lnTo>
                  <a:pt x="244" y="43"/>
                </a:lnTo>
                <a:lnTo>
                  <a:pt x="237" y="45"/>
                </a:lnTo>
                <a:lnTo>
                  <a:pt x="227" y="46"/>
                </a:lnTo>
                <a:lnTo>
                  <a:pt x="216" y="46"/>
                </a:lnTo>
                <a:lnTo>
                  <a:pt x="205" y="53"/>
                </a:lnTo>
                <a:lnTo>
                  <a:pt x="192" y="5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30" name="Freeform 91">
            <a:extLst>
              <a:ext uri="{FF2B5EF4-FFF2-40B4-BE49-F238E27FC236}">
                <a16:creationId xmlns:a16="http://schemas.microsoft.com/office/drawing/2014/main" id="{BE714835-56CA-46DF-AB4E-5A7F02FBA324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326438" y="4392613"/>
            <a:ext cx="49432" cy="41275"/>
          </a:xfrm>
          <a:custGeom>
            <a:avLst/>
            <a:gdLst/>
            <a:ahLst/>
            <a:cxnLst>
              <a:cxn ang="0">
                <a:pos x="236" y="18"/>
              </a:cxn>
              <a:cxn ang="0">
                <a:pos x="222" y="24"/>
              </a:cxn>
              <a:cxn ang="0">
                <a:pos x="205" y="27"/>
              </a:cxn>
              <a:cxn ang="0">
                <a:pos x="186" y="27"/>
              </a:cxn>
              <a:cxn ang="0">
                <a:pos x="138" y="20"/>
              </a:cxn>
              <a:cxn ang="0">
                <a:pos x="90" y="12"/>
              </a:cxn>
              <a:cxn ang="0">
                <a:pos x="71" y="12"/>
              </a:cxn>
              <a:cxn ang="0">
                <a:pos x="61" y="17"/>
              </a:cxn>
              <a:cxn ang="0">
                <a:pos x="44" y="26"/>
              </a:cxn>
              <a:cxn ang="0">
                <a:pos x="29" y="37"/>
              </a:cxn>
              <a:cxn ang="0">
                <a:pos x="15" y="52"/>
              </a:cxn>
              <a:cxn ang="0">
                <a:pos x="6" y="66"/>
              </a:cxn>
              <a:cxn ang="0">
                <a:pos x="1" y="76"/>
              </a:cxn>
              <a:cxn ang="0">
                <a:pos x="1" y="87"/>
              </a:cxn>
              <a:cxn ang="0">
                <a:pos x="8" y="99"/>
              </a:cxn>
              <a:cxn ang="0">
                <a:pos x="29" y="116"/>
              </a:cxn>
              <a:cxn ang="0">
                <a:pos x="44" y="132"/>
              </a:cxn>
              <a:cxn ang="0">
                <a:pos x="51" y="144"/>
              </a:cxn>
              <a:cxn ang="0">
                <a:pos x="60" y="151"/>
              </a:cxn>
              <a:cxn ang="0">
                <a:pos x="71" y="162"/>
              </a:cxn>
              <a:cxn ang="0">
                <a:pos x="80" y="174"/>
              </a:cxn>
              <a:cxn ang="0">
                <a:pos x="100" y="201"/>
              </a:cxn>
              <a:cxn ang="0">
                <a:pos x="111" y="212"/>
              </a:cxn>
              <a:cxn ang="0">
                <a:pos x="125" y="222"/>
              </a:cxn>
              <a:cxn ang="0">
                <a:pos x="156" y="242"/>
              </a:cxn>
              <a:cxn ang="0">
                <a:pos x="171" y="251"/>
              </a:cxn>
              <a:cxn ang="0">
                <a:pos x="188" y="257"/>
              </a:cxn>
              <a:cxn ang="0">
                <a:pos x="200" y="261"/>
              </a:cxn>
              <a:cxn ang="0">
                <a:pos x="233" y="259"/>
              </a:cxn>
              <a:cxn ang="0">
                <a:pos x="243" y="253"/>
              </a:cxn>
              <a:cxn ang="0">
                <a:pos x="253" y="244"/>
              </a:cxn>
              <a:cxn ang="0">
                <a:pos x="267" y="231"/>
              </a:cxn>
              <a:cxn ang="0">
                <a:pos x="271" y="213"/>
              </a:cxn>
              <a:cxn ang="0">
                <a:pos x="269" y="183"/>
              </a:cxn>
              <a:cxn ang="0">
                <a:pos x="267" y="162"/>
              </a:cxn>
              <a:cxn ang="0">
                <a:pos x="262" y="144"/>
              </a:cxn>
              <a:cxn ang="0">
                <a:pos x="259" y="125"/>
              </a:cxn>
              <a:cxn ang="0">
                <a:pos x="259" y="99"/>
              </a:cxn>
              <a:cxn ang="0">
                <a:pos x="264" y="79"/>
              </a:cxn>
              <a:cxn ang="0">
                <a:pos x="272" y="60"/>
              </a:cxn>
              <a:cxn ang="0">
                <a:pos x="276" y="49"/>
              </a:cxn>
              <a:cxn ang="0">
                <a:pos x="280" y="37"/>
              </a:cxn>
              <a:cxn ang="0">
                <a:pos x="283" y="9"/>
              </a:cxn>
              <a:cxn ang="0">
                <a:pos x="276" y="7"/>
              </a:cxn>
              <a:cxn ang="0">
                <a:pos x="273" y="4"/>
              </a:cxn>
              <a:cxn ang="0">
                <a:pos x="266" y="2"/>
              </a:cxn>
              <a:cxn ang="0">
                <a:pos x="253" y="0"/>
              </a:cxn>
              <a:cxn ang="0">
                <a:pos x="248" y="9"/>
              </a:cxn>
            </a:cxnLst>
            <a:rect l="0" t="0" r="r" b="b"/>
            <a:pathLst>
              <a:path w="283" h="261">
                <a:moveTo>
                  <a:pt x="242" y="13"/>
                </a:moveTo>
                <a:lnTo>
                  <a:pt x="236" y="18"/>
                </a:lnTo>
                <a:lnTo>
                  <a:pt x="229" y="22"/>
                </a:lnTo>
                <a:lnTo>
                  <a:pt x="222" y="24"/>
                </a:lnTo>
                <a:lnTo>
                  <a:pt x="214" y="27"/>
                </a:lnTo>
                <a:lnTo>
                  <a:pt x="205" y="27"/>
                </a:lnTo>
                <a:lnTo>
                  <a:pt x="196" y="28"/>
                </a:lnTo>
                <a:lnTo>
                  <a:pt x="186" y="27"/>
                </a:lnTo>
                <a:lnTo>
                  <a:pt x="176" y="27"/>
                </a:lnTo>
                <a:lnTo>
                  <a:pt x="138" y="20"/>
                </a:lnTo>
                <a:lnTo>
                  <a:pt x="106" y="13"/>
                </a:lnTo>
                <a:lnTo>
                  <a:pt x="90" y="12"/>
                </a:lnTo>
                <a:lnTo>
                  <a:pt x="75" y="11"/>
                </a:lnTo>
                <a:lnTo>
                  <a:pt x="71" y="12"/>
                </a:lnTo>
                <a:lnTo>
                  <a:pt x="65" y="13"/>
                </a:lnTo>
                <a:lnTo>
                  <a:pt x="61" y="17"/>
                </a:lnTo>
                <a:lnTo>
                  <a:pt x="55" y="19"/>
                </a:lnTo>
                <a:lnTo>
                  <a:pt x="44" y="26"/>
                </a:lnTo>
                <a:lnTo>
                  <a:pt x="36" y="31"/>
                </a:lnTo>
                <a:lnTo>
                  <a:pt x="29" y="37"/>
                </a:lnTo>
                <a:lnTo>
                  <a:pt x="22" y="45"/>
                </a:lnTo>
                <a:lnTo>
                  <a:pt x="15" y="52"/>
                </a:lnTo>
                <a:lnTo>
                  <a:pt x="11" y="61"/>
                </a:lnTo>
                <a:lnTo>
                  <a:pt x="6" y="66"/>
                </a:lnTo>
                <a:lnTo>
                  <a:pt x="3" y="71"/>
                </a:lnTo>
                <a:lnTo>
                  <a:pt x="1" y="76"/>
                </a:lnTo>
                <a:lnTo>
                  <a:pt x="0" y="80"/>
                </a:lnTo>
                <a:lnTo>
                  <a:pt x="1" y="87"/>
                </a:lnTo>
                <a:lnTo>
                  <a:pt x="4" y="94"/>
                </a:lnTo>
                <a:lnTo>
                  <a:pt x="8" y="99"/>
                </a:lnTo>
                <a:lnTo>
                  <a:pt x="15" y="105"/>
                </a:lnTo>
                <a:lnTo>
                  <a:pt x="29" y="116"/>
                </a:lnTo>
                <a:lnTo>
                  <a:pt x="41" y="126"/>
                </a:lnTo>
                <a:lnTo>
                  <a:pt x="44" y="132"/>
                </a:lnTo>
                <a:lnTo>
                  <a:pt x="48" y="138"/>
                </a:lnTo>
                <a:lnTo>
                  <a:pt x="51" y="144"/>
                </a:lnTo>
                <a:lnTo>
                  <a:pt x="55" y="148"/>
                </a:lnTo>
                <a:lnTo>
                  <a:pt x="60" y="151"/>
                </a:lnTo>
                <a:lnTo>
                  <a:pt x="65" y="155"/>
                </a:lnTo>
                <a:lnTo>
                  <a:pt x="71" y="162"/>
                </a:lnTo>
                <a:lnTo>
                  <a:pt x="75" y="168"/>
                </a:lnTo>
                <a:lnTo>
                  <a:pt x="80" y="174"/>
                </a:lnTo>
                <a:lnTo>
                  <a:pt x="90" y="187"/>
                </a:lnTo>
                <a:lnTo>
                  <a:pt x="100" y="201"/>
                </a:lnTo>
                <a:lnTo>
                  <a:pt x="106" y="206"/>
                </a:lnTo>
                <a:lnTo>
                  <a:pt x="111" y="212"/>
                </a:lnTo>
                <a:lnTo>
                  <a:pt x="118" y="218"/>
                </a:lnTo>
                <a:lnTo>
                  <a:pt x="125" y="222"/>
                </a:lnTo>
                <a:lnTo>
                  <a:pt x="140" y="231"/>
                </a:lnTo>
                <a:lnTo>
                  <a:pt x="156" y="242"/>
                </a:lnTo>
                <a:lnTo>
                  <a:pt x="164" y="247"/>
                </a:lnTo>
                <a:lnTo>
                  <a:pt x="171" y="251"/>
                </a:lnTo>
                <a:lnTo>
                  <a:pt x="179" y="254"/>
                </a:lnTo>
                <a:lnTo>
                  <a:pt x="188" y="257"/>
                </a:lnTo>
                <a:lnTo>
                  <a:pt x="195" y="259"/>
                </a:lnTo>
                <a:lnTo>
                  <a:pt x="200" y="261"/>
                </a:lnTo>
                <a:lnTo>
                  <a:pt x="218" y="260"/>
                </a:lnTo>
                <a:lnTo>
                  <a:pt x="233" y="259"/>
                </a:lnTo>
                <a:lnTo>
                  <a:pt x="240" y="257"/>
                </a:lnTo>
                <a:lnTo>
                  <a:pt x="243" y="253"/>
                </a:lnTo>
                <a:lnTo>
                  <a:pt x="246" y="248"/>
                </a:lnTo>
                <a:lnTo>
                  <a:pt x="253" y="244"/>
                </a:lnTo>
                <a:lnTo>
                  <a:pt x="261" y="238"/>
                </a:lnTo>
                <a:lnTo>
                  <a:pt x="267" y="231"/>
                </a:lnTo>
                <a:lnTo>
                  <a:pt x="270" y="226"/>
                </a:lnTo>
                <a:lnTo>
                  <a:pt x="271" y="213"/>
                </a:lnTo>
                <a:lnTo>
                  <a:pt x="270" y="199"/>
                </a:lnTo>
                <a:lnTo>
                  <a:pt x="269" y="183"/>
                </a:lnTo>
                <a:lnTo>
                  <a:pt x="269" y="170"/>
                </a:lnTo>
                <a:lnTo>
                  <a:pt x="267" y="162"/>
                </a:lnTo>
                <a:lnTo>
                  <a:pt x="264" y="153"/>
                </a:lnTo>
                <a:lnTo>
                  <a:pt x="262" y="144"/>
                </a:lnTo>
                <a:lnTo>
                  <a:pt x="260" y="135"/>
                </a:lnTo>
                <a:lnTo>
                  <a:pt x="259" y="125"/>
                </a:lnTo>
                <a:lnTo>
                  <a:pt x="257" y="113"/>
                </a:lnTo>
                <a:lnTo>
                  <a:pt x="259" y="99"/>
                </a:lnTo>
                <a:lnTo>
                  <a:pt x="260" y="89"/>
                </a:lnTo>
                <a:lnTo>
                  <a:pt x="264" y="79"/>
                </a:lnTo>
                <a:lnTo>
                  <a:pt x="270" y="67"/>
                </a:lnTo>
                <a:lnTo>
                  <a:pt x="272" y="60"/>
                </a:lnTo>
                <a:lnTo>
                  <a:pt x="274" y="55"/>
                </a:lnTo>
                <a:lnTo>
                  <a:pt x="276" y="49"/>
                </a:lnTo>
                <a:lnTo>
                  <a:pt x="276" y="43"/>
                </a:lnTo>
                <a:lnTo>
                  <a:pt x="280" y="37"/>
                </a:lnTo>
                <a:lnTo>
                  <a:pt x="283" y="29"/>
                </a:lnTo>
                <a:lnTo>
                  <a:pt x="283" y="9"/>
                </a:lnTo>
                <a:lnTo>
                  <a:pt x="281" y="7"/>
                </a:lnTo>
                <a:lnTo>
                  <a:pt x="276" y="7"/>
                </a:lnTo>
                <a:lnTo>
                  <a:pt x="276" y="6"/>
                </a:lnTo>
                <a:lnTo>
                  <a:pt x="273" y="4"/>
                </a:lnTo>
                <a:lnTo>
                  <a:pt x="271" y="3"/>
                </a:lnTo>
                <a:lnTo>
                  <a:pt x="266" y="2"/>
                </a:lnTo>
                <a:lnTo>
                  <a:pt x="259" y="1"/>
                </a:lnTo>
                <a:lnTo>
                  <a:pt x="253" y="0"/>
                </a:lnTo>
                <a:lnTo>
                  <a:pt x="248" y="4"/>
                </a:lnTo>
                <a:lnTo>
                  <a:pt x="248" y="9"/>
                </a:lnTo>
                <a:lnTo>
                  <a:pt x="242" y="1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31" name="Freeform 92">
            <a:extLst>
              <a:ext uri="{FF2B5EF4-FFF2-40B4-BE49-F238E27FC236}">
                <a16:creationId xmlns:a16="http://schemas.microsoft.com/office/drawing/2014/main" id="{4CE02A40-5036-40E4-9DF3-A7474ACD0F61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474075" y="4411663"/>
            <a:ext cx="59162" cy="39688"/>
          </a:xfrm>
          <a:custGeom>
            <a:avLst/>
            <a:gdLst/>
            <a:ahLst/>
            <a:cxnLst>
              <a:cxn ang="0">
                <a:pos x="143" y="7"/>
              </a:cxn>
              <a:cxn ang="0">
                <a:pos x="110" y="21"/>
              </a:cxn>
              <a:cxn ang="0">
                <a:pos x="89" y="32"/>
              </a:cxn>
              <a:cxn ang="0">
                <a:pos x="70" y="44"/>
              </a:cxn>
              <a:cxn ang="0">
                <a:pos x="52" y="60"/>
              </a:cxn>
              <a:cxn ang="0">
                <a:pos x="39" y="77"/>
              </a:cxn>
              <a:cxn ang="0">
                <a:pos x="28" y="98"/>
              </a:cxn>
              <a:cxn ang="0">
                <a:pos x="21" y="118"/>
              </a:cxn>
              <a:cxn ang="0">
                <a:pos x="10" y="138"/>
              </a:cxn>
              <a:cxn ang="0">
                <a:pos x="4" y="158"/>
              </a:cxn>
              <a:cxn ang="0">
                <a:pos x="1" y="184"/>
              </a:cxn>
              <a:cxn ang="0">
                <a:pos x="1" y="202"/>
              </a:cxn>
              <a:cxn ang="0">
                <a:pos x="8" y="215"/>
              </a:cxn>
              <a:cxn ang="0">
                <a:pos x="22" y="227"/>
              </a:cxn>
              <a:cxn ang="0">
                <a:pos x="31" y="235"/>
              </a:cxn>
              <a:cxn ang="0">
                <a:pos x="41" y="240"/>
              </a:cxn>
              <a:cxn ang="0">
                <a:pos x="62" y="252"/>
              </a:cxn>
              <a:cxn ang="0">
                <a:pos x="115" y="255"/>
              </a:cxn>
              <a:cxn ang="0">
                <a:pos x="127" y="242"/>
              </a:cxn>
              <a:cxn ang="0">
                <a:pos x="138" y="226"/>
              </a:cxn>
              <a:cxn ang="0">
                <a:pos x="154" y="213"/>
              </a:cxn>
              <a:cxn ang="0">
                <a:pos x="171" y="202"/>
              </a:cxn>
              <a:cxn ang="0">
                <a:pos x="188" y="196"/>
              </a:cxn>
              <a:cxn ang="0">
                <a:pos x="210" y="192"/>
              </a:cxn>
              <a:cxn ang="0">
                <a:pos x="232" y="189"/>
              </a:cxn>
              <a:cxn ang="0">
                <a:pos x="244" y="187"/>
              </a:cxn>
              <a:cxn ang="0">
                <a:pos x="261" y="181"/>
              </a:cxn>
              <a:cxn ang="0">
                <a:pos x="288" y="168"/>
              </a:cxn>
              <a:cxn ang="0">
                <a:pos x="308" y="150"/>
              </a:cxn>
              <a:cxn ang="0">
                <a:pos x="316" y="146"/>
              </a:cxn>
              <a:cxn ang="0">
                <a:pos x="322" y="140"/>
              </a:cxn>
              <a:cxn ang="0">
                <a:pos x="327" y="133"/>
              </a:cxn>
              <a:cxn ang="0">
                <a:pos x="338" y="113"/>
              </a:cxn>
              <a:cxn ang="0">
                <a:pos x="345" y="90"/>
              </a:cxn>
              <a:cxn ang="0">
                <a:pos x="344" y="76"/>
              </a:cxn>
              <a:cxn ang="0">
                <a:pos x="340" y="65"/>
              </a:cxn>
              <a:cxn ang="0">
                <a:pos x="329" y="52"/>
              </a:cxn>
              <a:cxn ang="0">
                <a:pos x="322" y="46"/>
              </a:cxn>
              <a:cxn ang="0">
                <a:pos x="316" y="44"/>
              </a:cxn>
              <a:cxn ang="0">
                <a:pos x="311" y="40"/>
              </a:cxn>
              <a:cxn ang="0">
                <a:pos x="299" y="35"/>
              </a:cxn>
              <a:cxn ang="0">
                <a:pos x="278" y="31"/>
              </a:cxn>
              <a:cxn ang="0">
                <a:pos x="249" y="26"/>
              </a:cxn>
              <a:cxn ang="0">
                <a:pos x="221" y="22"/>
              </a:cxn>
              <a:cxn ang="0">
                <a:pos x="210" y="15"/>
              </a:cxn>
              <a:cxn ang="0">
                <a:pos x="195" y="12"/>
              </a:cxn>
              <a:cxn ang="0">
                <a:pos x="191" y="9"/>
              </a:cxn>
              <a:cxn ang="0">
                <a:pos x="182" y="5"/>
              </a:cxn>
              <a:cxn ang="0">
                <a:pos x="176" y="3"/>
              </a:cxn>
              <a:cxn ang="0">
                <a:pos x="169" y="0"/>
              </a:cxn>
            </a:cxnLst>
            <a:rect l="0" t="0" r="r" b="b"/>
            <a:pathLst>
              <a:path w="345" h="255">
                <a:moveTo>
                  <a:pt x="165" y="0"/>
                </a:moveTo>
                <a:lnTo>
                  <a:pt x="143" y="7"/>
                </a:lnTo>
                <a:lnTo>
                  <a:pt x="121" y="15"/>
                </a:lnTo>
                <a:lnTo>
                  <a:pt x="110" y="21"/>
                </a:lnTo>
                <a:lnTo>
                  <a:pt x="100" y="25"/>
                </a:lnTo>
                <a:lnTo>
                  <a:pt x="89" y="32"/>
                </a:lnTo>
                <a:lnTo>
                  <a:pt x="79" y="37"/>
                </a:lnTo>
                <a:lnTo>
                  <a:pt x="70" y="44"/>
                </a:lnTo>
                <a:lnTo>
                  <a:pt x="61" y="52"/>
                </a:lnTo>
                <a:lnTo>
                  <a:pt x="52" y="60"/>
                </a:lnTo>
                <a:lnTo>
                  <a:pt x="45" y="69"/>
                </a:lnTo>
                <a:lnTo>
                  <a:pt x="39" y="77"/>
                </a:lnTo>
                <a:lnTo>
                  <a:pt x="32" y="88"/>
                </a:lnTo>
                <a:lnTo>
                  <a:pt x="28" y="98"/>
                </a:lnTo>
                <a:lnTo>
                  <a:pt x="23" y="109"/>
                </a:lnTo>
                <a:lnTo>
                  <a:pt x="21" y="118"/>
                </a:lnTo>
                <a:lnTo>
                  <a:pt x="15" y="128"/>
                </a:lnTo>
                <a:lnTo>
                  <a:pt x="10" y="138"/>
                </a:lnTo>
                <a:lnTo>
                  <a:pt x="6" y="146"/>
                </a:lnTo>
                <a:lnTo>
                  <a:pt x="4" y="158"/>
                </a:lnTo>
                <a:lnTo>
                  <a:pt x="2" y="170"/>
                </a:lnTo>
                <a:lnTo>
                  <a:pt x="1" y="184"/>
                </a:lnTo>
                <a:lnTo>
                  <a:pt x="0" y="196"/>
                </a:lnTo>
                <a:lnTo>
                  <a:pt x="1" y="202"/>
                </a:lnTo>
                <a:lnTo>
                  <a:pt x="4" y="209"/>
                </a:lnTo>
                <a:lnTo>
                  <a:pt x="8" y="215"/>
                </a:lnTo>
                <a:lnTo>
                  <a:pt x="13" y="220"/>
                </a:lnTo>
                <a:lnTo>
                  <a:pt x="22" y="227"/>
                </a:lnTo>
                <a:lnTo>
                  <a:pt x="30" y="233"/>
                </a:lnTo>
                <a:lnTo>
                  <a:pt x="31" y="235"/>
                </a:lnTo>
                <a:lnTo>
                  <a:pt x="32" y="237"/>
                </a:lnTo>
                <a:lnTo>
                  <a:pt x="41" y="240"/>
                </a:lnTo>
                <a:lnTo>
                  <a:pt x="48" y="246"/>
                </a:lnTo>
                <a:lnTo>
                  <a:pt x="62" y="252"/>
                </a:lnTo>
                <a:lnTo>
                  <a:pt x="78" y="255"/>
                </a:lnTo>
                <a:lnTo>
                  <a:pt x="115" y="255"/>
                </a:lnTo>
                <a:lnTo>
                  <a:pt x="120" y="250"/>
                </a:lnTo>
                <a:lnTo>
                  <a:pt x="127" y="242"/>
                </a:lnTo>
                <a:lnTo>
                  <a:pt x="135" y="232"/>
                </a:lnTo>
                <a:lnTo>
                  <a:pt x="138" y="226"/>
                </a:lnTo>
                <a:lnTo>
                  <a:pt x="145" y="220"/>
                </a:lnTo>
                <a:lnTo>
                  <a:pt x="154" y="213"/>
                </a:lnTo>
                <a:lnTo>
                  <a:pt x="164" y="206"/>
                </a:lnTo>
                <a:lnTo>
                  <a:pt x="171" y="202"/>
                </a:lnTo>
                <a:lnTo>
                  <a:pt x="179" y="199"/>
                </a:lnTo>
                <a:lnTo>
                  <a:pt x="188" y="196"/>
                </a:lnTo>
                <a:lnTo>
                  <a:pt x="198" y="194"/>
                </a:lnTo>
                <a:lnTo>
                  <a:pt x="210" y="192"/>
                </a:lnTo>
                <a:lnTo>
                  <a:pt x="221" y="190"/>
                </a:lnTo>
                <a:lnTo>
                  <a:pt x="232" y="189"/>
                </a:lnTo>
                <a:lnTo>
                  <a:pt x="237" y="189"/>
                </a:lnTo>
                <a:lnTo>
                  <a:pt x="244" y="187"/>
                </a:lnTo>
                <a:lnTo>
                  <a:pt x="252" y="185"/>
                </a:lnTo>
                <a:lnTo>
                  <a:pt x="261" y="181"/>
                </a:lnTo>
                <a:lnTo>
                  <a:pt x="277" y="173"/>
                </a:lnTo>
                <a:lnTo>
                  <a:pt x="288" y="168"/>
                </a:lnTo>
                <a:lnTo>
                  <a:pt x="299" y="159"/>
                </a:lnTo>
                <a:lnTo>
                  <a:pt x="308" y="150"/>
                </a:lnTo>
                <a:lnTo>
                  <a:pt x="311" y="149"/>
                </a:lnTo>
                <a:lnTo>
                  <a:pt x="316" y="146"/>
                </a:lnTo>
                <a:lnTo>
                  <a:pt x="320" y="142"/>
                </a:lnTo>
                <a:lnTo>
                  <a:pt x="322" y="140"/>
                </a:lnTo>
                <a:lnTo>
                  <a:pt x="325" y="136"/>
                </a:lnTo>
                <a:lnTo>
                  <a:pt x="327" y="133"/>
                </a:lnTo>
                <a:lnTo>
                  <a:pt x="332" y="125"/>
                </a:lnTo>
                <a:lnTo>
                  <a:pt x="338" y="113"/>
                </a:lnTo>
                <a:lnTo>
                  <a:pt x="342" y="101"/>
                </a:lnTo>
                <a:lnTo>
                  <a:pt x="345" y="90"/>
                </a:lnTo>
                <a:lnTo>
                  <a:pt x="345" y="83"/>
                </a:lnTo>
                <a:lnTo>
                  <a:pt x="344" y="76"/>
                </a:lnTo>
                <a:lnTo>
                  <a:pt x="342" y="71"/>
                </a:lnTo>
                <a:lnTo>
                  <a:pt x="340" y="65"/>
                </a:lnTo>
                <a:lnTo>
                  <a:pt x="336" y="60"/>
                </a:lnTo>
                <a:lnTo>
                  <a:pt x="329" y="52"/>
                </a:lnTo>
                <a:lnTo>
                  <a:pt x="326" y="50"/>
                </a:lnTo>
                <a:lnTo>
                  <a:pt x="322" y="46"/>
                </a:lnTo>
                <a:lnTo>
                  <a:pt x="319" y="45"/>
                </a:lnTo>
                <a:lnTo>
                  <a:pt x="316" y="44"/>
                </a:lnTo>
                <a:lnTo>
                  <a:pt x="315" y="42"/>
                </a:lnTo>
                <a:lnTo>
                  <a:pt x="311" y="40"/>
                </a:lnTo>
                <a:lnTo>
                  <a:pt x="306" y="37"/>
                </a:lnTo>
                <a:lnTo>
                  <a:pt x="299" y="35"/>
                </a:lnTo>
                <a:lnTo>
                  <a:pt x="285" y="32"/>
                </a:lnTo>
                <a:lnTo>
                  <a:pt x="278" y="31"/>
                </a:lnTo>
                <a:lnTo>
                  <a:pt x="263" y="30"/>
                </a:lnTo>
                <a:lnTo>
                  <a:pt x="249" y="26"/>
                </a:lnTo>
                <a:lnTo>
                  <a:pt x="234" y="24"/>
                </a:lnTo>
                <a:lnTo>
                  <a:pt x="221" y="22"/>
                </a:lnTo>
                <a:lnTo>
                  <a:pt x="216" y="18"/>
                </a:lnTo>
                <a:lnTo>
                  <a:pt x="210" y="15"/>
                </a:lnTo>
                <a:lnTo>
                  <a:pt x="202" y="13"/>
                </a:lnTo>
                <a:lnTo>
                  <a:pt x="195" y="12"/>
                </a:lnTo>
                <a:lnTo>
                  <a:pt x="194" y="9"/>
                </a:lnTo>
                <a:lnTo>
                  <a:pt x="191" y="9"/>
                </a:lnTo>
                <a:lnTo>
                  <a:pt x="186" y="5"/>
                </a:lnTo>
                <a:lnTo>
                  <a:pt x="182" y="5"/>
                </a:lnTo>
                <a:lnTo>
                  <a:pt x="177" y="5"/>
                </a:lnTo>
                <a:lnTo>
                  <a:pt x="176" y="3"/>
                </a:lnTo>
                <a:lnTo>
                  <a:pt x="174" y="2"/>
                </a:lnTo>
                <a:lnTo>
                  <a:pt x="169" y="0"/>
                </a:lnTo>
                <a:lnTo>
                  <a:pt x="16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32" name="Freeform 93">
            <a:extLst>
              <a:ext uri="{FF2B5EF4-FFF2-40B4-BE49-F238E27FC236}">
                <a16:creationId xmlns:a16="http://schemas.microsoft.com/office/drawing/2014/main" id="{A95282DF-F829-4612-8E0D-F3E4F17B2D01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364538" y="4332288"/>
            <a:ext cx="120675" cy="69850"/>
          </a:xfrm>
          <a:custGeom>
            <a:avLst/>
            <a:gdLst/>
            <a:ahLst/>
            <a:cxnLst>
              <a:cxn ang="0">
                <a:pos x="61" y="15"/>
              </a:cxn>
              <a:cxn ang="0">
                <a:pos x="26" y="20"/>
              </a:cxn>
              <a:cxn ang="0">
                <a:pos x="0" y="24"/>
              </a:cxn>
              <a:cxn ang="0">
                <a:pos x="5" y="50"/>
              </a:cxn>
              <a:cxn ang="0">
                <a:pos x="16" y="74"/>
              </a:cxn>
              <a:cxn ang="0">
                <a:pos x="33" y="98"/>
              </a:cxn>
              <a:cxn ang="0">
                <a:pos x="53" y="119"/>
              </a:cxn>
              <a:cxn ang="0">
                <a:pos x="100" y="157"/>
              </a:cxn>
              <a:cxn ang="0">
                <a:pos x="143" y="191"/>
              </a:cxn>
              <a:cxn ang="0">
                <a:pos x="209" y="249"/>
              </a:cxn>
              <a:cxn ang="0">
                <a:pos x="277" y="313"/>
              </a:cxn>
              <a:cxn ang="0">
                <a:pos x="348" y="374"/>
              </a:cxn>
              <a:cxn ang="0">
                <a:pos x="383" y="400"/>
              </a:cxn>
              <a:cxn ang="0">
                <a:pos x="421" y="422"/>
              </a:cxn>
              <a:cxn ang="0">
                <a:pos x="443" y="428"/>
              </a:cxn>
              <a:cxn ang="0">
                <a:pos x="464" y="426"/>
              </a:cxn>
              <a:cxn ang="0">
                <a:pos x="485" y="418"/>
              </a:cxn>
              <a:cxn ang="0">
                <a:pos x="504" y="406"/>
              </a:cxn>
              <a:cxn ang="0">
                <a:pos x="571" y="348"/>
              </a:cxn>
              <a:cxn ang="0">
                <a:pos x="599" y="327"/>
              </a:cxn>
              <a:cxn ang="0">
                <a:pos x="627" y="301"/>
              </a:cxn>
              <a:cxn ang="0">
                <a:pos x="638" y="287"/>
              </a:cxn>
              <a:cxn ang="0">
                <a:pos x="646" y="271"/>
              </a:cxn>
              <a:cxn ang="0">
                <a:pos x="650" y="253"/>
              </a:cxn>
              <a:cxn ang="0">
                <a:pos x="650" y="234"/>
              </a:cxn>
              <a:cxn ang="0">
                <a:pos x="646" y="218"/>
              </a:cxn>
              <a:cxn ang="0">
                <a:pos x="639" y="203"/>
              </a:cxn>
              <a:cxn ang="0">
                <a:pos x="618" y="175"/>
              </a:cxn>
              <a:cxn ang="0">
                <a:pos x="590" y="148"/>
              </a:cxn>
              <a:cxn ang="0">
                <a:pos x="556" y="124"/>
              </a:cxn>
              <a:cxn ang="0">
                <a:pos x="521" y="102"/>
              </a:cxn>
              <a:cxn ang="0">
                <a:pos x="485" y="83"/>
              </a:cxn>
              <a:cxn ang="0">
                <a:pos x="422" y="57"/>
              </a:cxn>
              <a:cxn ang="0">
                <a:pos x="391" y="42"/>
              </a:cxn>
              <a:cxn ang="0">
                <a:pos x="330" y="16"/>
              </a:cxn>
              <a:cxn ang="0">
                <a:pos x="297" y="5"/>
              </a:cxn>
              <a:cxn ang="0">
                <a:pos x="269" y="0"/>
              </a:cxn>
              <a:cxn ang="0">
                <a:pos x="258" y="0"/>
              </a:cxn>
              <a:cxn ang="0">
                <a:pos x="251" y="2"/>
              </a:cxn>
              <a:cxn ang="0">
                <a:pos x="245" y="6"/>
              </a:cxn>
              <a:cxn ang="0">
                <a:pos x="243" y="13"/>
              </a:cxn>
              <a:cxn ang="0">
                <a:pos x="234" y="15"/>
              </a:cxn>
              <a:cxn ang="0">
                <a:pos x="225" y="16"/>
              </a:cxn>
              <a:cxn ang="0">
                <a:pos x="205" y="16"/>
              </a:cxn>
            </a:cxnLst>
            <a:rect l="0" t="0" r="r" b="b"/>
            <a:pathLst>
              <a:path w="650" h="428">
                <a:moveTo>
                  <a:pt x="196" y="15"/>
                </a:moveTo>
                <a:lnTo>
                  <a:pt x="61" y="15"/>
                </a:lnTo>
                <a:lnTo>
                  <a:pt x="45" y="16"/>
                </a:lnTo>
                <a:lnTo>
                  <a:pt x="26" y="20"/>
                </a:lnTo>
                <a:lnTo>
                  <a:pt x="11" y="23"/>
                </a:lnTo>
                <a:lnTo>
                  <a:pt x="0" y="24"/>
                </a:lnTo>
                <a:lnTo>
                  <a:pt x="2" y="38"/>
                </a:lnTo>
                <a:lnTo>
                  <a:pt x="5" y="50"/>
                </a:lnTo>
                <a:lnTo>
                  <a:pt x="9" y="62"/>
                </a:lnTo>
                <a:lnTo>
                  <a:pt x="16" y="74"/>
                </a:lnTo>
                <a:lnTo>
                  <a:pt x="24" y="86"/>
                </a:lnTo>
                <a:lnTo>
                  <a:pt x="33" y="98"/>
                </a:lnTo>
                <a:lnTo>
                  <a:pt x="43" y="108"/>
                </a:lnTo>
                <a:lnTo>
                  <a:pt x="53" y="119"/>
                </a:lnTo>
                <a:lnTo>
                  <a:pt x="76" y="139"/>
                </a:lnTo>
                <a:lnTo>
                  <a:pt x="100" y="157"/>
                </a:lnTo>
                <a:lnTo>
                  <a:pt x="122" y="175"/>
                </a:lnTo>
                <a:lnTo>
                  <a:pt x="143" y="191"/>
                </a:lnTo>
                <a:lnTo>
                  <a:pt x="177" y="218"/>
                </a:lnTo>
                <a:lnTo>
                  <a:pt x="209" y="249"/>
                </a:lnTo>
                <a:lnTo>
                  <a:pt x="243" y="281"/>
                </a:lnTo>
                <a:lnTo>
                  <a:pt x="277" y="313"/>
                </a:lnTo>
                <a:lnTo>
                  <a:pt x="312" y="345"/>
                </a:lnTo>
                <a:lnTo>
                  <a:pt x="348" y="374"/>
                </a:lnTo>
                <a:lnTo>
                  <a:pt x="365" y="387"/>
                </a:lnTo>
                <a:lnTo>
                  <a:pt x="383" y="400"/>
                </a:lnTo>
                <a:lnTo>
                  <a:pt x="402" y="412"/>
                </a:lnTo>
                <a:lnTo>
                  <a:pt x="421" y="422"/>
                </a:lnTo>
                <a:lnTo>
                  <a:pt x="431" y="426"/>
                </a:lnTo>
                <a:lnTo>
                  <a:pt x="443" y="428"/>
                </a:lnTo>
                <a:lnTo>
                  <a:pt x="454" y="428"/>
                </a:lnTo>
                <a:lnTo>
                  <a:pt x="464" y="426"/>
                </a:lnTo>
                <a:lnTo>
                  <a:pt x="474" y="423"/>
                </a:lnTo>
                <a:lnTo>
                  <a:pt x="485" y="418"/>
                </a:lnTo>
                <a:lnTo>
                  <a:pt x="495" y="413"/>
                </a:lnTo>
                <a:lnTo>
                  <a:pt x="504" y="406"/>
                </a:lnTo>
                <a:lnTo>
                  <a:pt x="541" y="375"/>
                </a:lnTo>
                <a:lnTo>
                  <a:pt x="571" y="348"/>
                </a:lnTo>
                <a:lnTo>
                  <a:pt x="585" y="338"/>
                </a:lnTo>
                <a:lnTo>
                  <a:pt x="599" y="327"/>
                </a:lnTo>
                <a:lnTo>
                  <a:pt x="613" y="314"/>
                </a:lnTo>
                <a:lnTo>
                  <a:pt x="627" y="301"/>
                </a:lnTo>
                <a:lnTo>
                  <a:pt x="632" y="294"/>
                </a:lnTo>
                <a:lnTo>
                  <a:pt x="638" y="287"/>
                </a:lnTo>
                <a:lnTo>
                  <a:pt x="642" y="279"/>
                </a:lnTo>
                <a:lnTo>
                  <a:pt x="646" y="271"/>
                </a:lnTo>
                <a:lnTo>
                  <a:pt x="648" y="262"/>
                </a:lnTo>
                <a:lnTo>
                  <a:pt x="650" y="253"/>
                </a:lnTo>
                <a:lnTo>
                  <a:pt x="650" y="244"/>
                </a:lnTo>
                <a:lnTo>
                  <a:pt x="650" y="234"/>
                </a:lnTo>
                <a:lnTo>
                  <a:pt x="648" y="226"/>
                </a:lnTo>
                <a:lnTo>
                  <a:pt x="646" y="218"/>
                </a:lnTo>
                <a:lnTo>
                  <a:pt x="642" y="211"/>
                </a:lnTo>
                <a:lnTo>
                  <a:pt x="639" y="203"/>
                </a:lnTo>
                <a:lnTo>
                  <a:pt x="630" y="188"/>
                </a:lnTo>
                <a:lnTo>
                  <a:pt x="618" y="175"/>
                </a:lnTo>
                <a:lnTo>
                  <a:pt x="604" y="162"/>
                </a:lnTo>
                <a:lnTo>
                  <a:pt x="590" y="148"/>
                </a:lnTo>
                <a:lnTo>
                  <a:pt x="574" y="136"/>
                </a:lnTo>
                <a:lnTo>
                  <a:pt x="556" y="124"/>
                </a:lnTo>
                <a:lnTo>
                  <a:pt x="539" y="112"/>
                </a:lnTo>
                <a:lnTo>
                  <a:pt x="521" y="102"/>
                </a:lnTo>
                <a:lnTo>
                  <a:pt x="503" y="92"/>
                </a:lnTo>
                <a:lnTo>
                  <a:pt x="485" y="83"/>
                </a:lnTo>
                <a:lnTo>
                  <a:pt x="451" y="69"/>
                </a:lnTo>
                <a:lnTo>
                  <a:pt x="422" y="57"/>
                </a:lnTo>
                <a:lnTo>
                  <a:pt x="412" y="52"/>
                </a:lnTo>
                <a:lnTo>
                  <a:pt x="391" y="42"/>
                </a:lnTo>
                <a:lnTo>
                  <a:pt x="362" y="29"/>
                </a:lnTo>
                <a:lnTo>
                  <a:pt x="330" y="16"/>
                </a:lnTo>
                <a:lnTo>
                  <a:pt x="313" y="11"/>
                </a:lnTo>
                <a:lnTo>
                  <a:pt x="297" y="5"/>
                </a:lnTo>
                <a:lnTo>
                  <a:pt x="283" y="2"/>
                </a:lnTo>
                <a:lnTo>
                  <a:pt x="269" y="0"/>
                </a:lnTo>
                <a:lnTo>
                  <a:pt x="264" y="0"/>
                </a:lnTo>
                <a:lnTo>
                  <a:pt x="258" y="0"/>
                </a:lnTo>
                <a:lnTo>
                  <a:pt x="254" y="1"/>
                </a:lnTo>
                <a:lnTo>
                  <a:pt x="251" y="2"/>
                </a:lnTo>
                <a:lnTo>
                  <a:pt x="247" y="4"/>
                </a:lnTo>
                <a:lnTo>
                  <a:pt x="245" y="6"/>
                </a:lnTo>
                <a:lnTo>
                  <a:pt x="243" y="10"/>
                </a:lnTo>
                <a:lnTo>
                  <a:pt x="243" y="13"/>
                </a:lnTo>
                <a:lnTo>
                  <a:pt x="235" y="13"/>
                </a:lnTo>
                <a:lnTo>
                  <a:pt x="234" y="15"/>
                </a:lnTo>
                <a:lnTo>
                  <a:pt x="230" y="15"/>
                </a:lnTo>
                <a:lnTo>
                  <a:pt x="225" y="16"/>
                </a:lnTo>
                <a:lnTo>
                  <a:pt x="218" y="16"/>
                </a:lnTo>
                <a:lnTo>
                  <a:pt x="205" y="16"/>
                </a:lnTo>
                <a:lnTo>
                  <a:pt x="196" y="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33" name="Freeform 94">
            <a:extLst>
              <a:ext uri="{FF2B5EF4-FFF2-40B4-BE49-F238E27FC236}">
                <a16:creationId xmlns:a16="http://schemas.microsoft.com/office/drawing/2014/main" id="{0D53882A-4E3E-4876-A83F-F4F46B9E5199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115300" y="4294188"/>
            <a:ext cx="56792" cy="57150"/>
          </a:xfrm>
          <a:custGeom>
            <a:avLst/>
            <a:gdLst/>
            <a:ahLst/>
            <a:cxnLst>
              <a:cxn ang="0">
                <a:pos x="111" y="43"/>
              </a:cxn>
              <a:cxn ang="0">
                <a:pos x="97" y="56"/>
              </a:cxn>
              <a:cxn ang="0">
                <a:pos x="87" y="75"/>
              </a:cxn>
              <a:cxn ang="0">
                <a:pos x="77" y="85"/>
              </a:cxn>
              <a:cxn ang="0">
                <a:pos x="59" y="112"/>
              </a:cxn>
              <a:cxn ang="0">
                <a:pos x="46" y="125"/>
              </a:cxn>
              <a:cxn ang="0">
                <a:pos x="40" y="138"/>
              </a:cxn>
              <a:cxn ang="0">
                <a:pos x="34" y="148"/>
              </a:cxn>
              <a:cxn ang="0">
                <a:pos x="20" y="158"/>
              </a:cxn>
              <a:cxn ang="0">
                <a:pos x="20" y="171"/>
              </a:cxn>
              <a:cxn ang="0">
                <a:pos x="11" y="197"/>
              </a:cxn>
              <a:cxn ang="0">
                <a:pos x="8" y="201"/>
              </a:cxn>
              <a:cxn ang="0">
                <a:pos x="7" y="217"/>
              </a:cxn>
              <a:cxn ang="0">
                <a:pos x="0" y="236"/>
              </a:cxn>
              <a:cxn ang="0">
                <a:pos x="0" y="249"/>
              </a:cxn>
              <a:cxn ang="0">
                <a:pos x="5" y="276"/>
              </a:cxn>
              <a:cxn ang="0">
                <a:pos x="7" y="278"/>
              </a:cxn>
              <a:cxn ang="0">
                <a:pos x="10" y="282"/>
              </a:cxn>
              <a:cxn ang="0">
                <a:pos x="16" y="296"/>
              </a:cxn>
              <a:cxn ang="0">
                <a:pos x="23" y="306"/>
              </a:cxn>
              <a:cxn ang="0">
                <a:pos x="33" y="323"/>
              </a:cxn>
              <a:cxn ang="0">
                <a:pos x="45" y="332"/>
              </a:cxn>
              <a:cxn ang="0">
                <a:pos x="59" y="341"/>
              </a:cxn>
              <a:cxn ang="0">
                <a:pos x="62" y="348"/>
              </a:cxn>
              <a:cxn ang="0">
                <a:pos x="65" y="349"/>
              </a:cxn>
              <a:cxn ang="0">
                <a:pos x="73" y="354"/>
              </a:cxn>
              <a:cxn ang="0">
                <a:pos x="89" y="354"/>
              </a:cxn>
              <a:cxn ang="0">
                <a:pos x="119" y="354"/>
              </a:cxn>
              <a:cxn ang="0">
                <a:pos x="129" y="339"/>
              </a:cxn>
              <a:cxn ang="0">
                <a:pos x="137" y="327"/>
              </a:cxn>
              <a:cxn ang="0">
                <a:pos x="148" y="309"/>
              </a:cxn>
              <a:cxn ang="0">
                <a:pos x="168" y="283"/>
              </a:cxn>
              <a:cxn ang="0">
                <a:pos x="183" y="269"/>
              </a:cxn>
              <a:cxn ang="0">
                <a:pos x="210" y="236"/>
              </a:cxn>
              <a:cxn ang="0">
                <a:pos x="222" y="229"/>
              </a:cxn>
              <a:cxn ang="0">
                <a:pos x="223" y="225"/>
              </a:cxn>
              <a:cxn ang="0">
                <a:pos x="229" y="224"/>
              </a:cxn>
              <a:cxn ang="0">
                <a:pos x="242" y="204"/>
              </a:cxn>
              <a:cxn ang="0">
                <a:pos x="275" y="171"/>
              </a:cxn>
              <a:cxn ang="0">
                <a:pos x="287" y="156"/>
              </a:cxn>
              <a:cxn ang="0">
                <a:pos x="295" y="151"/>
              </a:cxn>
              <a:cxn ang="0">
                <a:pos x="300" y="137"/>
              </a:cxn>
              <a:cxn ang="0">
                <a:pos x="302" y="133"/>
              </a:cxn>
              <a:cxn ang="0">
                <a:pos x="308" y="132"/>
              </a:cxn>
              <a:cxn ang="0">
                <a:pos x="314" y="117"/>
              </a:cxn>
              <a:cxn ang="0">
                <a:pos x="322" y="112"/>
              </a:cxn>
              <a:cxn ang="0">
                <a:pos x="322" y="92"/>
              </a:cxn>
              <a:cxn ang="0">
                <a:pos x="322" y="76"/>
              </a:cxn>
              <a:cxn ang="0">
                <a:pos x="322" y="50"/>
              </a:cxn>
              <a:cxn ang="0">
                <a:pos x="316" y="32"/>
              </a:cxn>
              <a:cxn ang="0">
                <a:pos x="309" y="19"/>
              </a:cxn>
              <a:cxn ang="0">
                <a:pos x="302" y="9"/>
              </a:cxn>
              <a:cxn ang="0">
                <a:pos x="296" y="4"/>
              </a:cxn>
              <a:cxn ang="0">
                <a:pos x="269" y="0"/>
              </a:cxn>
              <a:cxn ang="0">
                <a:pos x="242" y="0"/>
              </a:cxn>
              <a:cxn ang="0">
                <a:pos x="223" y="0"/>
              </a:cxn>
              <a:cxn ang="0">
                <a:pos x="210" y="0"/>
              </a:cxn>
              <a:cxn ang="0">
                <a:pos x="187" y="4"/>
              </a:cxn>
              <a:cxn ang="0">
                <a:pos x="175" y="12"/>
              </a:cxn>
              <a:cxn ang="0">
                <a:pos x="163" y="14"/>
              </a:cxn>
              <a:cxn ang="0">
                <a:pos x="156" y="18"/>
              </a:cxn>
              <a:cxn ang="0">
                <a:pos x="141" y="23"/>
              </a:cxn>
            </a:cxnLst>
            <a:rect l="0" t="0" r="r" b="b"/>
            <a:pathLst>
              <a:path w="322" h="354">
                <a:moveTo>
                  <a:pt x="125" y="27"/>
                </a:moveTo>
                <a:lnTo>
                  <a:pt x="119" y="34"/>
                </a:lnTo>
                <a:lnTo>
                  <a:pt x="111" y="43"/>
                </a:lnTo>
                <a:lnTo>
                  <a:pt x="106" y="48"/>
                </a:lnTo>
                <a:lnTo>
                  <a:pt x="102" y="53"/>
                </a:lnTo>
                <a:lnTo>
                  <a:pt x="97" y="56"/>
                </a:lnTo>
                <a:lnTo>
                  <a:pt x="92" y="60"/>
                </a:lnTo>
                <a:lnTo>
                  <a:pt x="91" y="66"/>
                </a:lnTo>
                <a:lnTo>
                  <a:pt x="87" y="75"/>
                </a:lnTo>
                <a:lnTo>
                  <a:pt x="85" y="80"/>
                </a:lnTo>
                <a:lnTo>
                  <a:pt x="82" y="83"/>
                </a:lnTo>
                <a:lnTo>
                  <a:pt x="77" y="85"/>
                </a:lnTo>
                <a:lnTo>
                  <a:pt x="73" y="86"/>
                </a:lnTo>
                <a:lnTo>
                  <a:pt x="66" y="99"/>
                </a:lnTo>
                <a:lnTo>
                  <a:pt x="59" y="112"/>
                </a:lnTo>
                <a:lnTo>
                  <a:pt x="56" y="115"/>
                </a:lnTo>
                <a:lnTo>
                  <a:pt x="53" y="119"/>
                </a:lnTo>
                <a:lnTo>
                  <a:pt x="46" y="125"/>
                </a:lnTo>
                <a:lnTo>
                  <a:pt x="44" y="129"/>
                </a:lnTo>
                <a:lnTo>
                  <a:pt x="40" y="132"/>
                </a:lnTo>
                <a:lnTo>
                  <a:pt x="40" y="138"/>
                </a:lnTo>
                <a:lnTo>
                  <a:pt x="39" y="141"/>
                </a:lnTo>
                <a:lnTo>
                  <a:pt x="37" y="144"/>
                </a:lnTo>
                <a:lnTo>
                  <a:pt x="34" y="148"/>
                </a:lnTo>
                <a:lnTo>
                  <a:pt x="30" y="150"/>
                </a:lnTo>
                <a:lnTo>
                  <a:pt x="24" y="156"/>
                </a:lnTo>
                <a:lnTo>
                  <a:pt x="20" y="158"/>
                </a:lnTo>
                <a:lnTo>
                  <a:pt x="20" y="165"/>
                </a:lnTo>
                <a:lnTo>
                  <a:pt x="20" y="168"/>
                </a:lnTo>
                <a:lnTo>
                  <a:pt x="20" y="171"/>
                </a:lnTo>
                <a:lnTo>
                  <a:pt x="17" y="181"/>
                </a:lnTo>
                <a:lnTo>
                  <a:pt x="14" y="197"/>
                </a:lnTo>
                <a:lnTo>
                  <a:pt x="11" y="197"/>
                </a:lnTo>
                <a:lnTo>
                  <a:pt x="10" y="198"/>
                </a:lnTo>
                <a:lnTo>
                  <a:pt x="9" y="199"/>
                </a:lnTo>
                <a:lnTo>
                  <a:pt x="8" y="201"/>
                </a:lnTo>
                <a:lnTo>
                  <a:pt x="7" y="206"/>
                </a:lnTo>
                <a:lnTo>
                  <a:pt x="7" y="210"/>
                </a:lnTo>
                <a:lnTo>
                  <a:pt x="7" y="217"/>
                </a:lnTo>
                <a:lnTo>
                  <a:pt x="7" y="224"/>
                </a:lnTo>
                <a:lnTo>
                  <a:pt x="4" y="229"/>
                </a:lnTo>
                <a:lnTo>
                  <a:pt x="0" y="236"/>
                </a:lnTo>
                <a:lnTo>
                  <a:pt x="0" y="243"/>
                </a:lnTo>
                <a:lnTo>
                  <a:pt x="0" y="246"/>
                </a:lnTo>
                <a:lnTo>
                  <a:pt x="0" y="249"/>
                </a:lnTo>
                <a:lnTo>
                  <a:pt x="0" y="263"/>
                </a:lnTo>
                <a:lnTo>
                  <a:pt x="0" y="275"/>
                </a:lnTo>
                <a:lnTo>
                  <a:pt x="5" y="276"/>
                </a:lnTo>
                <a:lnTo>
                  <a:pt x="7" y="276"/>
                </a:lnTo>
                <a:lnTo>
                  <a:pt x="7" y="277"/>
                </a:lnTo>
                <a:lnTo>
                  <a:pt x="7" y="278"/>
                </a:lnTo>
                <a:lnTo>
                  <a:pt x="7" y="279"/>
                </a:lnTo>
                <a:lnTo>
                  <a:pt x="8" y="281"/>
                </a:lnTo>
                <a:lnTo>
                  <a:pt x="10" y="282"/>
                </a:lnTo>
                <a:lnTo>
                  <a:pt x="14" y="282"/>
                </a:lnTo>
                <a:lnTo>
                  <a:pt x="14" y="295"/>
                </a:lnTo>
                <a:lnTo>
                  <a:pt x="16" y="296"/>
                </a:lnTo>
                <a:lnTo>
                  <a:pt x="18" y="298"/>
                </a:lnTo>
                <a:lnTo>
                  <a:pt x="20" y="302"/>
                </a:lnTo>
                <a:lnTo>
                  <a:pt x="23" y="306"/>
                </a:lnTo>
                <a:lnTo>
                  <a:pt x="26" y="314"/>
                </a:lnTo>
                <a:lnTo>
                  <a:pt x="27" y="321"/>
                </a:lnTo>
                <a:lnTo>
                  <a:pt x="33" y="323"/>
                </a:lnTo>
                <a:lnTo>
                  <a:pt x="39" y="326"/>
                </a:lnTo>
                <a:lnTo>
                  <a:pt x="41" y="329"/>
                </a:lnTo>
                <a:lnTo>
                  <a:pt x="45" y="332"/>
                </a:lnTo>
                <a:lnTo>
                  <a:pt x="46" y="336"/>
                </a:lnTo>
                <a:lnTo>
                  <a:pt x="46" y="341"/>
                </a:lnTo>
                <a:lnTo>
                  <a:pt x="59" y="341"/>
                </a:lnTo>
                <a:lnTo>
                  <a:pt x="59" y="344"/>
                </a:lnTo>
                <a:lnTo>
                  <a:pt x="60" y="346"/>
                </a:lnTo>
                <a:lnTo>
                  <a:pt x="62" y="348"/>
                </a:lnTo>
                <a:lnTo>
                  <a:pt x="63" y="348"/>
                </a:lnTo>
                <a:lnTo>
                  <a:pt x="64" y="348"/>
                </a:lnTo>
                <a:lnTo>
                  <a:pt x="65" y="349"/>
                </a:lnTo>
                <a:lnTo>
                  <a:pt x="66" y="350"/>
                </a:lnTo>
                <a:lnTo>
                  <a:pt x="66" y="354"/>
                </a:lnTo>
                <a:lnTo>
                  <a:pt x="73" y="354"/>
                </a:lnTo>
                <a:lnTo>
                  <a:pt x="79" y="354"/>
                </a:lnTo>
                <a:lnTo>
                  <a:pt x="86" y="354"/>
                </a:lnTo>
                <a:lnTo>
                  <a:pt x="89" y="354"/>
                </a:lnTo>
                <a:lnTo>
                  <a:pt x="92" y="354"/>
                </a:lnTo>
                <a:lnTo>
                  <a:pt x="105" y="354"/>
                </a:lnTo>
                <a:lnTo>
                  <a:pt x="119" y="354"/>
                </a:lnTo>
                <a:lnTo>
                  <a:pt x="125" y="348"/>
                </a:lnTo>
                <a:lnTo>
                  <a:pt x="126" y="343"/>
                </a:lnTo>
                <a:lnTo>
                  <a:pt x="129" y="339"/>
                </a:lnTo>
                <a:lnTo>
                  <a:pt x="133" y="335"/>
                </a:lnTo>
                <a:lnTo>
                  <a:pt x="137" y="334"/>
                </a:lnTo>
                <a:lnTo>
                  <a:pt x="137" y="327"/>
                </a:lnTo>
                <a:lnTo>
                  <a:pt x="141" y="324"/>
                </a:lnTo>
                <a:lnTo>
                  <a:pt x="144" y="321"/>
                </a:lnTo>
                <a:lnTo>
                  <a:pt x="148" y="309"/>
                </a:lnTo>
                <a:lnTo>
                  <a:pt x="151" y="295"/>
                </a:lnTo>
                <a:lnTo>
                  <a:pt x="158" y="290"/>
                </a:lnTo>
                <a:lnTo>
                  <a:pt x="168" y="283"/>
                </a:lnTo>
                <a:lnTo>
                  <a:pt x="177" y="277"/>
                </a:lnTo>
                <a:lnTo>
                  <a:pt x="183" y="275"/>
                </a:lnTo>
                <a:lnTo>
                  <a:pt x="183" y="269"/>
                </a:lnTo>
                <a:lnTo>
                  <a:pt x="197" y="259"/>
                </a:lnTo>
                <a:lnTo>
                  <a:pt x="210" y="249"/>
                </a:lnTo>
                <a:lnTo>
                  <a:pt x="210" y="236"/>
                </a:lnTo>
                <a:lnTo>
                  <a:pt x="217" y="229"/>
                </a:lnTo>
                <a:lnTo>
                  <a:pt x="220" y="229"/>
                </a:lnTo>
                <a:lnTo>
                  <a:pt x="222" y="229"/>
                </a:lnTo>
                <a:lnTo>
                  <a:pt x="223" y="228"/>
                </a:lnTo>
                <a:lnTo>
                  <a:pt x="223" y="226"/>
                </a:lnTo>
                <a:lnTo>
                  <a:pt x="223" y="225"/>
                </a:lnTo>
                <a:lnTo>
                  <a:pt x="223" y="224"/>
                </a:lnTo>
                <a:lnTo>
                  <a:pt x="226" y="224"/>
                </a:lnTo>
                <a:lnTo>
                  <a:pt x="229" y="224"/>
                </a:lnTo>
                <a:lnTo>
                  <a:pt x="232" y="214"/>
                </a:lnTo>
                <a:lnTo>
                  <a:pt x="236" y="204"/>
                </a:lnTo>
                <a:lnTo>
                  <a:pt x="242" y="204"/>
                </a:lnTo>
                <a:lnTo>
                  <a:pt x="249" y="190"/>
                </a:lnTo>
                <a:lnTo>
                  <a:pt x="256" y="178"/>
                </a:lnTo>
                <a:lnTo>
                  <a:pt x="275" y="171"/>
                </a:lnTo>
                <a:lnTo>
                  <a:pt x="280" y="165"/>
                </a:lnTo>
                <a:lnTo>
                  <a:pt x="285" y="159"/>
                </a:lnTo>
                <a:lnTo>
                  <a:pt x="287" y="156"/>
                </a:lnTo>
                <a:lnTo>
                  <a:pt x="290" y="153"/>
                </a:lnTo>
                <a:lnTo>
                  <a:pt x="293" y="152"/>
                </a:lnTo>
                <a:lnTo>
                  <a:pt x="295" y="151"/>
                </a:lnTo>
                <a:lnTo>
                  <a:pt x="295" y="138"/>
                </a:lnTo>
                <a:lnTo>
                  <a:pt x="298" y="138"/>
                </a:lnTo>
                <a:lnTo>
                  <a:pt x="300" y="137"/>
                </a:lnTo>
                <a:lnTo>
                  <a:pt x="302" y="137"/>
                </a:lnTo>
                <a:lnTo>
                  <a:pt x="302" y="134"/>
                </a:lnTo>
                <a:lnTo>
                  <a:pt x="302" y="133"/>
                </a:lnTo>
                <a:lnTo>
                  <a:pt x="303" y="132"/>
                </a:lnTo>
                <a:lnTo>
                  <a:pt x="304" y="132"/>
                </a:lnTo>
                <a:lnTo>
                  <a:pt x="308" y="132"/>
                </a:lnTo>
                <a:lnTo>
                  <a:pt x="309" y="125"/>
                </a:lnTo>
                <a:lnTo>
                  <a:pt x="312" y="120"/>
                </a:lnTo>
                <a:lnTo>
                  <a:pt x="314" y="117"/>
                </a:lnTo>
                <a:lnTo>
                  <a:pt x="316" y="114"/>
                </a:lnTo>
                <a:lnTo>
                  <a:pt x="318" y="112"/>
                </a:lnTo>
                <a:lnTo>
                  <a:pt x="322" y="112"/>
                </a:lnTo>
                <a:lnTo>
                  <a:pt x="322" y="105"/>
                </a:lnTo>
                <a:lnTo>
                  <a:pt x="322" y="99"/>
                </a:lnTo>
                <a:lnTo>
                  <a:pt x="322" y="92"/>
                </a:lnTo>
                <a:lnTo>
                  <a:pt x="322" y="86"/>
                </a:lnTo>
                <a:lnTo>
                  <a:pt x="322" y="80"/>
                </a:lnTo>
                <a:lnTo>
                  <a:pt x="322" y="76"/>
                </a:lnTo>
                <a:lnTo>
                  <a:pt x="322" y="73"/>
                </a:lnTo>
                <a:lnTo>
                  <a:pt x="322" y="66"/>
                </a:lnTo>
                <a:lnTo>
                  <a:pt x="322" y="50"/>
                </a:lnTo>
                <a:lnTo>
                  <a:pt x="322" y="34"/>
                </a:lnTo>
                <a:lnTo>
                  <a:pt x="318" y="33"/>
                </a:lnTo>
                <a:lnTo>
                  <a:pt x="316" y="32"/>
                </a:lnTo>
                <a:lnTo>
                  <a:pt x="314" y="29"/>
                </a:lnTo>
                <a:lnTo>
                  <a:pt x="312" y="26"/>
                </a:lnTo>
                <a:lnTo>
                  <a:pt x="309" y="19"/>
                </a:lnTo>
                <a:lnTo>
                  <a:pt x="308" y="14"/>
                </a:lnTo>
                <a:lnTo>
                  <a:pt x="306" y="13"/>
                </a:lnTo>
                <a:lnTo>
                  <a:pt x="302" y="9"/>
                </a:lnTo>
                <a:lnTo>
                  <a:pt x="299" y="8"/>
                </a:lnTo>
                <a:lnTo>
                  <a:pt x="297" y="6"/>
                </a:lnTo>
                <a:lnTo>
                  <a:pt x="296" y="4"/>
                </a:lnTo>
                <a:lnTo>
                  <a:pt x="295" y="0"/>
                </a:lnTo>
                <a:lnTo>
                  <a:pt x="281" y="0"/>
                </a:lnTo>
                <a:lnTo>
                  <a:pt x="269" y="0"/>
                </a:lnTo>
                <a:lnTo>
                  <a:pt x="259" y="0"/>
                </a:lnTo>
                <a:lnTo>
                  <a:pt x="249" y="0"/>
                </a:lnTo>
                <a:lnTo>
                  <a:pt x="242" y="0"/>
                </a:lnTo>
                <a:lnTo>
                  <a:pt x="236" y="0"/>
                </a:lnTo>
                <a:lnTo>
                  <a:pt x="229" y="0"/>
                </a:lnTo>
                <a:lnTo>
                  <a:pt x="223" y="0"/>
                </a:lnTo>
                <a:lnTo>
                  <a:pt x="217" y="0"/>
                </a:lnTo>
                <a:lnTo>
                  <a:pt x="213" y="0"/>
                </a:lnTo>
                <a:lnTo>
                  <a:pt x="210" y="0"/>
                </a:lnTo>
                <a:lnTo>
                  <a:pt x="203" y="0"/>
                </a:lnTo>
                <a:lnTo>
                  <a:pt x="197" y="0"/>
                </a:lnTo>
                <a:lnTo>
                  <a:pt x="187" y="4"/>
                </a:lnTo>
                <a:lnTo>
                  <a:pt x="178" y="7"/>
                </a:lnTo>
                <a:lnTo>
                  <a:pt x="177" y="9"/>
                </a:lnTo>
                <a:lnTo>
                  <a:pt x="175" y="12"/>
                </a:lnTo>
                <a:lnTo>
                  <a:pt x="173" y="13"/>
                </a:lnTo>
                <a:lnTo>
                  <a:pt x="170" y="13"/>
                </a:lnTo>
                <a:lnTo>
                  <a:pt x="163" y="14"/>
                </a:lnTo>
                <a:lnTo>
                  <a:pt x="158" y="14"/>
                </a:lnTo>
                <a:lnTo>
                  <a:pt x="158" y="16"/>
                </a:lnTo>
                <a:lnTo>
                  <a:pt x="156" y="18"/>
                </a:lnTo>
                <a:lnTo>
                  <a:pt x="154" y="19"/>
                </a:lnTo>
                <a:lnTo>
                  <a:pt x="151" y="21"/>
                </a:lnTo>
                <a:lnTo>
                  <a:pt x="141" y="23"/>
                </a:lnTo>
                <a:lnTo>
                  <a:pt x="125" y="2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34" name="Freeform 95">
            <a:extLst>
              <a:ext uri="{FF2B5EF4-FFF2-40B4-BE49-F238E27FC236}">
                <a16:creationId xmlns:a16="http://schemas.microsoft.com/office/drawing/2014/main" id="{D479CC60-446B-4D19-BF8F-8A8772154664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145463" y="4379913"/>
            <a:ext cx="38539" cy="60325"/>
          </a:xfrm>
          <a:custGeom>
            <a:avLst/>
            <a:gdLst/>
            <a:ahLst/>
            <a:cxnLst>
              <a:cxn ang="0">
                <a:pos x="92" y="65"/>
              </a:cxn>
              <a:cxn ang="0">
                <a:pos x="78" y="85"/>
              </a:cxn>
              <a:cxn ang="0">
                <a:pos x="63" y="107"/>
              </a:cxn>
              <a:cxn ang="0">
                <a:pos x="46" y="124"/>
              </a:cxn>
              <a:cxn ang="0">
                <a:pos x="39" y="138"/>
              </a:cxn>
              <a:cxn ang="0">
                <a:pos x="20" y="177"/>
              </a:cxn>
              <a:cxn ang="0">
                <a:pos x="18" y="202"/>
              </a:cxn>
              <a:cxn ang="0">
                <a:pos x="15" y="207"/>
              </a:cxn>
              <a:cxn ang="0">
                <a:pos x="0" y="229"/>
              </a:cxn>
              <a:cxn ang="0">
                <a:pos x="0" y="255"/>
              </a:cxn>
              <a:cxn ang="0">
                <a:pos x="0" y="280"/>
              </a:cxn>
              <a:cxn ang="0">
                <a:pos x="0" y="307"/>
              </a:cxn>
              <a:cxn ang="0">
                <a:pos x="14" y="333"/>
              </a:cxn>
              <a:cxn ang="0">
                <a:pos x="26" y="360"/>
              </a:cxn>
              <a:cxn ang="0">
                <a:pos x="66" y="379"/>
              </a:cxn>
              <a:cxn ang="0">
                <a:pos x="92" y="373"/>
              </a:cxn>
              <a:cxn ang="0">
                <a:pos x="119" y="353"/>
              </a:cxn>
              <a:cxn ang="0">
                <a:pos x="132" y="345"/>
              </a:cxn>
              <a:cxn ang="0">
                <a:pos x="138" y="333"/>
              </a:cxn>
              <a:cxn ang="0">
                <a:pos x="144" y="328"/>
              </a:cxn>
              <a:cxn ang="0">
                <a:pos x="151" y="314"/>
              </a:cxn>
              <a:cxn ang="0">
                <a:pos x="168" y="302"/>
              </a:cxn>
              <a:cxn ang="0">
                <a:pos x="179" y="295"/>
              </a:cxn>
              <a:cxn ang="0">
                <a:pos x="197" y="268"/>
              </a:cxn>
              <a:cxn ang="0">
                <a:pos x="197" y="255"/>
              </a:cxn>
              <a:cxn ang="0">
                <a:pos x="199" y="228"/>
              </a:cxn>
              <a:cxn ang="0">
                <a:pos x="202" y="221"/>
              </a:cxn>
              <a:cxn ang="0">
                <a:pos x="210" y="209"/>
              </a:cxn>
              <a:cxn ang="0">
                <a:pos x="216" y="183"/>
              </a:cxn>
              <a:cxn ang="0">
                <a:pos x="220" y="180"/>
              </a:cxn>
              <a:cxn ang="0">
                <a:pos x="216" y="167"/>
              </a:cxn>
              <a:cxn ang="0">
                <a:pos x="212" y="125"/>
              </a:cxn>
              <a:cxn ang="0">
                <a:pos x="221" y="101"/>
              </a:cxn>
              <a:cxn ang="0">
                <a:pos x="221" y="71"/>
              </a:cxn>
              <a:cxn ang="0">
                <a:pos x="215" y="69"/>
              </a:cxn>
              <a:cxn ang="0">
                <a:pos x="214" y="66"/>
              </a:cxn>
              <a:cxn ang="0">
                <a:pos x="208" y="58"/>
              </a:cxn>
              <a:cxn ang="0">
                <a:pos x="208" y="45"/>
              </a:cxn>
              <a:cxn ang="0">
                <a:pos x="195" y="19"/>
              </a:cxn>
              <a:cxn ang="0">
                <a:pos x="181" y="19"/>
              </a:cxn>
              <a:cxn ang="0">
                <a:pos x="170" y="4"/>
              </a:cxn>
              <a:cxn ang="0">
                <a:pos x="167" y="6"/>
              </a:cxn>
              <a:cxn ang="0">
                <a:pos x="164" y="9"/>
              </a:cxn>
              <a:cxn ang="0">
                <a:pos x="154" y="13"/>
              </a:cxn>
              <a:cxn ang="0">
                <a:pos x="124" y="13"/>
              </a:cxn>
            </a:cxnLst>
            <a:rect l="0" t="0" r="r" b="b"/>
            <a:pathLst>
              <a:path w="221" h="379">
                <a:moveTo>
                  <a:pt x="119" y="39"/>
                </a:moveTo>
                <a:lnTo>
                  <a:pt x="105" y="52"/>
                </a:lnTo>
                <a:lnTo>
                  <a:pt x="92" y="65"/>
                </a:lnTo>
                <a:lnTo>
                  <a:pt x="89" y="75"/>
                </a:lnTo>
                <a:lnTo>
                  <a:pt x="85" y="85"/>
                </a:lnTo>
                <a:lnTo>
                  <a:pt x="78" y="85"/>
                </a:lnTo>
                <a:lnTo>
                  <a:pt x="72" y="92"/>
                </a:lnTo>
                <a:lnTo>
                  <a:pt x="66" y="97"/>
                </a:lnTo>
                <a:lnTo>
                  <a:pt x="63" y="107"/>
                </a:lnTo>
                <a:lnTo>
                  <a:pt x="60" y="117"/>
                </a:lnTo>
                <a:lnTo>
                  <a:pt x="53" y="121"/>
                </a:lnTo>
                <a:lnTo>
                  <a:pt x="46" y="124"/>
                </a:lnTo>
                <a:lnTo>
                  <a:pt x="46" y="131"/>
                </a:lnTo>
                <a:lnTo>
                  <a:pt x="43" y="134"/>
                </a:lnTo>
                <a:lnTo>
                  <a:pt x="39" y="138"/>
                </a:lnTo>
                <a:lnTo>
                  <a:pt x="36" y="150"/>
                </a:lnTo>
                <a:lnTo>
                  <a:pt x="33" y="163"/>
                </a:lnTo>
                <a:lnTo>
                  <a:pt x="20" y="177"/>
                </a:lnTo>
                <a:lnTo>
                  <a:pt x="20" y="189"/>
                </a:lnTo>
                <a:lnTo>
                  <a:pt x="20" y="202"/>
                </a:lnTo>
                <a:lnTo>
                  <a:pt x="18" y="202"/>
                </a:lnTo>
                <a:lnTo>
                  <a:pt x="16" y="203"/>
                </a:lnTo>
                <a:lnTo>
                  <a:pt x="15" y="204"/>
                </a:lnTo>
                <a:lnTo>
                  <a:pt x="15" y="207"/>
                </a:lnTo>
                <a:lnTo>
                  <a:pt x="14" y="211"/>
                </a:lnTo>
                <a:lnTo>
                  <a:pt x="14" y="216"/>
                </a:lnTo>
                <a:lnTo>
                  <a:pt x="0" y="229"/>
                </a:lnTo>
                <a:lnTo>
                  <a:pt x="0" y="238"/>
                </a:lnTo>
                <a:lnTo>
                  <a:pt x="0" y="248"/>
                </a:lnTo>
                <a:lnTo>
                  <a:pt x="0" y="255"/>
                </a:lnTo>
                <a:lnTo>
                  <a:pt x="0" y="261"/>
                </a:lnTo>
                <a:lnTo>
                  <a:pt x="0" y="271"/>
                </a:lnTo>
                <a:lnTo>
                  <a:pt x="0" y="280"/>
                </a:lnTo>
                <a:lnTo>
                  <a:pt x="0" y="287"/>
                </a:lnTo>
                <a:lnTo>
                  <a:pt x="0" y="297"/>
                </a:lnTo>
                <a:lnTo>
                  <a:pt x="0" y="307"/>
                </a:lnTo>
                <a:lnTo>
                  <a:pt x="0" y="317"/>
                </a:lnTo>
                <a:lnTo>
                  <a:pt x="0" y="327"/>
                </a:lnTo>
                <a:lnTo>
                  <a:pt x="14" y="333"/>
                </a:lnTo>
                <a:lnTo>
                  <a:pt x="14" y="346"/>
                </a:lnTo>
                <a:lnTo>
                  <a:pt x="20" y="353"/>
                </a:lnTo>
                <a:lnTo>
                  <a:pt x="26" y="360"/>
                </a:lnTo>
                <a:lnTo>
                  <a:pt x="39" y="363"/>
                </a:lnTo>
                <a:lnTo>
                  <a:pt x="53" y="366"/>
                </a:lnTo>
                <a:lnTo>
                  <a:pt x="66" y="379"/>
                </a:lnTo>
                <a:lnTo>
                  <a:pt x="78" y="379"/>
                </a:lnTo>
                <a:lnTo>
                  <a:pt x="92" y="379"/>
                </a:lnTo>
                <a:lnTo>
                  <a:pt x="92" y="373"/>
                </a:lnTo>
                <a:lnTo>
                  <a:pt x="105" y="366"/>
                </a:lnTo>
                <a:lnTo>
                  <a:pt x="119" y="360"/>
                </a:lnTo>
                <a:lnTo>
                  <a:pt x="119" y="353"/>
                </a:lnTo>
                <a:lnTo>
                  <a:pt x="121" y="352"/>
                </a:lnTo>
                <a:lnTo>
                  <a:pt x="128" y="348"/>
                </a:lnTo>
                <a:lnTo>
                  <a:pt x="132" y="345"/>
                </a:lnTo>
                <a:lnTo>
                  <a:pt x="134" y="342"/>
                </a:lnTo>
                <a:lnTo>
                  <a:pt x="137" y="338"/>
                </a:lnTo>
                <a:lnTo>
                  <a:pt x="138" y="333"/>
                </a:lnTo>
                <a:lnTo>
                  <a:pt x="140" y="333"/>
                </a:lnTo>
                <a:lnTo>
                  <a:pt x="142" y="331"/>
                </a:lnTo>
                <a:lnTo>
                  <a:pt x="144" y="328"/>
                </a:lnTo>
                <a:lnTo>
                  <a:pt x="147" y="326"/>
                </a:lnTo>
                <a:lnTo>
                  <a:pt x="150" y="319"/>
                </a:lnTo>
                <a:lnTo>
                  <a:pt x="151" y="314"/>
                </a:lnTo>
                <a:lnTo>
                  <a:pt x="158" y="314"/>
                </a:lnTo>
                <a:lnTo>
                  <a:pt x="162" y="308"/>
                </a:lnTo>
                <a:lnTo>
                  <a:pt x="168" y="302"/>
                </a:lnTo>
                <a:lnTo>
                  <a:pt x="171" y="298"/>
                </a:lnTo>
                <a:lnTo>
                  <a:pt x="175" y="296"/>
                </a:lnTo>
                <a:lnTo>
                  <a:pt x="179" y="295"/>
                </a:lnTo>
                <a:lnTo>
                  <a:pt x="183" y="294"/>
                </a:lnTo>
                <a:lnTo>
                  <a:pt x="183" y="280"/>
                </a:lnTo>
                <a:lnTo>
                  <a:pt x="197" y="268"/>
                </a:lnTo>
                <a:lnTo>
                  <a:pt x="197" y="265"/>
                </a:lnTo>
                <a:lnTo>
                  <a:pt x="197" y="261"/>
                </a:lnTo>
                <a:lnTo>
                  <a:pt x="197" y="255"/>
                </a:lnTo>
                <a:lnTo>
                  <a:pt x="197" y="241"/>
                </a:lnTo>
                <a:lnTo>
                  <a:pt x="197" y="229"/>
                </a:lnTo>
                <a:lnTo>
                  <a:pt x="199" y="228"/>
                </a:lnTo>
                <a:lnTo>
                  <a:pt x="200" y="227"/>
                </a:lnTo>
                <a:lnTo>
                  <a:pt x="201" y="225"/>
                </a:lnTo>
                <a:lnTo>
                  <a:pt x="202" y="221"/>
                </a:lnTo>
                <a:lnTo>
                  <a:pt x="204" y="215"/>
                </a:lnTo>
                <a:lnTo>
                  <a:pt x="204" y="209"/>
                </a:lnTo>
                <a:lnTo>
                  <a:pt x="210" y="209"/>
                </a:lnTo>
                <a:lnTo>
                  <a:pt x="210" y="196"/>
                </a:lnTo>
                <a:lnTo>
                  <a:pt x="210" y="183"/>
                </a:lnTo>
                <a:lnTo>
                  <a:pt x="216" y="183"/>
                </a:lnTo>
                <a:lnTo>
                  <a:pt x="218" y="182"/>
                </a:lnTo>
                <a:lnTo>
                  <a:pt x="219" y="181"/>
                </a:lnTo>
                <a:lnTo>
                  <a:pt x="220" y="180"/>
                </a:lnTo>
                <a:lnTo>
                  <a:pt x="220" y="178"/>
                </a:lnTo>
                <a:lnTo>
                  <a:pt x="218" y="173"/>
                </a:lnTo>
                <a:lnTo>
                  <a:pt x="216" y="167"/>
                </a:lnTo>
                <a:lnTo>
                  <a:pt x="208" y="152"/>
                </a:lnTo>
                <a:lnTo>
                  <a:pt x="204" y="141"/>
                </a:lnTo>
                <a:lnTo>
                  <a:pt x="212" y="125"/>
                </a:lnTo>
                <a:lnTo>
                  <a:pt x="221" y="111"/>
                </a:lnTo>
                <a:lnTo>
                  <a:pt x="221" y="104"/>
                </a:lnTo>
                <a:lnTo>
                  <a:pt x="221" y="101"/>
                </a:lnTo>
                <a:lnTo>
                  <a:pt x="221" y="97"/>
                </a:lnTo>
                <a:lnTo>
                  <a:pt x="221" y="84"/>
                </a:lnTo>
                <a:lnTo>
                  <a:pt x="221" y="71"/>
                </a:lnTo>
                <a:lnTo>
                  <a:pt x="217" y="71"/>
                </a:lnTo>
                <a:lnTo>
                  <a:pt x="215" y="71"/>
                </a:lnTo>
                <a:lnTo>
                  <a:pt x="215" y="69"/>
                </a:lnTo>
                <a:lnTo>
                  <a:pt x="215" y="68"/>
                </a:lnTo>
                <a:lnTo>
                  <a:pt x="215" y="66"/>
                </a:lnTo>
                <a:lnTo>
                  <a:pt x="214" y="66"/>
                </a:lnTo>
                <a:lnTo>
                  <a:pt x="211" y="65"/>
                </a:lnTo>
                <a:lnTo>
                  <a:pt x="208" y="65"/>
                </a:lnTo>
                <a:lnTo>
                  <a:pt x="208" y="58"/>
                </a:lnTo>
                <a:lnTo>
                  <a:pt x="208" y="55"/>
                </a:lnTo>
                <a:lnTo>
                  <a:pt x="208" y="52"/>
                </a:lnTo>
                <a:lnTo>
                  <a:pt x="208" y="45"/>
                </a:lnTo>
                <a:lnTo>
                  <a:pt x="205" y="35"/>
                </a:lnTo>
                <a:lnTo>
                  <a:pt x="201" y="19"/>
                </a:lnTo>
                <a:lnTo>
                  <a:pt x="195" y="19"/>
                </a:lnTo>
                <a:lnTo>
                  <a:pt x="191" y="19"/>
                </a:lnTo>
                <a:lnTo>
                  <a:pt x="188" y="19"/>
                </a:lnTo>
                <a:lnTo>
                  <a:pt x="181" y="19"/>
                </a:lnTo>
                <a:lnTo>
                  <a:pt x="176" y="9"/>
                </a:lnTo>
                <a:lnTo>
                  <a:pt x="170" y="0"/>
                </a:lnTo>
                <a:lnTo>
                  <a:pt x="170" y="4"/>
                </a:lnTo>
                <a:lnTo>
                  <a:pt x="169" y="6"/>
                </a:lnTo>
                <a:lnTo>
                  <a:pt x="168" y="6"/>
                </a:lnTo>
                <a:lnTo>
                  <a:pt x="167" y="6"/>
                </a:lnTo>
                <a:lnTo>
                  <a:pt x="166" y="7"/>
                </a:lnTo>
                <a:lnTo>
                  <a:pt x="164" y="7"/>
                </a:lnTo>
                <a:lnTo>
                  <a:pt x="164" y="9"/>
                </a:lnTo>
                <a:lnTo>
                  <a:pt x="164" y="13"/>
                </a:lnTo>
                <a:lnTo>
                  <a:pt x="158" y="13"/>
                </a:lnTo>
                <a:lnTo>
                  <a:pt x="154" y="13"/>
                </a:lnTo>
                <a:lnTo>
                  <a:pt x="151" y="13"/>
                </a:lnTo>
                <a:lnTo>
                  <a:pt x="138" y="13"/>
                </a:lnTo>
                <a:lnTo>
                  <a:pt x="124" y="13"/>
                </a:lnTo>
                <a:lnTo>
                  <a:pt x="119" y="3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35" name="Freeform 96">
            <a:extLst>
              <a:ext uri="{FF2B5EF4-FFF2-40B4-BE49-F238E27FC236}">
                <a16:creationId xmlns:a16="http://schemas.microsoft.com/office/drawing/2014/main" id="{E115BFBC-0CE9-47C6-AAFE-2FE8EAB65BEF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245475" y="4327525"/>
            <a:ext cx="51533" cy="19050"/>
          </a:xfrm>
          <a:custGeom>
            <a:avLst/>
            <a:gdLst/>
            <a:ahLst/>
            <a:cxnLst>
              <a:cxn ang="0">
                <a:pos x="178" y="0"/>
              </a:cxn>
              <a:cxn ang="0">
                <a:pos x="166" y="0"/>
              </a:cxn>
              <a:cxn ang="0">
                <a:pos x="139" y="5"/>
              </a:cxn>
              <a:cxn ang="0">
                <a:pos x="122" y="7"/>
              </a:cxn>
              <a:cxn ang="0">
                <a:pos x="105" y="11"/>
              </a:cxn>
              <a:cxn ang="0">
                <a:pos x="77" y="11"/>
              </a:cxn>
              <a:cxn ang="0">
                <a:pos x="60" y="16"/>
              </a:cxn>
              <a:cxn ang="0">
                <a:pos x="53" y="22"/>
              </a:cxn>
              <a:cxn ang="0">
                <a:pos x="38" y="27"/>
              </a:cxn>
              <a:cxn ang="0">
                <a:pos x="34" y="31"/>
              </a:cxn>
              <a:cxn ang="0">
                <a:pos x="28" y="39"/>
              </a:cxn>
              <a:cxn ang="0">
                <a:pos x="22" y="55"/>
              </a:cxn>
              <a:cxn ang="0">
                <a:pos x="17" y="55"/>
              </a:cxn>
              <a:cxn ang="0">
                <a:pos x="17" y="58"/>
              </a:cxn>
              <a:cxn ang="0">
                <a:pos x="16" y="60"/>
              </a:cxn>
              <a:cxn ang="0">
                <a:pos x="11" y="61"/>
              </a:cxn>
              <a:cxn ang="0">
                <a:pos x="0" y="78"/>
              </a:cxn>
              <a:cxn ang="0">
                <a:pos x="0" y="94"/>
              </a:cxn>
              <a:cxn ang="0">
                <a:pos x="8" y="98"/>
              </a:cxn>
              <a:cxn ang="0">
                <a:pos x="14" y="101"/>
              </a:cxn>
              <a:cxn ang="0">
                <a:pos x="17" y="106"/>
              </a:cxn>
              <a:cxn ang="0">
                <a:pos x="38" y="106"/>
              </a:cxn>
              <a:cxn ang="0">
                <a:pos x="55" y="106"/>
              </a:cxn>
              <a:cxn ang="0">
                <a:pos x="66" y="106"/>
              </a:cxn>
              <a:cxn ang="0">
                <a:pos x="75" y="106"/>
              </a:cxn>
              <a:cxn ang="0">
                <a:pos x="88" y="106"/>
              </a:cxn>
              <a:cxn ang="0">
                <a:pos x="101" y="108"/>
              </a:cxn>
              <a:cxn ang="0">
                <a:pos x="107" y="110"/>
              </a:cxn>
              <a:cxn ang="0">
                <a:pos x="122" y="128"/>
              </a:cxn>
              <a:cxn ang="0">
                <a:pos x="133" y="128"/>
              </a:cxn>
              <a:cxn ang="0">
                <a:pos x="142" y="128"/>
              </a:cxn>
              <a:cxn ang="0">
                <a:pos x="150" y="128"/>
              </a:cxn>
              <a:cxn ang="0">
                <a:pos x="178" y="128"/>
              </a:cxn>
              <a:cxn ang="0">
                <a:pos x="179" y="117"/>
              </a:cxn>
              <a:cxn ang="0">
                <a:pos x="181" y="114"/>
              </a:cxn>
              <a:cxn ang="0">
                <a:pos x="182" y="114"/>
              </a:cxn>
              <a:cxn ang="0">
                <a:pos x="183" y="111"/>
              </a:cxn>
              <a:cxn ang="0">
                <a:pos x="191" y="107"/>
              </a:cxn>
              <a:cxn ang="0">
                <a:pos x="194" y="100"/>
              </a:cxn>
              <a:cxn ang="0">
                <a:pos x="206" y="89"/>
              </a:cxn>
              <a:cxn ang="0">
                <a:pos x="217" y="85"/>
              </a:cxn>
              <a:cxn ang="0">
                <a:pos x="219" y="83"/>
              </a:cxn>
              <a:cxn ang="0">
                <a:pos x="221" y="83"/>
              </a:cxn>
              <a:cxn ang="0">
                <a:pos x="222" y="80"/>
              </a:cxn>
              <a:cxn ang="0">
                <a:pos x="228" y="78"/>
              </a:cxn>
              <a:cxn ang="0">
                <a:pos x="239" y="78"/>
              </a:cxn>
              <a:cxn ang="0">
                <a:pos x="259" y="69"/>
              </a:cxn>
              <a:cxn ang="0">
                <a:pos x="274" y="64"/>
              </a:cxn>
              <a:cxn ang="0">
                <a:pos x="276" y="62"/>
              </a:cxn>
              <a:cxn ang="0">
                <a:pos x="285" y="61"/>
              </a:cxn>
              <a:cxn ang="0">
                <a:pos x="289" y="50"/>
              </a:cxn>
              <a:cxn ang="0">
                <a:pos x="295" y="50"/>
              </a:cxn>
              <a:cxn ang="0">
                <a:pos x="295" y="27"/>
              </a:cxn>
              <a:cxn ang="0">
                <a:pos x="278" y="27"/>
              </a:cxn>
              <a:cxn ang="0">
                <a:pos x="276" y="24"/>
              </a:cxn>
              <a:cxn ang="0">
                <a:pos x="271" y="22"/>
              </a:cxn>
              <a:cxn ang="0">
                <a:pos x="261" y="22"/>
              </a:cxn>
              <a:cxn ang="0">
                <a:pos x="256" y="16"/>
              </a:cxn>
              <a:cxn ang="0">
                <a:pos x="245" y="11"/>
              </a:cxn>
              <a:cxn ang="0">
                <a:pos x="237" y="11"/>
              </a:cxn>
              <a:cxn ang="0">
                <a:pos x="229" y="10"/>
              </a:cxn>
              <a:cxn ang="0">
                <a:pos x="214" y="5"/>
              </a:cxn>
            </a:cxnLst>
            <a:rect l="0" t="0" r="r" b="b"/>
            <a:pathLst>
              <a:path w="295" h="128">
                <a:moveTo>
                  <a:pt x="200" y="5"/>
                </a:moveTo>
                <a:lnTo>
                  <a:pt x="178" y="0"/>
                </a:lnTo>
                <a:lnTo>
                  <a:pt x="172" y="0"/>
                </a:lnTo>
                <a:lnTo>
                  <a:pt x="166" y="0"/>
                </a:lnTo>
                <a:lnTo>
                  <a:pt x="151" y="2"/>
                </a:lnTo>
                <a:lnTo>
                  <a:pt x="139" y="5"/>
                </a:lnTo>
                <a:lnTo>
                  <a:pt x="134" y="5"/>
                </a:lnTo>
                <a:lnTo>
                  <a:pt x="122" y="7"/>
                </a:lnTo>
                <a:lnTo>
                  <a:pt x="111" y="10"/>
                </a:lnTo>
                <a:lnTo>
                  <a:pt x="105" y="11"/>
                </a:lnTo>
                <a:lnTo>
                  <a:pt x="92" y="11"/>
                </a:lnTo>
                <a:lnTo>
                  <a:pt x="77" y="11"/>
                </a:lnTo>
                <a:lnTo>
                  <a:pt x="67" y="13"/>
                </a:lnTo>
                <a:lnTo>
                  <a:pt x="60" y="16"/>
                </a:lnTo>
                <a:lnTo>
                  <a:pt x="55" y="22"/>
                </a:lnTo>
                <a:lnTo>
                  <a:pt x="53" y="22"/>
                </a:lnTo>
                <a:lnTo>
                  <a:pt x="49" y="22"/>
                </a:lnTo>
                <a:lnTo>
                  <a:pt x="38" y="27"/>
                </a:lnTo>
                <a:lnTo>
                  <a:pt x="36" y="29"/>
                </a:lnTo>
                <a:lnTo>
                  <a:pt x="34" y="31"/>
                </a:lnTo>
                <a:lnTo>
                  <a:pt x="31" y="34"/>
                </a:lnTo>
                <a:lnTo>
                  <a:pt x="28" y="39"/>
                </a:lnTo>
                <a:lnTo>
                  <a:pt x="24" y="49"/>
                </a:lnTo>
                <a:lnTo>
                  <a:pt x="22" y="55"/>
                </a:lnTo>
                <a:lnTo>
                  <a:pt x="19" y="55"/>
                </a:lnTo>
                <a:lnTo>
                  <a:pt x="17" y="55"/>
                </a:lnTo>
                <a:lnTo>
                  <a:pt x="17" y="56"/>
                </a:lnTo>
                <a:lnTo>
                  <a:pt x="17" y="58"/>
                </a:lnTo>
                <a:lnTo>
                  <a:pt x="16" y="59"/>
                </a:lnTo>
                <a:lnTo>
                  <a:pt x="16" y="60"/>
                </a:lnTo>
                <a:lnTo>
                  <a:pt x="14" y="60"/>
                </a:lnTo>
                <a:lnTo>
                  <a:pt x="11" y="61"/>
                </a:lnTo>
                <a:lnTo>
                  <a:pt x="11" y="72"/>
                </a:lnTo>
                <a:lnTo>
                  <a:pt x="0" y="78"/>
                </a:lnTo>
                <a:lnTo>
                  <a:pt x="0" y="85"/>
                </a:lnTo>
                <a:lnTo>
                  <a:pt x="0" y="94"/>
                </a:lnTo>
                <a:lnTo>
                  <a:pt x="2" y="94"/>
                </a:lnTo>
                <a:lnTo>
                  <a:pt x="8" y="98"/>
                </a:lnTo>
                <a:lnTo>
                  <a:pt x="11" y="99"/>
                </a:lnTo>
                <a:lnTo>
                  <a:pt x="14" y="101"/>
                </a:lnTo>
                <a:lnTo>
                  <a:pt x="16" y="103"/>
                </a:lnTo>
                <a:lnTo>
                  <a:pt x="17" y="106"/>
                </a:lnTo>
                <a:lnTo>
                  <a:pt x="28" y="106"/>
                </a:lnTo>
                <a:lnTo>
                  <a:pt x="38" y="106"/>
                </a:lnTo>
                <a:lnTo>
                  <a:pt x="47" y="106"/>
                </a:lnTo>
                <a:lnTo>
                  <a:pt x="55" y="106"/>
                </a:lnTo>
                <a:lnTo>
                  <a:pt x="60" y="106"/>
                </a:lnTo>
                <a:lnTo>
                  <a:pt x="66" y="106"/>
                </a:lnTo>
                <a:lnTo>
                  <a:pt x="72" y="106"/>
                </a:lnTo>
                <a:lnTo>
                  <a:pt x="75" y="106"/>
                </a:lnTo>
                <a:lnTo>
                  <a:pt x="77" y="106"/>
                </a:lnTo>
                <a:lnTo>
                  <a:pt x="88" y="106"/>
                </a:lnTo>
                <a:lnTo>
                  <a:pt x="99" y="106"/>
                </a:lnTo>
                <a:lnTo>
                  <a:pt x="101" y="108"/>
                </a:lnTo>
                <a:lnTo>
                  <a:pt x="103" y="110"/>
                </a:lnTo>
                <a:lnTo>
                  <a:pt x="107" y="110"/>
                </a:lnTo>
                <a:lnTo>
                  <a:pt x="111" y="111"/>
                </a:lnTo>
                <a:lnTo>
                  <a:pt x="122" y="128"/>
                </a:lnTo>
                <a:lnTo>
                  <a:pt x="127" y="128"/>
                </a:lnTo>
                <a:lnTo>
                  <a:pt x="133" y="128"/>
                </a:lnTo>
                <a:lnTo>
                  <a:pt x="139" y="128"/>
                </a:lnTo>
                <a:lnTo>
                  <a:pt x="142" y="128"/>
                </a:lnTo>
                <a:lnTo>
                  <a:pt x="144" y="128"/>
                </a:lnTo>
                <a:lnTo>
                  <a:pt x="150" y="128"/>
                </a:lnTo>
                <a:lnTo>
                  <a:pt x="164" y="128"/>
                </a:lnTo>
                <a:lnTo>
                  <a:pt x="178" y="128"/>
                </a:lnTo>
                <a:lnTo>
                  <a:pt x="178" y="121"/>
                </a:lnTo>
                <a:lnTo>
                  <a:pt x="179" y="117"/>
                </a:lnTo>
                <a:lnTo>
                  <a:pt x="180" y="116"/>
                </a:lnTo>
                <a:lnTo>
                  <a:pt x="181" y="114"/>
                </a:lnTo>
                <a:lnTo>
                  <a:pt x="182" y="114"/>
                </a:lnTo>
                <a:lnTo>
                  <a:pt x="182" y="114"/>
                </a:lnTo>
                <a:lnTo>
                  <a:pt x="183" y="113"/>
                </a:lnTo>
                <a:lnTo>
                  <a:pt x="183" y="111"/>
                </a:lnTo>
                <a:lnTo>
                  <a:pt x="188" y="110"/>
                </a:lnTo>
                <a:lnTo>
                  <a:pt x="191" y="107"/>
                </a:lnTo>
                <a:lnTo>
                  <a:pt x="193" y="103"/>
                </a:lnTo>
                <a:lnTo>
                  <a:pt x="194" y="100"/>
                </a:lnTo>
                <a:lnTo>
                  <a:pt x="200" y="94"/>
                </a:lnTo>
                <a:lnTo>
                  <a:pt x="206" y="89"/>
                </a:lnTo>
                <a:lnTo>
                  <a:pt x="217" y="89"/>
                </a:lnTo>
                <a:lnTo>
                  <a:pt x="217" y="85"/>
                </a:lnTo>
                <a:lnTo>
                  <a:pt x="218" y="83"/>
                </a:lnTo>
                <a:lnTo>
                  <a:pt x="219" y="83"/>
                </a:lnTo>
                <a:lnTo>
                  <a:pt x="220" y="83"/>
                </a:lnTo>
                <a:lnTo>
                  <a:pt x="221" y="83"/>
                </a:lnTo>
                <a:lnTo>
                  <a:pt x="221" y="82"/>
                </a:lnTo>
                <a:lnTo>
                  <a:pt x="222" y="80"/>
                </a:lnTo>
                <a:lnTo>
                  <a:pt x="222" y="78"/>
                </a:lnTo>
                <a:lnTo>
                  <a:pt x="228" y="78"/>
                </a:lnTo>
                <a:lnTo>
                  <a:pt x="233" y="78"/>
                </a:lnTo>
                <a:lnTo>
                  <a:pt x="239" y="78"/>
                </a:lnTo>
                <a:lnTo>
                  <a:pt x="245" y="72"/>
                </a:lnTo>
                <a:lnTo>
                  <a:pt x="259" y="69"/>
                </a:lnTo>
                <a:lnTo>
                  <a:pt x="273" y="66"/>
                </a:lnTo>
                <a:lnTo>
                  <a:pt x="274" y="64"/>
                </a:lnTo>
                <a:lnTo>
                  <a:pt x="275" y="63"/>
                </a:lnTo>
                <a:lnTo>
                  <a:pt x="276" y="62"/>
                </a:lnTo>
                <a:lnTo>
                  <a:pt x="279" y="61"/>
                </a:lnTo>
                <a:lnTo>
                  <a:pt x="285" y="61"/>
                </a:lnTo>
                <a:lnTo>
                  <a:pt x="289" y="61"/>
                </a:lnTo>
                <a:lnTo>
                  <a:pt x="289" y="50"/>
                </a:lnTo>
                <a:lnTo>
                  <a:pt x="293" y="50"/>
                </a:lnTo>
                <a:lnTo>
                  <a:pt x="295" y="50"/>
                </a:lnTo>
                <a:lnTo>
                  <a:pt x="295" y="39"/>
                </a:lnTo>
                <a:lnTo>
                  <a:pt x="295" y="27"/>
                </a:lnTo>
                <a:lnTo>
                  <a:pt x="287" y="27"/>
                </a:lnTo>
                <a:lnTo>
                  <a:pt x="278" y="27"/>
                </a:lnTo>
                <a:lnTo>
                  <a:pt x="278" y="25"/>
                </a:lnTo>
                <a:lnTo>
                  <a:pt x="276" y="24"/>
                </a:lnTo>
                <a:lnTo>
                  <a:pt x="275" y="23"/>
                </a:lnTo>
                <a:lnTo>
                  <a:pt x="271" y="22"/>
                </a:lnTo>
                <a:lnTo>
                  <a:pt x="267" y="22"/>
                </a:lnTo>
                <a:lnTo>
                  <a:pt x="261" y="22"/>
                </a:lnTo>
                <a:lnTo>
                  <a:pt x="259" y="18"/>
                </a:lnTo>
                <a:lnTo>
                  <a:pt x="256" y="16"/>
                </a:lnTo>
                <a:lnTo>
                  <a:pt x="250" y="13"/>
                </a:lnTo>
                <a:lnTo>
                  <a:pt x="245" y="11"/>
                </a:lnTo>
                <a:lnTo>
                  <a:pt x="239" y="11"/>
                </a:lnTo>
                <a:lnTo>
                  <a:pt x="237" y="11"/>
                </a:lnTo>
                <a:lnTo>
                  <a:pt x="233" y="11"/>
                </a:lnTo>
                <a:lnTo>
                  <a:pt x="229" y="10"/>
                </a:lnTo>
                <a:lnTo>
                  <a:pt x="223" y="7"/>
                </a:lnTo>
                <a:lnTo>
                  <a:pt x="214" y="5"/>
                </a:lnTo>
                <a:lnTo>
                  <a:pt x="200" y="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36" name="Freeform 97">
            <a:extLst>
              <a:ext uri="{FF2B5EF4-FFF2-40B4-BE49-F238E27FC236}">
                <a16:creationId xmlns:a16="http://schemas.microsoft.com/office/drawing/2014/main" id="{6F74F8D1-FF48-4A6D-B54E-2322E8BA7F57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677275" y="3963988"/>
            <a:ext cx="154455" cy="180975"/>
          </a:xfrm>
          <a:custGeom>
            <a:avLst/>
            <a:gdLst/>
            <a:ahLst/>
            <a:cxnLst>
              <a:cxn ang="0">
                <a:pos x="336" y="79"/>
              </a:cxn>
              <a:cxn ang="0">
                <a:pos x="155" y="95"/>
              </a:cxn>
              <a:cxn ang="0">
                <a:pos x="63" y="115"/>
              </a:cxn>
              <a:cxn ang="0">
                <a:pos x="23" y="128"/>
              </a:cxn>
              <a:cxn ang="0">
                <a:pos x="12" y="158"/>
              </a:cxn>
              <a:cxn ang="0">
                <a:pos x="43" y="177"/>
              </a:cxn>
              <a:cxn ang="0">
                <a:pos x="73" y="201"/>
              </a:cxn>
              <a:cxn ang="0">
                <a:pos x="96" y="225"/>
              </a:cxn>
              <a:cxn ang="0">
                <a:pos x="116" y="257"/>
              </a:cxn>
              <a:cxn ang="0">
                <a:pos x="142" y="295"/>
              </a:cxn>
              <a:cxn ang="0">
                <a:pos x="167" y="330"/>
              </a:cxn>
              <a:cxn ang="0">
                <a:pos x="175" y="352"/>
              </a:cxn>
              <a:cxn ang="0">
                <a:pos x="232" y="421"/>
              </a:cxn>
              <a:cxn ang="0">
                <a:pos x="273" y="446"/>
              </a:cxn>
              <a:cxn ang="0">
                <a:pos x="338" y="478"/>
              </a:cxn>
              <a:cxn ang="0">
                <a:pos x="377" y="497"/>
              </a:cxn>
              <a:cxn ang="0">
                <a:pos x="400" y="511"/>
              </a:cxn>
              <a:cxn ang="0">
                <a:pos x="423" y="529"/>
              </a:cxn>
              <a:cxn ang="0">
                <a:pos x="447" y="551"/>
              </a:cxn>
              <a:cxn ang="0">
                <a:pos x="457" y="586"/>
              </a:cxn>
              <a:cxn ang="0">
                <a:pos x="447" y="679"/>
              </a:cxn>
              <a:cxn ang="0">
                <a:pos x="442" y="734"/>
              </a:cxn>
              <a:cxn ang="0">
                <a:pos x="408" y="742"/>
              </a:cxn>
              <a:cxn ang="0">
                <a:pos x="332" y="755"/>
              </a:cxn>
              <a:cxn ang="0">
                <a:pos x="292" y="777"/>
              </a:cxn>
              <a:cxn ang="0">
                <a:pos x="271" y="808"/>
              </a:cxn>
              <a:cxn ang="0">
                <a:pos x="267" y="912"/>
              </a:cxn>
              <a:cxn ang="0">
                <a:pos x="286" y="955"/>
              </a:cxn>
              <a:cxn ang="0">
                <a:pos x="304" y="979"/>
              </a:cxn>
              <a:cxn ang="0">
                <a:pos x="329" y="1010"/>
              </a:cxn>
              <a:cxn ang="0">
                <a:pos x="360" y="1006"/>
              </a:cxn>
              <a:cxn ang="0">
                <a:pos x="411" y="1077"/>
              </a:cxn>
              <a:cxn ang="0">
                <a:pos x="433" y="1122"/>
              </a:cxn>
              <a:cxn ang="0">
                <a:pos x="514" y="1114"/>
              </a:cxn>
              <a:cxn ang="0">
                <a:pos x="544" y="1074"/>
              </a:cxn>
              <a:cxn ang="0">
                <a:pos x="574" y="1028"/>
              </a:cxn>
              <a:cxn ang="0">
                <a:pos x="670" y="909"/>
              </a:cxn>
              <a:cxn ang="0">
                <a:pos x="694" y="880"/>
              </a:cxn>
              <a:cxn ang="0">
                <a:pos x="727" y="836"/>
              </a:cxn>
              <a:cxn ang="0">
                <a:pos x="747" y="812"/>
              </a:cxn>
              <a:cxn ang="0">
                <a:pos x="782" y="748"/>
              </a:cxn>
              <a:cxn ang="0">
                <a:pos x="802" y="636"/>
              </a:cxn>
              <a:cxn ang="0">
                <a:pos x="794" y="517"/>
              </a:cxn>
              <a:cxn ang="0">
                <a:pos x="782" y="439"/>
              </a:cxn>
              <a:cxn ang="0">
                <a:pos x="797" y="261"/>
              </a:cxn>
              <a:cxn ang="0">
                <a:pos x="823" y="192"/>
              </a:cxn>
              <a:cxn ang="0">
                <a:pos x="835" y="162"/>
              </a:cxn>
              <a:cxn ang="0">
                <a:pos x="820" y="131"/>
              </a:cxn>
              <a:cxn ang="0">
                <a:pos x="698" y="109"/>
              </a:cxn>
              <a:cxn ang="0">
                <a:pos x="634" y="93"/>
              </a:cxn>
              <a:cxn ang="0">
                <a:pos x="574" y="64"/>
              </a:cxn>
              <a:cxn ang="0">
                <a:pos x="550" y="15"/>
              </a:cxn>
              <a:cxn ang="0">
                <a:pos x="515" y="3"/>
              </a:cxn>
              <a:cxn ang="0">
                <a:pos x="442" y="6"/>
              </a:cxn>
              <a:cxn ang="0">
                <a:pos x="382" y="35"/>
              </a:cxn>
            </a:cxnLst>
            <a:rect l="0" t="0" r="r" b="b"/>
            <a:pathLst>
              <a:path w="840" h="1127">
                <a:moveTo>
                  <a:pt x="382" y="35"/>
                </a:moveTo>
                <a:lnTo>
                  <a:pt x="374" y="47"/>
                </a:lnTo>
                <a:lnTo>
                  <a:pt x="363" y="64"/>
                </a:lnTo>
                <a:lnTo>
                  <a:pt x="357" y="66"/>
                </a:lnTo>
                <a:lnTo>
                  <a:pt x="346" y="72"/>
                </a:lnTo>
                <a:lnTo>
                  <a:pt x="336" y="79"/>
                </a:lnTo>
                <a:lnTo>
                  <a:pt x="329" y="84"/>
                </a:lnTo>
                <a:lnTo>
                  <a:pt x="289" y="85"/>
                </a:lnTo>
                <a:lnTo>
                  <a:pt x="247" y="89"/>
                </a:lnTo>
                <a:lnTo>
                  <a:pt x="207" y="92"/>
                </a:lnTo>
                <a:lnTo>
                  <a:pt x="167" y="93"/>
                </a:lnTo>
                <a:lnTo>
                  <a:pt x="155" y="95"/>
                </a:lnTo>
                <a:lnTo>
                  <a:pt x="142" y="99"/>
                </a:lnTo>
                <a:lnTo>
                  <a:pt x="131" y="102"/>
                </a:lnTo>
                <a:lnTo>
                  <a:pt x="122" y="103"/>
                </a:lnTo>
                <a:lnTo>
                  <a:pt x="109" y="105"/>
                </a:lnTo>
                <a:lnTo>
                  <a:pt x="86" y="111"/>
                </a:lnTo>
                <a:lnTo>
                  <a:pt x="63" y="115"/>
                </a:lnTo>
                <a:lnTo>
                  <a:pt x="53" y="119"/>
                </a:lnTo>
                <a:lnTo>
                  <a:pt x="39" y="119"/>
                </a:lnTo>
                <a:lnTo>
                  <a:pt x="38" y="120"/>
                </a:lnTo>
                <a:lnTo>
                  <a:pt x="34" y="122"/>
                </a:lnTo>
                <a:lnTo>
                  <a:pt x="29" y="125"/>
                </a:lnTo>
                <a:lnTo>
                  <a:pt x="23" y="128"/>
                </a:lnTo>
                <a:lnTo>
                  <a:pt x="12" y="131"/>
                </a:lnTo>
                <a:lnTo>
                  <a:pt x="4" y="133"/>
                </a:lnTo>
                <a:lnTo>
                  <a:pt x="2" y="144"/>
                </a:lnTo>
                <a:lnTo>
                  <a:pt x="0" y="152"/>
                </a:lnTo>
                <a:lnTo>
                  <a:pt x="8" y="152"/>
                </a:lnTo>
                <a:lnTo>
                  <a:pt x="12" y="158"/>
                </a:lnTo>
                <a:lnTo>
                  <a:pt x="14" y="162"/>
                </a:lnTo>
                <a:lnTo>
                  <a:pt x="24" y="162"/>
                </a:lnTo>
                <a:lnTo>
                  <a:pt x="26" y="168"/>
                </a:lnTo>
                <a:lnTo>
                  <a:pt x="29" y="172"/>
                </a:lnTo>
                <a:lnTo>
                  <a:pt x="36" y="175"/>
                </a:lnTo>
                <a:lnTo>
                  <a:pt x="43" y="177"/>
                </a:lnTo>
                <a:lnTo>
                  <a:pt x="46" y="181"/>
                </a:lnTo>
                <a:lnTo>
                  <a:pt x="54" y="189"/>
                </a:lnTo>
                <a:lnTo>
                  <a:pt x="60" y="195"/>
                </a:lnTo>
                <a:lnTo>
                  <a:pt x="64" y="198"/>
                </a:lnTo>
                <a:lnTo>
                  <a:pt x="69" y="201"/>
                </a:lnTo>
                <a:lnTo>
                  <a:pt x="73" y="201"/>
                </a:lnTo>
                <a:lnTo>
                  <a:pt x="75" y="207"/>
                </a:lnTo>
                <a:lnTo>
                  <a:pt x="78" y="211"/>
                </a:lnTo>
                <a:lnTo>
                  <a:pt x="88" y="211"/>
                </a:lnTo>
                <a:lnTo>
                  <a:pt x="88" y="221"/>
                </a:lnTo>
                <a:lnTo>
                  <a:pt x="91" y="223"/>
                </a:lnTo>
                <a:lnTo>
                  <a:pt x="96" y="225"/>
                </a:lnTo>
                <a:lnTo>
                  <a:pt x="99" y="228"/>
                </a:lnTo>
                <a:lnTo>
                  <a:pt x="102" y="231"/>
                </a:lnTo>
                <a:lnTo>
                  <a:pt x="108" y="240"/>
                </a:lnTo>
                <a:lnTo>
                  <a:pt x="112" y="246"/>
                </a:lnTo>
                <a:lnTo>
                  <a:pt x="112" y="256"/>
                </a:lnTo>
                <a:lnTo>
                  <a:pt x="116" y="257"/>
                </a:lnTo>
                <a:lnTo>
                  <a:pt x="120" y="259"/>
                </a:lnTo>
                <a:lnTo>
                  <a:pt x="123" y="264"/>
                </a:lnTo>
                <a:lnTo>
                  <a:pt x="127" y="269"/>
                </a:lnTo>
                <a:lnTo>
                  <a:pt x="135" y="278"/>
                </a:lnTo>
                <a:lnTo>
                  <a:pt x="142" y="285"/>
                </a:lnTo>
                <a:lnTo>
                  <a:pt x="142" y="295"/>
                </a:lnTo>
                <a:lnTo>
                  <a:pt x="145" y="297"/>
                </a:lnTo>
                <a:lnTo>
                  <a:pt x="148" y="301"/>
                </a:lnTo>
                <a:lnTo>
                  <a:pt x="151" y="306"/>
                </a:lnTo>
                <a:lnTo>
                  <a:pt x="156" y="313"/>
                </a:lnTo>
                <a:lnTo>
                  <a:pt x="164" y="324"/>
                </a:lnTo>
                <a:lnTo>
                  <a:pt x="167" y="330"/>
                </a:lnTo>
                <a:lnTo>
                  <a:pt x="167" y="340"/>
                </a:lnTo>
                <a:lnTo>
                  <a:pt x="169" y="341"/>
                </a:lnTo>
                <a:lnTo>
                  <a:pt x="170" y="343"/>
                </a:lnTo>
                <a:lnTo>
                  <a:pt x="171" y="345"/>
                </a:lnTo>
                <a:lnTo>
                  <a:pt x="171" y="350"/>
                </a:lnTo>
                <a:lnTo>
                  <a:pt x="175" y="352"/>
                </a:lnTo>
                <a:lnTo>
                  <a:pt x="182" y="360"/>
                </a:lnTo>
                <a:lnTo>
                  <a:pt x="189" y="370"/>
                </a:lnTo>
                <a:lnTo>
                  <a:pt x="198" y="382"/>
                </a:lnTo>
                <a:lnTo>
                  <a:pt x="216" y="406"/>
                </a:lnTo>
                <a:lnTo>
                  <a:pt x="225" y="418"/>
                </a:lnTo>
                <a:lnTo>
                  <a:pt x="232" y="421"/>
                </a:lnTo>
                <a:lnTo>
                  <a:pt x="240" y="427"/>
                </a:lnTo>
                <a:lnTo>
                  <a:pt x="247" y="432"/>
                </a:lnTo>
                <a:lnTo>
                  <a:pt x="250" y="438"/>
                </a:lnTo>
                <a:lnTo>
                  <a:pt x="260" y="440"/>
                </a:lnTo>
                <a:lnTo>
                  <a:pt x="270" y="442"/>
                </a:lnTo>
                <a:lnTo>
                  <a:pt x="273" y="446"/>
                </a:lnTo>
                <a:lnTo>
                  <a:pt x="280" y="450"/>
                </a:lnTo>
                <a:lnTo>
                  <a:pt x="291" y="455"/>
                </a:lnTo>
                <a:lnTo>
                  <a:pt x="303" y="460"/>
                </a:lnTo>
                <a:lnTo>
                  <a:pt x="315" y="467"/>
                </a:lnTo>
                <a:lnTo>
                  <a:pt x="328" y="473"/>
                </a:lnTo>
                <a:lnTo>
                  <a:pt x="338" y="478"/>
                </a:lnTo>
                <a:lnTo>
                  <a:pt x="343" y="483"/>
                </a:lnTo>
                <a:lnTo>
                  <a:pt x="348" y="483"/>
                </a:lnTo>
                <a:lnTo>
                  <a:pt x="355" y="486"/>
                </a:lnTo>
                <a:lnTo>
                  <a:pt x="362" y="489"/>
                </a:lnTo>
                <a:lnTo>
                  <a:pt x="369" y="493"/>
                </a:lnTo>
                <a:lnTo>
                  <a:pt x="377" y="497"/>
                </a:lnTo>
                <a:lnTo>
                  <a:pt x="382" y="500"/>
                </a:lnTo>
                <a:lnTo>
                  <a:pt x="387" y="505"/>
                </a:lnTo>
                <a:lnTo>
                  <a:pt x="388" y="507"/>
                </a:lnTo>
                <a:lnTo>
                  <a:pt x="391" y="507"/>
                </a:lnTo>
                <a:lnTo>
                  <a:pt x="396" y="508"/>
                </a:lnTo>
                <a:lnTo>
                  <a:pt x="400" y="511"/>
                </a:lnTo>
                <a:lnTo>
                  <a:pt x="404" y="513"/>
                </a:lnTo>
                <a:lnTo>
                  <a:pt x="407" y="516"/>
                </a:lnTo>
                <a:lnTo>
                  <a:pt x="410" y="519"/>
                </a:lnTo>
                <a:lnTo>
                  <a:pt x="411" y="523"/>
                </a:lnTo>
                <a:lnTo>
                  <a:pt x="413" y="526"/>
                </a:lnTo>
                <a:lnTo>
                  <a:pt x="423" y="529"/>
                </a:lnTo>
                <a:lnTo>
                  <a:pt x="437" y="532"/>
                </a:lnTo>
                <a:lnTo>
                  <a:pt x="437" y="542"/>
                </a:lnTo>
                <a:lnTo>
                  <a:pt x="440" y="542"/>
                </a:lnTo>
                <a:lnTo>
                  <a:pt x="444" y="544"/>
                </a:lnTo>
                <a:lnTo>
                  <a:pt x="446" y="547"/>
                </a:lnTo>
                <a:lnTo>
                  <a:pt x="447" y="551"/>
                </a:lnTo>
                <a:lnTo>
                  <a:pt x="449" y="552"/>
                </a:lnTo>
                <a:lnTo>
                  <a:pt x="452" y="554"/>
                </a:lnTo>
                <a:lnTo>
                  <a:pt x="453" y="557"/>
                </a:lnTo>
                <a:lnTo>
                  <a:pt x="455" y="562"/>
                </a:lnTo>
                <a:lnTo>
                  <a:pt x="456" y="573"/>
                </a:lnTo>
                <a:lnTo>
                  <a:pt x="457" y="586"/>
                </a:lnTo>
                <a:lnTo>
                  <a:pt x="457" y="613"/>
                </a:lnTo>
                <a:lnTo>
                  <a:pt x="457" y="630"/>
                </a:lnTo>
                <a:lnTo>
                  <a:pt x="455" y="640"/>
                </a:lnTo>
                <a:lnTo>
                  <a:pt x="452" y="652"/>
                </a:lnTo>
                <a:lnTo>
                  <a:pt x="448" y="667"/>
                </a:lnTo>
                <a:lnTo>
                  <a:pt x="447" y="679"/>
                </a:lnTo>
                <a:lnTo>
                  <a:pt x="448" y="689"/>
                </a:lnTo>
                <a:lnTo>
                  <a:pt x="452" y="701"/>
                </a:lnTo>
                <a:lnTo>
                  <a:pt x="455" y="716"/>
                </a:lnTo>
                <a:lnTo>
                  <a:pt x="457" y="728"/>
                </a:lnTo>
                <a:lnTo>
                  <a:pt x="452" y="734"/>
                </a:lnTo>
                <a:lnTo>
                  <a:pt x="442" y="734"/>
                </a:lnTo>
                <a:lnTo>
                  <a:pt x="442" y="735"/>
                </a:lnTo>
                <a:lnTo>
                  <a:pt x="439" y="736"/>
                </a:lnTo>
                <a:lnTo>
                  <a:pt x="436" y="738"/>
                </a:lnTo>
                <a:lnTo>
                  <a:pt x="432" y="739"/>
                </a:lnTo>
                <a:lnTo>
                  <a:pt x="422" y="740"/>
                </a:lnTo>
                <a:lnTo>
                  <a:pt x="408" y="742"/>
                </a:lnTo>
                <a:lnTo>
                  <a:pt x="381" y="743"/>
                </a:lnTo>
                <a:lnTo>
                  <a:pt x="363" y="743"/>
                </a:lnTo>
                <a:lnTo>
                  <a:pt x="353" y="748"/>
                </a:lnTo>
                <a:lnTo>
                  <a:pt x="343" y="753"/>
                </a:lnTo>
                <a:lnTo>
                  <a:pt x="338" y="754"/>
                </a:lnTo>
                <a:lnTo>
                  <a:pt x="332" y="755"/>
                </a:lnTo>
                <a:lnTo>
                  <a:pt x="326" y="757"/>
                </a:lnTo>
                <a:lnTo>
                  <a:pt x="320" y="761"/>
                </a:lnTo>
                <a:lnTo>
                  <a:pt x="309" y="765"/>
                </a:lnTo>
                <a:lnTo>
                  <a:pt x="300" y="767"/>
                </a:lnTo>
                <a:lnTo>
                  <a:pt x="294" y="773"/>
                </a:lnTo>
                <a:lnTo>
                  <a:pt x="292" y="777"/>
                </a:lnTo>
                <a:lnTo>
                  <a:pt x="290" y="783"/>
                </a:lnTo>
                <a:lnTo>
                  <a:pt x="280" y="783"/>
                </a:lnTo>
                <a:lnTo>
                  <a:pt x="280" y="797"/>
                </a:lnTo>
                <a:lnTo>
                  <a:pt x="276" y="798"/>
                </a:lnTo>
                <a:lnTo>
                  <a:pt x="273" y="802"/>
                </a:lnTo>
                <a:lnTo>
                  <a:pt x="271" y="808"/>
                </a:lnTo>
                <a:lnTo>
                  <a:pt x="269" y="816"/>
                </a:lnTo>
                <a:lnTo>
                  <a:pt x="265" y="835"/>
                </a:lnTo>
                <a:lnTo>
                  <a:pt x="264" y="858"/>
                </a:lnTo>
                <a:lnTo>
                  <a:pt x="264" y="881"/>
                </a:lnTo>
                <a:lnTo>
                  <a:pt x="266" y="903"/>
                </a:lnTo>
                <a:lnTo>
                  <a:pt x="267" y="912"/>
                </a:lnTo>
                <a:lnTo>
                  <a:pt x="270" y="920"/>
                </a:lnTo>
                <a:lnTo>
                  <a:pt x="272" y="926"/>
                </a:lnTo>
                <a:lnTo>
                  <a:pt x="275" y="930"/>
                </a:lnTo>
                <a:lnTo>
                  <a:pt x="275" y="940"/>
                </a:lnTo>
                <a:lnTo>
                  <a:pt x="280" y="946"/>
                </a:lnTo>
                <a:lnTo>
                  <a:pt x="286" y="955"/>
                </a:lnTo>
                <a:lnTo>
                  <a:pt x="290" y="960"/>
                </a:lnTo>
                <a:lnTo>
                  <a:pt x="292" y="966"/>
                </a:lnTo>
                <a:lnTo>
                  <a:pt x="294" y="970"/>
                </a:lnTo>
                <a:lnTo>
                  <a:pt x="294" y="975"/>
                </a:lnTo>
                <a:lnTo>
                  <a:pt x="300" y="977"/>
                </a:lnTo>
                <a:lnTo>
                  <a:pt x="304" y="979"/>
                </a:lnTo>
                <a:lnTo>
                  <a:pt x="307" y="987"/>
                </a:lnTo>
                <a:lnTo>
                  <a:pt x="309" y="994"/>
                </a:lnTo>
                <a:lnTo>
                  <a:pt x="314" y="999"/>
                </a:lnTo>
                <a:lnTo>
                  <a:pt x="323" y="1004"/>
                </a:lnTo>
                <a:lnTo>
                  <a:pt x="329" y="1008"/>
                </a:lnTo>
                <a:lnTo>
                  <a:pt x="329" y="1010"/>
                </a:lnTo>
                <a:lnTo>
                  <a:pt x="330" y="1012"/>
                </a:lnTo>
                <a:lnTo>
                  <a:pt x="332" y="1012"/>
                </a:lnTo>
                <a:lnTo>
                  <a:pt x="334" y="1012"/>
                </a:lnTo>
                <a:lnTo>
                  <a:pt x="340" y="1012"/>
                </a:lnTo>
                <a:lnTo>
                  <a:pt x="347" y="1009"/>
                </a:lnTo>
                <a:lnTo>
                  <a:pt x="360" y="1006"/>
                </a:lnTo>
                <a:lnTo>
                  <a:pt x="368" y="1004"/>
                </a:lnTo>
                <a:lnTo>
                  <a:pt x="380" y="1016"/>
                </a:lnTo>
                <a:lnTo>
                  <a:pt x="392" y="1028"/>
                </a:lnTo>
                <a:lnTo>
                  <a:pt x="408" y="1053"/>
                </a:lnTo>
                <a:lnTo>
                  <a:pt x="410" y="1063"/>
                </a:lnTo>
                <a:lnTo>
                  <a:pt x="411" y="1077"/>
                </a:lnTo>
                <a:lnTo>
                  <a:pt x="413" y="1093"/>
                </a:lnTo>
                <a:lnTo>
                  <a:pt x="413" y="1102"/>
                </a:lnTo>
                <a:lnTo>
                  <a:pt x="420" y="1104"/>
                </a:lnTo>
                <a:lnTo>
                  <a:pt x="427" y="1108"/>
                </a:lnTo>
                <a:lnTo>
                  <a:pt x="427" y="1117"/>
                </a:lnTo>
                <a:lnTo>
                  <a:pt x="433" y="1122"/>
                </a:lnTo>
                <a:lnTo>
                  <a:pt x="448" y="1122"/>
                </a:lnTo>
                <a:lnTo>
                  <a:pt x="467" y="1124"/>
                </a:lnTo>
                <a:lnTo>
                  <a:pt x="487" y="1125"/>
                </a:lnTo>
                <a:lnTo>
                  <a:pt x="506" y="1127"/>
                </a:lnTo>
                <a:lnTo>
                  <a:pt x="509" y="1121"/>
                </a:lnTo>
                <a:lnTo>
                  <a:pt x="514" y="1114"/>
                </a:lnTo>
                <a:lnTo>
                  <a:pt x="523" y="1108"/>
                </a:lnTo>
                <a:lnTo>
                  <a:pt x="531" y="1102"/>
                </a:lnTo>
                <a:lnTo>
                  <a:pt x="532" y="1098"/>
                </a:lnTo>
                <a:lnTo>
                  <a:pt x="534" y="1091"/>
                </a:lnTo>
                <a:lnTo>
                  <a:pt x="539" y="1082"/>
                </a:lnTo>
                <a:lnTo>
                  <a:pt x="544" y="1074"/>
                </a:lnTo>
                <a:lnTo>
                  <a:pt x="550" y="1066"/>
                </a:lnTo>
                <a:lnTo>
                  <a:pt x="555" y="1060"/>
                </a:lnTo>
                <a:lnTo>
                  <a:pt x="561" y="1055"/>
                </a:lnTo>
                <a:lnTo>
                  <a:pt x="566" y="1053"/>
                </a:lnTo>
                <a:lnTo>
                  <a:pt x="570" y="1041"/>
                </a:lnTo>
                <a:lnTo>
                  <a:pt x="574" y="1028"/>
                </a:lnTo>
                <a:lnTo>
                  <a:pt x="584" y="1021"/>
                </a:lnTo>
                <a:lnTo>
                  <a:pt x="595" y="1014"/>
                </a:lnTo>
                <a:lnTo>
                  <a:pt x="612" y="987"/>
                </a:lnTo>
                <a:lnTo>
                  <a:pt x="643" y="948"/>
                </a:lnTo>
                <a:lnTo>
                  <a:pt x="658" y="928"/>
                </a:lnTo>
                <a:lnTo>
                  <a:pt x="670" y="909"/>
                </a:lnTo>
                <a:lnTo>
                  <a:pt x="676" y="901"/>
                </a:lnTo>
                <a:lnTo>
                  <a:pt x="679" y="894"/>
                </a:lnTo>
                <a:lnTo>
                  <a:pt x="683" y="889"/>
                </a:lnTo>
                <a:lnTo>
                  <a:pt x="683" y="885"/>
                </a:lnTo>
                <a:lnTo>
                  <a:pt x="689" y="882"/>
                </a:lnTo>
                <a:lnTo>
                  <a:pt x="694" y="880"/>
                </a:lnTo>
                <a:lnTo>
                  <a:pt x="696" y="878"/>
                </a:lnTo>
                <a:lnTo>
                  <a:pt x="697" y="874"/>
                </a:lnTo>
                <a:lnTo>
                  <a:pt x="697" y="871"/>
                </a:lnTo>
                <a:lnTo>
                  <a:pt x="698" y="867"/>
                </a:lnTo>
                <a:lnTo>
                  <a:pt x="713" y="851"/>
                </a:lnTo>
                <a:lnTo>
                  <a:pt x="727" y="836"/>
                </a:lnTo>
                <a:lnTo>
                  <a:pt x="727" y="832"/>
                </a:lnTo>
                <a:lnTo>
                  <a:pt x="730" y="827"/>
                </a:lnTo>
                <a:lnTo>
                  <a:pt x="731" y="823"/>
                </a:lnTo>
                <a:lnTo>
                  <a:pt x="734" y="821"/>
                </a:lnTo>
                <a:lnTo>
                  <a:pt x="740" y="815"/>
                </a:lnTo>
                <a:lnTo>
                  <a:pt x="747" y="812"/>
                </a:lnTo>
                <a:lnTo>
                  <a:pt x="749" y="806"/>
                </a:lnTo>
                <a:lnTo>
                  <a:pt x="752" y="800"/>
                </a:lnTo>
                <a:lnTo>
                  <a:pt x="756" y="790"/>
                </a:lnTo>
                <a:lnTo>
                  <a:pt x="762" y="779"/>
                </a:lnTo>
                <a:lnTo>
                  <a:pt x="774" y="761"/>
                </a:lnTo>
                <a:lnTo>
                  <a:pt x="782" y="748"/>
                </a:lnTo>
                <a:lnTo>
                  <a:pt x="787" y="734"/>
                </a:lnTo>
                <a:lnTo>
                  <a:pt x="791" y="719"/>
                </a:lnTo>
                <a:lnTo>
                  <a:pt x="794" y="705"/>
                </a:lnTo>
                <a:lnTo>
                  <a:pt x="797" y="690"/>
                </a:lnTo>
                <a:lnTo>
                  <a:pt x="801" y="662"/>
                </a:lnTo>
                <a:lnTo>
                  <a:pt x="802" y="636"/>
                </a:lnTo>
                <a:lnTo>
                  <a:pt x="803" y="609"/>
                </a:lnTo>
                <a:lnTo>
                  <a:pt x="802" y="581"/>
                </a:lnTo>
                <a:lnTo>
                  <a:pt x="801" y="554"/>
                </a:lnTo>
                <a:lnTo>
                  <a:pt x="801" y="526"/>
                </a:lnTo>
                <a:lnTo>
                  <a:pt x="798" y="523"/>
                </a:lnTo>
                <a:lnTo>
                  <a:pt x="794" y="517"/>
                </a:lnTo>
                <a:lnTo>
                  <a:pt x="792" y="513"/>
                </a:lnTo>
                <a:lnTo>
                  <a:pt x="790" y="506"/>
                </a:lnTo>
                <a:lnTo>
                  <a:pt x="787" y="492"/>
                </a:lnTo>
                <a:lnTo>
                  <a:pt x="784" y="476"/>
                </a:lnTo>
                <a:lnTo>
                  <a:pt x="782" y="458"/>
                </a:lnTo>
                <a:lnTo>
                  <a:pt x="782" y="439"/>
                </a:lnTo>
                <a:lnTo>
                  <a:pt x="783" y="420"/>
                </a:lnTo>
                <a:lnTo>
                  <a:pt x="784" y="399"/>
                </a:lnTo>
                <a:lnTo>
                  <a:pt x="788" y="359"/>
                </a:lnTo>
                <a:lnTo>
                  <a:pt x="791" y="320"/>
                </a:lnTo>
                <a:lnTo>
                  <a:pt x="794" y="286"/>
                </a:lnTo>
                <a:lnTo>
                  <a:pt x="797" y="261"/>
                </a:lnTo>
                <a:lnTo>
                  <a:pt x="802" y="254"/>
                </a:lnTo>
                <a:lnTo>
                  <a:pt x="807" y="244"/>
                </a:lnTo>
                <a:lnTo>
                  <a:pt x="812" y="231"/>
                </a:lnTo>
                <a:lnTo>
                  <a:pt x="817" y="218"/>
                </a:lnTo>
                <a:lnTo>
                  <a:pt x="820" y="205"/>
                </a:lnTo>
                <a:lnTo>
                  <a:pt x="823" y="192"/>
                </a:lnTo>
                <a:lnTo>
                  <a:pt x="826" y="181"/>
                </a:lnTo>
                <a:lnTo>
                  <a:pt x="826" y="172"/>
                </a:lnTo>
                <a:lnTo>
                  <a:pt x="829" y="171"/>
                </a:lnTo>
                <a:lnTo>
                  <a:pt x="831" y="169"/>
                </a:lnTo>
                <a:lnTo>
                  <a:pt x="833" y="166"/>
                </a:lnTo>
                <a:lnTo>
                  <a:pt x="835" y="162"/>
                </a:lnTo>
                <a:lnTo>
                  <a:pt x="837" y="159"/>
                </a:lnTo>
                <a:lnTo>
                  <a:pt x="838" y="156"/>
                </a:lnTo>
                <a:lnTo>
                  <a:pt x="839" y="153"/>
                </a:lnTo>
                <a:lnTo>
                  <a:pt x="840" y="152"/>
                </a:lnTo>
                <a:lnTo>
                  <a:pt x="840" y="133"/>
                </a:lnTo>
                <a:lnTo>
                  <a:pt x="820" y="131"/>
                </a:lnTo>
                <a:lnTo>
                  <a:pt x="795" y="125"/>
                </a:lnTo>
                <a:lnTo>
                  <a:pt x="783" y="123"/>
                </a:lnTo>
                <a:lnTo>
                  <a:pt x="771" y="121"/>
                </a:lnTo>
                <a:lnTo>
                  <a:pt x="759" y="119"/>
                </a:lnTo>
                <a:lnTo>
                  <a:pt x="747" y="119"/>
                </a:lnTo>
                <a:lnTo>
                  <a:pt x="698" y="109"/>
                </a:lnTo>
                <a:lnTo>
                  <a:pt x="691" y="108"/>
                </a:lnTo>
                <a:lnTo>
                  <a:pt x="682" y="106"/>
                </a:lnTo>
                <a:lnTo>
                  <a:pt x="673" y="104"/>
                </a:lnTo>
                <a:lnTo>
                  <a:pt x="664" y="101"/>
                </a:lnTo>
                <a:lnTo>
                  <a:pt x="647" y="96"/>
                </a:lnTo>
                <a:lnTo>
                  <a:pt x="634" y="93"/>
                </a:lnTo>
                <a:lnTo>
                  <a:pt x="624" y="84"/>
                </a:lnTo>
                <a:lnTo>
                  <a:pt x="609" y="84"/>
                </a:lnTo>
                <a:lnTo>
                  <a:pt x="603" y="81"/>
                </a:lnTo>
                <a:lnTo>
                  <a:pt x="592" y="74"/>
                </a:lnTo>
                <a:lnTo>
                  <a:pt x="580" y="67"/>
                </a:lnTo>
                <a:lnTo>
                  <a:pt x="574" y="64"/>
                </a:lnTo>
                <a:lnTo>
                  <a:pt x="572" y="58"/>
                </a:lnTo>
                <a:lnTo>
                  <a:pt x="567" y="53"/>
                </a:lnTo>
                <a:lnTo>
                  <a:pt x="560" y="47"/>
                </a:lnTo>
                <a:lnTo>
                  <a:pt x="555" y="44"/>
                </a:lnTo>
                <a:lnTo>
                  <a:pt x="553" y="29"/>
                </a:lnTo>
                <a:lnTo>
                  <a:pt x="550" y="15"/>
                </a:lnTo>
                <a:lnTo>
                  <a:pt x="545" y="11"/>
                </a:lnTo>
                <a:lnTo>
                  <a:pt x="541" y="5"/>
                </a:lnTo>
                <a:lnTo>
                  <a:pt x="533" y="5"/>
                </a:lnTo>
                <a:lnTo>
                  <a:pt x="525" y="5"/>
                </a:lnTo>
                <a:lnTo>
                  <a:pt x="523" y="4"/>
                </a:lnTo>
                <a:lnTo>
                  <a:pt x="515" y="3"/>
                </a:lnTo>
                <a:lnTo>
                  <a:pt x="505" y="2"/>
                </a:lnTo>
                <a:lnTo>
                  <a:pt x="493" y="0"/>
                </a:lnTo>
                <a:lnTo>
                  <a:pt x="467" y="0"/>
                </a:lnTo>
                <a:lnTo>
                  <a:pt x="452" y="0"/>
                </a:lnTo>
                <a:lnTo>
                  <a:pt x="448" y="2"/>
                </a:lnTo>
                <a:lnTo>
                  <a:pt x="442" y="6"/>
                </a:lnTo>
                <a:lnTo>
                  <a:pt x="435" y="11"/>
                </a:lnTo>
                <a:lnTo>
                  <a:pt x="433" y="15"/>
                </a:lnTo>
                <a:lnTo>
                  <a:pt x="423" y="15"/>
                </a:lnTo>
                <a:lnTo>
                  <a:pt x="420" y="19"/>
                </a:lnTo>
                <a:lnTo>
                  <a:pt x="417" y="25"/>
                </a:lnTo>
                <a:lnTo>
                  <a:pt x="382" y="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37" name="Freeform 98">
            <a:extLst>
              <a:ext uri="{FF2B5EF4-FFF2-40B4-BE49-F238E27FC236}">
                <a16:creationId xmlns:a16="http://schemas.microsoft.com/office/drawing/2014/main" id="{C05F6845-FD90-49C5-B2BC-5B65BD0293BB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275638" y="4192588"/>
            <a:ext cx="98676" cy="120650"/>
          </a:xfrm>
          <a:custGeom>
            <a:avLst/>
            <a:gdLst/>
            <a:ahLst/>
            <a:cxnLst>
              <a:cxn ang="0">
                <a:pos x="114" y="78"/>
              </a:cxn>
              <a:cxn ang="0">
                <a:pos x="57" y="98"/>
              </a:cxn>
              <a:cxn ang="0">
                <a:pos x="23" y="108"/>
              </a:cxn>
              <a:cxn ang="0">
                <a:pos x="12" y="128"/>
              </a:cxn>
              <a:cxn ang="0">
                <a:pos x="5" y="132"/>
              </a:cxn>
              <a:cxn ang="0">
                <a:pos x="12" y="175"/>
              </a:cxn>
              <a:cxn ang="0">
                <a:pos x="31" y="189"/>
              </a:cxn>
              <a:cxn ang="0">
                <a:pos x="56" y="205"/>
              </a:cxn>
              <a:cxn ang="0">
                <a:pos x="79" y="223"/>
              </a:cxn>
              <a:cxn ang="0">
                <a:pos x="90" y="235"/>
              </a:cxn>
              <a:cxn ang="0">
                <a:pos x="115" y="252"/>
              </a:cxn>
              <a:cxn ang="0">
                <a:pos x="136" y="272"/>
              </a:cxn>
              <a:cxn ang="0">
                <a:pos x="161" y="308"/>
              </a:cxn>
              <a:cxn ang="0">
                <a:pos x="173" y="322"/>
              </a:cxn>
              <a:cxn ang="0">
                <a:pos x="183" y="343"/>
              </a:cxn>
              <a:cxn ang="0">
                <a:pos x="192" y="367"/>
              </a:cxn>
              <a:cxn ang="0">
                <a:pos x="199" y="375"/>
              </a:cxn>
              <a:cxn ang="0">
                <a:pos x="248" y="390"/>
              </a:cxn>
              <a:cxn ang="0">
                <a:pos x="271" y="406"/>
              </a:cxn>
              <a:cxn ang="0">
                <a:pos x="297" y="434"/>
              </a:cxn>
              <a:cxn ang="0">
                <a:pos x="321" y="466"/>
              </a:cxn>
              <a:cxn ang="0">
                <a:pos x="348" y="511"/>
              </a:cxn>
              <a:cxn ang="0">
                <a:pos x="359" y="552"/>
              </a:cxn>
              <a:cxn ang="0">
                <a:pos x="377" y="595"/>
              </a:cxn>
              <a:cxn ang="0">
                <a:pos x="388" y="632"/>
              </a:cxn>
              <a:cxn ang="0">
                <a:pos x="403" y="644"/>
              </a:cxn>
              <a:cxn ang="0">
                <a:pos x="427" y="672"/>
              </a:cxn>
              <a:cxn ang="0">
                <a:pos x="432" y="675"/>
              </a:cxn>
              <a:cxn ang="0">
                <a:pos x="446" y="685"/>
              </a:cxn>
              <a:cxn ang="0">
                <a:pos x="469" y="698"/>
              </a:cxn>
              <a:cxn ang="0">
                <a:pos x="473" y="704"/>
              </a:cxn>
              <a:cxn ang="0">
                <a:pos x="493" y="716"/>
              </a:cxn>
              <a:cxn ang="0">
                <a:pos x="511" y="736"/>
              </a:cxn>
              <a:cxn ang="0">
                <a:pos x="529" y="746"/>
              </a:cxn>
              <a:cxn ang="0">
                <a:pos x="542" y="706"/>
              </a:cxn>
              <a:cxn ang="0">
                <a:pos x="541" y="619"/>
              </a:cxn>
              <a:cxn ang="0">
                <a:pos x="523" y="518"/>
              </a:cxn>
              <a:cxn ang="0">
                <a:pos x="519" y="409"/>
              </a:cxn>
              <a:cxn ang="0">
                <a:pos x="506" y="331"/>
              </a:cxn>
              <a:cxn ang="0">
                <a:pos x="475" y="307"/>
              </a:cxn>
              <a:cxn ang="0">
                <a:pos x="463" y="163"/>
              </a:cxn>
              <a:cxn ang="0">
                <a:pos x="446" y="144"/>
              </a:cxn>
              <a:cxn ang="0">
                <a:pos x="415" y="120"/>
              </a:cxn>
              <a:cxn ang="0">
                <a:pos x="357" y="115"/>
              </a:cxn>
              <a:cxn ang="0">
                <a:pos x="312" y="97"/>
              </a:cxn>
              <a:cxn ang="0">
                <a:pos x="300" y="82"/>
              </a:cxn>
              <a:cxn ang="0">
                <a:pos x="277" y="72"/>
              </a:cxn>
              <a:cxn ang="0">
                <a:pos x="259" y="61"/>
              </a:cxn>
              <a:cxn ang="0">
                <a:pos x="229" y="33"/>
              </a:cxn>
              <a:cxn ang="0">
                <a:pos x="192" y="6"/>
              </a:cxn>
              <a:cxn ang="0">
                <a:pos x="160" y="1"/>
              </a:cxn>
              <a:cxn ang="0">
                <a:pos x="125" y="18"/>
              </a:cxn>
              <a:cxn ang="0">
                <a:pos x="120" y="21"/>
              </a:cxn>
            </a:cxnLst>
            <a:rect l="0" t="0" r="r" b="b"/>
            <a:pathLst>
              <a:path w="547" h="746">
                <a:moveTo>
                  <a:pt x="114" y="24"/>
                </a:moveTo>
                <a:lnTo>
                  <a:pt x="114" y="38"/>
                </a:lnTo>
                <a:lnTo>
                  <a:pt x="114" y="51"/>
                </a:lnTo>
                <a:lnTo>
                  <a:pt x="114" y="64"/>
                </a:lnTo>
                <a:lnTo>
                  <a:pt x="114" y="78"/>
                </a:lnTo>
                <a:lnTo>
                  <a:pt x="104" y="82"/>
                </a:lnTo>
                <a:lnTo>
                  <a:pt x="93" y="87"/>
                </a:lnTo>
                <a:lnTo>
                  <a:pt x="79" y="89"/>
                </a:lnTo>
                <a:lnTo>
                  <a:pt x="66" y="90"/>
                </a:lnTo>
                <a:lnTo>
                  <a:pt x="57" y="98"/>
                </a:lnTo>
                <a:lnTo>
                  <a:pt x="47" y="103"/>
                </a:lnTo>
                <a:lnTo>
                  <a:pt x="42" y="106"/>
                </a:lnTo>
                <a:lnTo>
                  <a:pt x="37" y="107"/>
                </a:lnTo>
                <a:lnTo>
                  <a:pt x="30" y="108"/>
                </a:lnTo>
                <a:lnTo>
                  <a:pt x="23" y="108"/>
                </a:lnTo>
                <a:lnTo>
                  <a:pt x="18" y="115"/>
                </a:lnTo>
                <a:lnTo>
                  <a:pt x="18" y="127"/>
                </a:lnTo>
                <a:lnTo>
                  <a:pt x="14" y="127"/>
                </a:lnTo>
                <a:lnTo>
                  <a:pt x="12" y="127"/>
                </a:lnTo>
                <a:lnTo>
                  <a:pt x="12" y="128"/>
                </a:lnTo>
                <a:lnTo>
                  <a:pt x="12" y="129"/>
                </a:lnTo>
                <a:lnTo>
                  <a:pt x="12" y="130"/>
                </a:lnTo>
                <a:lnTo>
                  <a:pt x="11" y="131"/>
                </a:lnTo>
                <a:lnTo>
                  <a:pt x="9" y="132"/>
                </a:lnTo>
                <a:lnTo>
                  <a:pt x="5" y="132"/>
                </a:lnTo>
                <a:lnTo>
                  <a:pt x="4" y="139"/>
                </a:lnTo>
                <a:lnTo>
                  <a:pt x="3" y="148"/>
                </a:lnTo>
                <a:lnTo>
                  <a:pt x="1" y="158"/>
                </a:lnTo>
                <a:lnTo>
                  <a:pt x="0" y="168"/>
                </a:lnTo>
                <a:lnTo>
                  <a:pt x="12" y="175"/>
                </a:lnTo>
                <a:lnTo>
                  <a:pt x="23" y="180"/>
                </a:lnTo>
                <a:lnTo>
                  <a:pt x="24" y="183"/>
                </a:lnTo>
                <a:lnTo>
                  <a:pt x="26" y="185"/>
                </a:lnTo>
                <a:lnTo>
                  <a:pt x="28" y="187"/>
                </a:lnTo>
                <a:lnTo>
                  <a:pt x="31" y="189"/>
                </a:lnTo>
                <a:lnTo>
                  <a:pt x="37" y="192"/>
                </a:lnTo>
                <a:lnTo>
                  <a:pt x="42" y="193"/>
                </a:lnTo>
                <a:lnTo>
                  <a:pt x="53" y="198"/>
                </a:lnTo>
                <a:lnTo>
                  <a:pt x="55" y="202"/>
                </a:lnTo>
                <a:lnTo>
                  <a:pt x="56" y="205"/>
                </a:lnTo>
                <a:lnTo>
                  <a:pt x="57" y="207"/>
                </a:lnTo>
                <a:lnTo>
                  <a:pt x="59" y="211"/>
                </a:lnTo>
                <a:lnTo>
                  <a:pt x="66" y="215"/>
                </a:lnTo>
                <a:lnTo>
                  <a:pt x="72" y="218"/>
                </a:lnTo>
                <a:lnTo>
                  <a:pt x="79" y="223"/>
                </a:lnTo>
                <a:lnTo>
                  <a:pt x="85" y="226"/>
                </a:lnTo>
                <a:lnTo>
                  <a:pt x="87" y="228"/>
                </a:lnTo>
                <a:lnTo>
                  <a:pt x="88" y="231"/>
                </a:lnTo>
                <a:lnTo>
                  <a:pt x="89" y="233"/>
                </a:lnTo>
                <a:lnTo>
                  <a:pt x="90" y="235"/>
                </a:lnTo>
                <a:lnTo>
                  <a:pt x="103" y="235"/>
                </a:lnTo>
                <a:lnTo>
                  <a:pt x="103" y="237"/>
                </a:lnTo>
                <a:lnTo>
                  <a:pt x="106" y="242"/>
                </a:lnTo>
                <a:lnTo>
                  <a:pt x="110" y="247"/>
                </a:lnTo>
                <a:lnTo>
                  <a:pt x="115" y="252"/>
                </a:lnTo>
                <a:lnTo>
                  <a:pt x="120" y="256"/>
                </a:lnTo>
                <a:lnTo>
                  <a:pt x="125" y="261"/>
                </a:lnTo>
                <a:lnTo>
                  <a:pt x="129" y="264"/>
                </a:lnTo>
                <a:lnTo>
                  <a:pt x="132" y="265"/>
                </a:lnTo>
                <a:lnTo>
                  <a:pt x="136" y="272"/>
                </a:lnTo>
                <a:lnTo>
                  <a:pt x="144" y="282"/>
                </a:lnTo>
                <a:lnTo>
                  <a:pt x="153" y="291"/>
                </a:lnTo>
                <a:lnTo>
                  <a:pt x="156" y="294"/>
                </a:lnTo>
                <a:lnTo>
                  <a:pt x="156" y="307"/>
                </a:lnTo>
                <a:lnTo>
                  <a:pt x="161" y="308"/>
                </a:lnTo>
                <a:lnTo>
                  <a:pt x="164" y="311"/>
                </a:lnTo>
                <a:lnTo>
                  <a:pt x="167" y="314"/>
                </a:lnTo>
                <a:lnTo>
                  <a:pt x="168" y="319"/>
                </a:lnTo>
                <a:lnTo>
                  <a:pt x="171" y="320"/>
                </a:lnTo>
                <a:lnTo>
                  <a:pt x="173" y="322"/>
                </a:lnTo>
                <a:lnTo>
                  <a:pt x="175" y="324"/>
                </a:lnTo>
                <a:lnTo>
                  <a:pt x="176" y="329"/>
                </a:lnTo>
                <a:lnTo>
                  <a:pt x="180" y="337"/>
                </a:lnTo>
                <a:lnTo>
                  <a:pt x="181" y="343"/>
                </a:lnTo>
                <a:lnTo>
                  <a:pt x="183" y="343"/>
                </a:lnTo>
                <a:lnTo>
                  <a:pt x="185" y="346"/>
                </a:lnTo>
                <a:lnTo>
                  <a:pt x="186" y="349"/>
                </a:lnTo>
                <a:lnTo>
                  <a:pt x="189" y="352"/>
                </a:lnTo>
                <a:lnTo>
                  <a:pt x="191" y="361"/>
                </a:lnTo>
                <a:lnTo>
                  <a:pt x="192" y="367"/>
                </a:lnTo>
                <a:lnTo>
                  <a:pt x="194" y="367"/>
                </a:lnTo>
                <a:lnTo>
                  <a:pt x="195" y="368"/>
                </a:lnTo>
                <a:lnTo>
                  <a:pt x="196" y="369"/>
                </a:lnTo>
                <a:lnTo>
                  <a:pt x="197" y="371"/>
                </a:lnTo>
                <a:lnTo>
                  <a:pt x="199" y="375"/>
                </a:lnTo>
                <a:lnTo>
                  <a:pt x="199" y="379"/>
                </a:lnTo>
                <a:lnTo>
                  <a:pt x="204" y="385"/>
                </a:lnTo>
                <a:lnTo>
                  <a:pt x="219" y="386"/>
                </a:lnTo>
                <a:lnTo>
                  <a:pt x="233" y="388"/>
                </a:lnTo>
                <a:lnTo>
                  <a:pt x="248" y="390"/>
                </a:lnTo>
                <a:lnTo>
                  <a:pt x="259" y="391"/>
                </a:lnTo>
                <a:lnTo>
                  <a:pt x="260" y="394"/>
                </a:lnTo>
                <a:lnTo>
                  <a:pt x="262" y="397"/>
                </a:lnTo>
                <a:lnTo>
                  <a:pt x="267" y="401"/>
                </a:lnTo>
                <a:lnTo>
                  <a:pt x="271" y="406"/>
                </a:lnTo>
                <a:lnTo>
                  <a:pt x="281" y="413"/>
                </a:lnTo>
                <a:lnTo>
                  <a:pt x="289" y="415"/>
                </a:lnTo>
                <a:lnTo>
                  <a:pt x="291" y="424"/>
                </a:lnTo>
                <a:lnTo>
                  <a:pt x="295" y="433"/>
                </a:lnTo>
                <a:lnTo>
                  <a:pt x="297" y="434"/>
                </a:lnTo>
                <a:lnTo>
                  <a:pt x="300" y="436"/>
                </a:lnTo>
                <a:lnTo>
                  <a:pt x="302" y="439"/>
                </a:lnTo>
                <a:lnTo>
                  <a:pt x="306" y="444"/>
                </a:lnTo>
                <a:lnTo>
                  <a:pt x="314" y="454"/>
                </a:lnTo>
                <a:lnTo>
                  <a:pt x="321" y="466"/>
                </a:lnTo>
                <a:lnTo>
                  <a:pt x="328" y="478"/>
                </a:lnTo>
                <a:lnTo>
                  <a:pt x="335" y="489"/>
                </a:lnTo>
                <a:lnTo>
                  <a:pt x="339" y="496"/>
                </a:lnTo>
                <a:lnTo>
                  <a:pt x="343" y="500"/>
                </a:lnTo>
                <a:lnTo>
                  <a:pt x="348" y="511"/>
                </a:lnTo>
                <a:lnTo>
                  <a:pt x="349" y="519"/>
                </a:lnTo>
                <a:lnTo>
                  <a:pt x="350" y="525"/>
                </a:lnTo>
                <a:lnTo>
                  <a:pt x="353" y="532"/>
                </a:lnTo>
                <a:lnTo>
                  <a:pt x="355" y="539"/>
                </a:lnTo>
                <a:lnTo>
                  <a:pt x="359" y="552"/>
                </a:lnTo>
                <a:lnTo>
                  <a:pt x="360" y="566"/>
                </a:lnTo>
                <a:lnTo>
                  <a:pt x="365" y="569"/>
                </a:lnTo>
                <a:lnTo>
                  <a:pt x="369" y="576"/>
                </a:lnTo>
                <a:lnTo>
                  <a:pt x="374" y="584"/>
                </a:lnTo>
                <a:lnTo>
                  <a:pt x="377" y="595"/>
                </a:lnTo>
                <a:lnTo>
                  <a:pt x="381" y="605"/>
                </a:lnTo>
                <a:lnTo>
                  <a:pt x="383" y="615"/>
                </a:lnTo>
                <a:lnTo>
                  <a:pt x="384" y="624"/>
                </a:lnTo>
                <a:lnTo>
                  <a:pt x="385" y="631"/>
                </a:lnTo>
                <a:lnTo>
                  <a:pt x="388" y="632"/>
                </a:lnTo>
                <a:lnTo>
                  <a:pt x="392" y="634"/>
                </a:lnTo>
                <a:lnTo>
                  <a:pt x="394" y="636"/>
                </a:lnTo>
                <a:lnTo>
                  <a:pt x="396" y="638"/>
                </a:lnTo>
                <a:lnTo>
                  <a:pt x="400" y="641"/>
                </a:lnTo>
                <a:lnTo>
                  <a:pt x="403" y="644"/>
                </a:lnTo>
                <a:lnTo>
                  <a:pt x="403" y="656"/>
                </a:lnTo>
                <a:lnTo>
                  <a:pt x="408" y="661"/>
                </a:lnTo>
                <a:lnTo>
                  <a:pt x="421" y="661"/>
                </a:lnTo>
                <a:lnTo>
                  <a:pt x="427" y="668"/>
                </a:lnTo>
                <a:lnTo>
                  <a:pt x="427" y="672"/>
                </a:lnTo>
                <a:lnTo>
                  <a:pt x="427" y="673"/>
                </a:lnTo>
                <a:lnTo>
                  <a:pt x="429" y="674"/>
                </a:lnTo>
                <a:lnTo>
                  <a:pt x="430" y="674"/>
                </a:lnTo>
                <a:lnTo>
                  <a:pt x="431" y="674"/>
                </a:lnTo>
                <a:lnTo>
                  <a:pt x="432" y="675"/>
                </a:lnTo>
                <a:lnTo>
                  <a:pt x="433" y="676"/>
                </a:lnTo>
                <a:lnTo>
                  <a:pt x="433" y="679"/>
                </a:lnTo>
                <a:lnTo>
                  <a:pt x="439" y="680"/>
                </a:lnTo>
                <a:lnTo>
                  <a:pt x="444" y="684"/>
                </a:lnTo>
                <a:lnTo>
                  <a:pt x="446" y="685"/>
                </a:lnTo>
                <a:lnTo>
                  <a:pt x="449" y="687"/>
                </a:lnTo>
                <a:lnTo>
                  <a:pt x="451" y="689"/>
                </a:lnTo>
                <a:lnTo>
                  <a:pt x="451" y="692"/>
                </a:lnTo>
                <a:lnTo>
                  <a:pt x="463" y="692"/>
                </a:lnTo>
                <a:lnTo>
                  <a:pt x="469" y="698"/>
                </a:lnTo>
                <a:lnTo>
                  <a:pt x="469" y="702"/>
                </a:lnTo>
                <a:lnTo>
                  <a:pt x="470" y="703"/>
                </a:lnTo>
                <a:lnTo>
                  <a:pt x="471" y="704"/>
                </a:lnTo>
                <a:lnTo>
                  <a:pt x="472" y="704"/>
                </a:lnTo>
                <a:lnTo>
                  <a:pt x="473" y="704"/>
                </a:lnTo>
                <a:lnTo>
                  <a:pt x="474" y="705"/>
                </a:lnTo>
                <a:lnTo>
                  <a:pt x="474" y="706"/>
                </a:lnTo>
                <a:lnTo>
                  <a:pt x="475" y="709"/>
                </a:lnTo>
                <a:lnTo>
                  <a:pt x="487" y="709"/>
                </a:lnTo>
                <a:lnTo>
                  <a:pt x="493" y="716"/>
                </a:lnTo>
                <a:lnTo>
                  <a:pt x="496" y="722"/>
                </a:lnTo>
                <a:lnTo>
                  <a:pt x="500" y="727"/>
                </a:lnTo>
                <a:lnTo>
                  <a:pt x="506" y="732"/>
                </a:lnTo>
                <a:lnTo>
                  <a:pt x="511" y="734"/>
                </a:lnTo>
                <a:lnTo>
                  <a:pt x="511" y="736"/>
                </a:lnTo>
                <a:lnTo>
                  <a:pt x="513" y="739"/>
                </a:lnTo>
                <a:lnTo>
                  <a:pt x="516" y="741"/>
                </a:lnTo>
                <a:lnTo>
                  <a:pt x="518" y="742"/>
                </a:lnTo>
                <a:lnTo>
                  <a:pt x="523" y="745"/>
                </a:lnTo>
                <a:lnTo>
                  <a:pt x="529" y="746"/>
                </a:lnTo>
                <a:lnTo>
                  <a:pt x="531" y="742"/>
                </a:lnTo>
                <a:lnTo>
                  <a:pt x="536" y="737"/>
                </a:lnTo>
                <a:lnTo>
                  <a:pt x="539" y="735"/>
                </a:lnTo>
                <a:lnTo>
                  <a:pt x="541" y="734"/>
                </a:lnTo>
                <a:lnTo>
                  <a:pt x="542" y="706"/>
                </a:lnTo>
                <a:lnTo>
                  <a:pt x="546" y="677"/>
                </a:lnTo>
                <a:lnTo>
                  <a:pt x="547" y="663"/>
                </a:lnTo>
                <a:lnTo>
                  <a:pt x="546" y="648"/>
                </a:lnTo>
                <a:lnTo>
                  <a:pt x="545" y="634"/>
                </a:lnTo>
                <a:lnTo>
                  <a:pt x="541" y="619"/>
                </a:lnTo>
                <a:lnTo>
                  <a:pt x="538" y="599"/>
                </a:lnTo>
                <a:lnTo>
                  <a:pt x="536" y="574"/>
                </a:lnTo>
                <a:lnTo>
                  <a:pt x="536" y="550"/>
                </a:lnTo>
                <a:lnTo>
                  <a:pt x="536" y="530"/>
                </a:lnTo>
                <a:lnTo>
                  <a:pt x="523" y="518"/>
                </a:lnTo>
                <a:lnTo>
                  <a:pt x="523" y="499"/>
                </a:lnTo>
                <a:lnTo>
                  <a:pt x="522" y="477"/>
                </a:lnTo>
                <a:lnTo>
                  <a:pt x="521" y="455"/>
                </a:lnTo>
                <a:lnTo>
                  <a:pt x="520" y="433"/>
                </a:lnTo>
                <a:lnTo>
                  <a:pt x="519" y="409"/>
                </a:lnTo>
                <a:lnTo>
                  <a:pt x="518" y="386"/>
                </a:lnTo>
                <a:lnTo>
                  <a:pt x="518" y="364"/>
                </a:lnTo>
                <a:lnTo>
                  <a:pt x="517" y="343"/>
                </a:lnTo>
                <a:lnTo>
                  <a:pt x="512" y="338"/>
                </a:lnTo>
                <a:lnTo>
                  <a:pt x="506" y="331"/>
                </a:lnTo>
                <a:lnTo>
                  <a:pt x="501" y="324"/>
                </a:lnTo>
                <a:lnTo>
                  <a:pt x="499" y="319"/>
                </a:lnTo>
                <a:lnTo>
                  <a:pt x="493" y="313"/>
                </a:lnTo>
                <a:lnTo>
                  <a:pt x="484" y="310"/>
                </a:lnTo>
                <a:lnTo>
                  <a:pt x="475" y="307"/>
                </a:lnTo>
                <a:lnTo>
                  <a:pt x="469" y="301"/>
                </a:lnTo>
                <a:lnTo>
                  <a:pt x="468" y="270"/>
                </a:lnTo>
                <a:lnTo>
                  <a:pt x="467" y="234"/>
                </a:lnTo>
                <a:lnTo>
                  <a:pt x="464" y="197"/>
                </a:lnTo>
                <a:lnTo>
                  <a:pt x="463" y="163"/>
                </a:lnTo>
                <a:lnTo>
                  <a:pt x="459" y="158"/>
                </a:lnTo>
                <a:lnTo>
                  <a:pt x="454" y="154"/>
                </a:lnTo>
                <a:lnTo>
                  <a:pt x="452" y="149"/>
                </a:lnTo>
                <a:lnTo>
                  <a:pt x="451" y="145"/>
                </a:lnTo>
                <a:lnTo>
                  <a:pt x="446" y="144"/>
                </a:lnTo>
                <a:lnTo>
                  <a:pt x="441" y="141"/>
                </a:lnTo>
                <a:lnTo>
                  <a:pt x="436" y="138"/>
                </a:lnTo>
                <a:lnTo>
                  <a:pt x="431" y="135"/>
                </a:lnTo>
                <a:lnTo>
                  <a:pt x="422" y="127"/>
                </a:lnTo>
                <a:lnTo>
                  <a:pt x="415" y="120"/>
                </a:lnTo>
                <a:lnTo>
                  <a:pt x="404" y="120"/>
                </a:lnTo>
                <a:lnTo>
                  <a:pt x="391" y="120"/>
                </a:lnTo>
                <a:lnTo>
                  <a:pt x="377" y="120"/>
                </a:lnTo>
                <a:lnTo>
                  <a:pt x="367" y="120"/>
                </a:lnTo>
                <a:lnTo>
                  <a:pt x="357" y="115"/>
                </a:lnTo>
                <a:lnTo>
                  <a:pt x="341" y="106"/>
                </a:lnTo>
                <a:lnTo>
                  <a:pt x="334" y="102"/>
                </a:lnTo>
                <a:lnTo>
                  <a:pt x="326" y="99"/>
                </a:lnTo>
                <a:lnTo>
                  <a:pt x="318" y="97"/>
                </a:lnTo>
                <a:lnTo>
                  <a:pt x="312" y="97"/>
                </a:lnTo>
                <a:lnTo>
                  <a:pt x="311" y="92"/>
                </a:lnTo>
                <a:lnTo>
                  <a:pt x="309" y="88"/>
                </a:lnTo>
                <a:lnTo>
                  <a:pt x="305" y="86"/>
                </a:lnTo>
                <a:lnTo>
                  <a:pt x="300" y="84"/>
                </a:lnTo>
                <a:lnTo>
                  <a:pt x="300" y="82"/>
                </a:lnTo>
                <a:lnTo>
                  <a:pt x="298" y="80"/>
                </a:lnTo>
                <a:lnTo>
                  <a:pt x="295" y="78"/>
                </a:lnTo>
                <a:lnTo>
                  <a:pt x="291" y="76"/>
                </a:lnTo>
                <a:lnTo>
                  <a:pt x="282" y="73"/>
                </a:lnTo>
                <a:lnTo>
                  <a:pt x="277" y="72"/>
                </a:lnTo>
                <a:lnTo>
                  <a:pt x="276" y="70"/>
                </a:lnTo>
                <a:lnTo>
                  <a:pt x="273" y="68"/>
                </a:lnTo>
                <a:lnTo>
                  <a:pt x="270" y="66"/>
                </a:lnTo>
                <a:lnTo>
                  <a:pt x="267" y="64"/>
                </a:lnTo>
                <a:lnTo>
                  <a:pt x="259" y="61"/>
                </a:lnTo>
                <a:lnTo>
                  <a:pt x="252" y="60"/>
                </a:lnTo>
                <a:lnTo>
                  <a:pt x="250" y="57"/>
                </a:lnTo>
                <a:lnTo>
                  <a:pt x="245" y="50"/>
                </a:lnTo>
                <a:lnTo>
                  <a:pt x="238" y="42"/>
                </a:lnTo>
                <a:lnTo>
                  <a:pt x="229" y="33"/>
                </a:lnTo>
                <a:lnTo>
                  <a:pt x="220" y="24"/>
                </a:lnTo>
                <a:lnTo>
                  <a:pt x="212" y="16"/>
                </a:lnTo>
                <a:lnTo>
                  <a:pt x="206" y="10"/>
                </a:lnTo>
                <a:lnTo>
                  <a:pt x="204" y="6"/>
                </a:lnTo>
                <a:lnTo>
                  <a:pt x="192" y="6"/>
                </a:lnTo>
                <a:lnTo>
                  <a:pt x="191" y="4"/>
                </a:lnTo>
                <a:lnTo>
                  <a:pt x="186" y="3"/>
                </a:lnTo>
                <a:lnTo>
                  <a:pt x="181" y="2"/>
                </a:lnTo>
                <a:lnTo>
                  <a:pt x="174" y="1"/>
                </a:lnTo>
                <a:lnTo>
                  <a:pt x="160" y="1"/>
                </a:lnTo>
                <a:lnTo>
                  <a:pt x="151" y="0"/>
                </a:lnTo>
                <a:lnTo>
                  <a:pt x="141" y="6"/>
                </a:lnTo>
                <a:lnTo>
                  <a:pt x="126" y="12"/>
                </a:lnTo>
                <a:lnTo>
                  <a:pt x="126" y="15"/>
                </a:lnTo>
                <a:lnTo>
                  <a:pt x="125" y="18"/>
                </a:lnTo>
                <a:lnTo>
                  <a:pt x="124" y="19"/>
                </a:lnTo>
                <a:lnTo>
                  <a:pt x="123" y="19"/>
                </a:lnTo>
                <a:lnTo>
                  <a:pt x="122" y="19"/>
                </a:lnTo>
                <a:lnTo>
                  <a:pt x="122" y="19"/>
                </a:lnTo>
                <a:lnTo>
                  <a:pt x="120" y="21"/>
                </a:lnTo>
                <a:lnTo>
                  <a:pt x="120" y="24"/>
                </a:lnTo>
                <a:lnTo>
                  <a:pt x="114" y="2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38" name="Freeform 99">
            <a:extLst>
              <a:ext uri="{FF2B5EF4-FFF2-40B4-BE49-F238E27FC236}">
                <a16:creationId xmlns:a16="http://schemas.microsoft.com/office/drawing/2014/main" id="{383D3132-B234-44F2-9FC6-2AE84223DDCE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720138" y="3538538"/>
            <a:ext cx="260350" cy="185620"/>
          </a:xfrm>
          <a:custGeom>
            <a:avLst/>
            <a:gdLst/>
            <a:ahLst/>
            <a:cxnLst>
              <a:cxn ang="0">
                <a:pos x="591" y="112"/>
              </a:cxn>
              <a:cxn ang="0">
                <a:pos x="535" y="179"/>
              </a:cxn>
              <a:cxn ang="0">
                <a:pos x="430" y="257"/>
              </a:cxn>
              <a:cxn ang="0">
                <a:pos x="228" y="350"/>
              </a:cxn>
              <a:cxn ang="0">
                <a:pos x="66" y="407"/>
              </a:cxn>
              <a:cxn ang="0">
                <a:pos x="10" y="445"/>
              </a:cxn>
              <a:cxn ang="0">
                <a:pos x="0" y="477"/>
              </a:cxn>
              <a:cxn ang="0">
                <a:pos x="13" y="516"/>
              </a:cxn>
              <a:cxn ang="0">
                <a:pos x="110" y="648"/>
              </a:cxn>
              <a:cxn ang="0">
                <a:pos x="192" y="730"/>
              </a:cxn>
              <a:cxn ang="0">
                <a:pos x="294" y="807"/>
              </a:cxn>
              <a:cxn ang="0">
                <a:pos x="389" y="829"/>
              </a:cxn>
              <a:cxn ang="0">
                <a:pos x="475" y="781"/>
              </a:cxn>
              <a:cxn ang="0">
                <a:pos x="596" y="639"/>
              </a:cxn>
              <a:cxn ang="0">
                <a:pos x="681" y="548"/>
              </a:cxn>
              <a:cxn ang="0">
                <a:pos x="749" y="526"/>
              </a:cxn>
              <a:cxn ang="0">
                <a:pos x="802" y="564"/>
              </a:cxn>
              <a:cxn ang="0">
                <a:pos x="813" y="602"/>
              </a:cxn>
              <a:cxn ang="0">
                <a:pos x="803" y="638"/>
              </a:cxn>
              <a:cxn ang="0">
                <a:pos x="746" y="705"/>
              </a:cxn>
              <a:cxn ang="0">
                <a:pos x="679" y="743"/>
              </a:cxn>
              <a:cxn ang="0">
                <a:pos x="593" y="791"/>
              </a:cxn>
              <a:cxn ang="0">
                <a:pos x="553" y="844"/>
              </a:cxn>
              <a:cxn ang="0">
                <a:pos x="556" y="915"/>
              </a:cxn>
              <a:cxn ang="0">
                <a:pos x="575" y="945"/>
              </a:cxn>
              <a:cxn ang="0">
                <a:pos x="629" y="1004"/>
              </a:cxn>
              <a:cxn ang="0">
                <a:pos x="650" y="1049"/>
              </a:cxn>
              <a:cxn ang="0">
                <a:pos x="681" y="1055"/>
              </a:cxn>
              <a:cxn ang="0">
                <a:pos x="752" y="1026"/>
              </a:cxn>
              <a:cxn ang="0">
                <a:pos x="829" y="1001"/>
              </a:cxn>
              <a:cxn ang="0">
                <a:pos x="878" y="1016"/>
              </a:cxn>
              <a:cxn ang="0">
                <a:pos x="910" y="1075"/>
              </a:cxn>
              <a:cxn ang="0">
                <a:pos x="947" y="1119"/>
              </a:cxn>
              <a:cxn ang="0">
                <a:pos x="1005" y="1145"/>
              </a:cxn>
              <a:cxn ang="0">
                <a:pos x="1139" y="1160"/>
              </a:cxn>
              <a:cxn ang="0">
                <a:pos x="1338" y="1139"/>
              </a:cxn>
              <a:cxn ang="0">
                <a:pos x="1373" y="1123"/>
              </a:cxn>
              <a:cxn ang="0">
                <a:pos x="1395" y="1117"/>
              </a:cxn>
              <a:cxn ang="0">
                <a:pos x="1384" y="1038"/>
              </a:cxn>
              <a:cxn ang="0">
                <a:pos x="1359" y="978"/>
              </a:cxn>
              <a:cxn ang="0">
                <a:pos x="1305" y="922"/>
              </a:cxn>
              <a:cxn ang="0">
                <a:pos x="1178" y="850"/>
              </a:cxn>
              <a:cxn ang="0">
                <a:pos x="1136" y="823"/>
              </a:cxn>
              <a:cxn ang="0">
                <a:pos x="1115" y="796"/>
              </a:cxn>
              <a:cxn ang="0">
                <a:pos x="1195" y="778"/>
              </a:cxn>
              <a:cxn ang="0">
                <a:pos x="1420" y="768"/>
              </a:cxn>
              <a:cxn ang="0">
                <a:pos x="1389" y="718"/>
              </a:cxn>
              <a:cxn ang="0">
                <a:pos x="1273" y="624"/>
              </a:cxn>
              <a:cxn ang="0">
                <a:pos x="1188" y="543"/>
              </a:cxn>
              <a:cxn ang="0">
                <a:pos x="1144" y="444"/>
              </a:cxn>
              <a:cxn ang="0">
                <a:pos x="1101" y="368"/>
              </a:cxn>
              <a:cxn ang="0">
                <a:pos x="1041" y="325"/>
              </a:cxn>
              <a:cxn ang="0">
                <a:pos x="1019" y="287"/>
              </a:cxn>
              <a:cxn ang="0">
                <a:pos x="1002" y="138"/>
              </a:cxn>
              <a:cxn ang="0">
                <a:pos x="979" y="70"/>
              </a:cxn>
              <a:cxn ang="0">
                <a:pos x="937" y="35"/>
              </a:cxn>
              <a:cxn ang="0">
                <a:pos x="811" y="30"/>
              </a:cxn>
              <a:cxn ang="0">
                <a:pos x="740" y="19"/>
              </a:cxn>
              <a:cxn ang="0">
                <a:pos x="691" y="0"/>
              </a:cxn>
              <a:cxn ang="0">
                <a:pos x="658" y="18"/>
              </a:cxn>
              <a:cxn ang="0">
                <a:pos x="626" y="37"/>
              </a:cxn>
            </a:cxnLst>
            <a:rect l="0" t="0" r="r" b="b"/>
            <a:pathLst>
              <a:path w="1421" h="1160">
                <a:moveTo>
                  <a:pt x="619" y="50"/>
                </a:moveTo>
                <a:lnTo>
                  <a:pt x="613" y="66"/>
                </a:lnTo>
                <a:lnTo>
                  <a:pt x="608" y="81"/>
                </a:lnTo>
                <a:lnTo>
                  <a:pt x="600" y="97"/>
                </a:lnTo>
                <a:lnTo>
                  <a:pt x="591" y="112"/>
                </a:lnTo>
                <a:lnTo>
                  <a:pt x="582" y="126"/>
                </a:lnTo>
                <a:lnTo>
                  <a:pt x="572" y="139"/>
                </a:lnTo>
                <a:lnTo>
                  <a:pt x="561" y="153"/>
                </a:lnTo>
                <a:lnTo>
                  <a:pt x="548" y="166"/>
                </a:lnTo>
                <a:lnTo>
                  <a:pt x="535" y="179"/>
                </a:lnTo>
                <a:lnTo>
                  <a:pt x="522" y="191"/>
                </a:lnTo>
                <a:lnTo>
                  <a:pt x="508" y="203"/>
                </a:lnTo>
                <a:lnTo>
                  <a:pt x="494" y="214"/>
                </a:lnTo>
                <a:lnTo>
                  <a:pt x="462" y="237"/>
                </a:lnTo>
                <a:lnTo>
                  <a:pt x="430" y="257"/>
                </a:lnTo>
                <a:lnTo>
                  <a:pt x="397" y="276"/>
                </a:lnTo>
                <a:lnTo>
                  <a:pt x="362" y="293"/>
                </a:lnTo>
                <a:lnTo>
                  <a:pt x="328" y="309"/>
                </a:lnTo>
                <a:lnTo>
                  <a:pt x="294" y="325"/>
                </a:lnTo>
                <a:lnTo>
                  <a:pt x="228" y="350"/>
                </a:lnTo>
                <a:lnTo>
                  <a:pt x="168" y="373"/>
                </a:lnTo>
                <a:lnTo>
                  <a:pt x="134" y="384"/>
                </a:lnTo>
                <a:lnTo>
                  <a:pt x="100" y="395"/>
                </a:lnTo>
                <a:lnTo>
                  <a:pt x="83" y="401"/>
                </a:lnTo>
                <a:lnTo>
                  <a:pt x="66" y="407"/>
                </a:lnTo>
                <a:lnTo>
                  <a:pt x="50" y="414"/>
                </a:lnTo>
                <a:lnTo>
                  <a:pt x="37" y="422"/>
                </a:lnTo>
                <a:lnTo>
                  <a:pt x="25" y="431"/>
                </a:lnTo>
                <a:lnTo>
                  <a:pt x="15" y="441"/>
                </a:lnTo>
                <a:lnTo>
                  <a:pt x="10" y="445"/>
                </a:lnTo>
                <a:lnTo>
                  <a:pt x="7" y="451"/>
                </a:lnTo>
                <a:lnTo>
                  <a:pt x="4" y="456"/>
                </a:lnTo>
                <a:lnTo>
                  <a:pt x="1" y="463"/>
                </a:lnTo>
                <a:lnTo>
                  <a:pt x="0" y="470"/>
                </a:lnTo>
                <a:lnTo>
                  <a:pt x="0" y="477"/>
                </a:lnTo>
                <a:lnTo>
                  <a:pt x="0" y="483"/>
                </a:lnTo>
                <a:lnTo>
                  <a:pt x="2" y="491"/>
                </a:lnTo>
                <a:lnTo>
                  <a:pt x="5" y="499"/>
                </a:lnTo>
                <a:lnTo>
                  <a:pt x="8" y="508"/>
                </a:lnTo>
                <a:lnTo>
                  <a:pt x="13" y="516"/>
                </a:lnTo>
                <a:lnTo>
                  <a:pt x="18" y="526"/>
                </a:lnTo>
                <a:lnTo>
                  <a:pt x="49" y="570"/>
                </a:lnTo>
                <a:lnTo>
                  <a:pt x="80" y="610"/>
                </a:lnTo>
                <a:lnTo>
                  <a:pt x="95" y="629"/>
                </a:lnTo>
                <a:lnTo>
                  <a:pt x="110" y="648"/>
                </a:lnTo>
                <a:lnTo>
                  <a:pt x="125" y="665"/>
                </a:lnTo>
                <a:lnTo>
                  <a:pt x="142" y="682"/>
                </a:lnTo>
                <a:lnTo>
                  <a:pt x="158" y="699"/>
                </a:lnTo>
                <a:lnTo>
                  <a:pt x="174" y="714"/>
                </a:lnTo>
                <a:lnTo>
                  <a:pt x="192" y="730"/>
                </a:lnTo>
                <a:lnTo>
                  <a:pt x="210" y="745"/>
                </a:lnTo>
                <a:lnTo>
                  <a:pt x="230" y="761"/>
                </a:lnTo>
                <a:lnTo>
                  <a:pt x="250" y="776"/>
                </a:lnTo>
                <a:lnTo>
                  <a:pt x="272" y="791"/>
                </a:lnTo>
                <a:lnTo>
                  <a:pt x="294" y="807"/>
                </a:lnTo>
                <a:lnTo>
                  <a:pt x="314" y="818"/>
                </a:lnTo>
                <a:lnTo>
                  <a:pt x="333" y="826"/>
                </a:lnTo>
                <a:lnTo>
                  <a:pt x="352" y="830"/>
                </a:lnTo>
                <a:lnTo>
                  <a:pt x="371" y="831"/>
                </a:lnTo>
                <a:lnTo>
                  <a:pt x="389" y="829"/>
                </a:lnTo>
                <a:lnTo>
                  <a:pt x="407" y="824"/>
                </a:lnTo>
                <a:lnTo>
                  <a:pt x="424" y="817"/>
                </a:lnTo>
                <a:lnTo>
                  <a:pt x="441" y="807"/>
                </a:lnTo>
                <a:lnTo>
                  <a:pt x="458" y="795"/>
                </a:lnTo>
                <a:lnTo>
                  <a:pt x="475" y="781"/>
                </a:lnTo>
                <a:lnTo>
                  <a:pt x="491" y="767"/>
                </a:lnTo>
                <a:lnTo>
                  <a:pt x="507" y="750"/>
                </a:lnTo>
                <a:lnTo>
                  <a:pt x="537" y="714"/>
                </a:lnTo>
                <a:lnTo>
                  <a:pt x="567" y="677"/>
                </a:lnTo>
                <a:lnTo>
                  <a:pt x="596" y="639"/>
                </a:lnTo>
                <a:lnTo>
                  <a:pt x="625" y="605"/>
                </a:lnTo>
                <a:lnTo>
                  <a:pt x="640" y="588"/>
                </a:lnTo>
                <a:lnTo>
                  <a:pt x="653" y="574"/>
                </a:lnTo>
                <a:lnTo>
                  <a:pt x="668" y="560"/>
                </a:lnTo>
                <a:lnTo>
                  <a:pt x="681" y="548"/>
                </a:lnTo>
                <a:lnTo>
                  <a:pt x="695" y="539"/>
                </a:lnTo>
                <a:lnTo>
                  <a:pt x="708" y="531"/>
                </a:lnTo>
                <a:lnTo>
                  <a:pt x="723" y="527"/>
                </a:lnTo>
                <a:lnTo>
                  <a:pt x="736" y="525"/>
                </a:lnTo>
                <a:lnTo>
                  <a:pt x="749" y="526"/>
                </a:lnTo>
                <a:lnTo>
                  <a:pt x="763" y="530"/>
                </a:lnTo>
                <a:lnTo>
                  <a:pt x="777" y="538"/>
                </a:lnTo>
                <a:lnTo>
                  <a:pt x="791" y="550"/>
                </a:lnTo>
                <a:lnTo>
                  <a:pt x="797" y="557"/>
                </a:lnTo>
                <a:lnTo>
                  <a:pt x="802" y="564"/>
                </a:lnTo>
                <a:lnTo>
                  <a:pt x="806" y="571"/>
                </a:lnTo>
                <a:lnTo>
                  <a:pt x="810" y="578"/>
                </a:lnTo>
                <a:lnTo>
                  <a:pt x="812" y="586"/>
                </a:lnTo>
                <a:lnTo>
                  <a:pt x="813" y="594"/>
                </a:lnTo>
                <a:lnTo>
                  <a:pt x="813" y="602"/>
                </a:lnTo>
                <a:lnTo>
                  <a:pt x="813" y="608"/>
                </a:lnTo>
                <a:lnTo>
                  <a:pt x="812" y="616"/>
                </a:lnTo>
                <a:lnTo>
                  <a:pt x="810" y="624"/>
                </a:lnTo>
                <a:lnTo>
                  <a:pt x="806" y="632"/>
                </a:lnTo>
                <a:lnTo>
                  <a:pt x="803" y="638"/>
                </a:lnTo>
                <a:lnTo>
                  <a:pt x="795" y="653"/>
                </a:lnTo>
                <a:lnTo>
                  <a:pt x="785" y="667"/>
                </a:lnTo>
                <a:lnTo>
                  <a:pt x="773" y="681"/>
                </a:lnTo>
                <a:lnTo>
                  <a:pt x="759" y="693"/>
                </a:lnTo>
                <a:lnTo>
                  <a:pt x="746" y="705"/>
                </a:lnTo>
                <a:lnTo>
                  <a:pt x="731" y="715"/>
                </a:lnTo>
                <a:lnTo>
                  <a:pt x="718" y="725"/>
                </a:lnTo>
                <a:lnTo>
                  <a:pt x="704" y="733"/>
                </a:lnTo>
                <a:lnTo>
                  <a:pt x="690" y="739"/>
                </a:lnTo>
                <a:lnTo>
                  <a:pt x="679" y="743"/>
                </a:lnTo>
                <a:lnTo>
                  <a:pt x="660" y="751"/>
                </a:lnTo>
                <a:lnTo>
                  <a:pt x="641" y="759"/>
                </a:lnTo>
                <a:lnTo>
                  <a:pt x="624" y="769"/>
                </a:lnTo>
                <a:lnTo>
                  <a:pt x="608" y="779"/>
                </a:lnTo>
                <a:lnTo>
                  <a:pt x="593" y="791"/>
                </a:lnTo>
                <a:lnTo>
                  <a:pt x="580" y="805"/>
                </a:lnTo>
                <a:lnTo>
                  <a:pt x="566" y="819"/>
                </a:lnTo>
                <a:lnTo>
                  <a:pt x="556" y="834"/>
                </a:lnTo>
                <a:lnTo>
                  <a:pt x="554" y="838"/>
                </a:lnTo>
                <a:lnTo>
                  <a:pt x="553" y="844"/>
                </a:lnTo>
                <a:lnTo>
                  <a:pt x="552" y="850"/>
                </a:lnTo>
                <a:lnTo>
                  <a:pt x="551" y="858"/>
                </a:lnTo>
                <a:lnTo>
                  <a:pt x="552" y="876"/>
                </a:lnTo>
                <a:lnTo>
                  <a:pt x="553" y="896"/>
                </a:lnTo>
                <a:lnTo>
                  <a:pt x="556" y="915"/>
                </a:lnTo>
                <a:lnTo>
                  <a:pt x="561" y="931"/>
                </a:lnTo>
                <a:lnTo>
                  <a:pt x="564" y="936"/>
                </a:lnTo>
                <a:lnTo>
                  <a:pt x="567" y="942"/>
                </a:lnTo>
                <a:lnTo>
                  <a:pt x="571" y="944"/>
                </a:lnTo>
                <a:lnTo>
                  <a:pt x="575" y="945"/>
                </a:lnTo>
                <a:lnTo>
                  <a:pt x="577" y="950"/>
                </a:lnTo>
                <a:lnTo>
                  <a:pt x="585" y="959"/>
                </a:lnTo>
                <a:lnTo>
                  <a:pt x="595" y="970"/>
                </a:lnTo>
                <a:lnTo>
                  <a:pt x="606" y="982"/>
                </a:lnTo>
                <a:lnTo>
                  <a:pt x="629" y="1004"/>
                </a:lnTo>
                <a:lnTo>
                  <a:pt x="640" y="1014"/>
                </a:lnTo>
                <a:lnTo>
                  <a:pt x="641" y="1026"/>
                </a:lnTo>
                <a:lnTo>
                  <a:pt x="643" y="1036"/>
                </a:lnTo>
                <a:lnTo>
                  <a:pt x="645" y="1043"/>
                </a:lnTo>
                <a:lnTo>
                  <a:pt x="650" y="1049"/>
                </a:lnTo>
                <a:lnTo>
                  <a:pt x="654" y="1054"/>
                </a:lnTo>
                <a:lnTo>
                  <a:pt x="660" y="1056"/>
                </a:lnTo>
                <a:lnTo>
                  <a:pt x="667" y="1057"/>
                </a:lnTo>
                <a:lnTo>
                  <a:pt x="673" y="1057"/>
                </a:lnTo>
                <a:lnTo>
                  <a:pt x="681" y="1055"/>
                </a:lnTo>
                <a:lnTo>
                  <a:pt x="690" y="1052"/>
                </a:lnTo>
                <a:lnTo>
                  <a:pt x="699" y="1049"/>
                </a:lnTo>
                <a:lnTo>
                  <a:pt x="709" y="1045"/>
                </a:lnTo>
                <a:lnTo>
                  <a:pt x="729" y="1036"/>
                </a:lnTo>
                <a:lnTo>
                  <a:pt x="752" y="1026"/>
                </a:lnTo>
                <a:lnTo>
                  <a:pt x="774" y="1016"/>
                </a:lnTo>
                <a:lnTo>
                  <a:pt x="796" y="1007"/>
                </a:lnTo>
                <a:lnTo>
                  <a:pt x="807" y="1004"/>
                </a:lnTo>
                <a:lnTo>
                  <a:pt x="819" y="1002"/>
                </a:lnTo>
                <a:lnTo>
                  <a:pt x="829" y="1001"/>
                </a:lnTo>
                <a:lnTo>
                  <a:pt x="840" y="1001"/>
                </a:lnTo>
                <a:lnTo>
                  <a:pt x="850" y="1002"/>
                </a:lnTo>
                <a:lnTo>
                  <a:pt x="859" y="1004"/>
                </a:lnTo>
                <a:lnTo>
                  <a:pt x="869" y="1010"/>
                </a:lnTo>
                <a:lnTo>
                  <a:pt x="878" y="1016"/>
                </a:lnTo>
                <a:lnTo>
                  <a:pt x="885" y="1025"/>
                </a:lnTo>
                <a:lnTo>
                  <a:pt x="892" y="1035"/>
                </a:lnTo>
                <a:lnTo>
                  <a:pt x="899" y="1048"/>
                </a:lnTo>
                <a:lnTo>
                  <a:pt x="906" y="1064"/>
                </a:lnTo>
                <a:lnTo>
                  <a:pt x="910" y="1075"/>
                </a:lnTo>
                <a:lnTo>
                  <a:pt x="916" y="1085"/>
                </a:lnTo>
                <a:lnTo>
                  <a:pt x="921" y="1095"/>
                </a:lnTo>
                <a:lnTo>
                  <a:pt x="929" y="1104"/>
                </a:lnTo>
                <a:lnTo>
                  <a:pt x="938" y="1112"/>
                </a:lnTo>
                <a:lnTo>
                  <a:pt x="947" y="1119"/>
                </a:lnTo>
                <a:lnTo>
                  <a:pt x="957" y="1126"/>
                </a:lnTo>
                <a:lnTo>
                  <a:pt x="968" y="1132"/>
                </a:lnTo>
                <a:lnTo>
                  <a:pt x="979" y="1137"/>
                </a:lnTo>
                <a:lnTo>
                  <a:pt x="992" y="1142"/>
                </a:lnTo>
                <a:lnTo>
                  <a:pt x="1005" y="1145"/>
                </a:lnTo>
                <a:lnTo>
                  <a:pt x="1018" y="1148"/>
                </a:lnTo>
                <a:lnTo>
                  <a:pt x="1046" y="1154"/>
                </a:lnTo>
                <a:lnTo>
                  <a:pt x="1076" y="1157"/>
                </a:lnTo>
                <a:lnTo>
                  <a:pt x="1108" y="1160"/>
                </a:lnTo>
                <a:lnTo>
                  <a:pt x="1139" y="1160"/>
                </a:lnTo>
                <a:lnTo>
                  <a:pt x="1171" y="1158"/>
                </a:lnTo>
                <a:lnTo>
                  <a:pt x="1204" y="1156"/>
                </a:lnTo>
                <a:lnTo>
                  <a:pt x="1267" y="1150"/>
                </a:lnTo>
                <a:lnTo>
                  <a:pt x="1326" y="1142"/>
                </a:lnTo>
                <a:lnTo>
                  <a:pt x="1338" y="1139"/>
                </a:lnTo>
                <a:lnTo>
                  <a:pt x="1347" y="1137"/>
                </a:lnTo>
                <a:lnTo>
                  <a:pt x="1354" y="1133"/>
                </a:lnTo>
                <a:lnTo>
                  <a:pt x="1361" y="1129"/>
                </a:lnTo>
                <a:lnTo>
                  <a:pt x="1367" y="1126"/>
                </a:lnTo>
                <a:lnTo>
                  <a:pt x="1373" y="1123"/>
                </a:lnTo>
                <a:lnTo>
                  <a:pt x="1380" y="1122"/>
                </a:lnTo>
                <a:lnTo>
                  <a:pt x="1389" y="1120"/>
                </a:lnTo>
                <a:lnTo>
                  <a:pt x="1389" y="1118"/>
                </a:lnTo>
                <a:lnTo>
                  <a:pt x="1391" y="1118"/>
                </a:lnTo>
                <a:lnTo>
                  <a:pt x="1395" y="1117"/>
                </a:lnTo>
                <a:lnTo>
                  <a:pt x="1397" y="1117"/>
                </a:lnTo>
                <a:lnTo>
                  <a:pt x="1396" y="1103"/>
                </a:lnTo>
                <a:lnTo>
                  <a:pt x="1395" y="1084"/>
                </a:lnTo>
                <a:lnTo>
                  <a:pt x="1390" y="1061"/>
                </a:lnTo>
                <a:lnTo>
                  <a:pt x="1384" y="1038"/>
                </a:lnTo>
                <a:lnTo>
                  <a:pt x="1381" y="1026"/>
                </a:lnTo>
                <a:lnTo>
                  <a:pt x="1377" y="1013"/>
                </a:lnTo>
                <a:lnTo>
                  <a:pt x="1371" y="1001"/>
                </a:lnTo>
                <a:lnTo>
                  <a:pt x="1365" y="989"/>
                </a:lnTo>
                <a:lnTo>
                  <a:pt x="1359" y="978"/>
                </a:lnTo>
                <a:lnTo>
                  <a:pt x="1352" y="966"/>
                </a:lnTo>
                <a:lnTo>
                  <a:pt x="1344" y="956"/>
                </a:lnTo>
                <a:lnTo>
                  <a:pt x="1335" y="946"/>
                </a:lnTo>
                <a:lnTo>
                  <a:pt x="1320" y="934"/>
                </a:lnTo>
                <a:lnTo>
                  <a:pt x="1305" y="922"/>
                </a:lnTo>
                <a:lnTo>
                  <a:pt x="1288" y="910"/>
                </a:lnTo>
                <a:lnTo>
                  <a:pt x="1272" y="900"/>
                </a:lnTo>
                <a:lnTo>
                  <a:pt x="1238" y="881"/>
                </a:lnTo>
                <a:lnTo>
                  <a:pt x="1207" y="864"/>
                </a:lnTo>
                <a:lnTo>
                  <a:pt x="1178" y="850"/>
                </a:lnTo>
                <a:lnTo>
                  <a:pt x="1156" y="838"/>
                </a:lnTo>
                <a:lnTo>
                  <a:pt x="1147" y="833"/>
                </a:lnTo>
                <a:lnTo>
                  <a:pt x="1140" y="827"/>
                </a:lnTo>
                <a:lnTo>
                  <a:pt x="1138" y="825"/>
                </a:lnTo>
                <a:lnTo>
                  <a:pt x="1136" y="823"/>
                </a:lnTo>
                <a:lnTo>
                  <a:pt x="1134" y="820"/>
                </a:lnTo>
                <a:lnTo>
                  <a:pt x="1134" y="817"/>
                </a:lnTo>
                <a:lnTo>
                  <a:pt x="1124" y="810"/>
                </a:lnTo>
                <a:lnTo>
                  <a:pt x="1115" y="804"/>
                </a:lnTo>
                <a:lnTo>
                  <a:pt x="1115" y="796"/>
                </a:lnTo>
                <a:lnTo>
                  <a:pt x="1130" y="795"/>
                </a:lnTo>
                <a:lnTo>
                  <a:pt x="1146" y="791"/>
                </a:lnTo>
                <a:lnTo>
                  <a:pt x="1161" y="787"/>
                </a:lnTo>
                <a:lnTo>
                  <a:pt x="1178" y="782"/>
                </a:lnTo>
                <a:lnTo>
                  <a:pt x="1195" y="778"/>
                </a:lnTo>
                <a:lnTo>
                  <a:pt x="1211" y="773"/>
                </a:lnTo>
                <a:lnTo>
                  <a:pt x="1229" y="771"/>
                </a:lnTo>
                <a:lnTo>
                  <a:pt x="1246" y="771"/>
                </a:lnTo>
                <a:lnTo>
                  <a:pt x="1421" y="773"/>
                </a:lnTo>
                <a:lnTo>
                  <a:pt x="1420" y="768"/>
                </a:lnTo>
                <a:lnTo>
                  <a:pt x="1419" y="761"/>
                </a:lnTo>
                <a:lnTo>
                  <a:pt x="1416" y="753"/>
                </a:lnTo>
                <a:lnTo>
                  <a:pt x="1412" y="747"/>
                </a:lnTo>
                <a:lnTo>
                  <a:pt x="1402" y="733"/>
                </a:lnTo>
                <a:lnTo>
                  <a:pt x="1389" y="718"/>
                </a:lnTo>
                <a:lnTo>
                  <a:pt x="1373" y="703"/>
                </a:lnTo>
                <a:lnTo>
                  <a:pt x="1355" y="687"/>
                </a:lnTo>
                <a:lnTo>
                  <a:pt x="1335" y="672"/>
                </a:lnTo>
                <a:lnTo>
                  <a:pt x="1315" y="656"/>
                </a:lnTo>
                <a:lnTo>
                  <a:pt x="1273" y="624"/>
                </a:lnTo>
                <a:lnTo>
                  <a:pt x="1234" y="591"/>
                </a:lnTo>
                <a:lnTo>
                  <a:pt x="1216" y="576"/>
                </a:lnTo>
                <a:lnTo>
                  <a:pt x="1200" y="559"/>
                </a:lnTo>
                <a:lnTo>
                  <a:pt x="1194" y="551"/>
                </a:lnTo>
                <a:lnTo>
                  <a:pt x="1188" y="543"/>
                </a:lnTo>
                <a:lnTo>
                  <a:pt x="1182" y="536"/>
                </a:lnTo>
                <a:lnTo>
                  <a:pt x="1178" y="528"/>
                </a:lnTo>
                <a:lnTo>
                  <a:pt x="1166" y="500"/>
                </a:lnTo>
                <a:lnTo>
                  <a:pt x="1155" y="471"/>
                </a:lnTo>
                <a:lnTo>
                  <a:pt x="1144" y="444"/>
                </a:lnTo>
                <a:lnTo>
                  <a:pt x="1133" y="417"/>
                </a:lnTo>
                <a:lnTo>
                  <a:pt x="1127" y="404"/>
                </a:lnTo>
                <a:lnTo>
                  <a:pt x="1120" y="392"/>
                </a:lnTo>
                <a:lnTo>
                  <a:pt x="1111" y="381"/>
                </a:lnTo>
                <a:lnTo>
                  <a:pt x="1101" y="368"/>
                </a:lnTo>
                <a:lnTo>
                  <a:pt x="1091" y="358"/>
                </a:lnTo>
                <a:lnTo>
                  <a:pt x="1077" y="347"/>
                </a:lnTo>
                <a:lnTo>
                  <a:pt x="1063" y="338"/>
                </a:lnTo>
                <a:lnTo>
                  <a:pt x="1047" y="329"/>
                </a:lnTo>
                <a:lnTo>
                  <a:pt x="1041" y="325"/>
                </a:lnTo>
                <a:lnTo>
                  <a:pt x="1035" y="319"/>
                </a:lnTo>
                <a:lnTo>
                  <a:pt x="1029" y="312"/>
                </a:lnTo>
                <a:lnTo>
                  <a:pt x="1025" y="305"/>
                </a:lnTo>
                <a:lnTo>
                  <a:pt x="1022" y="297"/>
                </a:lnTo>
                <a:lnTo>
                  <a:pt x="1019" y="287"/>
                </a:lnTo>
                <a:lnTo>
                  <a:pt x="1016" y="277"/>
                </a:lnTo>
                <a:lnTo>
                  <a:pt x="1015" y="266"/>
                </a:lnTo>
                <a:lnTo>
                  <a:pt x="1009" y="216"/>
                </a:lnTo>
                <a:lnTo>
                  <a:pt x="1005" y="164"/>
                </a:lnTo>
                <a:lnTo>
                  <a:pt x="1002" y="138"/>
                </a:lnTo>
                <a:lnTo>
                  <a:pt x="996" y="114"/>
                </a:lnTo>
                <a:lnTo>
                  <a:pt x="993" y="102"/>
                </a:lnTo>
                <a:lnTo>
                  <a:pt x="989" y="90"/>
                </a:lnTo>
                <a:lnTo>
                  <a:pt x="985" y="80"/>
                </a:lnTo>
                <a:lnTo>
                  <a:pt x="979" y="70"/>
                </a:lnTo>
                <a:lnTo>
                  <a:pt x="973" y="61"/>
                </a:lnTo>
                <a:lnTo>
                  <a:pt x="965" y="54"/>
                </a:lnTo>
                <a:lnTo>
                  <a:pt x="957" y="46"/>
                </a:lnTo>
                <a:lnTo>
                  <a:pt x="947" y="40"/>
                </a:lnTo>
                <a:lnTo>
                  <a:pt x="937" y="35"/>
                </a:lnTo>
                <a:lnTo>
                  <a:pt x="925" y="31"/>
                </a:lnTo>
                <a:lnTo>
                  <a:pt x="911" y="29"/>
                </a:lnTo>
                <a:lnTo>
                  <a:pt x="897" y="29"/>
                </a:lnTo>
                <a:lnTo>
                  <a:pt x="856" y="29"/>
                </a:lnTo>
                <a:lnTo>
                  <a:pt x="811" y="30"/>
                </a:lnTo>
                <a:lnTo>
                  <a:pt x="788" y="29"/>
                </a:lnTo>
                <a:lnTo>
                  <a:pt x="767" y="27"/>
                </a:lnTo>
                <a:lnTo>
                  <a:pt x="757" y="25"/>
                </a:lnTo>
                <a:lnTo>
                  <a:pt x="748" y="22"/>
                </a:lnTo>
                <a:lnTo>
                  <a:pt x="740" y="19"/>
                </a:lnTo>
                <a:lnTo>
                  <a:pt x="734" y="14"/>
                </a:lnTo>
                <a:lnTo>
                  <a:pt x="720" y="8"/>
                </a:lnTo>
                <a:lnTo>
                  <a:pt x="709" y="3"/>
                </a:lnTo>
                <a:lnTo>
                  <a:pt x="699" y="1"/>
                </a:lnTo>
                <a:lnTo>
                  <a:pt x="691" y="0"/>
                </a:lnTo>
                <a:lnTo>
                  <a:pt x="683" y="1"/>
                </a:lnTo>
                <a:lnTo>
                  <a:pt x="677" y="2"/>
                </a:lnTo>
                <a:lnTo>
                  <a:pt x="671" y="6"/>
                </a:lnTo>
                <a:lnTo>
                  <a:pt x="667" y="9"/>
                </a:lnTo>
                <a:lnTo>
                  <a:pt x="658" y="18"/>
                </a:lnTo>
                <a:lnTo>
                  <a:pt x="649" y="27"/>
                </a:lnTo>
                <a:lnTo>
                  <a:pt x="644" y="31"/>
                </a:lnTo>
                <a:lnTo>
                  <a:pt x="639" y="35"/>
                </a:lnTo>
                <a:lnTo>
                  <a:pt x="633" y="36"/>
                </a:lnTo>
                <a:lnTo>
                  <a:pt x="626" y="37"/>
                </a:lnTo>
                <a:lnTo>
                  <a:pt x="626" y="42"/>
                </a:lnTo>
                <a:lnTo>
                  <a:pt x="619" y="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39" name="Freeform 100">
            <a:extLst>
              <a:ext uri="{FF2B5EF4-FFF2-40B4-BE49-F238E27FC236}">
                <a16:creationId xmlns:a16="http://schemas.microsoft.com/office/drawing/2014/main" id="{F0803EEA-B7CD-4A08-9BFD-BF4EF6A6C132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210550" y="3789363"/>
            <a:ext cx="116453" cy="80963"/>
          </a:xfrm>
          <a:custGeom>
            <a:avLst/>
            <a:gdLst/>
            <a:ahLst/>
            <a:cxnLst>
              <a:cxn ang="0">
                <a:pos x="32" y="25"/>
              </a:cxn>
              <a:cxn ang="0">
                <a:pos x="27" y="30"/>
              </a:cxn>
              <a:cxn ang="0">
                <a:pos x="12" y="54"/>
              </a:cxn>
              <a:cxn ang="0">
                <a:pos x="8" y="68"/>
              </a:cxn>
              <a:cxn ang="0">
                <a:pos x="3" y="82"/>
              </a:cxn>
              <a:cxn ang="0">
                <a:pos x="0" y="136"/>
              </a:cxn>
              <a:cxn ang="0">
                <a:pos x="9" y="156"/>
              </a:cxn>
              <a:cxn ang="0">
                <a:pos x="15" y="192"/>
              </a:cxn>
              <a:cxn ang="0">
                <a:pos x="20" y="211"/>
              </a:cxn>
              <a:cxn ang="0">
                <a:pos x="32" y="265"/>
              </a:cxn>
              <a:cxn ang="0">
                <a:pos x="63" y="337"/>
              </a:cxn>
              <a:cxn ang="0">
                <a:pos x="75" y="352"/>
              </a:cxn>
              <a:cxn ang="0">
                <a:pos x="86" y="362"/>
              </a:cxn>
              <a:cxn ang="0">
                <a:pos x="113" y="401"/>
              </a:cxn>
              <a:cxn ang="0">
                <a:pos x="152" y="417"/>
              </a:cxn>
              <a:cxn ang="0">
                <a:pos x="171" y="421"/>
              </a:cxn>
              <a:cxn ang="0">
                <a:pos x="227" y="415"/>
              </a:cxn>
              <a:cxn ang="0">
                <a:pos x="256" y="406"/>
              </a:cxn>
              <a:cxn ang="0">
                <a:pos x="314" y="411"/>
              </a:cxn>
              <a:cxn ang="0">
                <a:pos x="323" y="404"/>
              </a:cxn>
              <a:cxn ang="0">
                <a:pos x="345" y="414"/>
              </a:cxn>
              <a:cxn ang="0">
                <a:pos x="362" y="429"/>
              </a:cxn>
              <a:cxn ang="0">
                <a:pos x="375" y="437"/>
              </a:cxn>
              <a:cxn ang="0">
                <a:pos x="386" y="439"/>
              </a:cxn>
              <a:cxn ang="0">
                <a:pos x="397" y="444"/>
              </a:cxn>
              <a:cxn ang="0">
                <a:pos x="407" y="456"/>
              </a:cxn>
              <a:cxn ang="0">
                <a:pos x="453" y="491"/>
              </a:cxn>
              <a:cxn ang="0">
                <a:pos x="491" y="498"/>
              </a:cxn>
              <a:cxn ang="0">
                <a:pos x="570" y="507"/>
              </a:cxn>
              <a:cxn ang="0">
                <a:pos x="629" y="500"/>
              </a:cxn>
              <a:cxn ang="0">
                <a:pos x="642" y="472"/>
              </a:cxn>
              <a:cxn ang="0">
                <a:pos x="636" y="452"/>
              </a:cxn>
              <a:cxn ang="0">
                <a:pos x="588" y="404"/>
              </a:cxn>
              <a:cxn ang="0">
                <a:pos x="549" y="366"/>
              </a:cxn>
              <a:cxn ang="0">
                <a:pos x="526" y="313"/>
              </a:cxn>
              <a:cxn ang="0">
                <a:pos x="514" y="233"/>
              </a:cxn>
              <a:cxn ang="0">
                <a:pos x="496" y="219"/>
              </a:cxn>
              <a:cxn ang="0">
                <a:pos x="483" y="199"/>
              </a:cxn>
              <a:cxn ang="0">
                <a:pos x="462" y="182"/>
              </a:cxn>
              <a:cxn ang="0">
                <a:pos x="454" y="174"/>
              </a:cxn>
              <a:cxn ang="0">
                <a:pos x="423" y="161"/>
              </a:cxn>
              <a:cxn ang="0">
                <a:pos x="419" y="153"/>
              </a:cxn>
              <a:cxn ang="0">
                <a:pos x="415" y="145"/>
              </a:cxn>
              <a:cxn ang="0">
                <a:pos x="392" y="132"/>
              </a:cxn>
              <a:cxn ang="0">
                <a:pos x="386" y="130"/>
              </a:cxn>
              <a:cxn ang="0">
                <a:pos x="363" y="115"/>
              </a:cxn>
              <a:cxn ang="0">
                <a:pos x="353" y="101"/>
              </a:cxn>
              <a:cxn ang="0">
                <a:pos x="347" y="97"/>
              </a:cxn>
              <a:cxn ang="0">
                <a:pos x="327" y="82"/>
              </a:cxn>
              <a:cxn ang="0">
                <a:pos x="304" y="65"/>
              </a:cxn>
              <a:cxn ang="0">
                <a:pos x="294" y="56"/>
              </a:cxn>
              <a:cxn ang="0">
                <a:pos x="288" y="54"/>
              </a:cxn>
              <a:cxn ang="0">
                <a:pos x="272" y="43"/>
              </a:cxn>
              <a:cxn ang="0">
                <a:pos x="265" y="33"/>
              </a:cxn>
              <a:cxn ang="0">
                <a:pos x="239" y="31"/>
              </a:cxn>
              <a:cxn ang="0">
                <a:pos x="176" y="44"/>
              </a:cxn>
              <a:cxn ang="0">
                <a:pos x="146" y="43"/>
              </a:cxn>
              <a:cxn ang="0">
                <a:pos x="128" y="38"/>
              </a:cxn>
              <a:cxn ang="0">
                <a:pos x="121" y="18"/>
              </a:cxn>
              <a:cxn ang="0">
                <a:pos x="98" y="8"/>
              </a:cxn>
              <a:cxn ang="0">
                <a:pos x="94" y="1"/>
              </a:cxn>
            </a:cxnLst>
            <a:rect l="0" t="0" r="r" b="b"/>
            <a:pathLst>
              <a:path w="642" h="507">
                <a:moveTo>
                  <a:pt x="60" y="8"/>
                </a:moveTo>
                <a:lnTo>
                  <a:pt x="46" y="15"/>
                </a:lnTo>
                <a:lnTo>
                  <a:pt x="37" y="20"/>
                </a:lnTo>
                <a:lnTo>
                  <a:pt x="32" y="25"/>
                </a:lnTo>
                <a:lnTo>
                  <a:pt x="30" y="27"/>
                </a:lnTo>
                <a:lnTo>
                  <a:pt x="29" y="29"/>
                </a:lnTo>
                <a:lnTo>
                  <a:pt x="28" y="30"/>
                </a:lnTo>
                <a:lnTo>
                  <a:pt x="27" y="30"/>
                </a:lnTo>
                <a:lnTo>
                  <a:pt x="22" y="30"/>
                </a:lnTo>
                <a:lnTo>
                  <a:pt x="15" y="38"/>
                </a:lnTo>
                <a:lnTo>
                  <a:pt x="15" y="53"/>
                </a:lnTo>
                <a:lnTo>
                  <a:pt x="12" y="54"/>
                </a:lnTo>
                <a:lnTo>
                  <a:pt x="10" y="55"/>
                </a:lnTo>
                <a:lnTo>
                  <a:pt x="9" y="58"/>
                </a:lnTo>
                <a:lnTo>
                  <a:pt x="8" y="62"/>
                </a:lnTo>
                <a:lnTo>
                  <a:pt x="8" y="68"/>
                </a:lnTo>
                <a:lnTo>
                  <a:pt x="8" y="75"/>
                </a:lnTo>
                <a:lnTo>
                  <a:pt x="6" y="76"/>
                </a:lnTo>
                <a:lnTo>
                  <a:pt x="4" y="78"/>
                </a:lnTo>
                <a:lnTo>
                  <a:pt x="3" y="82"/>
                </a:lnTo>
                <a:lnTo>
                  <a:pt x="3" y="86"/>
                </a:lnTo>
                <a:lnTo>
                  <a:pt x="1" y="97"/>
                </a:lnTo>
                <a:lnTo>
                  <a:pt x="1" y="111"/>
                </a:lnTo>
                <a:lnTo>
                  <a:pt x="0" y="136"/>
                </a:lnTo>
                <a:lnTo>
                  <a:pt x="0" y="151"/>
                </a:lnTo>
                <a:lnTo>
                  <a:pt x="3" y="152"/>
                </a:lnTo>
                <a:lnTo>
                  <a:pt x="7" y="153"/>
                </a:lnTo>
                <a:lnTo>
                  <a:pt x="9" y="156"/>
                </a:lnTo>
                <a:lnTo>
                  <a:pt x="11" y="161"/>
                </a:lnTo>
                <a:lnTo>
                  <a:pt x="13" y="170"/>
                </a:lnTo>
                <a:lnTo>
                  <a:pt x="13" y="181"/>
                </a:lnTo>
                <a:lnTo>
                  <a:pt x="15" y="192"/>
                </a:lnTo>
                <a:lnTo>
                  <a:pt x="16" y="202"/>
                </a:lnTo>
                <a:lnTo>
                  <a:pt x="17" y="206"/>
                </a:lnTo>
                <a:lnTo>
                  <a:pt x="18" y="209"/>
                </a:lnTo>
                <a:lnTo>
                  <a:pt x="20" y="211"/>
                </a:lnTo>
                <a:lnTo>
                  <a:pt x="22" y="211"/>
                </a:lnTo>
                <a:lnTo>
                  <a:pt x="23" y="227"/>
                </a:lnTo>
                <a:lnTo>
                  <a:pt x="27" y="246"/>
                </a:lnTo>
                <a:lnTo>
                  <a:pt x="32" y="265"/>
                </a:lnTo>
                <a:lnTo>
                  <a:pt x="38" y="279"/>
                </a:lnTo>
                <a:lnTo>
                  <a:pt x="42" y="290"/>
                </a:lnTo>
                <a:lnTo>
                  <a:pt x="52" y="314"/>
                </a:lnTo>
                <a:lnTo>
                  <a:pt x="63" y="337"/>
                </a:lnTo>
                <a:lnTo>
                  <a:pt x="68" y="347"/>
                </a:lnTo>
                <a:lnTo>
                  <a:pt x="70" y="348"/>
                </a:lnTo>
                <a:lnTo>
                  <a:pt x="73" y="350"/>
                </a:lnTo>
                <a:lnTo>
                  <a:pt x="75" y="352"/>
                </a:lnTo>
                <a:lnTo>
                  <a:pt x="76" y="355"/>
                </a:lnTo>
                <a:lnTo>
                  <a:pt x="78" y="357"/>
                </a:lnTo>
                <a:lnTo>
                  <a:pt x="82" y="361"/>
                </a:lnTo>
                <a:lnTo>
                  <a:pt x="86" y="362"/>
                </a:lnTo>
                <a:lnTo>
                  <a:pt x="90" y="363"/>
                </a:lnTo>
                <a:lnTo>
                  <a:pt x="90" y="377"/>
                </a:lnTo>
                <a:lnTo>
                  <a:pt x="98" y="385"/>
                </a:lnTo>
                <a:lnTo>
                  <a:pt x="113" y="401"/>
                </a:lnTo>
                <a:lnTo>
                  <a:pt x="128" y="415"/>
                </a:lnTo>
                <a:lnTo>
                  <a:pt x="140" y="415"/>
                </a:lnTo>
                <a:lnTo>
                  <a:pt x="151" y="415"/>
                </a:lnTo>
                <a:lnTo>
                  <a:pt x="152" y="417"/>
                </a:lnTo>
                <a:lnTo>
                  <a:pt x="154" y="418"/>
                </a:lnTo>
                <a:lnTo>
                  <a:pt x="156" y="419"/>
                </a:lnTo>
                <a:lnTo>
                  <a:pt x="161" y="420"/>
                </a:lnTo>
                <a:lnTo>
                  <a:pt x="171" y="421"/>
                </a:lnTo>
                <a:lnTo>
                  <a:pt x="182" y="422"/>
                </a:lnTo>
                <a:lnTo>
                  <a:pt x="205" y="423"/>
                </a:lnTo>
                <a:lnTo>
                  <a:pt x="219" y="423"/>
                </a:lnTo>
                <a:lnTo>
                  <a:pt x="227" y="415"/>
                </a:lnTo>
                <a:lnTo>
                  <a:pt x="234" y="408"/>
                </a:lnTo>
                <a:lnTo>
                  <a:pt x="240" y="422"/>
                </a:lnTo>
                <a:lnTo>
                  <a:pt x="248" y="414"/>
                </a:lnTo>
                <a:lnTo>
                  <a:pt x="256" y="406"/>
                </a:lnTo>
                <a:lnTo>
                  <a:pt x="263" y="400"/>
                </a:lnTo>
                <a:lnTo>
                  <a:pt x="284" y="411"/>
                </a:lnTo>
                <a:lnTo>
                  <a:pt x="299" y="411"/>
                </a:lnTo>
                <a:lnTo>
                  <a:pt x="314" y="411"/>
                </a:lnTo>
                <a:lnTo>
                  <a:pt x="315" y="409"/>
                </a:lnTo>
                <a:lnTo>
                  <a:pt x="316" y="406"/>
                </a:lnTo>
                <a:lnTo>
                  <a:pt x="319" y="405"/>
                </a:lnTo>
                <a:lnTo>
                  <a:pt x="323" y="404"/>
                </a:lnTo>
                <a:lnTo>
                  <a:pt x="329" y="404"/>
                </a:lnTo>
                <a:lnTo>
                  <a:pt x="336" y="403"/>
                </a:lnTo>
                <a:lnTo>
                  <a:pt x="344" y="411"/>
                </a:lnTo>
                <a:lnTo>
                  <a:pt x="345" y="414"/>
                </a:lnTo>
                <a:lnTo>
                  <a:pt x="348" y="418"/>
                </a:lnTo>
                <a:lnTo>
                  <a:pt x="352" y="422"/>
                </a:lnTo>
                <a:lnTo>
                  <a:pt x="356" y="425"/>
                </a:lnTo>
                <a:lnTo>
                  <a:pt x="362" y="429"/>
                </a:lnTo>
                <a:lnTo>
                  <a:pt x="366" y="431"/>
                </a:lnTo>
                <a:lnTo>
                  <a:pt x="371" y="433"/>
                </a:lnTo>
                <a:lnTo>
                  <a:pt x="374" y="433"/>
                </a:lnTo>
                <a:lnTo>
                  <a:pt x="375" y="437"/>
                </a:lnTo>
                <a:lnTo>
                  <a:pt x="376" y="438"/>
                </a:lnTo>
                <a:lnTo>
                  <a:pt x="378" y="439"/>
                </a:lnTo>
                <a:lnTo>
                  <a:pt x="381" y="439"/>
                </a:lnTo>
                <a:lnTo>
                  <a:pt x="386" y="439"/>
                </a:lnTo>
                <a:lnTo>
                  <a:pt x="393" y="438"/>
                </a:lnTo>
                <a:lnTo>
                  <a:pt x="393" y="441"/>
                </a:lnTo>
                <a:lnTo>
                  <a:pt x="395" y="442"/>
                </a:lnTo>
                <a:lnTo>
                  <a:pt x="397" y="444"/>
                </a:lnTo>
                <a:lnTo>
                  <a:pt x="401" y="447"/>
                </a:lnTo>
                <a:lnTo>
                  <a:pt x="403" y="449"/>
                </a:lnTo>
                <a:lnTo>
                  <a:pt x="405" y="452"/>
                </a:lnTo>
                <a:lnTo>
                  <a:pt x="407" y="456"/>
                </a:lnTo>
                <a:lnTo>
                  <a:pt x="407" y="461"/>
                </a:lnTo>
                <a:lnTo>
                  <a:pt x="423" y="461"/>
                </a:lnTo>
                <a:lnTo>
                  <a:pt x="438" y="476"/>
                </a:lnTo>
                <a:lnTo>
                  <a:pt x="453" y="491"/>
                </a:lnTo>
                <a:lnTo>
                  <a:pt x="463" y="492"/>
                </a:lnTo>
                <a:lnTo>
                  <a:pt x="472" y="495"/>
                </a:lnTo>
                <a:lnTo>
                  <a:pt x="481" y="497"/>
                </a:lnTo>
                <a:lnTo>
                  <a:pt x="491" y="498"/>
                </a:lnTo>
                <a:lnTo>
                  <a:pt x="512" y="502"/>
                </a:lnTo>
                <a:lnTo>
                  <a:pt x="533" y="505"/>
                </a:lnTo>
                <a:lnTo>
                  <a:pt x="551" y="506"/>
                </a:lnTo>
                <a:lnTo>
                  <a:pt x="570" y="507"/>
                </a:lnTo>
                <a:lnTo>
                  <a:pt x="601" y="507"/>
                </a:lnTo>
                <a:lnTo>
                  <a:pt x="622" y="505"/>
                </a:lnTo>
                <a:lnTo>
                  <a:pt x="624" y="504"/>
                </a:lnTo>
                <a:lnTo>
                  <a:pt x="629" y="500"/>
                </a:lnTo>
                <a:lnTo>
                  <a:pt x="633" y="496"/>
                </a:lnTo>
                <a:lnTo>
                  <a:pt x="637" y="489"/>
                </a:lnTo>
                <a:lnTo>
                  <a:pt x="641" y="481"/>
                </a:lnTo>
                <a:lnTo>
                  <a:pt x="642" y="472"/>
                </a:lnTo>
                <a:lnTo>
                  <a:pt x="642" y="468"/>
                </a:lnTo>
                <a:lnTo>
                  <a:pt x="641" y="462"/>
                </a:lnTo>
                <a:lnTo>
                  <a:pt x="640" y="457"/>
                </a:lnTo>
                <a:lnTo>
                  <a:pt x="636" y="452"/>
                </a:lnTo>
                <a:lnTo>
                  <a:pt x="629" y="441"/>
                </a:lnTo>
                <a:lnTo>
                  <a:pt x="616" y="429"/>
                </a:lnTo>
                <a:lnTo>
                  <a:pt x="603" y="418"/>
                </a:lnTo>
                <a:lnTo>
                  <a:pt x="588" y="404"/>
                </a:lnTo>
                <a:lnTo>
                  <a:pt x="574" y="392"/>
                </a:lnTo>
                <a:lnTo>
                  <a:pt x="560" y="380"/>
                </a:lnTo>
                <a:lnTo>
                  <a:pt x="555" y="373"/>
                </a:lnTo>
                <a:lnTo>
                  <a:pt x="549" y="366"/>
                </a:lnTo>
                <a:lnTo>
                  <a:pt x="545" y="360"/>
                </a:lnTo>
                <a:lnTo>
                  <a:pt x="540" y="353"/>
                </a:lnTo>
                <a:lnTo>
                  <a:pt x="533" y="333"/>
                </a:lnTo>
                <a:lnTo>
                  <a:pt x="526" y="313"/>
                </a:lnTo>
                <a:lnTo>
                  <a:pt x="521" y="295"/>
                </a:lnTo>
                <a:lnTo>
                  <a:pt x="518" y="278"/>
                </a:lnTo>
                <a:lnTo>
                  <a:pt x="515" y="251"/>
                </a:lnTo>
                <a:lnTo>
                  <a:pt x="514" y="233"/>
                </a:lnTo>
                <a:lnTo>
                  <a:pt x="510" y="232"/>
                </a:lnTo>
                <a:lnTo>
                  <a:pt x="506" y="229"/>
                </a:lnTo>
                <a:lnTo>
                  <a:pt x="500" y="225"/>
                </a:lnTo>
                <a:lnTo>
                  <a:pt x="496" y="219"/>
                </a:lnTo>
                <a:lnTo>
                  <a:pt x="491" y="212"/>
                </a:lnTo>
                <a:lnTo>
                  <a:pt x="487" y="207"/>
                </a:lnTo>
                <a:lnTo>
                  <a:pt x="485" y="202"/>
                </a:lnTo>
                <a:lnTo>
                  <a:pt x="483" y="199"/>
                </a:lnTo>
                <a:lnTo>
                  <a:pt x="476" y="191"/>
                </a:lnTo>
                <a:lnTo>
                  <a:pt x="468" y="183"/>
                </a:lnTo>
                <a:lnTo>
                  <a:pt x="466" y="183"/>
                </a:lnTo>
                <a:lnTo>
                  <a:pt x="462" y="182"/>
                </a:lnTo>
                <a:lnTo>
                  <a:pt x="460" y="181"/>
                </a:lnTo>
                <a:lnTo>
                  <a:pt x="458" y="179"/>
                </a:lnTo>
                <a:lnTo>
                  <a:pt x="455" y="177"/>
                </a:lnTo>
                <a:lnTo>
                  <a:pt x="454" y="174"/>
                </a:lnTo>
                <a:lnTo>
                  <a:pt x="453" y="171"/>
                </a:lnTo>
                <a:lnTo>
                  <a:pt x="453" y="169"/>
                </a:lnTo>
                <a:lnTo>
                  <a:pt x="438" y="164"/>
                </a:lnTo>
                <a:lnTo>
                  <a:pt x="423" y="161"/>
                </a:lnTo>
                <a:lnTo>
                  <a:pt x="423" y="156"/>
                </a:lnTo>
                <a:lnTo>
                  <a:pt x="422" y="154"/>
                </a:lnTo>
                <a:lnTo>
                  <a:pt x="421" y="153"/>
                </a:lnTo>
                <a:lnTo>
                  <a:pt x="419" y="153"/>
                </a:lnTo>
                <a:lnTo>
                  <a:pt x="418" y="153"/>
                </a:lnTo>
                <a:lnTo>
                  <a:pt x="416" y="152"/>
                </a:lnTo>
                <a:lnTo>
                  <a:pt x="415" y="150"/>
                </a:lnTo>
                <a:lnTo>
                  <a:pt x="415" y="145"/>
                </a:lnTo>
                <a:lnTo>
                  <a:pt x="404" y="142"/>
                </a:lnTo>
                <a:lnTo>
                  <a:pt x="393" y="139"/>
                </a:lnTo>
                <a:lnTo>
                  <a:pt x="392" y="134"/>
                </a:lnTo>
                <a:lnTo>
                  <a:pt x="392" y="132"/>
                </a:lnTo>
                <a:lnTo>
                  <a:pt x="391" y="131"/>
                </a:lnTo>
                <a:lnTo>
                  <a:pt x="389" y="131"/>
                </a:lnTo>
                <a:lnTo>
                  <a:pt x="387" y="131"/>
                </a:lnTo>
                <a:lnTo>
                  <a:pt x="386" y="130"/>
                </a:lnTo>
                <a:lnTo>
                  <a:pt x="385" y="127"/>
                </a:lnTo>
                <a:lnTo>
                  <a:pt x="385" y="123"/>
                </a:lnTo>
                <a:lnTo>
                  <a:pt x="370" y="123"/>
                </a:lnTo>
                <a:lnTo>
                  <a:pt x="363" y="115"/>
                </a:lnTo>
                <a:lnTo>
                  <a:pt x="355" y="107"/>
                </a:lnTo>
                <a:lnTo>
                  <a:pt x="355" y="104"/>
                </a:lnTo>
                <a:lnTo>
                  <a:pt x="354" y="102"/>
                </a:lnTo>
                <a:lnTo>
                  <a:pt x="353" y="101"/>
                </a:lnTo>
                <a:lnTo>
                  <a:pt x="352" y="101"/>
                </a:lnTo>
                <a:lnTo>
                  <a:pt x="349" y="101"/>
                </a:lnTo>
                <a:lnTo>
                  <a:pt x="348" y="100"/>
                </a:lnTo>
                <a:lnTo>
                  <a:pt x="347" y="97"/>
                </a:lnTo>
                <a:lnTo>
                  <a:pt x="347" y="93"/>
                </a:lnTo>
                <a:lnTo>
                  <a:pt x="333" y="93"/>
                </a:lnTo>
                <a:lnTo>
                  <a:pt x="330" y="87"/>
                </a:lnTo>
                <a:lnTo>
                  <a:pt x="327" y="82"/>
                </a:lnTo>
                <a:lnTo>
                  <a:pt x="323" y="76"/>
                </a:lnTo>
                <a:lnTo>
                  <a:pt x="316" y="72"/>
                </a:lnTo>
                <a:lnTo>
                  <a:pt x="309" y="68"/>
                </a:lnTo>
                <a:lnTo>
                  <a:pt x="304" y="65"/>
                </a:lnTo>
                <a:lnTo>
                  <a:pt x="298" y="63"/>
                </a:lnTo>
                <a:lnTo>
                  <a:pt x="295" y="63"/>
                </a:lnTo>
                <a:lnTo>
                  <a:pt x="294" y="58"/>
                </a:lnTo>
                <a:lnTo>
                  <a:pt x="294" y="56"/>
                </a:lnTo>
                <a:lnTo>
                  <a:pt x="293" y="55"/>
                </a:lnTo>
                <a:lnTo>
                  <a:pt x="290" y="55"/>
                </a:lnTo>
                <a:lnTo>
                  <a:pt x="289" y="55"/>
                </a:lnTo>
                <a:lnTo>
                  <a:pt x="288" y="54"/>
                </a:lnTo>
                <a:lnTo>
                  <a:pt x="287" y="52"/>
                </a:lnTo>
                <a:lnTo>
                  <a:pt x="287" y="47"/>
                </a:lnTo>
                <a:lnTo>
                  <a:pt x="280" y="46"/>
                </a:lnTo>
                <a:lnTo>
                  <a:pt x="272" y="43"/>
                </a:lnTo>
                <a:lnTo>
                  <a:pt x="269" y="40"/>
                </a:lnTo>
                <a:lnTo>
                  <a:pt x="267" y="38"/>
                </a:lnTo>
                <a:lnTo>
                  <a:pt x="265" y="35"/>
                </a:lnTo>
                <a:lnTo>
                  <a:pt x="265" y="33"/>
                </a:lnTo>
                <a:lnTo>
                  <a:pt x="249" y="33"/>
                </a:lnTo>
                <a:lnTo>
                  <a:pt x="248" y="31"/>
                </a:lnTo>
                <a:lnTo>
                  <a:pt x="245" y="31"/>
                </a:lnTo>
                <a:lnTo>
                  <a:pt x="239" y="31"/>
                </a:lnTo>
                <a:lnTo>
                  <a:pt x="232" y="34"/>
                </a:lnTo>
                <a:lnTo>
                  <a:pt x="215" y="37"/>
                </a:lnTo>
                <a:lnTo>
                  <a:pt x="197" y="40"/>
                </a:lnTo>
                <a:lnTo>
                  <a:pt x="176" y="44"/>
                </a:lnTo>
                <a:lnTo>
                  <a:pt x="160" y="46"/>
                </a:lnTo>
                <a:lnTo>
                  <a:pt x="153" y="45"/>
                </a:lnTo>
                <a:lnTo>
                  <a:pt x="147" y="44"/>
                </a:lnTo>
                <a:lnTo>
                  <a:pt x="146" y="43"/>
                </a:lnTo>
                <a:lnTo>
                  <a:pt x="144" y="42"/>
                </a:lnTo>
                <a:lnTo>
                  <a:pt x="144" y="39"/>
                </a:lnTo>
                <a:lnTo>
                  <a:pt x="143" y="38"/>
                </a:lnTo>
                <a:lnTo>
                  <a:pt x="128" y="38"/>
                </a:lnTo>
                <a:lnTo>
                  <a:pt x="128" y="23"/>
                </a:lnTo>
                <a:lnTo>
                  <a:pt x="125" y="23"/>
                </a:lnTo>
                <a:lnTo>
                  <a:pt x="123" y="20"/>
                </a:lnTo>
                <a:lnTo>
                  <a:pt x="121" y="18"/>
                </a:lnTo>
                <a:lnTo>
                  <a:pt x="118" y="15"/>
                </a:lnTo>
                <a:lnTo>
                  <a:pt x="114" y="10"/>
                </a:lnTo>
                <a:lnTo>
                  <a:pt x="113" y="8"/>
                </a:lnTo>
                <a:lnTo>
                  <a:pt x="98" y="8"/>
                </a:lnTo>
                <a:lnTo>
                  <a:pt x="97" y="5"/>
                </a:lnTo>
                <a:lnTo>
                  <a:pt x="97" y="4"/>
                </a:lnTo>
                <a:lnTo>
                  <a:pt x="95" y="1"/>
                </a:lnTo>
                <a:lnTo>
                  <a:pt x="94" y="1"/>
                </a:lnTo>
                <a:lnTo>
                  <a:pt x="88" y="0"/>
                </a:lnTo>
                <a:lnTo>
                  <a:pt x="83" y="0"/>
                </a:lnTo>
                <a:lnTo>
                  <a:pt x="60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40" name="Freeform 101">
            <a:extLst>
              <a:ext uri="{FF2B5EF4-FFF2-40B4-BE49-F238E27FC236}">
                <a16:creationId xmlns:a16="http://schemas.microsoft.com/office/drawing/2014/main" id="{692AD7D8-8D7A-4182-B679-381F6CF1F43D}"/>
              </a:ext>
            </a:extLst>
          </p:cNvPr>
          <p:cNvSpPr>
            <a:spLocks noChangeAspect="1"/>
          </p:cNvSpPr>
          <p:nvPr/>
        </p:nvSpPr>
        <p:spPr bwMode="gray">
          <a:xfrm rot="355651">
            <a:off x="8470900" y="3392488"/>
            <a:ext cx="154603" cy="101600"/>
          </a:xfrm>
          <a:custGeom>
            <a:avLst/>
            <a:gdLst/>
            <a:ahLst/>
            <a:cxnLst>
              <a:cxn ang="0">
                <a:pos x="445" y="130"/>
              </a:cxn>
              <a:cxn ang="0">
                <a:pos x="422" y="82"/>
              </a:cxn>
              <a:cxn ang="0">
                <a:pos x="403" y="61"/>
              </a:cxn>
              <a:cxn ang="0">
                <a:pos x="380" y="48"/>
              </a:cxn>
              <a:cxn ang="0">
                <a:pos x="268" y="36"/>
              </a:cxn>
              <a:cxn ang="0">
                <a:pos x="167" y="35"/>
              </a:cxn>
              <a:cxn ang="0">
                <a:pos x="81" y="44"/>
              </a:cxn>
              <a:cxn ang="0">
                <a:pos x="29" y="63"/>
              </a:cxn>
              <a:cxn ang="0">
                <a:pos x="25" y="121"/>
              </a:cxn>
              <a:cxn ang="0">
                <a:pos x="10" y="190"/>
              </a:cxn>
              <a:cxn ang="0">
                <a:pos x="8" y="309"/>
              </a:cxn>
              <a:cxn ang="0">
                <a:pos x="20" y="384"/>
              </a:cxn>
              <a:cxn ang="0">
                <a:pos x="29" y="404"/>
              </a:cxn>
              <a:cxn ang="0">
                <a:pos x="42" y="427"/>
              </a:cxn>
              <a:cxn ang="0">
                <a:pos x="72" y="443"/>
              </a:cxn>
              <a:cxn ang="0">
                <a:pos x="108" y="459"/>
              </a:cxn>
              <a:cxn ang="0">
                <a:pos x="163" y="498"/>
              </a:cxn>
              <a:cxn ang="0">
                <a:pos x="197" y="524"/>
              </a:cxn>
              <a:cxn ang="0">
                <a:pos x="229" y="544"/>
              </a:cxn>
              <a:cxn ang="0">
                <a:pos x="283" y="546"/>
              </a:cxn>
              <a:cxn ang="0">
                <a:pos x="314" y="507"/>
              </a:cxn>
              <a:cxn ang="0">
                <a:pos x="318" y="427"/>
              </a:cxn>
              <a:cxn ang="0">
                <a:pos x="348" y="393"/>
              </a:cxn>
              <a:cxn ang="0">
                <a:pos x="364" y="390"/>
              </a:cxn>
              <a:cxn ang="0">
                <a:pos x="448" y="431"/>
              </a:cxn>
              <a:cxn ang="0">
                <a:pos x="459" y="451"/>
              </a:cxn>
              <a:cxn ang="0">
                <a:pos x="474" y="486"/>
              </a:cxn>
              <a:cxn ang="0">
                <a:pos x="512" y="528"/>
              </a:cxn>
              <a:cxn ang="0">
                <a:pos x="543" y="564"/>
              </a:cxn>
              <a:cxn ang="0">
                <a:pos x="562" y="585"/>
              </a:cxn>
              <a:cxn ang="0">
                <a:pos x="573" y="600"/>
              </a:cxn>
              <a:cxn ang="0">
                <a:pos x="600" y="621"/>
              </a:cxn>
              <a:cxn ang="0">
                <a:pos x="620" y="632"/>
              </a:cxn>
              <a:cxn ang="0">
                <a:pos x="651" y="532"/>
              </a:cxn>
              <a:cxn ang="0">
                <a:pos x="666" y="440"/>
              </a:cxn>
              <a:cxn ang="0">
                <a:pos x="685" y="388"/>
              </a:cxn>
              <a:cxn ang="0">
                <a:pos x="704" y="331"/>
              </a:cxn>
              <a:cxn ang="0">
                <a:pos x="726" y="282"/>
              </a:cxn>
              <a:cxn ang="0">
                <a:pos x="775" y="211"/>
              </a:cxn>
              <a:cxn ang="0">
                <a:pos x="792" y="192"/>
              </a:cxn>
              <a:cxn ang="0">
                <a:pos x="832" y="151"/>
              </a:cxn>
              <a:cxn ang="0">
                <a:pos x="857" y="126"/>
              </a:cxn>
              <a:cxn ang="0">
                <a:pos x="851" y="96"/>
              </a:cxn>
              <a:cxn ang="0">
                <a:pos x="791" y="77"/>
              </a:cxn>
              <a:cxn ang="0">
                <a:pos x="713" y="46"/>
              </a:cxn>
              <a:cxn ang="0">
                <a:pos x="700" y="17"/>
              </a:cxn>
              <a:cxn ang="0">
                <a:pos x="658" y="0"/>
              </a:cxn>
              <a:cxn ang="0">
                <a:pos x="614" y="15"/>
              </a:cxn>
              <a:cxn ang="0">
                <a:pos x="586" y="25"/>
              </a:cxn>
              <a:cxn ang="0">
                <a:pos x="544" y="54"/>
              </a:cxn>
              <a:cxn ang="0">
                <a:pos x="516" y="84"/>
              </a:cxn>
              <a:cxn ang="0">
                <a:pos x="512" y="112"/>
              </a:cxn>
              <a:cxn ang="0">
                <a:pos x="506" y="124"/>
              </a:cxn>
            </a:cxnLst>
            <a:rect l="0" t="0" r="r" b="b"/>
            <a:pathLst>
              <a:path w="859" h="632">
                <a:moveTo>
                  <a:pt x="495" y="134"/>
                </a:moveTo>
                <a:lnTo>
                  <a:pt x="485" y="134"/>
                </a:lnTo>
                <a:lnTo>
                  <a:pt x="476" y="136"/>
                </a:lnTo>
                <a:lnTo>
                  <a:pt x="466" y="138"/>
                </a:lnTo>
                <a:lnTo>
                  <a:pt x="457" y="138"/>
                </a:lnTo>
                <a:lnTo>
                  <a:pt x="445" y="130"/>
                </a:lnTo>
                <a:lnTo>
                  <a:pt x="440" y="121"/>
                </a:lnTo>
                <a:lnTo>
                  <a:pt x="436" y="109"/>
                </a:lnTo>
                <a:lnTo>
                  <a:pt x="431" y="96"/>
                </a:lnTo>
                <a:lnTo>
                  <a:pt x="428" y="87"/>
                </a:lnTo>
                <a:lnTo>
                  <a:pt x="425" y="85"/>
                </a:lnTo>
                <a:lnTo>
                  <a:pt x="422" y="82"/>
                </a:lnTo>
                <a:lnTo>
                  <a:pt x="420" y="78"/>
                </a:lnTo>
                <a:lnTo>
                  <a:pt x="419" y="75"/>
                </a:lnTo>
                <a:lnTo>
                  <a:pt x="414" y="71"/>
                </a:lnTo>
                <a:lnTo>
                  <a:pt x="411" y="70"/>
                </a:lnTo>
                <a:lnTo>
                  <a:pt x="407" y="65"/>
                </a:lnTo>
                <a:lnTo>
                  <a:pt x="403" y="61"/>
                </a:lnTo>
                <a:lnTo>
                  <a:pt x="402" y="58"/>
                </a:lnTo>
                <a:lnTo>
                  <a:pt x="399" y="57"/>
                </a:lnTo>
                <a:lnTo>
                  <a:pt x="397" y="56"/>
                </a:lnTo>
                <a:lnTo>
                  <a:pt x="393" y="53"/>
                </a:lnTo>
                <a:lnTo>
                  <a:pt x="390" y="51"/>
                </a:lnTo>
                <a:lnTo>
                  <a:pt x="380" y="48"/>
                </a:lnTo>
                <a:lnTo>
                  <a:pt x="368" y="44"/>
                </a:lnTo>
                <a:lnTo>
                  <a:pt x="355" y="38"/>
                </a:lnTo>
                <a:lnTo>
                  <a:pt x="348" y="34"/>
                </a:lnTo>
                <a:lnTo>
                  <a:pt x="277" y="34"/>
                </a:lnTo>
                <a:lnTo>
                  <a:pt x="274" y="35"/>
                </a:lnTo>
                <a:lnTo>
                  <a:pt x="268" y="36"/>
                </a:lnTo>
                <a:lnTo>
                  <a:pt x="259" y="36"/>
                </a:lnTo>
                <a:lnTo>
                  <a:pt x="248" y="37"/>
                </a:lnTo>
                <a:lnTo>
                  <a:pt x="227" y="37"/>
                </a:lnTo>
                <a:lnTo>
                  <a:pt x="214" y="37"/>
                </a:lnTo>
                <a:lnTo>
                  <a:pt x="191" y="36"/>
                </a:lnTo>
                <a:lnTo>
                  <a:pt x="167" y="35"/>
                </a:lnTo>
                <a:lnTo>
                  <a:pt x="153" y="34"/>
                </a:lnTo>
                <a:lnTo>
                  <a:pt x="141" y="34"/>
                </a:lnTo>
                <a:lnTo>
                  <a:pt x="131" y="35"/>
                </a:lnTo>
                <a:lnTo>
                  <a:pt x="122" y="37"/>
                </a:lnTo>
                <a:lnTo>
                  <a:pt x="102" y="39"/>
                </a:lnTo>
                <a:lnTo>
                  <a:pt x="81" y="44"/>
                </a:lnTo>
                <a:lnTo>
                  <a:pt x="60" y="48"/>
                </a:lnTo>
                <a:lnTo>
                  <a:pt x="42" y="51"/>
                </a:lnTo>
                <a:lnTo>
                  <a:pt x="41" y="53"/>
                </a:lnTo>
                <a:lnTo>
                  <a:pt x="37" y="56"/>
                </a:lnTo>
                <a:lnTo>
                  <a:pt x="33" y="59"/>
                </a:lnTo>
                <a:lnTo>
                  <a:pt x="29" y="63"/>
                </a:lnTo>
                <a:lnTo>
                  <a:pt x="29" y="71"/>
                </a:lnTo>
                <a:lnTo>
                  <a:pt x="28" y="74"/>
                </a:lnTo>
                <a:lnTo>
                  <a:pt x="27" y="80"/>
                </a:lnTo>
                <a:lnTo>
                  <a:pt x="26" y="88"/>
                </a:lnTo>
                <a:lnTo>
                  <a:pt x="26" y="100"/>
                </a:lnTo>
                <a:lnTo>
                  <a:pt x="25" y="121"/>
                </a:lnTo>
                <a:lnTo>
                  <a:pt x="25" y="134"/>
                </a:lnTo>
                <a:lnTo>
                  <a:pt x="24" y="136"/>
                </a:lnTo>
                <a:lnTo>
                  <a:pt x="20" y="144"/>
                </a:lnTo>
                <a:lnTo>
                  <a:pt x="18" y="154"/>
                </a:lnTo>
                <a:lnTo>
                  <a:pt x="15" y="167"/>
                </a:lnTo>
                <a:lnTo>
                  <a:pt x="10" y="190"/>
                </a:lnTo>
                <a:lnTo>
                  <a:pt x="8" y="206"/>
                </a:lnTo>
                <a:lnTo>
                  <a:pt x="7" y="226"/>
                </a:lnTo>
                <a:lnTo>
                  <a:pt x="5" y="248"/>
                </a:lnTo>
                <a:lnTo>
                  <a:pt x="1" y="270"/>
                </a:lnTo>
                <a:lnTo>
                  <a:pt x="0" y="293"/>
                </a:lnTo>
                <a:lnTo>
                  <a:pt x="8" y="309"/>
                </a:lnTo>
                <a:lnTo>
                  <a:pt x="9" y="326"/>
                </a:lnTo>
                <a:lnTo>
                  <a:pt x="13" y="344"/>
                </a:lnTo>
                <a:lnTo>
                  <a:pt x="16" y="362"/>
                </a:lnTo>
                <a:lnTo>
                  <a:pt x="17" y="381"/>
                </a:lnTo>
                <a:lnTo>
                  <a:pt x="19" y="382"/>
                </a:lnTo>
                <a:lnTo>
                  <a:pt x="20" y="384"/>
                </a:lnTo>
                <a:lnTo>
                  <a:pt x="20" y="386"/>
                </a:lnTo>
                <a:lnTo>
                  <a:pt x="22" y="390"/>
                </a:lnTo>
                <a:lnTo>
                  <a:pt x="23" y="395"/>
                </a:lnTo>
                <a:lnTo>
                  <a:pt x="25" y="402"/>
                </a:lnTo>
                <a:lnTo>
                  <a:pt x="27" y="403"/>
                </a:lnTo>
                <a:lnTo>
                  <a:pt x="29" y="404"/>
                </a:lnTo>
                <a:lnTo>
                  <a:pt x="29" y="408"/>
                </a:lnTo>
                <a:lnTo>
                  <a:pt x="29" y="410"/>
                </a:lnTo>
                <a:lnTo>
                  <a:pt x="34" y="414"/>
                </a:lnTo>
                <a:lnTo>
                  <a:pt x="38" y="417"/>
                </a:lnTo>
                <a:lnTo>
                  <a:pt x="42" y="419"/>
                </a:lnTo>
                <a:lnTo>
                  <a:pt x="42" y="427"/>
                </a:lnTo>
                <a:lnTo>
                  <a:pt x="48" y="429"/>
                </a:lnTo>
                <a:lnTo>
                  <a:pt x="55" y="431"/>
                </a:lnTo>
                <a:lnTo>
                  <a:pt x="57" y="436"/>
                </a:lnTo>
                <a:lnTo>
                  <a:pt x="63" y="439"/>
                </a:lnTo>
                <a:lnTo>
                  <a:pt x="68" y="442"/>
                </a:lnTo>
                <a:lnTo>
                  <a:pt x="72" y="443"/>
                </a:lnTo>
                <a:lnTo>
                  <a:pt x="84" y="443"/>
                </a:lnTo>
                <a:lnTo>
                  <a:pt x="87" y="447"/>
                </a:lnTo>
                <a:lnTo>
                  <a:pt x="91" y="450"/>
                </a:lnTo>
                <a:lnTo>
                  <a:pt x="95" y="451"/>
                </a:lnTo>
                <a:lnTo>
                  <a:pt x="101" y="452"/>
                </a:lnTo>
                <a:lnTo>
                  <a:pt x="108" y="459"/>
                </a:lnTo>
                <a:lnTo>
                  <a:pt x="118" y="465"/>
                </a:lnTo>
                <a:lnTo>
                  <a:pt x="122" y="470"/>
                </a:lnTo>
                <a:lnTo>
                  <a:pt x="132" y="478"/>
                </a:lnTo>
                <a:lnTo>
                  <a:pt x="144" y="487"/>
                </a:lnTo>
                <a:lnTo>
                  <a:pt x="151" y="495"/>
                </a:lnTo>
                <a:lnTo>
                  <a:pt x="163" y="498"/>
                </a:lnTo>
                <a:lnTo>
                  <a:pt x="166" y="503"/>
                </a:lnTo>
                <a:lnTo>
                  <a:pt x="171" y="507"/>
                </a:lnTo>
                <a:lnTo>
                  <a:pt x="178" y="511"/>
                </a:lnTo>
                <a:lnTo>
                  <a:pt x="185" y="515"/>
                </a:lnTo>
                <a:lnTo>
                  <a:pt x="189" y="524"/>
                </a:lnTo>
                <a:lnTo>
                  <a:pt x="197" y="524"/>
                </a:lnTo>
                <a:lnTo>
                  <a:pt x="201" y="528"/>
                </a:lnTo>
                <a:lnTo>
                  <a:pt x="208" y="534"/>
                </a:lnTo>
                <a:lnTo>
                  <a:pt x="214" y="538"/>
                </a:lnTo>
                <a:lnTo>
                  <a:pt x="218" y="540"/>
                </a:lnTo>
                <a:lnTo>
                  <a:pt x="226" y="540"/>
                </a:lnTo>
                <a:lnTo>
                  <a:pt x="229" y="544"/>
                </a:lnTo>
                <a:lnTo>
                  <a:pt x="235" y="548"/>
                </a:lnTo>
                <a:lnTo>
                  <a:pt x="240" y="552"/>
                </a:lnTo>
                <a:lnTo>
                  <a:pt x="244" y="553"/>
                </a:lnTo>
                <a:lnTo>
                  <a:pt x="256" y="552"/>
                </a:lnTo>
                <a:lnTo>
                  <a:pt x="269" y="548"/>
                </a:lnTo>
                <a:lnTo>
                  <a:pt x="283" y="546"/>
                </a:lnTo>
                <a:lnTo>
                  <a:pt x="294" y="545"/>
                </a:lnTo>
                <a:lnTo>
                  <a:pt x="302" y="536"/>
                </a:lnTo>
                <a:lnTo>
                  <a:pt x="311" y="536"/>
                </a:lnTo>
                <a:lnTo>
                  <a:pt x="314" y="532"/>
                </a:lnTo>
                <a:lnTo>
                  <a:pt x="314" y="519"/>
                </a:lnTo>
                <a:lnTo>
                  <a:pt x="314" y="507"/>
                </a:lnTo>
                <a:lnTo>
                  <a:pt x="316" y="504"/>
                </a:lnTo>
                <a:lnTo>
                  <a:pt x="316" y="496"/>
                </a:lnTo>
                <a:lnTo>
                  <a:pt x="317" y="484"/>
                </a:lnTo>
                <a:lnTo>
                  <a:pt x="318" y="470"/>
                </a:lnTo>
                <a:lnTo>
                  <a:pt x="318" y="443"/>
                </a:lnTo>
                <a:lnTo>
                  <a:pt x="318" y="427"/>
                </a:lnTo>
                <a:lnTo>
                  <a:pt x="327" y="423"/>
                </a:lnTo>
                <a:lnTo>
                  <a:pt x="331" y="414"/>
                </a:lnTo>
                <a:lnTo>
                  <a:pt x="335" y="407"/>
                </a:lnTo>
                <a:lnTo>
                  <a:pt x="344" y="402"/>
                </a:lnTo>
                <a:lnTo>
                  <a:pt x="345" y="398"/>
                </a:lnTo>
                <a:lnTo>
                  <a:pt x="348" y="393"/>
                </a:lnTo>
                <a:lnTo>
                  <a:pt x="352" y="393"/>
                </a:lnTo>
                <a:lnTo>
                  <a:pt x="358" y="393"/>
                </a:lnTo>
                <a:lnTo>
                  <a:pt x="361" y="393"/>
                </a:lnTo>
                <a:lnTo>
                  <a:pt x="363" y="392"/>
                </a:lnTo>
                <a:lnTo>
                  <a:pt x="364" y="391"/>
                </a:lnTo>
                <a:lnTo>
                  <a:pt x="364" y="390"/>
                </a:lnTo>
                <a:lnTo>
                  <a:pt x="398" y="390"/>
                </a:lnTo>
                <a:lnTo>
                  <a:pt x="404" y="394"/>
                </a:lnTo>
                <a:lnTo>
                  <a:pt x="420" y="407"/>
                </a:lnTo>
                <a:lnTo>
                  <a:pt x="436" y="418"/>
                </a:lnTo>
                <a:lnTo>
                  <a:pt x="445" y="423"/>
                </a:lnTo>
                <a:lnTo>
                  <a:pt x="448" y="431"/>
                </a:lnTo>
                <a:lnTo>
                  <a:pt x="451" y="432"/>
                </a:lnTo>
                <a:lnTo>
                  <a:pt x="455" y="436"/>
                </a:lnTo>
                <a:lnTo>
                  <a:pt x="456" y="439"/>
                </a:lnTo>
                <a:lnTo>
                  <a:pt x="457" y="440"/>
                </a:lnTo>
                <a:lnTo>
                  <a:pt x="458" y="446"/>
                </a:lnTo>
                <a:lnTo>
                  <a:pt x="459" y="451"/>
                </a:lnTo>
                <a:lnTo>
                  <a:pt x="462" y="457"/>
                </a:lnTo>
                <a:lnTo>
                  <a:pt x="465" y="462"/>
                </a:lnTo>
                <a:lnTo>
                  <a:pt x="468" y="468"/>
                </a:lnTo>
                <a:lnTo>
                  <a:pt x="471" y="474"/>
                </a:lnTo>
                <a:lnTo>
                  <a:pt x="473" y="480"/>
                </a:lnTo>
                <a:lnTo>
                  <a:pt x="474" y="486"/>
                </a:lnTo>
                <a:lnTo>
                  <a:pt x="481" y="494"/>
                </a:lnTo>
                <a:lnTo>
                  <a:pt x="490" y="507"/>
                </a:lnTo>
                <a:lnTo>
                  <a:pt x="496" y="514"/>
                </a:lnTo>
                <a:lnTo>
                  <a:pt x="502" y="520"/>
                </a:lnTo>
                <a:lnTo>
                  <a:pt x="506" y="525"/>
                </a:lnTo>
                <a:lnTo>
                  <a:pt x="512" y="528"/>
                </a:lnTo>
                <a:lnTo>
                  <a:pt x="516" y="536"/>
                </a:lnTo>
                <a:lnTo>
                  <a:pt x="519" y="545"/>
                </a:lnTo>
                <a:lnTo>
                  <a:pt x="533" y="557"/>
                </a:lnTo>
                <a:lnTo>
                  <a:pt x="535" y="558"/>
                </a:lnTo>
                <a:lnTo>
                  <a:pt x="540" y="561"/>
                </a:lnTo>
                <a:lnTo>
                  <a:pt x="543" y="564"/>
                </a:lnTo>
                <a:lnTo>
                  <a:pt x="546" y="568"/>
                </a:lnTo>
                <a:lnTo>
                  <a:pt x="551" y="576"/>
                </a:lnTo>
                <a:lnTo>
                  <a:pt x="553" y="582"/>
                </a:lnTo>
                <a:lnTo>
                  <a:pt x="556" y="583"/>
                </a:lnTo>
                <a:lnTo>
                  <a:pt x="560" y="584"/>
                </a:lnTo>
                <a:lnTo>
                  <a:pt x="562" y="585"/>
                </a:lnTo>
                <a:lnTo>
                  <a:pt x="565" y="587"/>
                </a:lnTo>
                <a:lnTo>
                  <a:pt x="567" y="590"/>
                </a:lnTo>
                <a:lnTo>
                  <a:pt x="569" y="593"/>
                </a:lnTo>
                <a:lnTo>
                  <a:pt x="570" y="596"/>
                </a:lnTo>
                <a:lnTo>
                  <a:pt x="570" y="599"/>
                </a:lnTo>
                <a:lnTo>
                  <a:pt x="573" y="600"/>
                </a:lnTo>
                <a:lnTo>
                  <a:pt x="576" y="602"/>
                </a:lnTo>
                <a:lnTo>
                  <a:pt x="581" y="604"/>
                </a:lnTo>
                <a:lnTo>
                  <a:pt x="584" y="607"/>
                </a:lnTo>
                <a:lnTo>
                  <a:pt x="591" y="615"/>
                </a:lnTo>
                <a:lnTo>
                  <a:pt x="595" y="620"/>
                </a:lnTo>
                <a:lnTo>
                  <a:pt x="600" y="621"/>
                </a:lnTo>
                <a:lnTo>
                  <a:pt x="605" y="623"/>
                </a:lnTo>
                <a:lnTo>
                  <a:pt x="608" y="625"/>
                </a:lnTo>
                <a:lnTo>
                  <a:pt x="610" y="626"/>
                </a:lnTo>
                <a:lnTo>
                  <a:pt x="611" y="630"/>
                </a:lnTo>
                <a:lnTo>
                  <a:pt x="612" y="632"/>
                </a:lnTo>
                <a:lnTo>
                  <a:pt x="620" y="632"/>
                </a:lnTo>
                <a:lnTo>
                  <a:pt x="624" y="622"/>
                </a:lnTo>
                <a:lnTo>
                  <a:pt x="633" y="602"/>
                </a:lnTo>
                <a:lnTo>
                  <a:pt x="641" y="583"/>
                </a:lnTo>
                <a:lnTo>
                  <a:pt x="646" y="574"/>
                </a:lnTo>
                <a:lnTo>
                  <a:pt x="646" y="545"/>
                </a:lnTo>
                <a:lnTo>
                  <a:pt x="651" y="532"/>
                </a:lnTo>
                <a:lnTo>
                  <a:pt x="655" y="517"/>
                </a:lnTo>
                <a:lnTo>
                  <a:pt x="657" y="501"/>
                </a:lnTo>
                <a:lnTo>
                  <a:pt x="658" y="486"/>
                </a:lnTo>
                <a:lnTo>
                  <a:pt x="660" y="470"/>
                </a:lnTo>
                <a:lnTo>
                  <a:pt x="662" y="455"/>
                </a:lnTo>
                <a:lnTo>
                  <a:pt x="666" y="440"/>
                </a:lnTo>
                <a:lnTo>
                  <a:pt x="670" y="427"/>
                </a:lnTo>
                <a:lnTo>
                  <a:pt x="671" y="419"/>
                </a:lnTo>
                <a:lnTo>
                  <a:pt x="673" y="411"/>
                </a:lnTo>
                <a:lnTo>
                  <a:pt x="677" y="403"/>
                </a:lnTo>
                <a:lnTo>
                  <a:pt x="681" y="395"/>
                </a:lnTo>
                <a:lnTo>
                  <a:pt x="685" y="388"/>
                </a:lnTo>
                <a:lnTo>
                  <a:pt x="688" y="380"/>
                </a:lnTo>
                <a:lnTo>
                  <a:pt x="690" y="372"/>
                </a:lnTo>
                <a:lnTo>
                  <a:pt x="691" y="364"/>
                </a:lnTo>
                <a:lnTo>
                  <a:pt x="700" y="360"/>
                </a:lnTo>
                <a:lnTo>
                  <a:pt x="703" y="345"/>
                </a:lnTo>
                <a:lnTo>
                  <a:pt x="704" y="331"/>
                </a:lnTo>
                <a:lnTo>
                  <a:pt x="708" y="322"/>
                </a:lnTo>
                <a:lnTo>
                  <a:pt x="713" y="309"/>
                </a:lnTo>
                <a:lnTo>
                  <a:pt x="720" y="302"/>
                </a:lnTo>
                <a:lnTo>
                  <a:pt x="721" y="295"/>
                </a:lnTo>
                <a:lnTo>
                  <a:pt x="723" y="288"/>
                </a:lnTo>
                <a:lnTo>
                  <a:pt x="726" y="282"/>
                </a:lnTo>
                <a:lnTo>
                  <a:pt x="729" y="275"/>
                </a:lnTo>
                <a:lnTo>
                  <a:pt x="737" y="261"/>
                </a:lnTo>
                <a:lnTo>
                  <a:pt x="747" y="248"/>
                </a:lnTo>
                <a:lnTo>
                  <a:pt x="757" y="235"/>
                </a:lnTo>
                <a:lnTo>
                  <a:pt x="767" y="222"/>
                </a:lnTo>
                <a:lnTo>
                  <a:pt x="775" y="211"/>
                </a:lnTo>
                <a:lnTo>
                  <a:pt x="780" y="201"/>
                </a:lnTo>
                <a:lnTo>
                  <a:pt x="782" y="200"/>
                </a:lnTo>
                <a:lnTo>
                  <a:pt x="784" y="200"/>
                </a:lnTo>
                <a:lnTo>
                  <a:pt x="786" y="198"/>
                </a:lnTo>
                <a:lnTo>
                  <a:pt x="787" y="197"/>
                </a:lnTo>
                <a:lnTo>
                  <a:pt x="792" y="192"/>
                </a:lnTo>
                <a:lnTo>
                  <a:pt x="796" y="189"/>
                </a:lnTo>
                <a:lnTo>
                  <a:pt x="803" y="178"/>
                </a:lnTo>
                <a:lnTo>
                  <a:pt x="809" y="168"/>
                </a:lnTo>
                <a:lnTo>
                  <a:pt x="822" y="163"/>
                </a:lnTo>
                <a:lnTo>
                  <a:pt x="825" y="158"/>
                </a:lnTo>
                <a:lnTo>
                  <a:pt x="832" y="151"/>
                </a:lnTo>
                <a:lnTo>
                  <a:pt x="841" y="145"/>
                </a:lnTo>
                <a:lnTo>
                  <a:pt x="847" y="142"/>
                </a:lnTo>
                <a:lnTo>
                  <a:pt x="851" y="138"/>
                </a:lnTo>
                <a:lnTo>
                  <a:pt x="851" y="134"/>
                </a:lnTo>
                <a:lnTo>
                  <a:pt x="853" y="130"/>
                </a:lnTo>
                <a:lnTo>
                  <a:pt x="857" y="126"/>
                </a:lnTo>
                <a:lnTo>
                  <a:pt x="859" y="125"/>
                </a:lnTo>
                <a:lnTo>
                  <a:pt x="859" y="104"/>
                </a:lnTo>
                <a:lnTo>
                  <a:pt x="858" y="104"/>
                </a:lnTo>
                <a:lnTo>
                  <a:pt x="855" y="102"/>
                </a:lnTo>
                <a:lnTo>
                  <a:pt x="852" y="100"/>
                </a:lnTo>
                <a:lnTo>
                  <a:pt x="851" y="96"/>
                </a:lnTo>
                <a:lnTo>
                  <a:pt x="842" y="92"/>
                </a:lnTo>
                <a:lnTo>
                  <a:pt x="834" y="92"/>
                </a:lnTo>
                <a:lnTo>
                  <a:pt x="825" y="84"/>
                </a:lnTo>
                <a:lnTo>
                  <a:pt x="815" y="82"/>
                </a:lnTo>
                <a:lnTo>
                  <a:pt x="805" y="80"/>
                </a:lnTo>
                <a:lnTo>
                  <a:pt x="791" y="77"/>
                </a:lnTo>
                <a:lnTo>
                  <a:pt x="773" y="76"/>
                </a:lnTo>
                <a:lnTo>
                  <a:pt x="754" y="75"/>
                </a:lnTo>
                <a:lnTo>
                  <a:pt x="737" y="75"/>
                </a:lnTo>
                <a:lnTo>
                  <a:pt x="724" y="65"/>
                </a:lnTo>
                <a:lnTo>
                  <a:pt x="713" y="58"/>
                </a:lnTo>
                <a:lnTo>
                  <a:pt x="713" y="46"/>
                </a:lnTo>
                <a:lnTo>
                  <a:pt x="710" y="45"/>
                </a:lnTo>
                <a:lnTo>
                  <a:pt x="709" y="44"/>
                </a:lnTo>
                <a:lnTo>
                  <a:pt x="708" y="40"/>
                </a:lnTo>
                <a:lnTo>
                  <a:pt x="708" y="37"/>
                </a:lnTo>
                <a:lnTo>
                  <a:pt x="704" y="28"/>
                </a:lnTo>
                <a:lnTo>
                  <a:pt x="700" y="17"/>
                </a:lnTo>
                <a:lnTo>
                  <a:pt x="691" y="13"/>
                </a:lnTo>
                <a:lnTo>
                  <a:pt x="691" y="4"/>
                </a:lnTo>
                <a:lnTo>
                  <a:pt x="687" y="0"/>
                </a:lnTo>
                <a:lnTo>
                  <a:pt x="679" y="0"/>
                </a:lnTo>
                <a:lnTo>
                  <a:pt x="669" y="0"/>
                </a:lnTo>
                <a:lnTo>
                  <a:pt x="658" y="0"/>
                </a:lnTo>
                <a:lnTo>
                  <a:pt x="650" y="0"/>
                </a:lnTo>
                <a:lnTo>
                  <a:pt x="637" y="8"/>
                </a:lnTo>
                <a:lnTo>
                  <a:pt x="629" y="8"/>
                </a:lnTo>
                <a:lnTo>
                  <a:pt x="622" y="10"/>
                </a:lnTo>
                <a:lnTo>
                  <a:pt x="617" y="13"/>
                </a:lnTo>
                <a:lnTo>
                  <a:pt x="614" y="15"/>
                </a:lnTo>
                <a:lnTo>
                  <a:pt x="611" y="16"/>
                </a:lnTo>
                <a:lnTo>
                  <a:pt x="608" y="17"/>
                </a:lnTo>
                <a:lnTo>
                  <a:pt x="603" y="17"/>
                </a:lnTo>
                <a:lnTo>
                  <a:pt x="600" y="25"/>
                </a:lnTo>
                <a:lnTo>
                  <a:pt x="593" y="25"/>
                </a:lnTo>
                <a:lnTo>
                  <a:pt x="586" y="25"/>
                </a:lnTo>
                <a:lnTo>
                  <a:pt x="580" y="32"/>
                </a:lnTo>
                <a:lnTo>
                  <a:pt x="572" y="36"/>
                </a:lnTo>
                <a:lnTo>
                  <a:pt x="564" y="40"/>
                </a:lnTo>
                <a:lnTo>
                  <a:pt x="557" y="42"/>
                </a:lnTo>
                <a:lnTo>
                  <a:pt x="553" y="46"/>
                </a:lnTo>
                <a:lnTo>
                  <a:pt x="544" y="54"/>
                </a:lnTo>
                <a:lnTo>
                  <a:pt x="538" y="59"/>
                </a:lnTo>
                <a:lnTo>
                  <a:pt x="533" y="63"/>
                </a:lnTo>
                <a:lnTo>
                  <a:pt x="527" y="66"/>
                </a:lnTo>
                <a:lnTo>
                  <a:pt x="524" y="67"/>
                </a:lnTo>
                <a:lnTo>
                  <a:pt x="524" y="80"/>
                </a:lnTo>
                <a:lnTo>
                  <a:pt x="516" y="84"/>
                </a:lnTo>
                <a:lnTo>
                  <a:pt x="516" y="94"/>
                </a:lnTo>
                <a:lnTo>
                  <a:pt x="516" y="104"/>
                </a:lnTo>
                <a:lnTo>
                  <a:pt x="514" y="105"/>
                </a:lnTo>
                <a:lnTo>
                  <a:pt x="513" y="106"/>
                </a:lnTo>
                <a:lnTo>
                  <a:pt x="513" y="109"/>
                </a:lnTo>
                <a:lnTo>
                  <a:pt x="512" y="112"/>
                </a:lnTo>
                <a:lnTo>
                  <a:pt x="512" y="117"/>
                </a:lnTo>
                <a:lnTo>
                  <a:pt x="512" y="121"/>
                </a:lnTo>
                <a:lnTo>
                  <a:pt x="509" y="122"/>
                </a:lnTo>
                <a:lnTo>
                  <a:pt x="507" y="122"/>
                </a:lnTo>
                <a:lnTo>
                  <a:pt x="507" y="123"/>
                </a:lnTo>
                <a:lnTo>
                  <a:pt x="506" y="124"/>
                </a:lnTo>
                <a:lnTo>
                  <a:pt x="505" y="126"/>
                </a:lnTo>
                <a:lnTo>
                  <a:pt x="503" y="129"/>
                </a:lnTo>
                <a:lnTo>
                  <a:pt x="499" y="131"/>
                </a:lnTo>
                <a:lnTo>
                  <a:pt x="495" y="13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262626"/>
              </a:solidFill>
            </a:endParaRPr>
          </a:p>
        </p:txBody>
      </p:sp>
      <p:sp>
        <p:nvSpPr>
          <p:cNvPr id="241" name="Oval 240">
            <a:extLst>
              <a:ext uri="{FF2B5EF4-FFF2-40B4-BE49-F238E27FC236}">
                <a16:creationId xmlns:a16="http://schemas.microsoft.com/office/drawing/2014/main" id="{B4342015-F711-4BFB-8EFE-0F4AEC6C0FAB}"/>
              </a:ext>
            </a:extLst>
          </p:cNvPr>
          <p:cNvSpPr/>
          <p:nvPr/>
        </p:nvSpPr>
        <p:spPr>
          <a:xfrm>
            <a:off x="7948613" y="3937000"/>
            <a:ext cx="457200" cy="457200"/>
          </a:xfrm>
          <a:prstGeom prst="ellipse">
            <a:avLst/>
          </a:prstGeom>
          <a:solidFill>
            <a:schemeClr val="accent4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1050" b="1" dirty="0">
                <a:solidFill>
                  <a:srgbClr val="FFFFFF"/>
                </a:solidFill>
              </a:rPr>
              <a:t>40%</a:t>
            </a:r>
            <a:endParaRPr lang="el-GR" sz="1050" b="1" dirty="0">
              <a:solidFill>
                <a:srgbClr val="FFFFFF"/>
              </a:solidFill>
            </a:endParaRPr>
          </a:p>
        </p:txBody>
      </p:sp>
      <p:sp>
        <p:nvSpPr>
          <p:cNvPr id="242" name="Oval 241">
            <a:extLst>
              <a:ext uri="{FF2B5EF4-FFF2-40B4-BE49-F238E27FC236}">
                <a16:creationId xmlns:a16="http://schemas.microsoft.com/office/drawing/2014/main" id="{16EF4885-00D0-4E4C-8244-524F9C22B37D}"/>
              </a:ext>
            </a:extLst>
          </p:cNvPr>
          <p:cNvSpPr/>
          <p:nvPr/>
        </p:nvSpPr>
        <p:spPr>
          <a:xfrm>
            <a:off x="7086601" y="3413126"/>
            <a:ext cx="365125" cy="365125"/>
          </a:xfrm>
          <a:prstGeom prst="ellipse">
            <a:avLst/>
          </a:prstGeom>
          <a:solidFill>
            <a:schemeClr val="bg1">
              <a:lumMod val="75000"/>
            </a:schemeClr>
          </a:solidFill>
          <a:ln w="28575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b="1" dirty="0"/>
              <a:t>49%</a:t>
            </a:r>
            <a:endParaRPr lang="el-GR" sz="800" b="1" dirty="0"/>
          </a:p>
        </p:txBody>
      </p:sp>
      <p:sp>
        <p:nvSpPr>
          <p:cNvPr id="243" name="Oval 242">
            <a:extLst>
              <a:ext uri="{FF2B5EF4-FFF2-40B4-BE49-F238E27FC236}">
                <a16:creationId xmlns:a16="http://schemas.microsoft.com/office/drawing/2014/main" id="{2C36A2DF-F613-4727-9FEC-5F42FA525346}"/>
              </a:ext>
            </a:extLst>
          </p:cNvPr>
          <p:cNvSpPr/>
          <p:nvPr/>
        </p:nvSpPr>
        <p:spPr>
          <a:xfrm>
            <a:off x="8064500" y="3052764"/>
            <a:ext cx="366713" cy="365125"/>
          </a:xfrm>
          <a:prstGeom prst="ellipse">
            <a:avLst/>
          </a:prstGeom>
          <a:solidFill>
            <a:schemeClr val="accent3"/>
          </a:solidFill>
          <a:ln w="9525" cap="flat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800" b="1" dirty="0">
                <a:solidFill>
                  <a:srgbClr val="FFFFFF"/>
                </a:solidFill>
              </a:rPr>
              <a:t>11%</a:t>
            </a:r>
            <a:endParaRPr lang="el-GR" sz="800" b="1" dirty="0">
              <a:solidFill>
                <a:srgbClr val="FFFFFF"/>
              </a:solidFill>
            </a:endParaRPr>
          </a:p>
        </p:txBody>
      </p:sp>
      <p:grpSp>
        <p:nvGrpSpPr>
          <p:cNvPr id="244" name="Group 243">
            <a:extLst>
              <a:ext uri="{FF2B5EF4-FFF2-40B4-BE49-F238E27FC236}">
                <a16:creationId xmlns:a16="http://schemas.microsoft.com/office/drawing/2014/main" id="{2AD26E29-8DAA-4B30-8778-F021529C34AA}"/>
              </a:ext>
            </a:extLst>
          </p:cNvPr>
          <p:cNvGrpSpPr/>
          <p:nvPr/>
        </p:nvGrpSpPr>
        <p:grpSpPr>
          <a:xfrm>
            <a:off x="6267450" y="1955800"/>
            <a:ext cx="3521075" cy="3798888"/>
            <a:chOff x="617183" y="1719126"/>
            <a:chExt cx="3028098" cy="2163136"/>
          </a:xfrm>
        </p:grpSpPr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85DF5159-8F77-40AC-9764-1B8A6D6EBF38}"/>
                </a:ext>
              </a:extLst>
            </p:cNvPr>
            <p:cNvSpPr/>
            <p:nvPr/>
          </p:nvSpPr>
          <p:spPr>
            <a:xfrm>
              <a:off x="620713" y="1719126"/>
              <a:ext cx="3024568" cy="19506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latin typeface="Arial"/>
                </a:rPr>
                <a:t>Geography</a:t>
              </a: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ABF83368-11DF-4B17-AF0C-038D3036B9CD}"/>
                </a:ext>
              </a:extLst>
            </p:cNvPr>
            <p:cNvSpPr/>
            <p:nvPr/>
          </p:nvSpPr>
          <p:spPr>
            <a:xfrm>
              <a:off x="617183" y="1719126"/>
              <a:ext cx="3028098" cy="216313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/>
              </a:endParaRPr>
            </a:p>
          </p:txBody>
        </p:sp>
      </p:grpSp>
      <p:grpSp>
        <p:nvGrpSpPr>
          <p:cNvPr id="247" name="Group 246">
            <a:extLst>
              <a:ext uri="{FF2B5EF4-FFF2-40B4-BE49-F238E27FC236}">
                <a16:creationId xmlns:a16="http://schemas.microsoft.com/office/drawing/2014/main" id="{E7BBB1B8-87A6-47BE-BB79-95E945DD1EF6}"/>
              </a:ext>
            </a:extLst>
          </p:cNvPr>
          <p:cNvGrpSpPr/>
          <p:nvPr/>
        </p:nvGrpSpPr>
        <p:grpSpPr>
          <a:xfrm>
            <a:off x="1981200" y="1955800"/>
            <a:ext cx="3625850" cy="3798888"/>
            <a:chOff x="617183" y="1719126"/>
            <a:chExt cx="3028098" cy="2163136"/>
          </a:xfrm>
        </p:grpSpPr>
        <p:sp>
          <p:nvSpPr>
            <p:cNvPr id="248" name="Rectangle 247">
              <a:extLst>
                <a:ext uri="{FF2B5EF4-FFF2-40B4-BE49-F238E27FC236}">
                  <a16:creationId xmlns:a16="http://schemas.microsoft.com/office/drawing/2014/main" id="{4EB0F92F-456D-43B4-A32C-13CA13C74C8A}"/>
                </a:ext>
              </a:extLst>
            </p:cNvPr>
            <p:cNvSpPr/>
            <p:nvPr/>
          </p:nvSpPr>
          <p:spPr>
            <a:xfrm>
              <a:off x="620713" y="1719126"/>
              <a:ext cx="3024568" cy="19506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latin typeface="Arial"/>
                </a:rPr>
                <a:t>Workplace</a:t>
              </a:r>
              <a:endParaRPr lang="en-US" sz="1200" b="1" baseline="30000" dirty="0">
                <a:latin typeface="Arial"/>
              </a:endParaRPr>
            </a:p>
          </p:txBody>
        </p:sp>
        <p:sp>
          <p:nvSpPr>
            <p:cNvPr id="249" name="Rectangle 248">
              <a:extLst>
                <a:ext uri="{FF2B5EF4-FFF2-40B4-BE49-F238E27FC236}">
                  <a16:creationId xmlns:a16="http://schemas.microsoft.com/office/drawing/2014/main" id="{12DFD8AC-DBC8-4A71-BE94-CD006D8F3050}"/>
                </a:ext>
              </a:extLst>
            </p:cNvPr>
            <p:cNvSpPr/>
            <p:nvPr/>
          </p:nvSpPr>
          <p:spPr>
            <a:xfrm>
              <a:off x="617183" y="1719126"/>
              <a:ext cx="3028098" cy="2163136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atin typeface="Arial"/>
              </a:endParaRPr>
            </a:p>
          </p:txBody>
        </p:sp>
      </p:grpSp>
      <p:graphicFrame>
        <p:nvGraphicFramePr>
          <p:cNvPr id="257" name="Chart 256">
            <a:extLst>
              <a:ext uri="{FF2B5EF4-FFF2-40B4-BE49-F238E27FC236}">
                <a16:creationId xmlns:a16="http://schemas.microsoft.com/office/drawing/2014/main" id="{85AE9551-CE51-475D-A2D6-C46433C438F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43226577"/>
              </p:ext>
            </p:extLst>
          </p:nvPr>
        </p:nvGraphicFramePr>
        <p:xfrm>
          <a:off x="2486025" y="2765425"/>
          <a:ext cx="2527300" cy="2487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251" name="Rectangle 250">
            <a:extLst>
              <a:ext uri="{FF2B5EF4-FFF2-40B4-BE49-F238E27FC236}">
                <a16:creationId xmlns:a16="http://schemas.microsoft.com/office/drawing/2014/main" id="{D0731B74-D9DB-491C-996E-CF2C0C53CE7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4962525" y="3921125"/>
            <a:ext cx="506413" cy="3365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/>
            <a:fld id="{F8AD2A44-83F1-4E1B-8FD0-D7E5AE45A3FF}" type="datetime'''''''''''Ho''''''s''p''i''t''''a''''''l&#10;se''''c''t''o''''r'''">
              <a:rPr lang="en-US" altLang="en-US" sz="1100" smtClean="0">
                <a:solidFill>
                  <a:schemeClr val="tx1"/>
                </a:solidFill>
                <a:ea typeface="+mj-ea"/>
                <a:cs typeface="+mj-cs"/>
              </a:rPr>
              <a:pPr/>
              <a:t>Hospital
sector</a:t>
            </a:fld>
            <a:endParaRPr lang="el-GR" sz="11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2" name="Rectangle 251">
            <a:extLst>
              <a:ext uri="{FF2B5EF4-FFF2-40B4-BE49-F238E27FC236}">
                <a16:creationId xmlns:a16="http://schemas.microsoft.com/office/drawing/2014/main" id="{8E39DB9D-AFEF-4FD2-9BA2-8D41726D4418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2530475" y="2773363"/>
            <a:ext cx="434975" cy="3365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/>
            <a:fld id="{5FD83B02-A292-4BE8-97D1-0BC52A6E43EC}" type="datetime'''''''P''r''''''i''''''''v''''a''te&#10;''sec''''''t''''''or'">
              <a:rPr lang="en-US" altLang="en-US" sz="1100" smtClean="0">
                <a:solidFill>
                  <a:schemeClr val="tx1"/>
                </a:solidFill>
                <a:ea typeface="+mj-ea"/>
                <a:cs typeface="+mj-cs"/>
              </a:rPr>
              <a:pPr/>
              <a:t>Private
sector</a:t>
            </a:fld>
            <a:endParaRPr lang="el-GR" sz="1100" dirty="0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254" name="Oval 253">
            <a:extLst>
              <a:ext uri="{FF2B5EF4-FFF2-40B4-BE49-F238E27FC236}">
                <a16:creationId xmlns:a16="http://schemas.microsoft.com/office/drawing/2014/main" id="{8FE44AE5-5776-479D-AAEA-F5DEA558872B}"/>
              </a:ext>
            </a:extLst>
          </p:cNvPr>
          <p:cNvSpPr/>
          <p:nvPr/>
        </p:nvSpPr>
        <p:spPr>
          <a:xfrm>
            <a:off x="3154363" y="3414713"/>
            <a:ext cx="1190625" cy="1189038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400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93063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8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2817A734-A316-4BF3-9261-C047E42353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266022"/>
              </p:ext>
            </p:extLst>
          </p:nvPr>
        </p:nvGraphicFramePr>
        <p:xfrm>
          <a:off x="8325323" y="1354255"/>
          <a:ext cx="3290514" cy="252297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45257">
                  <a:extLst>
                    <a:ext uri="{9D8B030D-6E8A-4147-A177-3AD203B41FA5}">
                      <a16:colId xmlns:a16="http://schemas.microsoft.com/office/drawing/2014/main" val="1348936"/>
                    </a:ext>
                  </a:extLst>
                </a:gridCol>
                <a:gridCol w="1645257">
                  <a:extLst>
                    <a:ext uri="{9D8B030D-6E8A-4147-A177-3AD203B41FA5}">
                      <a16:colId xmlns:a16="http://schemas.microsoft.com/office/drawing/2014/main" val="461532636"/>
                    </a:ext>
                  </a:extLst>
                </a:gridCol>
              </a:tblGrid>
              <a:tr h="30220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251 ΓΕΝ</a:t>
                      </a:r>
                      <a:r>
                        <a:rPr lang="en-US" sz="800" u="none" strike="noStrike" dirty="0">
                          <a:effectLst/>
                        </a:rPr>
                        <a:t>.</a:t>
                      </a:r>
                      <a:r>
                        <a:rPr lang="el-GR" sz="800" u="none" strike="noStrike" dirty="0">
                          <a:effectLst/>
                        </a:rPr>
                        <a:t> ΝΟΣ</a:t>
                      </a:r>
                      <a:r>
                        <a:rPr lang="en-US" sz="800" u="none" strike="noStrike" dirty="0">
                          <a:effectLst/>
                        </a:rPr>
                        <a:t>.</a:t>
                      </a:r>
                      <a:r>
                        <a:rPr lang="el-GR" sz="800" u="none" strike="noStrike" dirty="0">
                          <a:effectLst/>
                        </a:rPr>
                        <a:t> ΑΕΡΟΠΟΡΙΑΣ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Γ.Π.Ν.ΑΣΚΛΗΠΙΕΙΟ ΒΟΥΛΑΣ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9039341"/>
                  </a:ext>
                </a:extLst>
              </a:tr>
              <a:tr h="30220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401 ΣΤΡΑΤΙΩΤΙΚΟ ΝΟΣΟΚ.ΑΘΗΝΩΝ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ΕΥΡΩΚΛΙΝΙΚΗ ΑΘΗΝΩΝ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3686265"/>
                  </a:ext>
                </a:extLst>
              </a:tr>
              <a:tr h="179731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l-GR" sz="800" u="none" strike="noStrike" dirty="0">
                          <a:effectLst/>
                        </a:rPr>
                        <a:t>ΥΓΕΙΑ ΔΙΑΓΝ.&amp; ΘΕΡΑΠΕΥΤΙΚΟ ΚΕΝΤΡΟ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ΙΑΤΡΙΚΗ ΣΧΟΛΗ Ε.Κ.Π.Α.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48156567"/>
                  </a:ext>
                </a:extLst>
              </a:tr>
              <a:tr h="153811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ΒΙΟΚΛΙΝΙΚΗ ΑΘΗΝΩΝ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ΙΑΤΡΙΚΟ ΑΘΗΝΩΝ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83235087"/>
                  </a:ext>
                </a:extLst>
              </a:tr>
              <a:tr h="30220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Γ.Ν. Ν.ΙΩΝΙΑΣ-ΚΩΝΣΤΑΝΤΟΠΟΥΛΕΙΟ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ΙΑΤΡΟΚΟΣΜΟΣ ΠΟΛΥΙΑΤΡΕΙΟ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8991414"/>
                  </a:ext>
                </a:extLst>
              </a:tr>
              <a:tr h="153811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>
                          <a:effectLst/>
                        </a:rPr>
                        <a:t>Γ.Ν.ΓΕΝΝΗΜΑΤΑΣ ΑΘΗΝΩΝ</a:t>
                      </a:r>
                      <a:endParaRPr lang="el-GR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ΚΕΝΤΡΙΚΗ ΚΛΙΝΙΚΗ ΑΘΗΝΩΝ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59314270"/>
                  </a:ext>
                </a:extLst>
              </a:tr>
              <a:tr h="30220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Γ.Ν.ΛΑΙΚΟ ΑΘΗΝΩΝ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ΜΕΝΤΙΤΕΡΑΝΕΟ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2597145"/>
                  </a:ext>
                </a:extLst>
              </a:tr>
              <a:tr h="30220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Γ.Ν.ΣΙΣΜΑΝΟΓΛΕΙΟ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Ν.Ν.Α.ΝΑΥΤΙΚΟ ΝΟΣΟΚΟΜΕΙΟ ΑΘΗΝΩΝ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4008273"/>
                  </a:ext>
                </a:extLst>
              </a:tr>
              <a:tr h="153811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Γ.Π.Ν. ΕΥΑΓΓΕΛΙΣΜΟΣ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Π.Γ.Ν. ΑΤΤΙΚΟΝ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76082590"/>
                  </a:ext>
                </a:extLst>
              </a:tr>
              <a:tr h="30220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dirty="0">
                          <a:effectLst/>
                        </a:rPr>
                        <a:t>Γ.Π.Ν. ΙΠΠΟΚΡΑΤΕΙΟ ΑΘΗΝΩΝ</a:t>
                      </a: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endParaRPr lang="el-GR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449" marR="4449" marT="4449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9318023"/>
                  </a:ext>
                </a:extLst>
              </a:tr>
            </a:tbl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26E747-FD94-4552-8F91-A7D37DB875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Source: IQVIA PMR (December 2020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Geographic allocation of participating hospitals</a:t>
            </a:r>
            <a:endParaRPr lang="el-G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7012" y="237000"/>
            <a:ext cx="11519518" cy="773799"/>
          </a:xfrm>
        </p:spPr>
        <p:txBody>
          <a:bodyPr/>
          <a:lstStyle/>
          <a:p>
            <a:r>
              <a:rPr lang="en-US" dirty="0"/>
              <a:t>42 out of 56 Hospitals (75% response rate) with Rheumatologists participated in the survey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77013" y="6552000"/>
            <a:ext cx="7560000" cy="123111"/>
          </a:xfrm>
        </p:spPr>
        <p:txBody>
          <a:bodyPr/>
          <a:lstStyle/>
          <a:p>
            <a:r>
              <a:rPr lang="en-US" dirty="0"/>
              <a:t>IQVIA • Genesis • Market Research on </a:t>
            </a:r>
            <a:r>
              <a:rPr lang="en-US" dirty="0" err="1"/>
              <a:t>Behcet</a:t>
            </a:r>
            <a:r>
              <a:rPr lang="en-US" dirty="0"/>
              <a:t> disease • December 2020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3968263" y="1400432"/>
            <a:ext cx="4167541" cy="4193622"/>
            <a:chOff x="5260052" y="2400300"/>
            <a:chExt cx="2717890" cy="2698946"/>
          </a:xfrm>
        </p:grpSpPr>
        <p:sp>
          <p:nvSpPr>
            <p:cNvPr id="41" name="Freeform 9"/>
            <p:cNvSpPr>
              <a:spLocks noChangeAspect="1"/>
            </p:cNvSpPr>
            <p:nvPr/>
          </p:nvSpPr>
          <p:spPr bwMode="gray">
            <a:xfrm rot="355651">
              <a:off x="6453188" y="4733925"/>
              <a:ext cx="304692" cy="207599"/>
            </a:xfrm>
            <a:custGeom>
              <a:avLst/>
              <a:gdLst/>
              <a:ahLst/>
              <a:cxnLst>
                <a:cxn ang="0">
                  <a:pos x="431" y="61"/>
                </a:cxn>
                <a:cxn ang="0">
                  <a:pos x="392" y="247"/>
                </a:cxn>
                <a:cxn ang="0">
                  <a:pos x="356" y="398"/>
                </a:cxn>
                <a:cxn ang="0">
                  <a:pos x="307" y="465"/>
                </a:cxn>
                <a:cxn ang="0">
                  <a:pos x="258" y="477"/>
                </a:cxn>
                <a:cxn ang="0">
                  <a:pos x="231" y="455"/>
                </a:cxn>
                <a:cxn ang="0">
                  <a:pos x="206" y="389"/>
                </a:cxn>
                <a:cxn ang="0">
                  <a:pos x="120" y="323"/>
                </a:cxn>
                <a:cxn ang="0">
                  <a:pos x="83" y="325"/>
                </a:cxn>
                <a:cxn ang="0">
                  <a:pos x="68" y="366"/>
                </a:cxn>
                <a:cxn ang="0">
                  <a:pos x="79" y="383"/>
                </a:cxn>
                <a:cxn ang="0">
                  <a:pos x="92" y="417"/>
                </a:cxn>
                <a:cxn ang="0">
                  <a:pos x="84" y="516"/>
                </a:cxn>
                <a:cxn ang="0">
                  <a:pos x="45" y="593"/>
                </a:cxn>
                <a:cxn ang="0">
                  <a:pos x="2" y="668"/>
                </a:cxn>
                <a:cxn ang="0">
                  <a:pos x="10" y="725"/>
                </a:cxn>
                <a:cxn ang="0">
                  <a:pos x="57" y="805"/>
                </a:cxn>
                <a:cxn ang="0">
                  <a:pos x="104" y="989"/>
                </a:cxn>
                <a:cxn ang="0">
                  <a:pos x="162" y="1077"/>
                </a:cxn>
                <a:cxn ang="0">
                  <a:pos x="226" y="1158"/>
                </a:cxn>
                <a:cxn ang="0">
                  <a:pos x="261" y="1171"/>
                </a:cxn>
                <a:cxn ang="0">
                  <a:pos x="322" y="1120"/>
                </a:cxn>
                <a:cxn ang="0">
                  <a:pos x="384" y="1085"/>
                </a:cxn>
                <a:cxn ang="0">
                  <a:pos x="465" y="1086"/>
                </a:cxn>
                <a:cxn ang="0">
                  <a:pos x="621" y="1125"/>
                </a:cxn>
                <a:cxn ang="0">
                  <a:pos x="900" y="1160"/>
                </a:cxn>
                <a:cxn ang="0">
                  <a:pos x="1039" y="1206"/>
                </a:cxn>
                <a:cxn ang="0">
                  <a:pos x="1085" y="1240"/>
                </a:cxn>
                <a:cxn ang="0">
                  <a:pos x="1212" y="1242"/>
                </a:cxn>
                <a:cxn ang="0">
                  <a:pos x="1378" y="1225"/>
                </a:cxn>
                <a:cxn ang="0">
                  <a:pos x="1390" y="1264"/>
                </a:cxn>
                <a:cxn ang="0">
                  <a:pos x="1423" y="1282"/>
                </a:cxn>
                <a:cxn ang="0">
                  <a:pos x="1516" y="1279"/>
                </a:cxn>
                <a:cxn ang="0">
                  <a:pos x="1563" y="1205"/>
                </a:cxn>
                <a:cxn ang="0">
                  <a:pos x="1544" y="1123"/>
                </a:cxn>
                <a:cxn ang="0">
                  <a:pos x="1548" y="1065"/>
                </a:cxn>
                <a:cxn ang="0">
                  <a:pos x="1560" y="1013"/>
                </a:cxn>
                <a:cxn ang="0">
                  <a:pos x="1570" y="993"/>
                </a:cxn>
                <a:cxn ang="0">
                  <a:pos x="1582" y="963"/>
                </a:cxn>
                <a:cxn ang="0">
                  <a:pos x="1592" y="931"/>
                </a:cxn>
                <a:cxn ang="0">
                  <a:pos x="1609" y="898"/>
                </a:cxn>
                <a:cxn ang="0">
                  <a:pos x="1622" y="878"/>
                </a:cxn>
                <a:cxn ang="0">
                  <a:pos x="1662" y="846"/>
                </a:cxn>
                <a:cxn ang="0">
                  <a:pos x="1582" y="796"/>
                </a:cxn>
                <a:cxn ang="0">
                  <a:pos x="1440" y="749"/>
                </a:cxn>
                <a:cxn ang="0">
                  <a:pos x="1438" y="581"/>
                </a:cxn>
                <a:cxn ang="0">
                  <a:pos x="1419" y="549"/>
                </a:cxn>
                <a:cxn ang="0">
                  <a:pos x="1355" y="546"/>
                </a:cxn>
                <a:cxn ang="0">
                  <a:pos x="1196" y="573"/>
                </a:cxn>
                <a:cxn ang="0">
                  <a:pos x="1181" y="468"/>
                </a:cxn>
                <a:cxn ang="0">
                  <a:pos x="1221" y="425"/>
                </a:cxn>
                <a:cxn ang="0">
                  <a:pos x="1341" y="315"/>
                </a:cxn>
                <a:cxn ang="0">
                  <a:pos x="1182" y="278"/>
                </a:cxn>
                <a:cxn ang="0">
                  <a:pos x="1003" y="367"/>
                </a:cxn>
                <a:cxn ang="0">
                  <a:pos x="833" y="423"/>
                </a:cxn>
                <a:cxn ang="0">
                  <a:pos x="722" y="429"/>
                </a:cxn>
                <a:cxn ang="0">
                  <a:pos x="633" y="389"/>
                </a:cxn>
                <a:cxn ang="0">
                  <a:pos x="568" y="290"/>
                </a:cxn>
                <a:cxn ang="0">
                  <a:pos x="534" y="118"/>
                </a:cxn>
                <a:cxn ang="0">
                  <a:pos x="506" y="4"/>
                </a:cxn>
                <a:cxn ang="0">
                  <a:pos x="450" y="35"/>
                </a:cxn>
              </a:cxnLst>
              <a:rect l="0" t="0" r="r" b="b"/>
              <a:pathLst>
                <a:path w="1667" h="1286">
                  <a:moveTo>
                    <a:pt x="450" y="35"/>
                  </a:moveTo>
                  <a:lnTo>
                    <a:pt x="447" y="35"/>
                  </a:lnTo>
                  <a:lnTo>
                    <a:pt x="444" y="37"/>
                  </a:lnTo>
                  <a:lnTo>
                    <a:pt x="441" y="41"/>
                  </a:lnTo>
                  <a:lnTo>
                    <a:pt x="438" y="47"/>
                  </a:lnTo>
                  <a:lnTo>
                    <a:pt x="431" y="61"/>
                  </a:lnTo>
                  <a:lnTo>
                    <a:pt x="424" y="80"/>
                  </a:lnTo>
                  <a:lnTo>
                    <a:pt x="419" y="104"/>
                  </a:lnTo>
                  <a:lnTo>
                    <a:pt x="412" y="129"/>
                  </a:lnTo>
                  <a:lnTo>
                    <a:pt x="407" y="157"/>
                  </a:lnTo>
                  <a:lnTo>
                    <a:pt x="401" y="186"/>
                  </a:lnTo>
                  <a:lnTo>
                    <a:pt x="392" y="247"/>
                  </a:lnTo>
                  <a:lnTo>
                    <a:pt x="384" y="302"/>
                  </a:lnTo>
                  <a:lnTo>
                    <a:pt x="379" y="347"/>
                  </a:lnTo>
                  <a:lnTo>
                    <a:pt x="377" y="377"/>
                  </a:lnTo>
                  <a:lnTo>
                    <a:pt x="373" y="379"/>
                  </a:lnTo>
                  <a:lnTo>
                    <a:pt x="366" y="387"/>
                  </a:lnTo>
                  <a:lnTo>
                    <a:pt x="356" y="398"/>
                  </a:lnTo>
                  <a:lnTo>
                    <a:pt x="346" y="412"/>
                  </a:lnTo>
                  <a:lnTo>
                    <a:pt x="327" y="439"/>
                  </a:lnTo>
                  <a:lnTo>
                    <a:pt x="315" y="455"/>
                  </a:lnTo>
                  <a:lnTo>
                    <a:pt x="314" y="459"/>
                  </a:lnTo>
                  <a:lnTo>
                    <a:pt x="311" y="462"/>
                  </a:lnTo>
                  <a:lnTo>
                    <a:pt x="307" y="465"/>
                  </a:lnTo>
                  <a:lnTo>
                    <a:pt x="302" y="468"/>
                  </a:lnTo>
                  <a:lnTo>
                    <a:pt x="290" y="473"/>
                  </a:lnTo>
                  <a:lnTo>
                    <a:pt x="277" y="477"/>
                  </a:lnTo>
                  <a:lnTo>
                    <a:pt x="270" y="478"/>
                  </a:lnTo>
                  <a:lnTo>
                    <a:pt x="264" y="478"/>
                  </a:lnTo>
                  <a:lnTo>
                    <a:pt x="258" y="477"/>
                  </a:lnTo>
                  <a:lnTo>
                    <a:pt x="254" y="474"/>
                  </a:lnTo>
                  <a:lnTo>
                    <a:pt x="249" y="471"/>
                  </a:lnTo>
                  <a:lnTo>
                    <a:pt x="246" y="468"/>
                  </a:lnTo>
                  <a:lnTo>
                    <a:pt x="244" y="462"/>
                  </a:lnTo>
                  <a:lnTo>
                    <a:pt x="242" y="455"/>
                  </a:lnTo>
                  <a:lnTo>
                    <a:pt x="231" y="455"/>
                  </a:lnTo>
                  <a:lnTo>
                    <a:pt x="231" y="448"/>
                  </a:lnTo>
                  <a:lnTo>
                    <a:pt x="229" y="440"/>
                  </a:lnTo>
                  <a:lnTo>
                    <a:pt x="227" y="431"/>
                  </a:lnTo>
                  <a:lnTo>
                    <a:pt x="225" y="423"/>
                  </a:lnTo>
                  <a:lnTo>
                    <a:pt x="216" y="406"/>
                  </a:lnTo>
                  <a:lnTo>
                    <a:pt x="206" y="389"/>
                  </a:lnTo>
                  <a:lnTo>
                    <a:pt x="193" y="375"/>
                  </a:lnTo>
                  <a:lnTo>
                    <a:pt x="180" y="360"/>
                  </a:lnTo>
                  <a:lnTo>
                    <a:pt x="165" y="347"/>
                  </a:lnTo>
                  <a:lnTo>
                    <a:pt x="150" y="337"/>
                  </a:lnTo>
                  <a:lnTo>
                    <a:pt x="134" y="328"/>
                  </a:lnTo>
                  <a:lnTo>
                    <a:pt x="120" y="323"/>
                  </a:lnTo>
                  <a:lnTo>
                    <a:pt x="113" y="320"/>
                  </a:lnTo>
                  <a:lnTo>
                    <a:pt x="106" y="319"/>
                  </a:lnTo>
                  <a:lnTo>
                    <a:pt x="100" y="319"/>
                  </a:lnTo>
                  <a:lnTo>
                    <a:pt x="94" y="320"/>
                  </a:lnTo>
                  <a:lnTo>
                    <a:pt x="88" y="323"/>
                  </a:lnTo>
                  <a:lnTo>
                    <a:pt x="83" y="325"/>
                  </a:lnTo>
                  <a:lnTo>
                    <a:pt x="79" y="329"/>
                  </a:lnTo>
                  <a:lnTo>
                    <a:pt x="75" y="334"/>
                  </a:lnTo>
                  <a:lnTo>
                    <a:pt x="73" y="339"/>
                  </a:lnTo>
                  <a:lnTo>
                    <a:pt x="70" y="347"/>
                  </a:lnTo>
                  <a:lnTo>
                    <a:pt x="68" y="356"/>
                  </a:lnTo>
                  <a:lnTo>
                    <a:pt x="68" y="366"/>
                  </a:lnTo>
                  <a:lnTo>
                    <a:pt x="72" y="366"/>
                  </a:lnTo>
                  <a:lnTo>
                    <a:pt x="75" y="367"/>
                  </a:lnTo>
                  <a:lnTo>
                    <a:pt x="77" y="369"/>
                  </a:lnTo>
                  <a:lnTo>
                    <a:pt x="78" y="372"/>
                  </a:lnTo>
                  <a:lnTo>
                    <a:pt x="79" y="377"/>
                  </a:lnTo>
                  <a:lnTo>
                    <a:pt x="79" y="383"/>
                  </a:lnTo>
                  <a:lnTo>
                    <a:pt x="83" y="383"/>
                  </a:lnTo>
                  <a:lnTo>
                    <a:pt x="85" y="385"/>
                  </a:lnTo>
                  <a:lnTo>
                    <a:pt x="87" y="388"/>
                  </a:lnTo>
                  <a:lnTo>
                    <a:pt x="88" y="393"/>
                  </a:lnTo>
                  <a:lnTo>
                    <a:pt x="91" y="404"/>
                  </a:lnTo>
                  <a:lnTo>
                    <a:pt x="92" y="417"/>
                  </a:lnTo>
                  <a:lnTo>
                    <a:pt x="92" y="444"/>
                  </a:lnTo>
                  <a:lnTo>
                    <a:pt x="91" y="461"/>
                  </a:lnTo>
                  <a:lnTo>
                    <a:pt x="91" y="475"/>
                  </a:lnTo>
                  <a:lnTo>
                    <a:pt x="89" y="490"/>
                  </a:lnTo>
                  <a:lnTo>
                    <a:pt x="87" y="503"/>
                  </a:lnTo>
                  <a:lnTo>
                    <a:pt x="84" y="516"/>
                  </a:lnTo>
                  <a:lnTo>
                    <a:pt x="81" y="527"/>
                  </a:lnTo>
                  <a:lnTo>
                    <a:pt x="76" y="538"/>
                  </a:lnTo>
                  <a:lnTo>
                    <a:pt x="72" y="548"/>
                  </a:lnTo>
                  <a:lnTo>
                    <a:pt x="67" y="558"/>
                  </a:lnTo>
                  <a:lnTo>
                    <a:pt x="56" y="576"/>
                  </a:lnTo>
                  <a:lnTo>
                    <a:pt x="45" y="593"/>
                  </a:lnTo>
                  <a:lnTo>
                    <a:pt x="34" y="607"/>
                  </a:lnTo>
                  <a:lnTo>
                    <a:pt x="24" y="623"/>
                  </a:lnTo>
                  <a:lnTo>
                    <a:pt x="14" y="637"/>
                  </a:lnTo>
                  <a:lnTo>
                    <a:pt x="7" y="653"/>
                  </a:lnTo>
                  <a:lnTo>
                    <a:pt x="4" y="661"/>
                  </a:lnTo>
                  <a:lnTo>
                    <a:pt x="2" y="668"/>
                  </a:lnTo>
                  <a:lnTo>
                    <a:pt x="1" y="676"/>
                  </a:lnTo>
                  <a:lnTo>
                    <a:pt x="0" y="685"/>
                  </a:lnTo>
                  <a:lnTo>
                    <a:pt x="1" y="694"/>
                  </a:lnTo>
                  <a:lnTo>
                    <a:pt x="4" y="704"/>
                  </a:lnTo>
                  <a:lnTo>
                    <a:pt x="6" y="714"/>
                  </a:lnTo>
                  <a:lnTo>
                    <a:pt x="10" y="725"/>
                  </a:lnTo>
                  <a:lnTo>
                    <a:pt x="16" y="737"/>
                  </a:lnTo>
                  <a:lnTo>
                    <a:pt x="22" y="749"/>
                  </a:lnTo>
                  <a:lnTo>
                    <a:pt x="30" y="762"/>
                  </a:lnTo>
                  <a:lnTo>
                    <a:pt x="40" y="776"/>
                  </a:lnTo>
                  <a:lnTo>
                    <a:pt x="49" y="789"/>
                  </a:lnTo>
                  <a:lnTo>
                    <a:pt x="57" y="805"/>
                  </a:lnTo>
                  <a:lnTo>
                    <a:pt x="64" y="821"/>
                  </a:lnTo>
                  <a:lnTo>
                    <a:pt x="69" y="839"/>
                  </a:lnTo>
                  <a:lnTo>
                    <a:pt x="79" y="877"/>
                  </a:lnTo>
                  <a:lnTo>
                    <a:pt x="87" y="916"/>
                  </a:lnTo>
                  <a:lnTo>
                    <a:pt x="95" y="954"/>
                  </a:lnTo>
                  <a:lnTo>
                    <a:pt x="104" y="989"/>
                  </a:lnTo>
                  <a:lnTo>
                    <a:pt x="110" y="1004"/>
                  </a:lnTo>
                  <a:lnTo>
                    <a:pt x="115" y="1018"/>
                  </a:lnTo>
                  <a:lnTo>
                    <a:pt x="122" y="1030"/>
                  </a:lnTo>
                  <a:lnTo>
                    <a:pt x="130" y="1040"/>
                  </a:lnTo>
                  <a:lnTo>
                    <a:pt x="146" y="1058"/>
                  </a:lnTo>
                  <a:lnTo>
                    <a:pt x="162" y="1077"/>
                  </a:lnTo>
                  <a:lnTo>
                    <a:pt x="178" y="1096"/>
                  </a:lnTo>
                  <a:lnTo>
                    <a:pt x="191" y="1115"/>
                  </a:lnTo>
                  <a:lnTo>
                    <a:pt x="203" y="1133"/>
                  </a:lnTo>
                  <a:lnTo>
                    <a:pt x="216" y="1147"/>
                  </a:lnTo>
                  <a:lnTo>
                    <a:pt x="220" y="1154"/>
                  </a:lnTo>
                  <a:lnTo>
                    <a:pt x="226" y="1158"/>
                  </a:lnTo>
                  <a:lnTo>
                    <a:pt x="230" y="1163"/>
                  </a:lnTo>
                  <a:lnTo>
                    <a:pt x="235" y="1165"/>
                  </a:lnTo>
                  <a:lnTo>
                    <a:pt x="242" y="1168"/>
                  </a:lnTo>
                  <a:lnTo>
                    <a:pt x="249" y="1171"/>
                  </a:lnTo>
                  <a:lnTo>
                    <a:pt x="256" y="1171"/>
                  </a:lnTo>
                  <a:lnTo>
                    <a:pt x="261" y="1171"/>
                  </a:lnTo>
                  <a:lnTo>
                    <a:pt x="267" y="1170"/>
                  </a:lnTo>
                  <a:lnTo>
                    <a:pt x="273" y="1167"/>
                  </a:lnTo>
                  <a:lnTo>
                    <a:pt x="277" y="1165"/>
                  </a:lnTo>
                  <a:lnTo>
                    <a:pt x="281" y="1162"/>
                  </a:lnTo>
                  <a:lnTo>
                    <a:pt x="300" y="1143"/>
                  </a:lnTo>
                  <a:lnTo>
                    <a:pt x="322" y="1120"/>
                  </a:lnTo>
                  <a:lnTo>
                    <a:pt x="334" y="1109"/>
                  </a:lnTo>
                  <a:lnTo>
                    <a:pt x="347" y="1099"/>
                  </a:lnTo>
                  <a:lnTo>
                    <a:pt x="355" y="1095"/>
                  </a:lnTo>
                  <a:lnTo>
                    <a:pt x="364" y="1090"/>
                  </a:lnTo>
                  <a:lnTo>
                    <a:pt x="374" y="1087"/>
                  </a:lnTo>
                  <a:lnTo>
                    <a:pt x="384" y="1085"/>
                  </a:lnTo>
                  <a:lnTo>
                    <a:pt x="395" y="1083"/>
                  </a:lnTo>
                  <a:lnTo>
                    <a:pt x="407" y="1081"/>
                  </a:lnTo>
                  <a:lnTo>
                    <a:pt x="420" y="1080"/>
                  </a:lnTo>
                  <a:lnTo>
                    <a:pt x="433" y="1081"/>
                  </a:lnTo>
                  <a:lnTo>
                    <a:pt x="449" y="1084"/>
                  </a:lnTo>
                  <a:lnTo>
                    <a:pt x="465" y="1086"/>
                  </a:lnTo>
                  <a:lnTo>
                    <a:pt x="482" y="1090"/>
                  </a:lnTo>
                  <a:lnTo>
                    <a:pt x="501" y="1096"/>
                  </a:lnTo>
                  <a:lnTo>
                    <a:pt x="528" y="1104"/>
                  </a:lnTo>
                  <a:lnTo>
                    <a:pt x="557" y="1112"/>
                  </a:lnTo>
                  <a:lnTo>
                    <a:pt x="588" y="1118"/>
                  </a:lnTo>
                  <a:lnTo>
                    <a:pt x="621" y="1125"/>
                  </a:lnTo>
                  <a:lnTo>
                    <a:pt x="654" y="1132"/>
                  </a:lnTo>
                  <a:lnTo>
                    <a:pt x="688" y="1137"/>
                  </a:lnTo>
                  <a:lnTo>
                    <a:pt x="724" y="1142"/>
                  </a:lnTo>
                  <a:lnTo>
                    <a:pt x="758" y="1146"/>
                  </a:lnTo>
                  <a:lnTo>
                    <a:pt x="830" y="1154"/>
                  </a:lnTo>
                  <a:lnTo>
                    <a:pt x="900" y="1160"/>
                  </a:lnTo>
                  <a:lnTo>
                    <a:pt x="967" y="1162"/>
                  </a:lnTo>
                  <a:lnTo>
                    <a:pt x="1029" y="1163"/>
                  </a:lnTo>
                  <a:lnTo>
                    <a:pt x="1029" y="1176"/>
                  </a:lnTo>
                  <a:lnTo>
                    <a:pt x="1032" y="1187"/>
                  </a:lnTo>
                  <a:lnTo>
                    <a:pt x="1035" y="1198"/>
                  </a:lnTo>
                  <a:lnTo>
                    <a:pt x="1039" y="1206"/>
                  </a:lnTo>
                  <a:lnTo>
                    <a:pt x="1044" y="1214"/>
                  </a:lnTo>
                  <a:lnTo>
                    <a:pt x="1051" y="1221"/>
                  </a:lnTo>
                  <a:lnTo>
                    <a:pt x="1058" y="1227"/>
                  </a:lnTo>
                  <a:lnTo>
                    <a:pt x="1066" y="1232"/>
                  </a:lnTo>
                  <a:lnTo>
                    <a:pt x="1075" y="1237"/>
                  </a:lnTo>
                  <a:lnTo>
                    <a:pt x="1085" y="1240"/>
                  </a:lnTo>
                  <a:lnTo>
                    <a:pt x="1095" y="1242"/>
                  </a:lnTo>
                  <a:lnTo>
                    <a:pt x="1106" y="1244"/>
                  </a:lnTo>
                  <a:lnTo>
                    <a:pt x="1131" y="1247"/>
                  </a:lnTo>
                  <a:lnTo>
                    <a:pt x="1157" y="1247"/>
                  </a:lnTo>
                  <a:lnTo>
                    <a:pt x="1185" y="1245"/>
                  </a:lnTo>
                  <a:lnTo>
                    <a:pt x="1212" y="1242"/>
                  </a:lnTo>
                  <a:lnTo>
                    <a:pt x="1242" y="1239"/>
                  </a:lnTo>
                  <a:lnTo>
                    <a:pt x="1271" y="1235"/>
                  </a:lnTo>
                  <a:lnTo>
                    <a:pt x="1300" y="1231"/>
                  </a:lnTo>
                  <a:lnTo>
                    <a:pt x="1327" y="1228"/>
                  </a:lnTo>
                  <a:lnTo>
                    <a:pt x="1353" y="1225"/>
                  </a:lnTo>
                  <a:lnTo>
                    <a:pt x="1378" y="1225"/>
                  </a:lnTo>
                  <a:lnTo>
                    <a:pt x="1378" y="1233"/>
                  </a:lnTo>
                  <a:lnTo>
                    <a:pt x="1379" y="1241"/>
                  </a:lnTo>
                  <a:lnTo>
                    <a:pt x="1381" y="1248"/>
                  </a:lnTo>
                  <a:lnTo>
                    <a:pt x="1383" y="1254"/>
                  </a:lnTo>
                  <a:lnTo>
                    <a:pt x="1387" y="1260"/>
                  </a:lnTo>
                  <a:lnTo>
                    <a:pt x="1390" y="1264"/>
                  </a:lnTo>
                  <a:lnTo>
                    <a:pt x="1394" y="1269"/>
                  </a:lnTo>
                  <a:lnTo>
                    <a:pt x="1399" y="1272"/>
                  </a:lnTo>
                  <a:lnTo>
                    <a:pt x="1404" y="1276"/>
                  </a:lnTo>
                  <a:lnTo>
                    <a:pt x="1410" y="1279"/>
                  </a:lnTo>
                  <a:lnTo>
                    <a:pt x="1417" y="1280"/>
                  </a:lnTo>
                  <a:lnTo>
                    <a:pt x="1423" y="1282"/>
                  </a:lnTo>
                  <a:lnTo>
                    <a:pt x="1437" y="1285"/>
                  </a:lnTo>
                  <a:lnTo>
                    <a:pt x="1452" y="1286"/>
                  </a:lnTo>
                  <a:lnTo>
                    <a:pt x="1468" y="1285"/>
                  </a:lnTo>
                  <a:lnTo>
                    <a:pt x="1484" y="1283"/>
                  </a:lnTo>
                  <a:lnTo>
                    <a:pt x="1500" y="1281"/>
                  </a:lnTo>
                  <a:lnTo>
                    <a:pt x="1516" y="1279"/>
                  </a:lnTo>
                  <a:lnTo>
                    <a:pt x="1547" y="1272"/>
                  </a:lnTo>
                  <a:lnTo>
                    <a:pt x="1574" y="1267"/>
                  </a:lnTo>
                  <a:lnTo>
                    <a:pt x="1572" y="1243"/>
                  </a:lnTo>
                  <a:lnTo>
                    <a:pt x="1569" y="1223"/>
                  </a:lnTo>
                  <a:lnTo>
                    <a:pt x="1565" y="1213"/>
                  </a:lnTo>
                  <a:lnTo>
                    <a:pt x="1563" y="1205"/>
                  </a:lnTo>
                  <a:lnTo>
                    <a:pt x="1560" y="1198"/>
                  </a:lnTo>
                  <a:lnTo>
                    <a:pt x="1555" y="1191"/>
                  </a:lnTo>
                  <a:lnTo>
                    <a:pt x="1553" y="1182"/>
                  </a:lnTo>
                  <a:lnTo>
                    <a:pt x="1550" y="1166"/>
                  </a:lnTo>
                  <a:lnTo>
                    <a:pt x="1546" y="1145"/>
                  </a:lnTo>
                  <a:lnTo>
                    <a:pt x="1544" y="1123"/>
                  </a:lnTo>
                  <a:lnTo>
                    <a:pt x="1543" y="1102"/>
                  </a:lnTo>
                  <a:lnTo>
                    <a:pt x="1543" y="1083"/>
                  </a:lnTo>
                  <a:lnTo>
                    <a:pt x="1544" y="1075"/>
                  </a:lnTo>
                  <a:lnTo>
                    <a:pt x="1545" y="1069"/>
                  </a:lnTo>
                  <a:lnTo>
                    <a:pt x="1546" y="1066"/>
                  </a:lnTo>
                  <a:lnTo>
                    <a:pt x="1548" y="1065"/>
                  </a:lnTo>
                  <a:lnTo>
                    <a:pt x="1550" y="1055"/>
                  </a:lnTo>
                  <a:lnTo>
                    <a:pt x="1551" y="1046"/>
                  </a:lnTo>
                  <a:lnTo>
                    <a:pt x="1553" y="1037"/>
                  </a:lnTo>
                  <a:lnTo>
                    <a:pt x="1555" y="1029"/>
                  </a:lnTo>
                  <a:lnTo>
                    <a:pt x="1557" y="1021"/>
                  </a:lnTo>
                  <a:lnTo>
                    <a:pt x="1560" y="1013"/>
                  </a:lnTo>
                  <a:lnTo>
                    <a:pt x="1562" y="1006"/>
                  </a:lnTo>
                  <a:lnTo>
                    <a:pt x="1562" y="998"/>
                  </a:lnTo>
                  <a:lnTo>
                    <a:pt x="1564" y="998"/>
                  </a:lnTo>
                  <a:lnTo>
                    <a:pt x="1566" y="997"/>
                  </a:lnTo>
                  <a:lnTo>
                    <a:pt x="1569" y="995"/>
                  </a:lnTo>
                  <a:lnTo>
                    <a:pt x="1570" y="993"/>
                  </a:lnTo>
                  <a:lnTo>
                    <a:pt x="1572" y="989"/>
                  </a:lnTo>
                  <a:lnTo>
                    <a:pt x="1574" y="983"/>
                  </a:lnTo>
                  <a:lnTo>
                    <a:pt x="1575" y="972"/>
                  </a:lnTo>
                  <a:lnTo>
                    <a:pt x="1575" y="964"/>
                  </a:lnTo>
                  <a:lnTo>
                    <a:pt x="1579" y="964"/>
                  </a:lnTo>
                  <a:lnTo>
                    <a:pt x="1582" y="963"/>
                  </a:lnTo>
                  <a:lnTo>
                    <a:pt x="1583" y="961"/>
                  </a:lnTo>
                  <a:lnTo>
                    <a:pt x="1585" y="959"/>
                  </a:lnTo>
                  <a:lnTo>
                    <a:pt x="1588" y="952"/>
                  </a:lnTo>
                  <a:lnTo>
                    <a:pt x="1589" y="944"/>
                  </a:lnTo>
                  <a:lnTo>
                    <a:pt x="1590" y="937"/>
                  </a:lnTo>
                  <a:lnTo>
                    <a:pt x="1592" y="931"/>
                  </a:lnTo>
                  <a:lnTo>
                    <a:pt x="1594" y="929"/>
                  </a:lnTo>
                  <a:lnTo>
                    <a:pt x="1596" y="926"/>
                  </a:lnTo>
                  <a:lnTo>
                    <a:pt x="1599" y="925"/>
                  </a:lnTo>
                  <a:lnTo>
                    <a:pt x="1602" y="924"/>
                  </a:lnTo>
                  <a:lnTo>
                    <a:pt x="1605" y="911"/>
                  </a:lnTo>
                  <a:lnTo>
                    <a:pt x="1609" y="898"/>
                  </a:lnTo>
                  <a:lnTo>
                    <a:pt x="1611" y="897"/>
                  </a:lnTo>
                  <a:lnTo>
                    <a:pt x="1613" y="896"/>
                  </a:lnTo>
                  <a:lnTo>
                    <a:pt x="1615" y="893"/>
                  </a:lnTo>
                  <a:lnTo>
                    <a:pt x="1618" y="891"/>
                  </a:lnTo>
                  <a:lnTo>
                    <a:pt x="1621" y="884"/>
                  </a:lnTo>
                  <a:lnTo>
                    <a:pt x="1622" y="878"/>
                  </a:lnTo>
                  <a:lnTo>
                    <a:pt x="1629" y="872"/>
                  </a:lnTo>
                  <a:lnTo>
                    <a:pt x="1636" y="865"/>
                  </a:lnTo>
                  <a:lnTo>
                    <a:pt x="1642" y="858"/>
                  </a:lnTo>
                  <a:lnTo>
                    <a:pt x="1656" y="858"/>
                  </a:lnTo>
                  <a:lnTo>
                    <a:pt x="1662" y="852"/>
                  </a:lnTo>
                  <a:lnTo>
                    <a:pt x="1662" y="846"/>
                  </a:lnTo>
                  <a:lnTo>
                    <a:pt x="1665" y="834"/>
                  </a:lnTo>
                  <a:lnTo>
                    <a:pt x="1666" y="816"/>
                  </a:lnTo>
                  <a:lnTo>
                    <a:pt x="1667" y="798"/>
                  </a:lnTo>
                  <a:lnTo>
                    <a:pt x="1638" y="797"/>
                  </a:lnTo>
                  <a:lnTo>
                    <a:pt x="1610" y="796"/>
                  </a:lnTo>
                  <a:lnTo>
                    <a:pt x="1582" y="796"/>
                  </a:lnTo>
                  <a:lnTo>
                    <a:pt x="1553" y="795"/>
                  </a:lnTo>
                  <a:lnTo>
                    <a:pt x="1525" y="793"/>
                  </a:lnTo>
                  <a:lnTo>
                    <a:pt x="1496" y="793"/>
                  </a:lnTo>
                  <a:lnTo>
                    <a:pt x="1468" y="792"/>
                  </a:lnTo>
                  <a:lnTo>
                    <a:pt x="1439" y="792"/>
                  </a:lnTo>
                  <a:lnTo>
                    <a:pt x="1440" y="749"/>
                  </a:lnTo>
                  <a:lnTo>
                    <a:pt x="1440" y="710"/>
                  </a:lnTo>
                  <a:lnTo>
                    <a:pt x="1441" y="674"/>
                  </a:lnTo>
                  <a:lnTo>
                    <a:pt x="1442" y="642"/>
                  </a:lnTo>
                  <a:lnTo>
                    <a:pt x="1441" y="615"/>
                  </a:lnTo>
                  <a:lnTo>
                    <a:pt x="1440" y="591"/>
                  </a:lnTo>
                  <a:lnTo>
                    <a:pt x="1438" y="581"/>
                  </a:lnTo>
                  <a:lnTo>
                    <a:pt x="1436" y="574"/>
                  </a:lnTo>
                  <a:lnTo>
                    <a:pt x="1434" y="566"/>
                  </a:lnTo>
                  <a:lnTo>
                    <a:pt x="1430" y="560"/>
                  </a:lnTo>
                  <a:lnTo>
                    <a:pt x="1427" y="556"/>
                  </a:lnTo>
                  <a:lnTo>
                    <a:pt x="1423" y="552"/>
                  </a:lnTo>
                  <a:lnTo>
                    <a:pt x="1419" y="549"/>
                  </a:lnTo>
                  <a:lnTo>
                    <a:pt x="1416" y="547"/>
                  </a:lnTo>
                  <a:lnTo>
                    <a:pt x="1406" y="543"/>
                  </a:lnTo>
                  <a:lnTo>
                    <a:pt x="1396" y="541"/>
                  </a:lnTo>
                  <a:lnTo>
                    <a:pt x="1383" y="541"/>
                  </a:lnTo>
                  <a:lnTo>
                    <a:pt x="1370" y="542"/>
                  </a:lnTo>
                  <a:lnTo>
                    <a:pt x="1355" y="546"/>
                  </a:lnTo>
                  <a:lnTo>
                    <a:pt x="1340" y="548"/>
                  </a:lnTo>
                  <a:lnTo>
                    <a:pt x="1305" y="556"/>
                  </a:lnTo>
                  <a:lnTo>
                    <a:pt x="1265" y="565"/>
                  </a:lnTo>
                  <a:lnTo>
                    <a:pt x="1243" y="568"/>
                  </a:lnTo>
                  <a:lnTo>
                    <a:pt x="1219" y="570"/>
                  </a:lnTo>
                  <a:lnTo>
                    <a:pt x="1196" y="573"/>
                  </a:lnTo>
                  <a:lnTo>
                    <a:pt x="1170" y="574"/>
                  </a:lnTo>
                  <a:lnTo>
                    <a:pt x="1170" y="539"/>
                  </a:lnTo>
                  <a:lnTo>
                    <a:pt x="1172" y="508"/>
                  </a:lnTo>
                  <a:lnTo>
                    <a:pt x="1173" y="493"/>
                  </a:lnTo>
                  <a:lnTo>
                    <a:pt x="1177" y="480"/>
                  </a:lnTo>
                  <a:lnTo>
                    <a:pt x="1181" y="468"/>
                  </a:lnTo>
                  <a:lnTo>
                    <a:pt x="1187" y="456"/>
                  </a:lnTo>
                  <a:lnTo>
                    <a:pt x="1195" y="446"/>
                  </a:lnTo>
                  <a:lnTo>
                    <a:pt x="1204" y="436"/>
                  </a:lnTo>
                  <a:lnTo>
                    <a:pt x="1209" y="433"/>
                  </a:lnTo>
                  <a:lnTo>
                    <a:pt x="1215" y="429"/>
                  </a:lnTo>
                  <a:lnTo>
                    <a:pt x="1221" y="425"/>
                  </a:lnTo>
                  <a:lnTo>
                    <a:pt x="1229" y="423"/>
                  </a:lnTo>
                  <a:lnTo>
                    <a:pt x="1245" y="417"/>
                  </a:lnTo>
                  <a:lnTo>
                    <a:pt x="1264" y="414"/>
                  </a:lnTo>
                  <a:lnTo>
                    <a:pt x="1285" y="411"/>
                  </a:lnTo>
                  <a:lnTo>
                    <a:pt x="1310" y="411"/>
                  </a:lnTo>
                  <a:lnTo>
                    <a:pt x="1341" y="315"/>
                  </a:lnTo>
                  <a:lnTo>
                    <a:pt x="1304" y="253"/>
                  </a:lnTo>
                  <a:lnTo>
                    <a:pt x="1279" y="254"/>
                  </a:lnTo>
                  <a:lnTo>
                    <a:pt x="1255" y="258"/>
                  </a:lnTo>
                  <a:lnTo>
                    <a:pt x="1230" y="263"/>
                  </a:lnTo>
                  <a:lnTo>
                    <a:pt x="1206" y="270"/>
                  </a:lnTo>
                  <a:lnTo>
                    <a:pt x="1182" y="278"/>
                  </a:lnTo>
                  <a:lnTo>
                    <a:pt x="1159" y="288"/>
                  </a:lnTo>
                  <a:lnTo>
                    <a:pt x="1137" y="298"/>
                  </a:lnTo>
                  <a:lnTo>
                    <a:pt x="1113" y="309"/>
                  </a:lnTo>
                  <a:lnTo>
                    <a:pt x="1068" y="333"/>
                  </a:lnTo>
                  <a:lnTo>
                    <a:pt x="1024" y="356"/>
                  </a:lnTo>
                  <a:lnTo>
                    <a:pt x="1003" y="367"/>
                  </a:lnTo>
                  <a:lnTo>
                    <a:pt x="980" y="377"/>
                  </a:lnTo>
                  <a:lnTo>
                    <a:pt x="959" y="386"/>
                  </a:lnTo>
                  <a:lnTo>
                    <a:pt x="938" y="394"/>
                  </a:lnTo>
                  <a:lnTo>
                    <a:pt x="894" y="407"/>
                  </a:lnTo>
                  <a:lnTo>
                    <a:pt x="853" y="418"/>
                  </a:lnTo>
                  <a:lnTo>
                    <a:pt x="833" y="423"/>
                  </a:lnTo>
                  <a:lnTo>
                    <a:pt x="814" y="426"/>
                  </a:lnTo>
                  <a:lnTo>
                    <a:pt x="794" y="429"/>
                  </a:lnTo>
                  <a:lnTo>
                    <a:pt x="776" y="431"/>
                  </a:lnTo>
                  <a:lnTo>
                    <a:pt x="757" y="431"/>
                  </a:lnTo>
                  <a:lnTo>
                    <a:pt x="740" y="431"/>
                  </a:lnTo>
                  <a:lnTo>
                    <a:pt x="722" y="429"/>
                  </a:lnTo>
                  <a:lnTo>
                    <a:pt x="706" y="425"/>
                  </a:lnTo>
                  <a:lnTo>
                    <a:pt x="690" y="421"/>
                  </a:lnTo>
                  <a:lnTo>
                    <a:pt x="674" y="415"/>
                  </a:lnTo>
                  <a:lnTo>
                    <a:pt x="660" y="408"/>
                  </a:lnTo>
                  <a:lnTo>
                    <a:pt x="647" y="400"/>
                  </a:lnTo>
                  <a:lnTo>
                    <a:pt x="633" y="389"/>
                  </a:lnTo>
                  <a:lnTo>
                    <a:pt x="620" y="377"/>
                  </a:lnTo>
                  <a:lnTo>
                    <a:pt x="609" y="364"/>
                  </a:lnTo>
                  <a:lnTo>
                    <a:pt x="597" y="348"/>
                  </a:lnTo>
                  <a:lnTo>
                    <a:pt x="586" y="330"/>
                  </a:lnTo>
                  <a:lnTo>
                    <a:pt x="577" y="311"/>
                  </a:lnTo>
                  <a:lnTo>
                    <a:pt x="568" y="290"/>
                  </a:lnTo>
                  <a:lnTo>
                    <a:pt x="561" y="267"/>
                  </a:lnTo>
                  <a:lnTo>
                    <a:pt x="553" y="242"/>
                  </a:lnTo>
                  <a:lnTo>
                    <a:pt x="547" y="214"/>
                  </a:lnTo>
                  <a:lnTo>
                    <a:pt x="542" y="185"/>
                  </a:lnTo>
                  <a:lnTo>
                    <a:pt x="537" y="153"/>
                  </a:lnTo>
                  <a:lnTo>
                    <a:pt x="534" y="118"/>
                  </a:lnTo>
                  <a:lnTo>
                    <a:pt x="532" y="81"/>
                  </a:lnTo>
                  <a:lnTo>
                    <a:pt x="529" y="42"/>
                  </a:lnTo>
                  <a:lnTo>
                    <a:pt x="529" y="0"/>
                  </a:lnTo>
                  <a:lnTo>
                    <a:pt x="520" y="1"/>
                  </a:lnTo>
                  <a:lnTo>
                    <a:pt x="514" y="2"/>
                  </a:lnTo>
                  <a:lnTo>
                    <a:pt x="506" y="4"/>
                  </a:lnTo>
                  <a:lnTo>
                    <a:pt x="499" y="6"/>
                  </a:lnTo>
                  <a:lnTo>
                    <a:pt x="488" y="10"/>
                  </a:lnTo>
                  <a:lnTo>
                    <a:pt x="478" y="11"/>
                  </a:lnTo>
                  <a:lnTo>
                    <a:pt x="478" y="28"/>
                  </a:lnTo>
                  <a:lnTo>
                    <a:pt x="467" y="31"/>
                  </a:lnTo>
                  <a:lnTo>
                    <a:pt x="450" y="35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2" name="Freeform 10"/>
            <p:cNvSpPr>
              <a:spLocks noChangeAspect="1"/>
            </p:cNvSpPr>
            <p:nvPr/>
          </p:nvSpPr>
          <p:spPr bwMode="gray">
            <a:xfrm rot="355651">
              <a:off x="6727437" y="4856163"/>
              <a:ext cx="232750" cy="163949"/>
            </a:xfrm>
            <a:custGeom>
              <a:avLst/>
              <a:gdLst/>
              <a:ahLst/>
              <a:cxnLst>
                <a:cxn ang="0">
                  <a:pos x="71" y="675"/>
                </a:cxn>
                <a:cxn ang="0">
                  <a:pos x="240" y="719"/>
                </a:cxn>
                <a:cxn ang="0">
                  <a:pos x="444" y="799"/>
                </a:cxn>
                <a:cxn ang="0">
                  <a:pos x="525" y="851"/>
                </a:cxn>
                <a:cxn ang="0">
                  <a:pos x="560" y="882"/>
                </a:cxn>
                <a:cxn ang="0">
                  <a:pos x="676" y="901"/>
                </a:cxn>
                <a:cxn ang="0">
                  <a:pos x="838" y="960"/>
                </a:cxn>
                <a:cxn ang="0">
                  <a:pos x="922" y="1011"/>
                </a:cxn>
                <a:cxn ang="0">
                  <a:pos x="964" y="964"/>
                </a:cxn>
                <a:cxn ang="0">
                  <a:pos x="995" y="949"/>
                </a:cxn>
                <a:cxn ang="0">
                  <a:pos x="1019" y="923"/>
                </a:cxn>
                <a:cxn ang="0">
                  <a:pos x="999" y="851"/>
                </a:cxn>
                <a:cxn ang="0">
                  <a:pos x="959" y="784"/>
                </a:cxn>
                <a:cxn ang="0">
                  <a:pos x="969" y="749"/>
                </a:cxn>
                <a:cxn ang="0">
                  <a:pos x="984" y="742"/>
                </a:cxn>
                <a:cxn ang="0">
                  <a:pos x="998" y="736"/>
                </a:cxn>
                <a:cxn ang="0">
                  <a:pos x="1053" y="736"/>
                </a:cxn>
                <a:cxn ang="0">
                  <a:pos x="1073" y="746"/>
                </a:cxn>
                <a:cxn ang="0">
                  <a:pos x="1111" y="762"/>
                </a:cxn>
                <a:cxn ang="0">
                  <a:pos x="1136" y="780"/>
                </a:cxn>
                <a:cxn ang="0">
                  <a:pos x="1159" y="798"/>
                </a:cxn>
                <a:cxn ang="0">
                  <a:pos x="1192" y="808"/>
                </a:cxn>
                <a:cxn ang="0">
                  <a:pos x="1273" y="798"/>
                </a:cxn>
                <a:cxn ang="0">
                  <a:pos x="1268" y="735"/>
                </a:cxn>
                <a:cxn ang="0">
                  <a:pos x="1274" y="616"/>
                </a:cxn>
                <a:cxn ang="0">
                  <a:pos x="1275" y="527"/>
                </a:cxn>
                <a:cxn ang="0">
                  <a:pos x="1269" y="514"/>
                </a:cxn>
                <a:cxn ang="0">
                  <a:pos x="1252" y="489"/>
                </a:cxn>
                <a:cxn ang="0">
                  <a:pos x="1204" y="430"/>
                </a:cxn>
                <a:cxn ang="0">
                  <a:pos x="1207" y="406"/>
                </a:cxn>
                <a:cxn ang="0">
                  <a:pos x="1231" y="376"/>
                </a:cxn>
                <a:cxn ang="0">
                  <a:pos x="1242" y="361"/>
                </a:cxn>
                <a:cxn ang="0">
                  <a:pos x="1262" y="334"/>
                </a:cxn>
                <a:cxn ang="0">
                  <a:pos x="1262" y="303"/>
                </a:cxn>
                <a:cxn ang="0">
                  <a:pos x="1232" y="266"/>
                </a:cxn>
                <a:cxn ang="0">
                  <a:pos x="1228" y="252"/>
                </a:cxn>
                <a:cxn ang="0">
                  <a:pos x="1223" y="240"/>
                </a:cxn>
                <a:cxn ang="0">
                  <a:pos x="1218" y="181"/>
                </a:cxn>
                <a:cxn ang="0">
                  <a:pos x="1207" y="143"/>
                </a:cxn>
                <a:cxn ang="0">
                  <a:pos x="1125" y="73"/>
                </a:cxn>
                <a:cxn ang="0">
                  <a:pos x="1044" y="74"/>
                </a:cxn>
                <a:cxn ang="0">
                  <a:pos x="932" y="39"/>
                </a:cxn>
                <a:cxn ang="0">
                  <a:pos x="842" y="4"/>
                </a:cxn>
                <a:cxn ang="0">
                  <a:pos x="767" y="11"/>
                </a:cxn>
                <a:cxn ang="0">
                  <a:pos x="633" y="105"/>
                </a:cxn>
                <a:cxn ang="0">
                  <a:pos x="538" y="174"/>
                </a:cxn>
                <a:cxn ang="0">
                  <a:pos x="480" y="198"/>
                </a:cxn>
                <a:cxn ang="0">
                  <a:pos x="258" y="220"/>
                </a:cxn>
                <a:cxn ang="0">
                  <a:pos x="122" y="255"/>
                </a:cxn>
                <a:cxn ang="0">
                  <a:pos x="93" y="286"/>
                </a:cxn>
                <a:cxn ang="0">
                  <a:pos x="72" y="314"/>
                </a:cxn>
                <a:cxn ang="0">
                  <a:pos x="59" y="345"/>
                </a:cxn>
                <a:cxn ang="0">
                  <a:pos x="47" y="358"/>
                </a:cxn>
                <a:cxn ang="0">
                  <a:pos x="39" y="384"/>
                </a:cxn>
                <a:cxn ang="0">
                  <a:pos x="29" y="410"/>
                </a:cxn>
                <a:cxn ang="0">
                  <a:pos x="19" y="419"/>
                </a:cxn>
                <a:cxn ang="0">
                  <a:pos x="10" y="458"/>
                </a:cxn>
                <a:cxn ang="0">
                  <a:pos x="2" y="490"/>
                </a:cxn>
                <a:cxn ang="0">
                  <a:pos x="3" y="566"/>
                </a:cxn>
                <a:cxn ang="0">
                  <a:pos x="20" y="626"/>
                </a:cxn>
              </a:cxnLst>
              <a:rect l="0" t="0" r="r" b="b"/>
              <a:pathLst>
                <a:path w="1277" h="1011">
                  <a:moveTo>
                    <a:pt x="31" y="688"/>
                  </a:moveTo>
                  <a:lnTo>
                    <a:pt x="43" y="687"/>
                  </a:lnTo>
                  <a:lnTo>
                    <a:pt x="53" y="685"/>
                  </a:lnTo>
                  <a:lnTo>
                    <a:pt x="53" y="674"/>
                  </a:lnTo>
                  <a:lnTo>
                    <a:pt x="71" y="675"/>
                  </a:lnTo>
                  <a:lnTo>
                    <a:pt x="96" y="680"/>
                  </a:lnTo>
                  <a:lnTo>
                    <a:pt x="126" y="687"/>
                  </a:lnTo>
                  <a:lnTo>
                    <a:pt x="161" y="696"/>
                  </a:lnTo>
                  <a:lnTo>
                    <a:pt x="200" y="707"/>
                  </a:lnTo>
                  <a:lnTo>
                    <a:pt x="240" y="719"/>
                  </a:lnTo>
                  <a:lnTo>
                    <a:pt x="282" y="733"/>
                  </a:lnTo>
                  <a:lnTo>
                    <a:pt x="326" y="749"/>
                  </a:lnTo>
                  <a:lnTo>
                    <a:pt x="367" y="765"/>
                  </a:lnTo>
                  <a:lnTo>
                    <a:pt x="407" y="781"/>
                  </a:lnTo>
                  <a:lnTo>
                    <a:pt x="444" y="799"/>
                  </a:lnTo>
                  <a:lnTo>
                    <a:pt x="477" y="816"/>
                  </a:lnTo>
                  <a:lnTo>
                    <a:pt x="491" y="825"/>
                  </a:lnTo>
                  <a:lnTo>
                    <a:pt x="503" y="834"/>
                  </a:lnTo>
                  <a:lnTo>
                    <a:pt x="515" y="842"/>
                  </a:lnTo>
                  <a:lnTo>
                    <a:pt x="525" y="851"/>
                  </a:lnTo>
                  <a:lnTo>
                    <a:pt x="532" y="858"/>
                  </a:lnTo>
                  <a:lnTo>
                    <a:pt x="538" y="866"/>
                  </a:lnTo>
                  <a:lnTo>
                    <a:pt x="541" y="874"/>
                  </a:lnTo>
                  <a:lnTo>
                    <a:pt x="542" y="882"/>
                  </a:lnTo>
                  <a:lnTo>
                    <a:pt x="560" y="882"/>
                  </a:lnTo>
                  <a:lnTo>
                    <a:pt x="577" y="883"/>
                  </a:lnTo>
                  <a:lnTo>
                    <a:pt x="594" y="885"/>
                  </a:lnTo>
                  <a:lnTo>
                    <a:pt x="611" y="887"/>
                  </a:lnTo>
                  <a:lnTo>
                    <a:pt x="644" y="893"/>
                  </a:lnTo>
                  <a:lnTo>
                    <a:pt x="676" y="901"/>
                  </a:lnTo>
                  <a:lnTo>
                    <a:pt x="708" y="910"/>
                  </a:lnTo>
                  <a:lnTo>
                    <a:pt x="737" y="920"/>
                  </a:lnTo>
                  <a:lnTo>
                    <a:pt x="766" y="930"/>
                  </a:lnTo>
                  <a:lnTo>
                    <a:pt x="794" y="941"/>
                  </a:lnTo>
                  <a:lnTo>
                    <a:pt x="838" y="960"/>
                  </a:lnTo>
                  <a:lnTo>
                    <a:pt x="874" y="978"/>
                  </a:lnTo>
                  <a:lnTo>
                    <a:pt x="890" y="987"/>
                  </a:lnTo>
                  <a:lnTo>
                    <a:pt x="902" y="995"/>
                  </a:lnTo>
                  <a:lnTo>
                    <a:pt x="913" y="1004"/>
                  </a:lnTo>
                  <a:lnTo>
                    <a:pt x="922" y="1011"/>
                  </a:lnTo>
                  <a:lnTo>
                    <a:pt x="938" y="995"/>
                  </a:lnTo>
                  <a:lnTo>
                    <a:pt x="949" y="980"/>
                  </a:lnTo>
                  <a:lnTo>
                    <a:pt x="957" y="971"/>
                  </a:lnTo>
                  <a:lnTo>
                    <a:pt x="959" y="966"/>
                  </a:lnTo>
                  <a:lnTo>
                    <a:pt x="964" y="964"/>
                  </a:lnTo>
                  <a:lnTo>
                    <a:pt x="969" y="964"/>
                  </a:lnTo>
                  <a:lnTo>
                    <a:pt x="973" y="962"/>
                  </a:lnTo>
                  <a:lnTo>
                    <a:pt x="978" y="960"/>
                  </a:lnTo>
                  <a:lnTo>
                    <a:pt x="987" y="954"/>
                  </a:lnTo>
                  <a:lnTo>
                    <a:pt x="995" y="949"/>
                  </a:lnTo>
                  <a:lnTo>
                    <a:pt x="1001" y="942"/>
                  </a:lnTo>
                  <a:lnTo>
                    <a:pt x="1008" y="938"/>
                  </a:lnTo>
                  <a:lnTo>
                    <a:pt x="1014" y="933"/>
                  </a:lnTo>
                  <a:lnTo>
                    <a:pt x="1019" y="932"/>
                  </a:lnTo>
                  <a:lnTo>
                    <a:pt x="1019" y="923"/>
                  </a:lnTo>
                  <a:lnTo>
                    <a:pt x="1017" y="913"/>
                  </a:lnTo>
                  <a:lnTo>
                    <a:pt x="1016" y="903"/>
                  </a:lnTo>
                  <a:lnTo>
                    <a:pt x="1012" y="892"/>
                  </a:lnTo>
                  <a:lnTo>
                    <a:pt x="1007" y="871"/>
                  </a:lnTo>
                  <a:lnTo>
                    <a:pt x="999" y="851"/>
                  </a:lnTo>
                  <a:lnTo>
                    <a:pt x="986" y="816"/>
                  </a:lnTo>
                  <a:lnTo>
                    <a:pt x="979" y="798"/>
                  </a:lnTo>
                  <a:lnTo>
                    <a:pt x="966" y="798"/>
                  </a:lnTo>
                  <a:lnTo>
                    <a:pt x="963" y="795"/>
                  </a:lnTo>
                  <a:lnTo>
                    <a:pt x="959" y="784"/>
                  </a:lnTo>
                  <a:lnTo>
                    <a:pt x="954" y="770"/>
                  </a:lnTo>
                  <a:lnTo>
                    <a:pt x="952" y="759"/>
                  </a:lnTo>
                  <a:lnTo>
                    <a:pt x="966" y="759"/>
                  </a:lnTo>
                  <a:lnTo>
                    <a:pt x="967" y="752"/>
                  </a:lnTo>
                  <a:lnTo>
                    <a:pt x="969" y="749"/>
                  </a:lnTo>
                  <a:lnTo>
                    <a:pt x="972" y="747"/>
                  </a:lnTo>
                  <a:lnTo>
                    <a:pt x="976" y="746"/>
                  </a:lnTo>
                  <a:lnTo>
                    <a:pt x="979" y="746"/>
                  </a:lnTo>
                  <a:lnTo>
                    <a:pt x="982" y="745"/>
                  </a:lnTo>
                  <a:lnTo>
                    <a:pt x="984" y="742"/>
                  </a:lnTo>
                  <a:lnTo>
                    <a:pt x="986" y="739"/>
                  </a:lnTo>
                  <a:lnTo>
                    <a:pt x="990" y="739"/>
                  </a:lnTo>
                  <a:lnTo>
                    <a:pt x="995" y="738"/>
                  </a:lnTo>
                  <a:lnTo>
                    <a:pt x="997" y="737"/>
                  </a:lnTo>
                  <a:lnTo>
                    <a:pt x="998" y="736"/>
                  </a:lnTo>
                  <a:lnTo>
                    <a:pt x="999" y="735"/>
                  </a:lnTo>
                  <a:lnTo>
                    <a:pt x="999" y="732"/>
                  </a:lnTo>
                  <a:lnTo>
                    <a:pt x="1016" y="732"/>
                  </a:lnTo>
                  <a:lnTo>
                    <a:pt x="1040" y="733"/>
                  </a:lnTo>
                  <a:lnTo>
                    <a:pt x="1053" y="736"/>
                  </a:lnTo>
                  <a:lnTo>
                    <a:pt x="1063" y="738"/>
                  </a:lnTo>
                  <a:lnTo>
                    <a:pt x="1067" y="739"/>
                  </a:lnTo>
                  <a:lnTo>
                    <a:pt x="1069" y="741"/>
                  </a:lnTo>
                  <a:lnTo>
                    <a:pt x="1072" y="744"/>
                  </a:lnTo>
                  <a:lnTo>
                    <a:pt x="1073" y="746"/>
                  </a:lnTo>
                  <a:lnTo>
                    <a:pt x="1082" y="748"/>
                  </a:lnTo>
                  <a:lnTo>
                    <a:pt x="1095" y="752"/>
                  </a:lnTo>
                  <a:lnTo>
                    <a:pt x="1102" y="756"/>
                  </a:lnTo>
                  <a:lnTo>
                    <a:pt x="1107" y="759"/>
                  </a:lnTo>
                  <a:lnTo>
                    <a:pt x="1111" y="762"/>
                  </a:lnTo>
                  <a:lnTo>
                    <a:pt x="1113" y="766"/>
                  </a:lnTo>
                  <a:lnTo>
                    <a:pt x="1125" y="766"/>
                  </a:lnTo>
                  <a:lnTo>
                    <a:pt x="1127" y="770"/>
                  </a:lnTo>
                  <a:lnTo>
                    <a:pt x="1131" y="776"/>
                  </a:lnTo>
                  <a:lnTo>
                    <a:pt x="1136" y="780"/>
                  </a:lnTo>
                  <a:lnTo>
                    <a:pt x="1142" y="785"/>
                  </a:lnTo>
                  <a:lnTo>
                    <a:pt x="1149" y="789"/>
                  </a:lnTo>
                  <a:lnTo>
                    <a:pt x="1154" y="793"/>
                  </a:lnTo>
                  <a:lnTo>
                    <a:pt x="1158" y="796"/>
                  </a:lnTo>
                  <a:lnTo>
                    <a:pt x="1159" y="798"/>
                  </a:lnTo>
                  <a:lnTo>
                    <a:pt x="1179" y="798"/>
                  </a:lnTo>
                  <a:lnTo>
                    <a:pt x="1180" y="803"/>
                  </a:lnTo>
                  <a:lnTo>
                    <a:pt x="1183" y="805"/>
                  </a:lnTo>
                  <a:lnTo>
                    <a:pt x="1187" y="807"/>
                  </a:lnTo>
                  <a:lnTo>
                    <a:pt x="1192" y="808"/>
                  </a:lnTo>
                  <a:lnTo>
                    <a:pt x="1207" y="809"/>
                  </a:lnTo>
                  <a:lnTo>
                    <a:pt x="1222" y="809"/>
                  </a:lnTo>
                  <a:lnTo>
                    <a:pt x="1252" y="807"/>
                  </a:lnTo>
                  <a:lnTo>
                    <a:pt x="1266" y="805"/>
                  </a:lnTo>
                  <a:lnTo>
                    <a:pt x="1273" y="798"/>
                  </a:lnTo>
                  <a:lnTo>
                    <a:pt x="1273" y="786"/>
                  </a:lnTo>
                  <a:lnTo>
                    <a:pt x="1271" y="762"/>
                  </a:lnTo>
                  <a:lnTo>
                    <a:pt x="1270" y="751"/>
                  </a:lnTo>
                  <a:lnTo>
                    <a:pt x="1269" y="741"/>
                  </a:lnTo>
                  <a:lnTo>
                    <a:pt x="1268" y="735"/>
                  </a:lnTo>
                  <a:lnTo>
                    <a:pt x="1266" y="732"/>
                  </a:lnTo>
                  <a:lnTo>
                    <a:pt x="1267" y="713"/>
                  </a:lnTo>
                  <a:lnTo>
                    <a:pt x="1268" y="685"/>
                  </a:lnTo>
                  <a:lnTo>
                    <a:pt x="1271" y="652"/>
                  </a:lnTo>
                  <a:lnTo>
                    <a:pt x="1274" y="616"/>
                  </a:lnTo>
                  <a:lnTo>
                    <a:pt x="1276" y="582"/>
                  </a:lnTo>
                  <a:lnTo>
                    <a:pt x="1277" y="553"/>
                  </a:lnTo>
                  <a:lnTo>
                    <a:pt x="1277" y="541"/>
                  </a:lnTo>
                  <a:lnTo>
                    <a:pt x="1276" y="533"/>
                  </a:lnTo>
                  <a:lnTo>
                    <a:pt x="1275" y="527"/>
                  </a:lnTo>
                  <a:lnTo>
                    <a:pt x="1273" y="526"/>
                  </a:lnTo>
                  <a:lnTo>
                    <a:pt x="1273" y="520"/>
                  </a:lnTo>
                  <a:lnTo>
                    <a:pt x="1271" y="516"/>
                  </a:lnTo>
                  <a:lnTo>
                    <a:pt x="1270" y="515"/>
                  </a:lnTo>
                  <a:lnTo>
                    <a:pt x="1269" y="514"/>
                  </a:lnTo>
                  <a:lnTo>
                    <a:pt x="1268" y="512"/>
                  </a:lnTo>
                  <a:lnTo>
                    <a:pt x="1266" y="512"/>
                  </a:lnTo>
                  <a:lnTo>
                    <a:pt x="1266" y="499"/>
                  </a:lnTo>
                  <a:lnTo>
                    <a:pt x="1261" y="496"/>
                  </a:lnTo>
                  <a:lnTo>
                    <a:pt x="1252" y="489"/>
                  </a:lnTo>
                  <a:lnTo>
                    <a:pt x="1241" y="479"/>
                  </a:lnTo>
                  <a:lnTo>
                    <a:pt x="1230" y="466"/>
                  </a:lnTo>
                  <a:lnTo>
                    <a:pt x="1218" y="451"/>
                  </a:lnTo>
                  <a:lnTo>
                    <a:pt x="1209" y="437"/>
                  </a:lnTo>
                  <a:lnTo>
                    <a:pt x="1204" y="430"/>
                  </a:lnTo>
                  <a:lnTo>
                    <a:pt x="1201" y="423"/>
                  </a:lnTo>
                  <a:lnTo>
                    <a:pt x="1200" y="418"/>
                  </a:lnTo>
                  <a:lnTo>
                    <a:pt x="1199" y="412"/>
                  </a:lnTo>
                  <a:lnTo>
                    <a:pt x="1202" y="411"/>
                  </a:lnTo>
                  <a:lnTo>
                    <a:pt x="1207" y="406"/>
                  </a:lnTo>
                  <a:lnTo>
                    <a:pt x="1211" y="400"/>
                  </a:lnTo>
                  <a:lnTo>
                    <a:pt x="1217" y="392"/>
                  </a:lnTo>
                  <a:lnTo>
                    <a:pt x="1222" y="385"/>
                  </a:lnTo>
                  <a:lnTo>
                    <a:pt x="1228" y="379"/>
                  </a:lnTo>
                  <a:lnTo>
                    <a:pt x="1231" y="376"/>
                  </a:lnTo>
                  <a:lnTo>
                    <a:pt x="1233" y="374"/>
                  </a:lnTo>
                  <a:lnTo>
                    <a:pt x="1237" y="373"/>
                  </a:lnTo>
                  <a:lnTo>
                    <a:pt x="1239" y="372"/>
                  </a:lnTo>
                  <a:lnTo>
                    <a:pt x="1240" y="366"/>
                  </a:lnTo>
                  <a:lnTo>
                    <a:pt x="1242" y="361"/>
                  </a:lnTo>
                  <a:lnTo>
                    <a:pt x="1246" y="354"/>
                  </a:lnTo>
                  <a:lnTo>
                    <a:pt x="1250" y="347"/>
                  </a:lnTo>
                  <a:lnTo>
                    <a:pt x="1255" y="342"/>
                  </a:lnTo>
                  <a:lnTo>
                    <a:pt x="1259" y="336"/>
                  </a:lnTo>
                  <a:lnTo>
                    <a:pt x="1262" y="334"/>
                  </a:lnTo>
                  <a:lnTo>
                    <a:pt x="1266" y="332"/>
                  </a:lnTo>
                  <a:lnTo>
                    <a:pt x="1266" y="324"/>
                  </a:lnTo>
                  <a:lnTo>
                    <a:pt x="1265" y="313"/>
                  </a:lnTo>
                  <a:lnTo>
                    <a:pt x="1264" y="307"/>
                  </a:lnTo>
                  <a:lnTo>
                    <a:pt x="1262" y="303"/>
                  </a:lnTo>
                  <a:lnTo>
                    <a:pt x="1261" y="300"/>
                  </a:lnTo>
                  <a:lnTo>
                    <a:pt x="1259" y="299"/>
                  </a:lnTo>
                  <a:lnTo>
                    <a:pt x="1259" y="286"/>
                  </a:lnTo>
                  <a:lnTo>
                    <a:pt x="1246" y="276"/>
                  </a:lnTo>
                  <a:lnTo>
                    <a:pt x="1232" y="266"/>
                  </a:lnTo>
                  <a:lnTo>
                    <a:pt x="1232" y="260"/>
                  </a:lnTo>
                  <a:lnTo>
                    <a:pt x="1231" y="257"/>
                  </a:lnTo>
                  <a:lnTo>
                    <a:pt x="1231" y="255"/>
                  </a:lnTo>
                  <a:lnTo>
                    <a:pt x="1229" y="254"/>
                  </a:lnTo>
                  <a:lnTo>
                    <a:pt x="1228" y="252"/>
                  </a:lnTo>
                  <a:lnTo>
                    <a:pt x="1226" y="252"/>
                  </a:lnTo>
                  <a:lnTo>
                    <a:pt x="1226" y="247"/>
                  </a:lnTo>
                  <a:lnTo>
                    <a:pt x="1225" y="244"/>
                  </a:lnTo>
                  <a:lnTo>
                    <a:pt x="1225" y="241"/>
                  </a:lnTo>
                  <a:lnTo>
                    <a:pt x="1223" y="240"/>
                  </a:lnTo>
                  <a:lnTo>
                    <a:pt x="1221" y="239"/>
                  </a:lnTo>
                  <a:lnTo>
                    <a:pt x="1219" y="239"/>
                  </a:lnTo>
                  <a:lnTo>
                    <a:pt x="1219" y="221"/>
                  </a:lnTo>
                  <a:lnTo>
                    <a:pt x="1218" y="194"/>
                  </a:lnTo>
                  <a:lnTo>
                    <a:pt x="1218" y="181"/>
                  </a:lnTo>
                  <a:lnTo>
                    <a:pt x="1217" y="170"/>
                  </a:lnTo>
                  <a:lnTo>
                    <a:pt x="1214" y="162"/>
                  </a:lnTo>
                  <a:lnTo>
                    <a:pt x="1212" y="159"/>
                  </a:lnTo>
                  <a:lnTo>
                    <a:pt x="1211" y="152"/>
                  </a:lnTo>
                  <a:lnTo>
                    <a:pt x="1207" y="143"/>
                  </a:lnTo>
                  <a:lnTo>
                    <a:pt x="1201" y="132"/>
                  </a:lnTo>
                  <a:lnTo>
                    <a:pt x="1194" y="120"/>
                  </a:lnTo>
                  <a:lnTo>
                    <a:pt x="1177" y="93"/>
                  </a:lnTo>
                  <a:lnTo>
                    <a:pt x="1158" y="68"/>
                  </a:lnTo>
                  <a:lnTo>
                    <a:pt x="1125" y="73"/>
                  </a:lnTo>
                  <a:lnTo>
                    <a:pt x="1095" y="75"/>
                  </a:lnTo>
                  <a:lnTo>
                    <a:pt x="1082" y="75"/>
                  </a:lnTo>
                  <a:lnTo>
                    <a:pt x="1068" y="75"/>
                  </a:lnTo>
                  <a:lnTo>
                    <a:pt x="1055" y="75"/>
                  </a:lnTo>
                  <a:lnTo>
                    <a:pt x="1044" y="74"/>
                  </a:lnTo>
                  <a:lnTo>
                    <a:pt x="1024" y="71"/>
                  </a:lnTo>
                  <a:lnTo>
                    <a:pt x="1003" y="65"/>
                  </a:lnTo>
                  <a:lnTo>
                    <a:pt x="984" y="59"/>
                  </a:lnTo>
                  <a:lnTo>
                    <a:pt x="967" y="54"/>
                  </a:lnTo>
                  <a:lnTo>
                    <a:pt x="932" y="39"/>
                  </a:lnTo>
                  <a:lnTo>
                    <a:pt x="901" y="25"/>
                  </a:lnTo>
                  <a:lnTo>
                    <a:pt x="885" y="19"/>
                  </a:lnTo>
                  <a:lnTo>
                    <a:pt x="871" y="12"/>
                  </a:lnTo>
                  <a:lnTo>
                    <a:pt x="856" y="8"/>
                  </a:lnTo>
                  <a:lnTo>
                    <a:pt x="842" y="4"/>
                  </a:lnTo>
                  <a:lnTo>
                    <a:pt x="828" y="1"/>
                  </a:lnTo>
                  <a:lnTo>
                    <a:pt x="814" y="0"/>
                  </a:lnTo>
                  <a:lnTo>
                    <a:pt x="800" y="1"/>
                  </a:lnTo>
                  <a:lnTo>
                    <a:pt x="787" y="5"/>
                  </a:lnTo>
                  <a:lnTo>
                    <a:pt x="767" y="11"/>
                  </a:lnTo>
                  <a:lnTo>
                    <a:pt x="747" y="21"/>
                  </a:lnTo>
                  <a:lnTo>
                    <a:pt x="728" y="33"/>
                  </a:lnTo>
                  <a:lnTo>
                    <a:pt x="709" y="45"/>
                  </a:lnTo>
                  <a:lnTo>
                    <a:pt x="671" y="74"/>
                  </a:lnTo>
                  <a:lnTo>
                    <a:pt x="633" y="105"/>
                  </a:lnTo>
                  <a:lnTo>
                    <a:pt x="614" y="121"/>
                  </a:lnTo>
                  <a:lnTo>
                    <a:pt x="595" y="135"/>
                  </a:lnTo>
                  <a:lnTo>
                    <a:pt x="576" y="150"/>
                  </a:lnTo>
                  <a:lnTo>
                    <a:pt x="557" y="163"/>
                  </a:lnTo>
                  <a:lnTo>
                    <a:pt x="538" y="174"/>
                  </a:lnTo>
                  <a:lnTo>
                    <a:pt x="519" y="184"/>
                  </a:lnTo>
                  <a:lnTo>
                    <a:pt x="509" y="189"/>
                  </a:lnTo>
                  <a:lnTo>
                    <a:pt x="499" y="192"/>
                  </a:lnTo>
                  <a:lnTo>
                    <a:pt x="490" y="196"/>
                  </a:lnTo>
                  <a:lnTo>
                    <a:pt x="480" y="198"/>
                  </a:lnTo>
                  <a:lnTo>
                    <a:pt x="435" y="206"/>
                  </a:lnTo>
                  <a:lnTo>
                    <a:pt x="391" y="211"/>
                  </a:lnTo>
                  <a:lnTo>
                    <a:pt x="346" y="216"/>
                  </a:lnTo>
                  <a:lnTo>
                    <a:pt x="302" y="219"/>
                  </a:lnTo>
                  <a:lnTo>
                    <a:pt x="258" y="220"/>
                  </a:lnTo>
                  <a:lnTo>
                    <a:pt x="213" y="220"/>
                  </a:lnTo>
                  <a:lnTo>
                    <a:pt x="168" y="220"/>
                  </a:lnTo>
                  <a:lnTo>
                    <a:pt x="124" y="219"/>
                  </a:lnTo>
                  <a:lnTo>
                    <a:pt x="123" y="237"/>
                  </a:lnTo>
                  <a:lnTo>
                    <a:pt x="122" y="255"/>
                  </a:lnTo>
                  <a:lnTo>
                    <a:pt x="119" y="267"/>
                  </a:lnTo>
                  <a:lnTo>
                    <a:pt x="119" y="273"/>
                  </a:lnTo>
                  <a:lnTo>
                    <a:pt x="113" y="279"/>
                  </a:lnTo>
                  <a:lnTo>
                    <a:pt x="99" y="279"/>
                  </a:lnTo>
                  <a:lnTo>
                    <a:pt x="93" y="286"/>
                  </a:lnTo>
                  <a:lnTo>
                    <a:pt x="86" y="293"/>
                  </a:lnTo>
                  <a:lnTo>
                    <a:pt x="79" y="299"/>
                  </a:lnTo>
                  <a:lnTo>
                    <a:pt x="78" y="305"/>
                  </a:lnTo>
                  <a:lnTo>
                    <a:pt x="75" y="312"/>
                  </a:lnTo>
                  <a:lnTo>
                    <a:pt x="72" y="314"/>
                  </a:lnTo>
                  <a:lnTo>
                    <a:pt x="70" y="317"/>
                  </a:lnTo>
                  <a:lnTo>
                    <a:pt x="68" y="318"/>
                  </a:lnTo>
                  <a:lnTo>
                    <a:pt x="66" y="319"/>
                  </a:lnTo>
                  <a:lnTo>
                    <a:pt x="62" y="332"/>
                  </a:lnTo>
                  <a:lnTo>
                    <a:pt x="59" y="345"/>
                  </a:lnTo>
                  <a:lnTo>
                    <a:pt x="56" y="346"/>
                  </a:lnTo>
                  <a:lnTo>
                    <a:pt x="53" y="347"/>
                  </a:lnTo>
                  <a:lnTo>
                    <a:pt x="51" y="350"/>
                  </a:lnTo>
                  <a:lnTo>
                    <a:pt x="49" y="352"/>
                  </a:lnTo>
                  <a:lnTo>
                    <a:pt x="47" y="358"/>
                  </a:lnTo>
                  <a:lnTo>
                    <a:pt x="46" y="365"/>
                  </a:lnTo>
                  <a:lnTo>
                    <a:pt x="45" y="373"/>
                  </a:lnTo>
                  <a:lnTo>
                    <a:pt x="42" y="380"/>
                  </a:lnTo>
                  <a:lnTo>
                    <a:pt x="40" y="382"/>
                  </a:lnTo>
                  <a:lnTo>
                    <a:pt x="39" y="384"/>
                  </a:lnTo>
                  <a:lnTo>
                    <a:pt x="36" y="385"/>
                  </a:lnTo>
                  <a:lnTo>
                    <a:pt x="32" y="385"/>
                  </a:lnTo>
                  <a:lnTo>
                    <a:pt x="32" y="393"/>
                  </a:lnTo>
                  <a:lnTo>
                    <a:pt x="31" y="404"/>
                  </a:lnTo>
                  <a:lnTo>
                    <a:pt x="29" y="410"/>
                  </a:lnTo>
                  <a:lnTo>
                    <a:pt x="27" y="414"/>
                  </a:lnTo>
                  <a:lnTo>
                    <a:pt x="26" y="416"/>
                  </a:lnTo>
                  <a:lnTo>
                    <a:pt x="23" y="418"/>
                  </a:lnTo>
                  <a:lnTo>
                    <a:pt x="21" y="419"/>
                  </a:lnTo>
                  <a:lnTo>
                    <a:pt x="19" y="419"/>
                  </a:lnTo>
                  <a:lnTo>
                    <a:pt x="19" y="427"/>
                  </a:lnTo>
                  <a:lnTo>
                    <a:pt x="17" y="434"/>
                  </a:lnTo>
                  <a:lnTo>
                    <a:pt x="14" y="442"/>
                  </a:lnTo>
                  <a:lnTo>
                    <a:pt x="12" y="450"/>
                  </a:lnTo>
                  <a:lnTo>
                    <a:pt x="10" y="458"/>
                  </a:lnTo>
                  <a:lnTo>
                    <a:pt x="8" y="467"/>
                  </a:lnTo>
                  <a:lnTo>
                    <a:pt x="7" y="476"/>
                  </a:lnTo>
                  <a:lnTo>
                    <a:pt x="5" y="486"/>
                  </a:lnTo>
                  <a:lnTo>
                    <a:pt x="3" y="487"/>
                  </a:lnTo>
                  <a:lnTo>
                    <a:pt x="2" y="490"/>
                  </a:lnTo>
                  <a:lnTo>
                    <a:pt x="1" y="496"/>
                  </a:lnTo>
                  <a:lnTo>
                    <a:pt x="0" y="504"/>
                  </a:lnTo>
                  <a:lnTo>
                    <a:pt x="0" y="523"/>
                  </a:lnTo>
                  <a:lnTo>
                    <a:pt x="1" y="544"/>
                  </a:lnTo>
                  <a:lnTo>
                    <a:pt x="3" y="566"/>
                  </a:lnTo>
                  <a:lnTo>
                    <a:pt x="7" y="587"/>
                  </a:lnTo>
                  <a:lnTo>
                    <a:pt x="10" y="603"/>
                  </a:lnTo>
                  <a:lnTo>
                    <a:pt x="12" y="612"/>
                  </a:lnTo>
                  <a:lnTo>
                    <a:pt x="17" y="619"/>
                  </a:lnTo>
                  <a:lnTo>
                    <a:pt x="20" y="626"/>
                  </a:lnTo>
                  <a:lnTo>
                    <a:pt x="22" y="634"/>
                  </a:lnTo>
                  <a:lnTo>
                    <a:pt x="26" y="644"/>
                  </a:lnTo>
                  <a:lnTo>
                    <a:pt x="29" y="664"/>
                  </a:lnTo>
                  <a:lnTo>
                    <a:pt x="31" y="6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3" name="Freeform 11"/>
            <p:cNvSpPr>
              <a:spLocks noChangeAspect="1"/>
            </p:cNvSpPr>
            <p:nvPr/>
          </p:nvSpPr>
          <p:spPr bwMode="gray">
            <a:xfrm rot="355651">
              <a:off x="6891420" y="4886325"/>
              <a:ext cx="283533" cy="212921"/>
            </a:xfrm>
            <a:custGeom>
              <a:avLst/>
              <a:gdLst/>
              <a:ahLst/>
              <a:cxnLst>
                <a:cxn ang="0">
                  <a:pos x="28" y="1028"/>
                </a:cxn>
                <a:cxn ang="0">
                  <a:pos x="25" y="1256"/>
                </a:cxn>
                <a:cxn ang="0">
                  <a:pos x="38" y="1310"/>
                </a:cxn>
                <a:cxn ang="0">
                  <a:pos x="200" y="1207"/>
                </a:cxn>
                <a:cxn ang="0">
                  <a:pos x="263" y="1196"/>
                </a:cxn>
                <a:cxn ang="0">
                  <a:pos x="310" y="1273"/>
                </a:cxn>
                <a:cxn ang="0">
                  <a:pos x="356" y="1322"/>
                </a:cxn>
                <a:cxn ang="0">
                  <a:pos x="422" y="1296"/>
                </a:cxn>
                <a:cxn ang="0">
                  <a:pos x="570" y="1193"/>
                </a:cxn>
                <a:cxn ang="0">
                  <a:pos x="843" y="1185"/>
                </a:cxn>
                <a:cxn ang="0">
                  <a:pos x="1040" y="1176"/>
                </a:cxn>
                <a:cxn ang="0">
                  <a:pos x="1119" y="1111"/>
                </a:cxn>
                <a:cxn ang="0">
                  <a:pos x="1273" y="1082"/>
                </a:cxn>
                <a:cxn ang="0">
                  <a:pos x="1517" y="1002"/>
                </a:cxn>
                <a:cxn ang="0">
                  <a:pos x="1482" y="920"/>
                </a:cxn>
                <a:cxn ang="0">
                  <a:pos x="1463" y="896"/>
                </a:cxn>
                <a:cxn ang="0">
                  <a:pos x="1437" y="842"/>
                </a:cxn>
                <a:cxn ang="0">
                  <a:pos x="1395" y="762"/>
                </a:cxn>
                <a:cxn ang="0">
                  <a:pos x="1404" y="645"/>
                </a:cxn>
                <a:cxn ang="0">
                  <a:pos x="1434" y="610"/>
                </a:cxn>
                <a:cxn ang="0">
                  <a:pos x="1452" y="590"/>
                </a:cxn>
                <a:cxn ang="0">
                  <a:pos x="1491" y="532"/>
                </a:cxn>
                <a:cxn ang="0">
                  <a:pos x="1506" y="496"/>
                </a:cxn>
                <a:cxn ang="0">
                  <a:pos x="1524" y="367"/>
                </a:cxn>
                <a:cxn ang="0">
                  <a:pos x="1506" y="305"/>
                </a:cxn>
                <a:cxn ang="0">
                  <a:pos x="1440" y="260"/>
                </a:cxn>
                <a:cxn ang="0">
                  <a:pos x="1256" y="293"/>
                </a:cxn>
                <a:cxn ang="0">
                  <a:pos x="1152" y="264"/>
                </a:cxn>
                <a:cxn ang="0">
                  <a:pos x="875" y="248"/>
                </a:cxn>
                <a:cxn ang="0">
                  <a:pos x="691" y="221"/>
                </a:cxn>
                <a:cxn ang="0">
                  <a:pos x="587" y="137"/>
                </a:cxn>
                <a:cxn ang="0">
                  <a:pos x="558" y="46"/>
                </a:cxn>
                <a:cxn ang="0">
                  <a:pos x="496" y="3"/>
                </a:cxn>
                <a:cxn ang="0">
                  <a:pos x="343" y="11"/>
                </a:cxn>
                <a:cxn ang="0">
                  <a:pos x="285" y="100"/>
                </a:cxn>
                <a:cxn ang="0">
                  <a:pos x="297" y="178"/>
                </a:cxn>
                <a:cxn ang="0">
                  <a:pos x="304" y="209"/>
                </a:cxn>
                <a:cxn ang="0">
                  <a:pos x="324" y="233"/>
                </a:cxn>
                <a:cxn ang="0">
                  <a:pos x="344" y="281"/>
                </a:cxn>
                <a:cxn ang="0">
                  <a:pos x="320" y="318"/>
                </a:cxn>
                <a:cxn ang="0">
                  <a:pos x="300" y="342"/>
                </a:cxn>
                <a:cxn ang="0">
                  <a:pos x="279" y="380"/>
                </a:cxn>
                <a:cxn ang="0">
                  <a:pos x="339" y="453"/>
                </a:cxn>
                <a:cxn ang="0">
                  <a:pos x="351" y="477"/>
                </a:cxn>
                <a:cxn ang="0">
                  <a:pos x="352" y="573"/>
                </a:cxn>
                <a:cxn ang="0">
                  <a:pos x="348" y="708"/>
                </a:cxn>
                <a:cxn ang="0">
                  <a:pos x="285" y="766"/>
                </a:cxn>
                <a:cxn ang="0">
                  <a:pos x="236" y="753"/>
                </a:cxn>
                <a:cxn ang="0">
                  <a:pos x="203" y="723"/>
                </a:cxn>
                <a:cxn ang="0">
                  <a:pos x="151" y="703"/>
                </a:cxn>
                <a:cxn ang="0">
                  <a:pos x="94" y="689"/>
                </a:cxn>
                <a:cxn ang="0">
                  <a:pos x="64" y="696"/>
                </a:cxn>
                <a:cxn ang="0">
                  <a:pos x="45" y="709"/>
                </a:cxn>
                <a:cxn ang="0">
                  <a:pos x="57" y="755"/>
                </a:cxn>
                <a:cxn ang="0">
                  <a:pos x="97" y="880"/>
                </a:cxn>
                <a:cxn ang="0">
                  <a:pos x="56" y="917"/>
                </a:cxn>
                <a:cxn ang="0">
                  <a:pos x="16" y="952"/>
                </a:cxn>
              </a:cxnLst>
              <a:rect l="0" t="0" r="r" b="b"/>
              <a:pathLst>
                <a:path w="1561" h="1322">
                  <a:moveTo>
                    <a:pt x="0" y="968"/>
                  </a:moveTo>
                  <a:lnTo>
                    <a:pt x="8" y="977"/>
                  </a:lnTo>
                  <a:lnTo>
                    <a:pt x="14" y="986"/>
                  </a:lnTo>
                  <a:lnTo>
                    <a:pt x="19" y="995"/>
                  </a:lnTo>
                  <a:lnTo>
                    <a:pt x="23" y="1005"/>
                  </a:lnTo>
                  <a:lnTo>
                    <a:pt x="26" y="1016"/>
                  </a:lnTo>
                  <a:lnTo>
                    <a:pt x="28" y="1028"/>
                  </a:lnTo>
                  <a:lnTo>
                    <a:pt x="29" y="1040"/>
                  </a:lnTo>
                  <a:lnTo>
                    <a:pt x="29" y="1053"/>
                  </a:lnTo>
                  <a:lnTo>
                    <a:pt x="29" y="1084"/>
                  </a:lnTo>
                  <a:lnTo>
                    <a:pt x="28" y="1121"/>
                  </a:lnTo>
                  <a:lnTo>
                    <a:pt x="26" y="1165"/>
                  </a:lnTo>
                  <a:lnTo>
                    <a:pt x="25" y="1215"/>
                  </a:lnTo>
                  <a:lnTo>
                    <a:pt x="25" y="1256"/>
                  </a:lnTo>
                  <a:lnTo>
                    <a:pt x="23" y="1285"/>
                  </a:lnTo>
                  <a:lnTo>
                    <a:pt x="23" y="1295"/>
                  </a:lnTo>
                  <a:lnTo>
                    <a:pt x="25" y="1303"/>
                  </a:lnTo>
                  <a:lnTo>
                    <a:pt x="26" y="1309"/>
                  </a:lnTo>
                  <a:lnTo>
                    <a:pt x="29" y="1311"/>
                  </a:lnTo>
                  <a:lnTo>
                    <a:pt x="32" y="1312"/>
                  </a:lnTo>
                  <a:lnTo>
                    <a:pt x="38" y="1310"/>
                  </a:lnTo>
                  <a:lnTo>
                    <a:pt x="45" y="1307"/>
                  </a:lnTo>
                  <a:lnTo>
                    <a:pt x="54" y="1301"/>
                  </a:lnTo>
                  <a:lnTo>
                    <a:pt x="78" y="1284"/>
                  </a:lnTo>
                  <a:lnTo>
                    <a:pt x="112" y="1261"/>
                  </a:lnTo>
                  <a:lnTo>
                    <a:pt x="147" y="1237"/>
                  </a:lnTo>
                  <a:lnTo>
                    <a:pt x="183" y="1216"/>
                  </a:lnTo>
                  <a:lnTo>
                    <a:pt x="200" y="1207"/>
                  </a:lnTo>
                  <a:lnTo>
                    <a:pt x="215" y="1200"/>
                  </a:lnTo>
                  <a:lnTo>
                    <a:pt x="230" y="1195"/>
                  </a:lnTo>
                  <a:lnTo>
                    <a:pt x="242" y="1193"/>
                  </a:lnTo>
                  <a:lnTo>
                    <a:pt x="248" y="1192"/>
                  </a:lnTo>
                  <a:lnTo>
                    <a:pt x="253" y="1193"/>
                  </a:lnTo>
                  <a:lnTo>
                    <a:pt x="258" y="1194"/>
                  </a:lnTo>
                  <a:lnTo>
                    <a:pt x="263" y="1196"/>
                  </a:lnTo>
                  <a:lnTo>
                    <a:pt x="268" y="1199"/>
                  </a:lnTo>
                  <a:lnTo>
                    <a:pt x="272" y="1204"/>
                  </a:lnTo>
                  <a:lnTo>
                    <a:pt x="277" y="1209"/>
                  </a:lnTo>
                  <a:lnTo>
                    <a:pt x="281" y="1215"/>
                  </a:lnTo>
                  <a:lnTo>
                    <a:pt x="290" y="1231"/>
                  </a:lnTo>
                  <a:lnTo>
                    <a:pt x="299" y="1250"/>
                  </a:lnTo>
                  <a:lnTo>
                    <a:pt x="310" y="1273"/>
                  </a:lnTo>
                  <a:lnTo>
                    <a:pt x="323" y="1300"/>
                  </a:lnTo>
                  <a:lnTo>
                    <a:pt x="327" y="1307"/>
                  </a:lnTo>
                  <a:lnTo>
                    <a:pt x="332" y="1312"/>
                  </a:lnTo>
                  <a:lnTo>
                    <a:pt x="337" y="1317"/>
                  </a:lnTo>
                  <a:lnTo>
                    <a:pt x="343" y="1320"/>
                  </a:lnTo>
                  <a:lnTo>
                    <a:pt x="349" y="1322"/>
                  </a:lnTo>
                  <a:lnTo>
                    <a:pt x="356" y="1322"/>
                  </a:lnTo>
                  <a:lnTo>
                    <a:pt x="363" y="1322"/>
                  </a:lnTo>
                  <a:lnTo>
                    <a:pt x="371" y="1321"/>
                  </a:lnTo>
                  <a:lnTo>
                    <a:pt x="378" y="1319"/>
                  </a:lnTo>
                  <a:lnTo>
                    <a:pt x="386" y="1315"/>
                  </a:lnTo>
                  <a:lnTo>
                    <a:pt x="395" y="1312"/>
                  </a:lnTo>
                  <a:lnTo>
                    <a:pt x="404" y="1308"/>
                  </a:lnTo>
                  <a:lnTo>
                    <a:pt x="422" y="1296"/>
                  </a:lnTo>
                  <a:lnTo>
                    <a:pt x="441" y="1284"/>
                  </a:lnTo>
                  <a:lnTo>
                    <a:pt x="478" y="1256"/>
                  </a:lnTo>
                  <a:lnTo>
                    <a:pt x="513" y="1228"/>
                  </a:lnTo>
                  <a:lnTo>
                    <a:pt x="530" y="1216"/>
                  </a:lnTo>
                  <a:lnTo>
                    <a:pt x="545" y="1206"/>
                  </a:lnTo>
                  <a:lnTo>
                    <a:pt x="558" y="1198"/>
                  </a:lnTo>
                  <a:lnTo>
                    <a:pt x="570" y="1193"/>
                  </a:lnTo>
                  <a:lnTo>
                    <a:pt x="591" y="1187"/>
                  </a:lnTo>
                  <a:lnTo>
                    <a:pt x="614" y="1184"/>
                  </a:lnTo>
                  <a:lnTo>
                    <a:pt x="639" y="1182"/>
                  </a:lnTo>
                  <a:lnTo>
                    <a:pt x="664" y="1180"/>
                  </a:lnTo>
                  <a:lnTo>
                    <a:pt x="721" y="1180"/>
                  </a:lnTo>
                  <a:lnTo>
                    <a:pt x="781" y="1183"/>
                  </a:lnTo>
                  <a:lnTo>
                    <a:pt x="843" y="1185"/>
                  </a:lnTo>
                  <a:lnTo>
                    <a:pt x="903" y="1187"/>
                  </a:lnTo>
                  <a:lnTo>
                    <a:pt x="932" y="1188"/>
                  </a:lnTo>
                  <a:lnTo>
                    <a:pt x="961" y="1187"/>
                  </a:lnTo>
                  <a:lnTo>
                    <a:pt x="988" y="1186"/>
                  </a:lnTo>
                  <a:lnTo>
                    <a:pt x="1014" y="1183"/>
                  </a:lnTo>
                  <a:lnTo>
                    <a:pt x="1028" y="1180"/>
                  </a:lnTo>
                  <a:lnTo>
                    <a:pt x="1040" y="1176"/>
                  </a:lnTo>
                  <a:lnTo>
                    <a:pt x="1052" y="1170"/>
                  </a:lnTo>
                  <a:lnTo>
                    <a:pt x="1062" y="1165"/>
                  </a:lnTo>
                  <a:lnTo>
                    <a:pt x="1078" y="1150"/>
                  </a:lnTo>
                  <a:lnTo>
                    <a:pt x="1094" y="1135"/>
                  </a:lnTo>
                  <a:lnTo>
                    <a:pt x="1102" y="1127"/>
                  </a:lnTo>
                  <a:lnTo>
                    <a:pt x="1110" y="1119"/>
                  </a:lnTo>
                  <a:lnTo>
                    <a:pt x="1119" y="1111"/>
                  </a:lnTo>
                  <a:lnTo>
                    <a:pt x="1127" y="1105"/>
                  </a:lnTo>
                  <a:lnTo>
                    <a:pt x="1139" y="1099"/>
                  </a:lnTo>
                  <a:lnTo>
                    <a:pt x="1150" y="1094"/>
                  </a:lnTo>
                  <a:lnTo>
                    <a:pt x="1163" y="1091"/>
                  </a:lnTo>
                  <a:lnTo>
                    <a:pt x="1179" y="1089"/>
                  </a:lnTo>
                  <a:lnTo>
                    <a:pt x="1226" y="1086"/>
                  </a:lnTo>
                  <a:lnTo>
                    <a:pt x="1273" y="1082"/>
                  </a:lnTo>
                  <a:lnTo>
                    <a:pt x="1321" y="1080"/>
                  </a:lnTo>
                  <a:lnTo>
                    <a:pt x="1369" y="1078"/>
                  </a:lnTo>
                  <a:lnTo>
                    <a:pt x="1417" y="1075"/>
                  </a:lnTo>
                  <a:lnTo>
                    <a:pt x="1465" y="1074"/>
                  </a:lnTo>
                  <a:lnTo>
                    <a:pt x="1513" y="1072"/>
                  </a:lnTo>
                  <a:lnTo>
                    <a:pt x="1561" y="1071"/>
                  </a:lnTo>
                  <a:lnTo>
                    <a:pt x="1517" y="1002"/>
                  </a:lnTo>
                  <a:lnTo>
                    <a:pt x="1516" y="992"/>
                  </a:lnTo>
                  <a:lnTo>
                    <a:pt x="1513" y="978"/>
                  </a:lnTo>
                  <a:lnTo>
                    <a:pt x="1508" y="965"/>
                  </a:lnTo>
                  <a:lnTo>
                    <a:pt x="1503" y="952"/>
                  </a:lnTo>
                  <a:lnTo>
                    <a:pt x="1496" y="939"/>
                  </a:lnTo>
                  <a:lnTo>
                    <a:pt x="1489" y="928"/>
                  </a:lnTo>
                  <a:lnTo>
                    <a:pt x="1482" y="920"/>
                  </a:lnTo>
                  <a:lnTo>
                    <a:pt x="1477" y="916"/>
                  </a:lnTo>
                  <a:lnTo>
                    <a:pt x="1476" y="910"/>
                  </a:lnTo>
                  <a:lnTo>
                    <a:pt x="1472" y="904"/>
                  </a:lnTo>
                  <a:lnTo>
                    <a:pt x="1471" y="900"/>
                  </a:lnTo>
                  <a:lnTo>
                    <a:pt x="1469" y="898"/>
                  </a:lnTo>
                  <a:lnTo>
                    <a:pt x="1466" y="896"/>
                  </a:lnTo>
                  <a:lnTo>
                    <a:pt x="1463" y="896"/>
                  </a:lnTo>
                  <a:lnTo>
                    <a:pt x="1462" y="892"/>
                  </a:lnTo>
                  <a:lnTo>
                    <a:pt x="1460" y="889"/>
                  </a:lnTo>
                  <a:lnTo>
                    <a:pt x="1457" y="884"/>
                  </a:lnTo>
                  <a:lnTo>
                    <a:pt x="1452" y="879"/>
                  </a:lnTo>
                  <a:lnTo>
                    <a:pt x="1444" y="869"/>
                  </a:lnTo>
                  <a:lnTo>
                    <a:pt x="1437" y="862"/>
                  </a:lnTo>
                  <a:lnTo>
                    <a:pt x="1437" y="842"/>
                  </a:lnTo>
                  <a:lnTo>
                    <a:pt x="1431" y="836"/>
                  </a:lnTo>
                  <a:lnTo>
                    <a:pt x="1423" y="825"/>
                  </a:lnTo>
                  <a:lnTo>
                    <a:pt x="1417" y="817"/>
                  </a:lnTo>
                  <a:lnTo>
                    <a:pt x="1410" y="809"/>
                  </a:lnTo>
                  <a:lnTo>
                    <a:pt x="1407" y="795"/>
                  </a:lnTo>
                  <a:lnTo>
                    <a:pt x="1400" y="773"/>
                  </a:lnTo>
                  <a:lnTo>
                    <a:pt x="1395" y="762"/>
                  </a:lnTo>
                  <a:lnTo>
                    <a:pt x="1391" y="752"/>
                  </a:lnTo>
                  <a:lnTo>
                    <a:pt x="1386" y="745"/>
                  </a:lnTo>
                  <a:lnTo>
                    <a:pt x="1384" y="743"/>
                  </a:lnTo>
                  <a:lnTo>
                    <a:pt x="1384" y="669"/>
                  </a:lnTo>
                  <a:lnTo>
                    <a:pt x="1393" y="659"/>
                  </a:lnTo>
                  <a:lnTo>
                    <a:pt x="1403" y="649"/>
                  </a:lnTo>
                  <a:lnTo>
                    <a:pt x="1404" y="645"/>
                  </a:lnTo>
                  <a:lnTo>
                    <a:pt x="1408" y="640"/>
                  </a:lnTo>
                  <a:lnTo>
                    <a:pt x="1412" y="637"/>
                  </a:lnTo>
                  <a:lnTo>
                    <a:pt x="1417" y="636"/>
                  </a:lnTo>
                  <a:lnTo>
                    <a:pt x="1417" y="622"/>
                  </a:lnTo>
                  <a:lnTo>
                    <a:pt x="1430" y="622"/>
                  </a:lnTo>
                  <a:lnTo>
                    <a:pt x="1431" y="617"/>
                  </a:lnTo>
                  <a:lnTo>
                    <a:pt x="1434" y="610"/>
                  </a:lnTo>
                  <a:lnTo>
                    <a:pt x="1437" y="607"/>
                  </a:lnTo>
                  <a:lnTo>
                    <a:pt x="1439" y="605"/>
                  </a:lnTo>
                  <a:lnTo>
                    <a:pt x="1441" y="603"/>
                  </a:lnTo>
                  <a:lnTo>
                    <a:pt x="1443" y="602"/>
                  </a:lnTo>
                  <a:lnTo>
                    <a:pt x="1444" y="598"/>
                  </a:lnTo>
                  <a:lnTo>
                    <a:pt x="1448" y="593"/>
                  </a:lnTo>
                  <a:lnTo>
                    <a:pt x="1452" y="590"/>
                  </a:lnTo>
                  <a:lnTo>
                    <a:pt x="1457" y="589"/>
                  </a:lnTo>
                  <a:lnTo>
                    <a:pt x="1463" y="582"/>
                  </a:lnTo>
                  <a:lnTo>
                    <a:pt x="1463" y="569"/>
                  </a:lnTo>
                  <a:lnTo>
                    <a:pt x="1490" y="542"/>
                  </a:lnTo>
                  <a:lnTo>
                    <a:pt x="1490" y="538"/>
                  </a:lnTo>
                  <a:lnTo>
                    <a:pt x="1491" y="533"/>
                  </a:lnTo>
                  <a:lnTo>
                    <a:pt x="1491" y="532"/>
                  </a:lnTo>
                  <a:lnTo>
                    <a:pt x="1494" y="530"/>
                  </a:lnTo>
                  <a:lnTo>
                    <a:pt x="1495" y="530"/>
                  </a:lnTo>
                  <a:lnTo>
                    <a:pt x="1497" y="529"/>
                  </a:lnTo>
                  <a:lnTo>
                    <a:pt x="1497" y="510"/>
                  </a:lnTo>
                  <a:lnTo>
                    <a:pt x="1500" y="507"/>
                  </a:lnTo>
                  <a:lnTo>
                    <a:pt x="1503" y="503"/>
                  </a:lnTo>
                  <a:lnTo>
                    <a:pt x="1506" y="496"/>
                  </a:lnTo>
                  <a:lnTo>
                    <a:pt x="1509" y="487"/>
                  </a:lnTo>
                  <a:lnTo>
                    <a:pt x="1515" y="469"/>
                  </a:lnTo>
                  <a:lnTo>
                    <a:pt x="1517" y="456"/>
                  </a:lnTo>
                  <a:lnTo>
                    <a:pt x="1530" y="456"/>
                  </a:lnTo>
                  <a:lnTo>
                    <a:pt x="1530" y="369"/>
                  </a:lnTo>
                  <a:lnTo>
                    <a:pt x="1527" y="368"/>
                  </a:lnTo>
                  <a:lnTo>
                    <a:pt x="1524" y="367"/>
                  </a:lnTo>
                  <a:lnTo>
                    <a:pt x="1522" y="363"/>
                  </a:lnTo>
                  <a:lnTo>
                    <a:pt x="1518" y="359"/>
                  </a:lnTo>
                  <a:lnTo>
                    <a:pt x="1515" y="348"/>
                  </a:lnTo>
                  <a:lnTo>
                    <a:pt x="1511" y="336"/>
                  </a:lnTo>
                  <a:lnTo>
                    <a:pt x="1509" y="323"/>
                  </a:lnTo>
                  <a:lnTo>
                    <a:pt x="1508" y="313"/>
                  </a:lnTo>
                  <a:lnTo>
                    <a:pt x="1506" y="305"/>
                  </a:lnTo>
                  <a:lnTo>
                    <a:pt x="1504" y="302"/>
                  </a:lnTo>
                  <a:lnTo>
                    <a:pt x="1504" y="276"/>
                  </a:lnTo>
                  <a:lnTo>
                    <a:pt x="1500" y="273"/>
                  </a:lnTo>
                  <a:lnTo>
                    <a:pt x="1495" y="267"/>
                  </a:lnTo>
                  <a:lnTo>
                    <a:pt x="1488" y="259"/>
                  </a:lnTo>
                  <a:lnTo>
                    <a:pt x="1480" y="247"/>
                  </a:lnTo>
                  <a:lnTo>
                    <a:pt x="1440" y="260"/>
                  </a:lnTo>
                  <a:lnTo>
                    <a:pt x="1400" y="271"/>
                  </a:lnTo>
                  <a:lnTo>
                    <a:pt x="1361" y="280"/>
                  </a:lnTo>
                  <a:lnTo>
                    <a:pt x="1324" y="288"/>
                  </a:lnTo>
                  <a:lnTo>
                    <a:pt x="1305" y="290"/>
                  </a:lnTo>
                  <a:lnTo>
                    <a:pt x="1288" y="292"/>
                  </a:lnTo>
                  <a:lnTo>
                    <a:pt x="1271" y="293"/>
                  </a:lnTo>
                  <a:lnTo>
                    <a:pt x="1256" y="293"/>
                  </a:lnTo>
                  <a:lnTo>
                    <a:pt x="1241" y="292"/>
                  </a:lnTo>
                  <a:lnTo>
                    <a:pt x="1228" y="291"/>
                  </a:lnTo>
                  <a:lnTo>
                    <a:pt x="1216" y="288"/>
                  </a:lnTo>
                  <a:lnTo>
                    <a:pt x="1204" y="283"/>
                  </a:lnTo>
                  <a:lnTo>
                    <a:pt x="1188" y="275"/>
                  </a:lnTo>
                  <a:lnTo>
                    <a:pt x="1171" y="270"/>
                  </a:lnTo>
                  <a:lnTo>
                    <a:pt x="1152" y="264"/>
                  </a:lnTo>
                  <a:lnTo>
                    <a:pt x="1133" y="260"/>
                  </a:lnTo>
                  <a:lnTo>
                    <a:pt x="1114" y="256"/>
                  </a:lnTo>
                  <a:lnTo>
                    <a:pt x="1094" y="254"/>
                  </a:lnTo>
                  <a:lnTo>
                    <a:pt x="1073" y="252"/>
                  </a:lnTo>
                  <a:lnTo>
                    <a:pt x="1052" y="251"/>
                  </a:lnTo>
                  <a:lnTo>
                    <a:pt x="964" y="248"/>
                  </a:lnTo>
                  <a:lnTo>
                    <a:pt x="875" y="248"/>
                  </a:lnTo>
                  <a:lnTo>
                    <a:pt x="832" y="247"/>
                  </a:lnTo>
                  <a:lnTo>
                    <a:pt x="789" y="243"/>
                  </a:lnTo>
                  <a:lnTo>
                    <a:pt x="768" y="241"/>
                  </a:lnTo>
                  <a:lnTo>
                    <a:pt x="748" y="237"/>
                  </a:lnTo>
                  <a:lnTo>
                    <a:pt x="728" y="233"/>
                  </a:lnTo>
                  <a:lnTo>
                    <a:pt x="709" y="227"/>
                  </a:lnTo>
                  <a:lnTo>
                    <a:pt x="691" y="221"/>
                  </a:lnTo>
                  <a:lnTo>
                    <a:pt x="673" y="213"/>
                  </a:lnTo>
                  <a:lnTo>
                    <a:pt x="656" y="204"/>
                  </a:lnTo>
                  <a:lnTo>
                    <a:pt x="641" y="194"/>
                  </a:lnTo>
                  <a:lnTo>
                    <a:pt x="625" y="182"/>
                  </a:lnTo>
                  <a:lnTo>
                    <a:pt x="612" y="168"/>
                  </a:lnTo>
                  <a:lnTo>
                    <a:pt x="598" y="154"/>
                  </a:lnTo>
                  <a:lnTo>
                    <a:pt x="587" y="137"/>
                  </a:lnTo>
                  <a:lnTo>
                    <a:pt x="580" y="126"/>
                  </a:lnTo>
                  <a:lnTo>
                    <a:pt x="576" y="116"/>
                  </a:lnTo>
                  <a:lnTo>
                    <a:pt x="573" y="105"/>
                  </a:lnTo>
                  <a:lnTo>
                    <a:pt x="570" y="94"/>
                  </a:lnTo>
                  <a:lnTo>
                    <a:pt x="566" y="74"/>
                  </a:lnTo>
                  <a:lnTo>
                    <a:pt x="561" y="55"/>
                  </a:lnTo>
                  <a:lnTo>
                    <a:pt x="558" y="46"/>
                  </a:lnTo>
                  <a:lnTo>
                    <a:pt x="554" y="38"/>
                  </a:lnTo>
                  <a:lnTo>
                    <a:pt x="549" y="30"/>
                  </a:lnTo>
                  <a:lnTo>
                    <a:pt x="543" y="23"/>
                  </a:lnTo>
                  <a:lnTo>
                    <a:pt x="534" y="16"/>
                  </a:lnTo>
                  <a:lnTo>
                    <a:pt x="524" y="11"/>
                  </a:lnTo>
                  <a:lnTo>
                    <a:pt x="511" y="6"/>
                  </a:lnTo>
                  <a:lnTo>
                    <a:pt x="496" y="3"/>
                  </a:lnTo>
                  <a:lnTo>
                    <a:pt x="483" y="1"/>
                  </a:lnTo>
                  <a:lnTo>
                    <a:pt x="471" y="1"/>
                  </a:lnTo>
                  <a:lnTo>
                    <a:pt x="458" y="0"/>
                  </a:lnTo>
                  <a:lnTo>
                    <a:pt x="443" y="1"/>
                  </a:lnTo>
                  <a:lnTo>
                    <a:pt x="411" y="2"/>
                  </a:lnTo>
                  <a:lnTo>
                    <a:pt x="377" y="6"/>
                  </a:lnTo>
                  <a:lnTo>
                    <a:pt x="343" y="11"/>
                  </a:lnTo>
                  <a:lnTo>
                    <a:pt x="307" y="15"/>
                  </a:lnTo>
                  <a:lnTo>
                    <a:pt x="270" y="21"/>
                  </a:lnTo>
                  <a:lnTo>
                    <a:pt x="236" y="25"/>
                  </a:lnTo>
                  <a:lnTo>
                    <a:pt x="255" y="50"/>
                  </a:lnTo>
                  <a:lnTo>
                    <a:pt x="272" y="77"/>
                  </a:lnTo>
                  <a:lnTo>
                    <a:pt x="279" y="89"/>
                  </a:lnTo>
                  <a:lnTo>
                    <a:pt x="285" y="100"/>
                  </a:lnTo>
                  <a:lnTo>
                    <a:pt x="289" y="109"/>
                  </a:lnTo>
                  <a:lnTo>
                    <a:pt x="290" y="116"/>
                  </a:lnTo>
                  <a:lnTo>
                    <a:pt x="292" y="119"/>
                  </a:lnTo>
                  <a:lnTo>
                    <a:pt x="295" y="127"/>
                  </a:lnTo>
                  <a:lnTo>
                    <a:pt x="296" y="138"/>
                  </a:lnTo>
                  <a:lnTo>
                    <a:pt x="296" y="151"/>
                  </a:lnTo>
                  <a:lnTo>
                    <a:pt x="297" y="178"/>
                  </a:lnTo>
                  <a:lnTo>
                    <a:pt x="297" y="196"/>
                  </a:lnTo>
                  <a:lnTo>
                    <a:pt x="299" y="196"/>
                  </a:lnTo>
                  <a:lnTo>
                    <a:pt x="301" y="197"/>
                  </a:lnTo>
                  <a:lnTo>
                    <a:pt x="303" y="198"/>
                  </a:lnTo>
                  <a:lnTo>
                    <a:pt x="303" y="201"/>
                  </a:lnTo>
                  <a:lnTo>
                    <a:pt x="304" y="204"/>
                  </a:lnTo>
                  <a:lnTo>
                    <a:pt x="304" y="209"/>
                  </a:lnTo>
                  <a:lnTo>
                    <a:pt x="306" y="209"/>
                  </a:lnTo>
                  <a:lnTo>
                    <a:pt x="307" y="211"/>
                  </a:lnTo>
                  <a:lnTo>
                    <a:pt x="309" y="212"/>
                  </a:lnTo>
                  <a:lnTo>
                    <a:pt x="309" y="214"/>
                  </a:lnTo>
                  <a:lnTo>
                    <a:pt x="310" y="217"/>
                  </a:lnTo>
                  <a:lnTo>
                    <a:pt x="310" y="223"/>
                  </a:lnTo>
                  <a:lnTo>
                    <a:pt x="324" y="233"/>
                  </a:lnTo>
                  <a:lnTo>
                    <a:pt x="337" y="243"/>
                  </a:lnTo>
                  <a:lnTo>
                    <a:pt x="337" y="256"/>
                  </a:lnTo>
                  <a:lnTo>
                    <a:pt x="339" y="257"/>
                  </a:lnTo>
                  <a:lnTo>
                    <a:pt x="340" y="260"/>
                  </a:lnTo>
                  <a:lnTo>
                    <a:pt x="342" y="264"/>
                  </a:lnTo>
                  <a:lnTo>
                    <a:pt x="343" y="270"/>
                  </a:lnTo>
                  <a:lnTo>
                    <a:pt x="344" y="281"/>
                  </a:lnTo>
                  <a:lnTo>
                    <a:pt x="344" y="289"/>
                  </a:lnTo>
                  <a:lnTo>
                    <a:pt x="340" y="291"/>
                  </a:lnTo>
                  <a:lnTo>
                    <a:pt x="337" y="293"/>
                  </a:lnTo>
                  <a:lnTo>
                    <a:pt x="333" y="299"/>
                  </a:lnTo>
                  <a:lnTo>
                    <a:pt x="328" y="304"/>
                  </a:lnTo>
                  <a:lnTo>
                    <a:pt x="324" y="311"/>
                  </a:lnTo>
                  <a:lnTo>
                    <a:pt x="320" y="318"/>
                  </a:lnTo>
                  <a:lnTo>
                    <a:pt x="318" y="323"/>
                  </a:lnTo>
                  <a:lnTo>
                    <a:pt x="317" y="329"/>
                  </a:lnTo>
                  <a:lnTo>
                    <a:pt x="315" y="330"/>
                  </a:lnTo>
                  <a:lnTo>
                    <a:pt x="311" y="331"/>
                  </a:lnTo>
                  <a:lnTo>
                    <a:pt x="309" y="333"/>
                  </a:lnTo>
                  <a:lnTo>
                    <a:pt x="306" y="336"/>
                  </a:lnTo>
                  <a:lnTo>
                    <a:pt x="300" y="342"/>
                  </a:lnTo>
                  <a:lnTo>
                    <a:pt x="295" y="349"/>
                  </a:lnTo>
                  <a:lnTo>
                    <a:pt x="289" y="357"/>
                  </a:lnTo>
                  <a:lnTo>
                    <a:pt x="285" y="363"/>
                  </a:lnTo>
                  <a:lnTo>
                    <a:pt x="280" y="368"/>
                  </a:lnTo>
                  <a:lnTo>
                    <a:pt x="277" y="369"/>
                  </a:lnTo>
                  <a:lnTo>
                    <a:pt x="278" y="375"/>
                  </a:lnTo>
                  <a:lnTo>
                    <a:pt x="279" y="380"/>
                  </a:lnTo>
                  <a:lnTo>
                    <a:pt x="282" y="387"/>
                  </a:lnTo>
                  <a:lnTo>
                    <a:pt x="287" y="394"/>
                  </a:lnTo>
                  <a:lnTo>
                    <a:pt x="296" y="408"/>
                  </a:lnTo>
                  <a:lnTo>
                    <a:pt x="308" y="423"/>
                  </a:lnTo>
                  <a:lnTo>
                    <a:pt x="319" y="436"/>
                  </a:lnTo>
                  <a:lnTo>
                    <a:pt x="330" y="446"/>
                  </a:lnTo>
                  <a:lnTo>
                    <a:pt x="339" y="453"/>
                  </a:lnTo>
                  <a:lnTo>
                    <a:pt x="344" y="456"/>
                  </a:lnTo>
                  <a:lnTo>
                    <a:pt x="344" y="469"/>
                  </a:lnTo>
                  <a:lnTo>
                    <a:pt x="346" y="469"/>
                  </a:lnTo>
                  <a:lnTo>
                    <a:pt x="347" y="471"/>
                  </a:lnTo>
                  <a:lnTo>
                    <a:pt x="348" y="472"/>
                  </a:lnTo>
                  <a:lnTo>
                    <a:pt x="349" y="473"/>
                  </a:lnTo>
                  <a:lnTo>
                    <a:pt x="351" y="477"/>
                  </a:lnTo>
                  <a:lnTo>
                    <a:pt x="351" y="483"/>
                  </a:lnTo>
                  <a:lnTo>
                    <a:pt x="353" y="484"/>
                  </a:lnTo>
                  <a:lnTo>
                    <a:pt x="354" y="490"/>
                  </a:lnTo>
                  <a:lnTo>
                    <a:pt x="355" y="498"/>
                  </a:lnTo>
                  <a:lnTo>
                    <a:pt x="355" y="510"/>
                  </a:lnTo>
                  <a:lnTo>
                    <a:pt x="354" y="539"/>
                  </a:lnTo>
                  <a:lnTo>
                    <a:pt x="352" y="573"/>
                  </a:lnTo>
                  <a:lnTo>
                    <a:pt x="349" y="609"/>
                  </a:lnTo>
                  <a:lnTo>
                    <a:pt x="346" y="642"/>
                  </a:lnTo>
                  <a:lnTo>
                    <a:pt x="345" y="670"/>
                  </a:lnTo>
                  <a:lnTo>
                    <a:pt x="344" y="689"/>
                  </a:lnTo>
                  <a:lnTo>
                    <a:pt x="346" y="692"/>
                  </a:lnTo>
                  <a:lnTo>
                    <a:pt x="347" y="698"/>
                  </a:lnTo>
                  <a:lnTo>
                    <a:pt x="348" y="708"/>
                  </a:lnTo>
                  <a:lnTo>
                    <a:pt x="349" y="719"/>
                  </a:lnTo>
                  <a:lnTo>
                    <a:pt x="351" y="743"/>
                  </a:lnTo>
                  <a:lnTo>
                    <a:pt x="351" y="755"/>
                  </a:lnTo>
                  <a:lnTo>
                    <a:pt x="344" y="762"/>
                  </a:lnTo>
                  <a:lnTo>
                    <a:pt x="330" y="764"/>
                  </a:lnTo>
                  <a:lnTo>
                    <a:pt x="300" y="766"/>
                  </a:lnTo>
                  <a:lnTo>
                    <a:pt x="285" y="766"/>
                  </a:lnTo>
                  <a:lnTo>
                    <a:pt x="270" y="765"/>
                  </a:lnTo>
                  <a:lnTo>
                    <a:pt x="265" y="764"/>
                  </a:lnTo>
                  <a:lnTo>
                    <a:pt x="261" y="762"/>
                  </a:lnTo>
                  <a:lnTo>
                    <a:pt x="258" y="760"/>
                  </a:lnTo>
                  <a:lnTo>
                    <a:pt x="257" y="755"/>
                  </a:lnTo>
                  <a:lnTo>
                    <a:pt x="237" y="755"/>
                  </a:lnTo>
                  <a:lnTo>
                    <a:pt x="236" y="753"/>
                  </a:lnTo>
                  <a:lnTo>
                    <a:pt x="232" y="750"/>
                  </a:lnTo>
                  <a:lnTo>
                    <a:pt x="227" y="746"/>
                  </a:lnTo>
                  <a:lnTo>
                    <a:pt x="220" y="742"/>
                  </a:lnTo>
                  <a:lnTo>
                    <a:pt x="214" y="737"/>
                  </a:lnTo>
                  <a:lnTo>
                    <a:pt x="209" y="733"/>
                  </a:lnTo>
                  <a:lnTo>
                    <a:pt x="205" y="727"/>
                  </a:lnTo>
                  <a:lnTo>
                    <a:pt x="203" y="723"/>
                  </a:lnTo>
                  <a:lnTo>
                    <a:pt x="191" y="723"/>
                  </a:lnTo>
                  <a:lnTo>
                    <a:pt x="189" y="719"/>
                  </a:lnTo>
                  <a:lnTo>
                    <a:pt x="185" y="716"/>
                  </a:lnTo>
                  <a:lnTo>
                    <a:pt x="180" y="713"/>
                  </a:lnTo>
                  <a:lnTo>
                    <a:pt x="173" y="709"/>
                  </a:lnTo>
                  <a:lnTo>
                    <a:pt x="160" y="705"/>
                  </a:lnTo>
                  <a:lnTo>
                    <a:pt x="151" y="703"/>
                  </a:lnTo>
                  <a:lnTo>
                    <a:pt x="150" y="701"/>
                  </a:lnTo>
                  <a:lnTo>
                    <a:pt x="147" y="698"/>
                  </a:lnTo>
                  <a:lnTo>
                    <a:pt x="145" y="696"/>
                  </a:lnTo>
                  <a:lnTo>
                    <a:pt x="141" y="695"/>
                  </a:lnTo>
                  <a:lnTo>
                    <a:pt x="131" y="693"/>
                  </a:lnTo>
                  <a:lnTo>
                    <a:pt x="118" y="690"/>
                  </a:lnTo>
                  <a:lnTo>
                    <a:pt x="94" y="689"/>
                  </a:lnTo>
                  <a:lnTo>
                    <a:pt x="77" y="689"/>
                  </a:lnTo>
                  <a:lnTo>
                    <a:pt x="77" y="692"/>
                  </a:lnTo>
                  <a:lnTo>
                    <a:pt x="76" y="693"/>
                  </a:lnTo>
                  <a:lnTo>
                    <a:pt x="75" y="694"/>
                  </a:lnTo>
                  <a:lnTo>
                    <a:pt x="73" y="695"/>
                  </a:lnTo>
                  <a:lnTo>
                    <a:pt x="68" y="696"/>
                  </a:lnTo>
                  <a:lnTo>
                    <a:pt x="64" y="696"/>
                  </a:lnTo>
                  <a:lnTo>
                    <a:pt x="62" y="699"/>
                  </a:lnTo>
                  <a:lnTo>
                    <a:pt x="60" y="702"/>
                  </a:lnTo>
                  <a:lnTo>
                    <a:pt x="57" y="703"/>
                  </a:lnTo>
                  <a:lnTo>
                    <a:pt x="54" y="703"/>
                  </a:lnTo>
                  <a:lnTo>
                    <a:pt x="50" y="704"/>
                  </a:lnTo>
                  <a:lnTo>
                    <a:pt x="47" y="706"/>
                  </a:lnTo>
                  <a:lnTo>
                    <a:pt x="45" y="709"/>
                  </a:lnTo>
                  <a:lnTo>
                    <a:pt x="44" y="716"/>
                  </a:lnTo>
                  <a:lnTo>
                    <a:pt x="30" y="716"/>
                  </a:lnTo>
                  <a:lnTo>
                    <a:pt x="32" y="727"/>
                  </a:lnTo>
                  <a:lnTo>
                    <a:pt x="37" y="741"/>
                  </a:lnTo>
                  <a:lnTo>
                    <a:pt x="41" y="752"/>
                  </a:lnTo>
                  <a:lnTo>
                    <a:pt x="44" y="755"/>
                  </a:lnTo>
                  <a:lnTo>
                    <a:pt x="57" y="755"/>
                  </a:lnTo>
                  <a:lnTo>
                    <a:pt x="64" y="773"/>
                  </a:lnTo>
                  <a:lnTo>
                    <a:pt x="77" y="808"/>
                  </a:lnTo>
                  <a:lnTo>
                    <a:pt x="85" y="828"/>
                  </a:lnTo>
                  <a:lnTo>
                    <a:pt x="90" y="849"/>
                  </a:lnTo>
                  <a:lnTo>
                    <a:pt x="94" y="860"/>
                  </a:lnTo>
                  <a:lnTo>
                    <a:pt x="95" y="870"/>
                  </a:lnTo>
                  <a:lnTo>
                    <a:pt x="97" y="880"/>
                  </a:lnTo>
                  <a:lnTo>
                    <a:pt x="97" y="889"/>
                  </a:lnTo>
                  <a:lnTo>
                    <a:pt x="92" y="890"/>
                  </a:lnTo>
                  <a:lnTo>
                    <a:pt x="86" y="895"/>
                  </a:lnTo>
                  <a:lnTo>
                    <a:pt x="79" y="899"/>
                  </a:lnTo>
                  <a:lnTo>
                    <a:pt x="73" y="906"/>
                  </a:lnTo>
                  <a:lnTo>
                    <a:pt x="65" y="911"/>
                  </a:lnTo>
                  <a:lnTo>
                    <a:pt x="56" y="917"/>
                  </a:lnTo>
                  <a:lnTo>
                    <a:pt x="51" y="919"/>
                  </a:lnTo>
                  <a:lnTo>
                    <a:pt x="47" y="921"/>
                  </a:lnTo>
                  <a:lnTo>
                    <a:pt x="42" y="921"/>
                  </a:lnTo>
                  <a:lnTo>
                    <a:pt x="37" y="923"/>
                  </a:lnTo>
                  <a:lnTo>
                    <a:pt x="35" y="928"/>
                  </a:lnTo>
                  <a:lnTo>
                    <a:pt x="27" y="937"/>
                  </a:lnTo>
                  <a:lnTo>
                    <a:pt x="16" y="952"/>
                  </a:lnTo>
                  <a:lnTo>
                    <a:pt x="0" y="968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5" name="Freeform 12"/>
            <p:cNvSpPr>
              <a:spLocks noChangeAspect="1"/>
            </p:cNvSpPr>
            <p:nvPr/>
          </p:nvSpPr>
          <p:spPr bwMode="gray">
            <a:xfrm rot="355651">
              <a:off x="7138988" y="4940300"/>
              <a:ext cx="317387" cy="153304"/>
            </a:xfrm>
            <a:custGeom>
              <a:avLst/>
              <a:gdLst/>
              <a:ahLst/>
              <a:cxnLst>
                <a:cxn ang="0">
                  <a:pos x="585" y="914"/>
                </a:cxn>
                <a:cxn ang="0">
                  <a:pos x="987" y="920"/>
                </a:cxn>
                <a:cxn ang="0">
                  <a:pos x="1170" y="925"/>
                </a:cxn>
                <a:cxn ang="0">
                  <a:pos x="1301" y="932"/>
                </a:cxn>
                <a:cxn ang="0">
                  <a:pos x="1411" y="903"/>
                </a:cxn>
                <a:cxn ang="0">
                  <a:pos x="1446" y="867"/>
                </a:cxn>
                <a:cxn ang="0">
                  <a:pos x="1492" y="790"/>
                </a:cxn>
                <a:cxn ang="0">
                  <a:pos x="1610" y="668"/>
                </a:cxn>
                <a:cxn ang="0">
                  <a:pos x="1640" y="616"/>
                </a:cxn>
                <a:cxn ang="0">
                  <a:pos x="1694" y="559"/>
                </a:cxn>
                <a:cxn ang="0">
                  <a:pos x="1726" y="504"/>
                </a:cxn>
                <a:cxn ang="0">
                  <a:pos x="1737" y="439"/>
                </a:cxn>
                <a:cxn ang="0">
                  <a:pos x="1730" y="370"/>
                </a:cxn>
                <a:cxn ang="0">
                  <a:pos x="1699" y="277"/>
                </a:cxn>
                <a:cxn ang="0">
                  <a:pos x="1664" y="205"/>
                </a:cxn>
                <a:cxn ang="0">
                  <a:pos x="1640" y="192"/>
                </a:cxn>
                <a:cxn ang="0">
                  <a:pos x="1613" y="200"/>
                </a:cxn>
                <a:cxn ang="0">
                  <a:pos x="1582" y="233"/>
                </a:cxn>
                <a:cxn ang="0">
                  <a:pos x="1525" y="337"/>
                </a:cxn>
                <a:cxn ang="0">
                  <a:pos x="1483" y="399"/>
                </a:cxn>
                <a:cxn ang="0">
                  <a:pos x="1448" y="419"/>
                </a:cxn>
                <a:cxn ang="0">
                  <a:pos x="1392" y="395"/>
                </a:cxn>
                <a:cxn ang="0">
                  <a:pos x="1312" y="355"/>
                </a:cxn>
                <a:cxn ang="0">
                  <a:pos x="1228" y="348"/>
                </a:cxn>
                <a:cxn ang="0">
                  <a:pos x="1108" y="381"/>
                </a:cxn>
                <a:cxn ang="0">
                  <a:pos x="871" y="522"/>
                </a:cxn>
                <a:cxn ang="0">
                  <a:pos x="768" y="564"/>
                </a:cxn>
                <a:cxn ang="0">
                  <a:pos x="663" y="561"/>
                </a:cxn>
                <a:cxn ang="0">
                  <a:pos x="552" y="487"/>
                </a:cxn>
                <a:cxn ang="0">
                  <a:pos x="549" y="443"/>
                </a:cxn>
                <a:cxn ang="0">
                  <a:pos x="612" y="213"/>
                </a:cxn>
                <a:cxn ang="0">
                  <a:pos x="628" y="88"/>
                </a:cxn>
                <a:cxn ang="0">
                  <a:pos x="613" y="15"/>
                </a:cxn>
                <a:cxn ang="0">
                  <a:pos x="587" y="0"/>
                </a:cxn>
                <a:cxn ang="0">
                  <a:pos x="459" y="30"/>
                </a:cxn>
                <a:cxn ang="0">
                  <a:pos x="326" y="38"/>
                </a:cxn>
                <a:cxn ang="0">
                  <a:pos x="232" y="51"/>
                </a:cxn>
                <a:cxn ang="0">
                  <a:pos x="104" y="104"/>
                </a:cxn>
                <a:cxn ang="0">
                  <a:pos x="122" y="150"/>
                </a:cxn>
                <a:cxn ang="0">
                  <a:pos x="134" y="204"/>
                </a:cxn>
                <a:cxn ang="0">
                  <a:pos x="146" y="301"/>
                </a:cxn>
                <a:cxn ang="0">
                  <a:pos x="119" y="348"/>
                </a:cxn>
                <a:cxn ang="0">
                  <a:pos x="110" y="375"/>
                </a:cxn>
                <a:cxn ang="0">
                  <a:pos x="79" y="414"/>
                </a:cxn>
                <a:cxn ang="0">
                  <a:pos x="60" y="443"/>
                </a:cxn>
                <a:cxn ang="0">
                  <a:pos x="50" y="455"/>
                </a:cxn>
                <a:cxn ang="0">
                  <a:pos x="28" y="482"/>
                </a:cxn>
                <a:cxn ang="0">
                  <a:pos x="0" y="514"/>
                </a:cxn>
                <a:cxn ang="0">
                  <a:pos x="16" y="618"/>
                </a:cxn>
                <a:cxn ang="0">
                  <a:pos x="47" y="681"/>
                </a:cxn>
                <a:cxn ang="0">
                  <a:pos x="73" y="729"/>
                </a:cxn>
                <a:cxn ang="0">
                  <a:pos x="85" y="743"/>
                </a:cxn>
                <a:cxn ang="0">
                  <a:pos x="98" y="765"/>
                </a:cxn>
                <a:cxn ang="0">
                  <a:pos x="129" y="823"/>
                </a:cxn>
              </a:cxnLst>
              <a:rect l="0" t="0" r="r" b="b"/>
              <a:pathLst>
                <a:path w="1738" h="932">
                  <a:moveTo>
                    <a:pt x="177" y="916"/>
                  </a:moveTo>
                  <a:lnTo>
                    <a:pt x="280" y="915"/>
                  </a:lnTo>
                  <a:lnTo>
                    <a:pt x="384" y="914"/>
                  </a:lnTo>
                  <a:lnTo>
                    <a:pt x="486" y="914"/>
                  </a:lnTo>
                  <a:lnTo>
                    <a:pt x="585" y="914"/>
                  </a:lnTo>
                  <a:lnTo>
                    <a:pt x="682" y="915"/>
                  </a:lnTo>
                  <a:lnTo>
                    <a:pt x="775" y="917"/>
                  </a:lnTo>
                  <a:lnTo>
                    <a:pt x="865" y="918"/>
                  </a:lnTo>
                  <a:lnTo>
                    <a:pt x="950" y="919"/>
                  </a:lnTo>
                  <a:lnTo>
                    <a:pt x="987" y="920"/>
                  </a:lnTo>
                  <a:lnTo>
                    <a:pt x="1025" y="920"/>
                  </a:lnTo>
                  <a:lnTo>
                    <a:pt x="1062" y="922"/>
                  </a:lnTo>
                  <a:lnTo>
                    <a:pt x="1100" y="923"/>
                  </a:lnTo>
                  <a:lnTo>
                    <a:pt x="1135" y="924"/>
                  </a:lnTo>
                  <a:lnTo>
                    <a:pt x="1170" y="925"/>
                  </a:lnTo>
                  <a:lnTo>
                    <a:pt x="1202" y="927"/>
                  </a:lnTo>
                  <a:lnTo>
                    <a:pt x="1231" y="928"/>
                  </a:lnTo>
                  <a:lnTo>
                    <a:pt x="1257" y="931"/>
                  </a:lnTo>
                  <a:lnTo>
                    <a:pt x="1279" y="932"/>
                  </a:lnTo>
                  <a:lnTo>
                    <a:pt x="1301" y="932"/>
                  </a:lnTo>
                  <a:lnTo>
                    <a:pt x="1321" y="931"/>
                  </a:lnTo>
                  <a:lnTo>
                    <a:pt x="1341" y="928"/>
                  </a:lnTo>
                  <a:lnTo>
                    <a:pt x="1362" y="923"/>
                  </a:lnTo>
                  <a:lnTo>
                    <a:pt x="1386" y="915"/>
                  </a:lnTo>
                  <a:lnTo>
                    <a:pt x="1411" y="903"/>
                  </a:lnTo>
                  <a:lnTo>
                    <a:pt x="1418" y="899"/>
                  </a:lnTo>
                  <a:lnTo>
                    <a:pt x="1425" y="894"/>
                  </a:lnTo>
                  <a:lnTo>
                    <a:pt x="1431" y="888"/>
                  </a:lnTo>
                  <a:lnTo>
                    <a:pt x="1436" y="881"/>
                  </a:lnTo>
                  <a:lnTo>
                    <a:pt x="1446" y="867"/>
                  </a:lnTo>
                  <a:lnTo>
                    <a:pt x="1455" y="851"/>
                  </a:lnTo>
                  <a:lnTo>
                    <a:pt x="1464" y="835"/>
                  </a:lnTo>
                  <a:lnTo>
                    <a:pt x="1472" y="818"/>
                  </a:lnTo>
                  <a:lnTo>
                    <a:pt x="1482" y="803"/>
                  </a:lnTo>
                  <a:lnTo>
                    <a:pt x="1492" y="790"/>
                  </a:lnTo>
                  <a:lnTo>
                    <a:pt x="1530" y="752"/>
                  </a:lnTo>
                  <a:lnTo>
                    <a:pt x="1568" y="716"/>
                  </a:lnTo>
                  <a:lnTo>
                    <a:pt x="1585" y="697"/>
                  </a:lnTo>
                  <a:lnTo>
                    <a:pt x="1602" y="678"/>
                  </a:lnTo>
                  <a:lnTo>
                    <a:pt x="1610" y="668"/>
                  </a:lnTo>
                  <a:lnTo>
                    <a:pt x="1618" y="657"/>
                  </a:lnTo>
                  <a:lnTo>
                    <a:pt x="1624" y="646"/>
                  </a:lnTo>
                  <a:lnTo>
                    <a:pt x="1630" y="634"/>
                  </a:lnTo>
                  <a:lnTo>
                    <a:pt x="1634" y="625"/>
                  </a:lnTo>
                  <a:lnTo>
                    <a:pt x="1640" y="616"/>
                  </a:lnTo>
                  <a:lnTo>
                    <a:pt x="1646" y="608"/>
                  </a:lnTo>
                  <a:lnTo>
                    <a:pt x="1652" y="600"/>
                  </a:lnTo>
                  <a:lnTo>
                    <a:pt x="1666" y="587"/>
                  </a:lnTo>
                  <a:lnTo>
                    <a:pt x="1679" y="573"/>
                  </a:lnTo>
                  <a:lnTo>
                    <a:pt x="1694" y="559"/>
                  </a:lnTo>
                  <a:lnTo>
                    <a:pt x="1706" y="543"/>
                  </a:lnTo>
                  <a:lnTo>
                    <a:pt x="1712" y="534"/>
                  </a:lnTo>
                  <a:lnTo>
                    <a:pt x="1717" y="525"/>
                  </a:lnTo>
                  <a:lnTo>
                    <a:pt x="1722" y="515"/>
                  </a:lnTo>
                  <a:lnTo>
                    <a:pt x="1726" y="504"/>
                  </a:lnTo>
                  <a:lnTo>
                    <a:pt x="1729" y="493"/>
                  </a:lnTo>
                  <a:lnTo>
                    <a:pt x="1732" y="481"/>
                  </a:lnTo>
                  <a:lnTo>
                    <a:pt x="1735" y="467"/>
                  </a:lnTo>
                  <a:lnTo>
                    <a:pt x="1736" y="454"/>
                  </a:lnTo>
                  <a:lnTo>
                    <a:pt x="1737" y="439"/>
                  </a:lnTo>
                  <a:lnTo>
                    <a:pt x="1738" y="425"/>
                  </a:lnTo>
                  <a:lnTo>
                    <a:pt x="1737" y="412"/>
                  </a:lnTo>
                  <a:lnTo>
                    <a:pt x="1736" y="397"/>
                  </a:lnTo>
                  <a:lnTo>
                    <a:pt x="1734" y="384"/>
                  </a:lnTo>
                  <a:lnTo>
                    <a:pt x="1730" y="370"/>
                  </a:lnTo>
                  <a:lnTo>
                    <a:pt x="1726" y="358"/>
                  </a:lnTo>
                  <a:lnTo>
                    <a:pt x="1723" y="346"/>
                  </a:lnTo>
                  <a:lnTo>
                    <a:pt x="1713" y="321"/>
                  </a:lnTo>
                  <a:lnTo>
                    <a:pt x="1705" y="296"/>
                  </a:lnTo>
                  <a:lnTo>
                    <a:pt x="1699" y="277"/>
                  </a:lnTo>
                  <a:lnTo>
                    <a:pt x="1694" y="259"/>
                  </a:lnTo>
                  <a:lnTo>
                    <a:pt x="1687" y="243"/>
                  </a:lnTo>
                  <a:lnTo>
                    <a:pt x="1679" y="227"/>
                  </a:lnTo>
                  <a:lnTo>
                    <a:pt x="1671" y="215"/>
                  </a:lnTo>
                  <a:lnTo>
                    <a:pt x="1664" y="205"/>
                  </a:lnTo>
                  <a:lnTo>
                    <a:pt x="1659" y="201"/>
                  </a:lnTo>
                  <a:lnTo>
                    <a:pt x="1655" y="197"/>
                  </a:lnTo>
                  <a:lnTo>
                    <a:pt x="1650" y="195"/>
                  </a:lnTo>
                  <a:lnTo>
                    <a:pt x="1646" y="193"/>
                  </a:lnTo>
                  <a:lnTo>
                    <a:pt x="1640" y="192"/>
                  </a:lnTo>
                  <a:lnTo>
                    <a:pt x="1636" y="192"/>
                  </a:lnTo>
                  <a:lnTo>
                    <a:pt x="1630" y="193"/>
                  </a:lnTo>
                  <a:lnTo>
                    <a:pt x="1624" y="194"/>
                  </a:lnTo>
                  <a:lnTo>
                    <a:pt x="1619" y="196"/>
                  </a:lnTo>
                  <a:lnTo>
                    <a:pt x="1613" y="200"/>
                  </a:lnTo>
                  <a:lnTo>
                    <a:pt x="1608" y="204"/>
                  </a:lnTo>
                  <a:lnTo>
                    <a:pt x="1601" y="210"/>
                  </a:lnTo>
                  <a:lnTo>
                    <a:pt x="1595" y="216"/>
                  </a:lnTo>
                  <a:lnTo>
                    <a:pt x="1589" y="224"/>
                  </a:lnTo>
                  <a:lnTo>
                    <a:pt x="1582" y="233"/>
                  </a:lnTo>
                  <a:lnTo>
                    <a:pt x="1575" y="243"/>
                  </a:lnTo>
                  <a:lnTo>
                    <a:pt x="1561" y="268"/>
                  </a:lnTo>
                  <a:lnTo>
                    <a:pt x="1546" y="297"/>
                  </a:lnTo>
                  <a:lnTo>
                    <a:pt x="1535" y="318"/>
                  </a:lnTo>
                  <a:lnTo>
                    <a:pt x="1525" y="337"/>
                  </a:lnTo>
                  <a:lnTo>
                    <a:pt x="1516" y="354"/>
                  </a:lnTo>
                  <a:lnTo>
                    <a:pt x="1507" y="368"/>
                  </a:lnTo>
                  <a:lnTo>
                    <a:pt x="1498" y="380"/>
                  </a:lnTo>
                  <a:lnTo>
                    <a:pt x="1490" y="391"/>
                  </a:lnTo>
                  <a:lnTo>
                    <a:pt x="1483" y="399"/>
                  </a:lnTo>
                  <a:lnTo>
                    <a:pt x="1476" y="406"/>
                  </a:lnTo>
                  <a:lnTo>
                    <a:pt x="1468" y="412"/>
                  </a:lnTo>
                  <a:lnTo>
                    <a:pt x="1461" y="416"/>
                  </a:lnTo>
                  <a:lnTo>
                    <a:pt x="1455" y="418"/>
                  </a:lnTo>
                  <a:lnTo>
                    <a:pt x="1448" y="419"/>
                  </a:lnTo>
                  <a:lnTo>
                    <a:pt x="1441" y="418"/>
                  </a:lnTo>
                  <a:lnTo>
                    <a:pt x="1435" y="417"/>
                  </a:lnTo>
                  <a:lnTo>
                    <a:pt x="1428" y="416"/>
                  </a:lnTo>
                  <a:lnTo>
                    <a:pt x="1421" y="413"/>
                  </a:lnTo>
                  <a:lnTo>
                    <a:pt x="1392" y="395"/>
                  </a:lnTo>
                  <a:lnTo>
                    <a:pt x="1357" y="374"/>
                  </a:lnTo>
                  <a:lnTo>
                    <a:pt x="1346" y="368"/>
                  </a:lnTo>
                  <a:lnTo>
                    <a:pt x="1335" y="364"/>
                  </a:lnTo>
                  <a:lnTo>
                    <a:pt x="1324" y="359"/>
                  </a:lnTo>
                  <a:lnTo>
                    <a:pt x="1312" y="355"/>
                  </a:lnTo>
                  <a:lnTo>
                    <a:pt x="1298" y="351"/>
                  </a:lnTo>
                  <a:lnTo>
                    <a:pt x="1284" y="349"/>
                  </a:lnTo>
                  <a:lnTo>
                    <a:pt x="1269" y="348"/>
                  </a:lnTo>
                  <a:lnTo>
                    <a:pt x="1254" y="347"/>
                  </a:lnTo>
                  <a:lnTo>
                    <a:pt x="1228" y="348"/>
                  </a:lnTo>
                  <a:lnTo>
                    <a:pt x="1204" y="351"/>
                  </a:lnTo>
                  <a:lnTo>
                    <a:pt x="1179" y="356"/>
                  </a:lnTo>
                  <a:lnTo>
                    <a:pt x="1154" y="364"/>
                  </a:lnTo>
                  <a:lnTo>
                    <a:pt x="1131" y="371"/>
                  </a:lnTo>
                  <a:lnTo>
                    <a:pt x="1108" y="381"/>
                  </a:lnTo>
                  <a:lnTo>
                    <a:pt x="1085" y="391"/>
                  </a:lnTo>
                  <a:lnTo>
                    <a:pt x="1063" y="404"/>
                  </a:lnTo>
                  <a:lnTo>
                    <a:pt x="976" y="456"/>
                  </a:lnTo>
                  <a:lnTo>
                    <a:pt x="892" y="510"/>
                  </a:lnTo>
                  <a:lnTo>
                    <a:pt x="871" y="522"/>
                  </a:lnTo>
                  <a:lnTo>
                    <a:pt x="851" y="533"/>
                  </a:lnTo>
                  <a:lnTo>
                    <a:pt x="831" y="543"/>
                  </a:lnTo>
                  <a:lnTo>
                    <a:pt x="810" y="551"/>
                  </a:lnTo>
                  <a:lnTo>
                    <a:pt x="789" y="559"/>
                  </a:lnTo>
                  <a:lnTo>
                    <a:pt x="768" y="564"/>
                  </a:lnTo>
                  <a:lnTo>
                    <a:pt x="748" y="568"/>
                  </a:lnTo>
                  <a:lnTo>
                    <a:pt x="727" y="570"/>
                  </a:lnTo>
                  <a:lnTo>
                    <a:pt x="706" y="569"/>
                  </a:lnTo>
                  <a:lnTo>
                    <a:pt x="685" y="567"/>
                  </a:lnTo>
                  <a:lnTo>
                    <a:pt x="663" y="561"/>
                  </a:lnTo>
                  <a:lnTo>
                    <a:pt x="641" y="552"/>
                  </a:lnTo>
                  <a:lnTo>
                    <a:pt x="620" y="541"/>
                  </a:lnTo>
                  <a:lnTo>
                    <a:pt x="597" y="527"/>
                  </a:lnTo>
                  <a:lnTo>
                    <a:pt x="574" y="509"/>
                  </a:lnTo>
                  <a:lnTo>
                    <a:pt x="552" y="487"/>
                  </a:lnTo>
                  <a:lnTo>
                    <a:pt x="548" y="483"/>
                  </a:lnTo>
                  <a:lnTo>
                    <a:pt x="547" y="477"/>
                  </a:lnTo>
                  <a:lnTo>
                    <a:pt x="547" y="471"/>
                  </a:lnTo>
                  <a:lnTo>
                    <a:pt x="547" y="463"/>
                  </a:lnTo>
                  <a:lnTo>
                    <a:pt x="549" y="443"/>
                  </a:lnTo>
                  <a:lnTo>
                    <a:pt x="555" y="417"/>
                  </a:lnTo>
                  <a:lnTo>
                    <a:pt x="573" y="357"/>
                  </a:lnTo>
                  <a:lnTo>
                    <a:pt x="593" y="288"/>
                  </a:lnTo>
                  <a:lnTo>
                    <a:pt x="603" y="250"/>
                  </a:lnTo>
                  <a:lnTo>
                    <a:pt x="612" y="213"/>
                  </a:lnTo>
                  <a:lnTo>
                    <a:pt x="620" y="175"/>
                  </a:lnTo>
                  <a:lnTo>
                    <a:pt x="625" y="139"/>
                  </a:lnTo>
                  <a:lnTo>
                    <a:pt x="626" y="121"/>
                  </a:lnTo>
                  <a:lnTo>
                    <a:pt x="628" y="105"/>
                  </a:lnTo>
                  <a:lnTo>
                    <a:pt x="628" y="88"/>
                  </a:lnTo>
                  <a:lnTo>
                    <a:pt x="626" y="71"/>
                  </a:lnTo>
                  <a:lnTo>
                    <a:pt x="625" y="57"/>
                  </a:lnTo>
                  <a:lnTo>
                    <a:pt x="622" y="42"/>
                  </a:lnTo>
                  <a:lnTo>
                    <a:pt x="619" y="28"/>
                  </a:lnTo>
                  <a:lnTo>
                    <a:pt x="613" y="15"/>
                  </a:lnTo>
                  <a:lnTo>
                    <a:pt x="610" y="10"/>
                  </a:lnTo>
                  <a:lnTo>
                    <a:pt x="605" y="5"/>
                  </a:lnTo>
                  <a:lnTo>
                    <a:pt x="600" y="2"/>
                  </a:lnTo>
                  <a:lnTo>
                    <a:pt x="594" y="1"/>
                  </a:lnTo>
                  <a:lnTo>
                    <a:pt x="587" y="0"/>
                  </a:lnTo>
                  <a:lnTo>
                    <a:pt x="580" y="0"/>
                  </a:lnTo>
                  <a:lnTo>
                    <a:pt x="572" y="1"/>
                  </a:lnTo>
                  <a:lnTo>
                    <a:pt x="563" y="3"/>
                  </a:lnTo>
                  <a:lnTo>
                    <a:pt x="517" y="15"/>
                  </a:lnTo>
                  <a:lnTo>
                    <a:pt x="459" y="30"/>
                  </a:lnTo>
                  <a:lnTo>
                    <a:pt x="436" y="33"/>
                  </a:lnTo>
                  <a:lnTo>
                    <a:pt x="410" y="35"/>
                  </a:lnTo>
                  <a:lnTo>
                    <a:pt x="383" y="35"/>
                  </a:lnTo>
                  <a:lnTo>
                    <a:pt x="355" y="37"/>
                  </a:lnTo>
                  <a:lnTo>
                    <a:pt x="326" y="38"/>
                  </a:lnTo>
                  <a:lnTo>
                    <a:pt x="296" y="40"/>
                  </a:lnTo>
                  <a:lnTo>
                    <a:pt x="280" y="42"/>
                  </a:lnTo>
                  <a:lnTo>
                    <a:pt x="265" y="44"/>
                  </a:lnTo>
                  <a:lnTo>
                    <a:pt x="249" y="48"/>
                  </a:lnTo>
                  <a:lnTo>
                    <a:pt x="232" y="51"/>
                  </a:lnTo>
                  <a:lnTo>
                    <a:pt x="201" y="60"/>
                  </a:lnTo>
                  <a:lnTo>
                    <a:pt x="168" y="70"/>
                  </a:lnTo>
                  <a:lnTo>
                    <a:pt x="133" y="81"/>
                  </a:lnTo>
                  <a:lnTo>
                    <a:pt x="96" y="92"/>
                  </a:lnTo>
                  <a:lnTo>
                    <a:pt x="104" y="104"/>
                  </a:lnTo>
                  <a:lnTo>
                    <a:pt x="111" y="112"/>
                  </a:lnTo>
                  <a:lnTo>
                    <a:pt x="116" y="118"/>
                  </a:lnTo>
                  <a:lnTo>
                    <a:pt x="120" y="121"/>
                  </a:lnTo>
                  <a:lnTo>
                    <a:pt x="120" y="147"/>
                  </a:lnTo>
                  <a:lnTo>
                    <a:pt x="122" y="150"/>
                  </a:lnTo>
                  <a:lnTo>
                    <a:pt x="124" y="158"/>
                  </a:lnTo>
                  <a:lnTo>
                    <a:pt x="125" y="168"/>
                  </a:lnTo>
                  <a:lnTo>
                    <a:pt x="127" y="181"/>
                  </a:lnTo>
                  <a:lnTo>
                    <a:pt x="131" y="193"/>
                  </a:lnTo>
                  <a:lnTo>
                    <a:pt x="134" y="204"/>
                  </a:lnTo>
                  <a:lnTo>
                    <a:pt x="138" y="208"/>
                  </a:lnTo>
                  <a:lnTo>
                    <a:pt x="140" y="212"/>
                  </a:lnTo>
                  <a:lnTo>
                    <a:pt x="143" y="213"/>
                  </a:lnTo>
                  <a:lnTo>
                    <a:pt x="146" y="214"/>
                  </a:lnTo>
                  <a:lnTo>
                    <a:pt x="146" y="301"/>
                  </a:lnTo>
                  <a:lnTo>
                    <a:pt x="133" y="301"/>
                  </a:lnTo>
                  <a:lnTo>
                    <a:pt x="131" y="314"/>
                  </a:lnTo>
                  <a:lnTo>
                    <a:pt x="125" y="332"/>
                  </a:lnTo>
                  <a:lnTo>
                    <a:pt x="122" y="341"/>
                  </a:lnTo>
                  <a:lnTo>
                    <a:pt x="119" y="348"/>
                  </a:lnTo>
                  <a:lnTo>
                    <a:pt x="116" y="352"/>
                  </a:lnTo>
                  <a:lnTo>
                    <a:pt x="113" y="355"/>
                  </a:lnTo>
                  <a:lnTo>
                    <a:pt x="113" y="374"/>
                  </a:lnTo>
                  <a:lnTo>
                    <a:pt x="111" y="375"/>
                  </a:lnTo>
                  <a:lnTo>
                    <a:pt x="110" y="375"/>
                  </a:lnTo>
                  <a:lnTo>
                    <a:pt x="107" y="377"/>
                  </a:lnTo>
                  <a:lnTo>
                    <a:pt x="107" y="378"/>
                  </a:lnTo>
                  <a:lnTo>
                    <a:pt x="106" y="383"/>
                  </a:lnTo>
                  <a:lnTo>
                    <a:pt x="106" y="387"/>
                  </a:lnTo>
                  <a:lnTo>
                    <a:pt x="79" y="414"/>
                  </a:lnTo>
                  <a:lnTo>
                    <a:pt x="79" y="427"/>
                  </a:lnTo>
                  <a:lnTo>
                    <a:pt x="73" y="434"/>
                  </a:lnTo>
                  <a:lnTo>
                    <a:pt x="68" y="435"/>
                  </a:lnTo>
                  <a:lnTo>
                    <a:pt x="64" y="438"/>
                  </a:lnTo>
                  <a:lnTo>
                    <a:pt x="60" y="443"/>
                  </a:lnTo>
                  <a:lnTo>
                    <a:pt x="59" y="447"/>
                  </a:lnTo>
                  <a:lnTo>
                    <a:pt x="57" y="448"/>
                  </a:lnTo>
                  <a:lnTo>
                    <a:pt x="55" y="450"/>
                  </a:lnTo>
                  <a:lnTo>
                    <a:pt x="53" y="452"/>
                  </a:lnTo>
                  <a:lnTo>
                    <a:pt x="50" y="455"/>
                  </a:lnTo>
                  <a:lnTo>
                    <a:pt x="47" y="462"/>
                  </a:lnTo>
                  <a:lnTo>
                    <a:pt x="46" y="467"/>
                  </a:lnTo>
                  <a:lnTo>
                    <a:pt x="33" y="467"/>
                  </a:lnTo>
                  <a:lnTo>
                    <a:pt x="33" y="481"/>
                  </a:lnTo>
                  <a:lnTo>
                    <a:pt x="28" y="482"/>
                  </a:lnTo>
                  <a:lnTo>
                    <a:pt x="24" y="485"/>
                  </a:lnTo>
                  <a:lnTo>
                    <a:pt x="20" y="490"/>
                  </a:lnTo>
                  <a:lnTo>
                    <a:pt x="19" y="494"/>
                  </a:lnTo>
                  <a:lnTo>
                    <a:pt x="9" y="504"/>
                  </a:lnTo>
                  <a:lnTo>
                    <a:pt x="0" y="514"/>
                  </a:lnTo>
                  <a:lnTo>
                    <a:pt x="0" y="588"/>
                  </a:lnTo>
                  <a:lnTo>
                    <a:pt x="2" y="590"/>
                  </a:lnTo>
                  <a:lnTo>
                    <a:pt x="7" y="597"/>
                  </a:lnTo>
                  <a:lnTo>
                    <a:pt x="11" y="607"/>
                  </a:lnTo>
                  <a:lnTo>
                    <a:pt x="16" y="618"/>
                  </a:lnTo>
                  <a:lnTo>
                    <a:pt x="23" y="640"/>
                  </a:lnTo>
                  <a:lnTo>
                    <a:pt x="26" y="654"/>
                  </a:lnTo>
                  <a:lnTo>
                    <a:pt x="33" y="662"/>
                  </a:lnTo>
                  <a:lnTo>
                    <a:pt x="39" y="670"/>
                  </a:lnTo>
                  <a:lnTo>
                    <a:pt x="47" y="681"/>
                  </a:lnTo>
                  <a:lnTo>
                    <a:pt x="53" y="687"/>
                  </a:lnTo>
                  <a:lnTo>
                    <a:pt x="53" y="707"/>
                  </a:lnTo>
                  <a:lnTo>
                    <a:pt x="60" y="714"/>
                  </a:lnTo>
                  <a:lnTo>
                    <a:pt x="68" y="724"/>
                  </a:lnTo>
                  <a:lnTo>
                    <a:pt x="73" y="729"/>
                  </a:lnTo>
                  <a:lnTo>
                    <a:pt x="76" y="734"/>
                  </a:lnTo>
                  <a:lnTo>
                    <a:pt x="78" y="737"/>
                  </a:lnTo>
                  <a:lnTo>
                    <a:pt x="79" y="741"/>
                  </a:lnTo>
                  <a:lnTo>
                    <a:pt x="82" y="741"/>
                  </a:lnTo>
                  <a:lnTo>
                    <a:pt x="85" y="743"/>
                  </a:lnTo>
                  <a:lnTo>
                    <a:pt x="87" y="745"/>
                  </a:lnTo>
                  <a:lnTo>
                    <a:pt x="88" y="749"/>
                  </a:lnTo>
                  <a:lnTo>
                    <a:pt x="92" y="755"/>
                  </a:lnTo>
                  <a:lnTo>
                    <a:pt x="93" y="761"/>
                  </a:lnTo>
                  <a:lnTo>
                    <a:pt x="98" y="765"/>
                  </a:lnTo>
                  <a:lnTo>
                    <a:pt x="105" y="773"/>
                  </a:lnTo>
                  <a:lnTo>
                    <a:pt x="112" y="784"/>
                  </a:lnTo>
                  <a:lnTo>
                    <a:pt x="119" y="797"/>
                  </a:lnTo>
                  <a:lnTo>
                    <a:pt x="124" y="810"/>
                  </a:lnTo>
                  <a:lnTo>
                    <a:pt x="129" y="823"/>
                  </a:lnTo>
                  <a:lnTo>
                    <a:pt x="132" y="837"/>
                  </a:lnTo>
                  <a:lnTo>
                    <a:pt x="133" y="847"/>
                  </a:lnTo>
                  <a:lnTo>
                    <a:pt x="177" y="9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6" name="Freeform 13"/>
            <p:cNvSpPr>
              <a:spLocks noChangeAspect="1"/>
            </p:cNvSpPr>
            <p:nvPr/>
          </p:nvSpPr>
          <p:spPr bwMode="gray">
            <a:xfrm rot="355651">
              <a:off x="6338110" y="3430588"/>
              <a:ext cx="637947" cy="438618"/>
            </a:xfrm>
            <a:custGeom>
              <a:avLst/>
              <a:gdLst/>
              <a:ahLst/>
              <a:cxnLst>
                <a:cxn ang="0">
                  <a:pos x="390" y="237"/>
                </a:cxn>
                <a:cxn ang="0">
                  <a:pos x="276" y="310"/>
                </a:cxn>
                <a:cxn ang="0">
                  <a:pos x="198" y="352"/>
                </a:cxn>
                <a:cxn ang="0">
                  <a:pos x="51" y="389"/>
                </a:cxn>
                <a:cxn ang="0">
                  <a:pos x="0" y="426"/>
                </a:cxn>
                <a:cxn ang="0">
                  <a:pos x="167" y="461"/>
                </a:cxn>
                <a:cxn ang="0">
                  <a:pos x="262" y="410"/>
                </a:cxn>
                <a:cxn ang="0">
                  <a:pos x="366" y="446"/>
                </a:cxn>
                <a:cxn ang="0">
                  <a:pos x="621" y="506"/>
                </a:cxn>
                <a:cxn ang="0">
                  <a:pos x="728" y="575"/>
                </a:cxn>
                <a:cxn ang="0">
                  <a:pos x="809" y="629"/>
                </a:cxn>
                <a:cxn ang="0">
                  <a:pos x="912" y="695"/>
                </a:cxn>
                <a:cxn ang="0">
                  <a:pos x="974" y="742"/>
                </a:cxn>
                <a:cxn ang="0">
                  <a:pos x="1027" y="1030"/>
                </a:cxn>
                <a:cxn ang="0">
                  <a:pos x="1126" y="974"/>
                </a:cxn>
                <a:cxn ang="0">
                  <a:pos x="1310" y="1136"/>
                </a:cxn>
                <a:cxn ang="0">
                  <a:pos x="1531" y="1391"/>
                </a:cxn>
                <a:cxn ang="0">
                  <a:pos x="1589" y="1471"/>
                </a:cxn>
                <a:cxn ang="0">
                  <a:pos x="1757" y="1567"/>
                </a:cxn>
                <a:cxn ang="0">
                  <a:pos x="1975" y="1607"/>
                </a:cxn>
                <a:cxn ang="0">
                  <a:pos x="2328" y="1649"/>
                </a:cxn>
                <a:cxn ang="0">
                  <a:pos x="2386" y="1751"/>
                </a:cxn>
                <a:cxn ang="0">
                  <a:pos x="2448" y="1891"/>
                </a:cxn>
                <a:cxn ang="0">
                  <a:pos x="2499" y="2015"/>
                </a:cxn>
                <a:cxn ang="0">
                  <a:pos x="2602" y="2099"/>
                </a:cxn>
                <a:cxn ang="0">
                  <a:pos x="2700" y="2226"/>
                </a:cxn>
                <a:cxn ang="0">
                  <a:pos x="2770" y="2371"/>
                </a:cxn>
                <a:cxn ang="0">
                  <a:pos x="2803" y="2449"/>
                </a:cxn>
                <a:cxn ang="0">
                  <a:pos x="2890" y="2510"/>
                </a:cxn>
                <a:cxn ang="0">
                  <a:pos x="3011" y="2564"/>
                </a:cxn>
                <a:cxn ang="0">
                  <a:pos x="3116" y="2588"/>
                </a:cxn>
                <a:cxn ang="0">
                  <a:pos x="3204" y="2650"/>
                </a:cxn>
                <a:cxn ang="0">
                  <a:pos x="3308" y="2704"/>
                </a:cxn>
                <a:cxn ang="0">
                  <a:pos x="3522" y="2627"/>
                </a:cxn>
                <a:cxn ang="0">
                  <a:pos x="3468" y="2531"/>
                </a:cxn>
                <a:cxn ang="0">
                  <a:pos x="3400" y="2388"/>
                </a:cxn>
                <a:cxn ang="0">
                  <a:pos x="3385" y="2176"/>
                </a:cxn>
                <a:cxn ang="0">
                  <a:pos x="3226" y="2130"/>
                </a:cxn>
                <a:cxn ang="0">
                  <a:pos x="2924" y="2134"/>
                </a:cxn>
                <a:cxn ang="0">
                  <a:pos x="2817" y="2025"/>
                </a:cxn>
                <a:cxn ang="0">
                  <a:pos x="2686" y="1894"/>
                </a:cxn>
                <a:cxn ang="0">
                  <a:pos x="2646" y="1654"/>
                </a:cxn>
                <a:cxn ang="0">
                  <a:pos x="2558" y="1522"/>
                </a:cxn>
                <a:cxn ang="0">
                  <a:pos x="2489" y="1168"/>
                </a:cxn>
                <a:cxn ang="0">
                  <a:pos x="2428" y="1090"/>
                </a:cxn>
                <a:cxn ang="0">
                  <a:pos x="2386" y="879"/>
                </a:cxn>
                <a:cxn ang="0">
                  <a:pos x="2189" y="842"/>
                </a:cxn>
                <a:cxn ang="0">
                  <a:pos x="2076" y="899"/>
                </a:cxn>
                <a:cxn ang="0">
                  <a:pos x="1914" y="854"/>
                </a:cxn>
                <a:cxn ang="0">
                  <a:pos x="1702" y="748"/>
                </a:cxn>
                <a:cxn ang="0">
                  <a:pos x="1586" y="706"/>
                </a:cxn>
                <a:cxn ang="0">
                  <a:pos x="1529" y="669"/>
                </a:cxn>
                <a:cxn ang="0">
                  <a:pos x="1468" y="634"/>
                </a:cxn>
                <a:cxn ang="0">
                  <a:pos x="1315" y="567"/>
                </a:cxn>
                <a:cxn ang="0">
                  <a:pos x="1193" y="497"/>
                </a:cxn>
                <a:cxn ang="0">
                  <a:pos x="1142" y="347"/>
                </a:cxn>
                <a:cxn ang="0">
                  <a:pos x="1121" y="180"/>
                </a:cxn>
                <a:cxn ang="0">
                  <a:pos x="1024" y="84"/>
                </a:cxn>
                <a:cxn ang="0">
                  <a:pos x="974" y="29"/>
                </a:cxn>
                <a:cxn ang="0">
                  <a:pos x="917" y="3"/>
                </a:cxn>
                <a:cxn ang="0">
                  <a:pos x="656" y="32"/>
                </a:cxn>
                <a:cxn ang="0">
                  <a:pos x="537" y="78"/>
                </a:cxn>
              </a:cxnLst>
              <a:rect l="0" t="0" r="r" b="b"/>
              <a:pathLst>
                <a:path w="3522" h="2714">
                  <a:moveTo>
                    <a:pt x="432" y="122"/>
                  </a:moveTo>
                  <a:lnTo>
                    <a:pt x="416" y="134"/>
                  </a:lnTo>
                  <a:lnTo>
                    <a:pt x="408" y="140"/>
                  </a:lnTo>
                  <a:lnTo>
                    <a:pt x="406" y="142"/>
                  </a:lnTo>
                  <a:lnTo>
                    <a:pt x="404" y="147"/>
                  </a:lnTo>
                  <a:lnTo>
                    <a:pt x="404" y="151"/>
                  </a:lnTo>
                  <a:lnTo>
                    <a:pt x="404" y="158"/>
                  </a:lnTo>
                  <a:lnTo>
                    <a:pt x="401" y="159"/>
                  </a:lnTo>
                  <a:lnTo>
                    <a:pt x="400" y="164"/>
                  </a:lnTo>
                  <a:lnTo>
                    <a:pt x="399" y="170"/>
                  </a:lnTo>
                  <a:lnTo>
                    <a:pt x="398" y="177"/>
                  </a:lnTo>
                  <a:lnTo>
                    <a:pt x="397" y="192"/>
                  </a:lnTo>
                  <a:lnTo>
                    <a:pt x="397" y="202"/>
                  </a:lnTo>
                  <a:lnTo>
                    <a:pt x="394" y="203"/>
                  </a:lnTo>
                  <a:lnTo>
                    <a:pt x="392" y="206"/>
                  </a:lnTo>
                  <a:lnTo>
                    <a:pt x="391" y="211"/>
                  </a:lnTo>
                  <a:lnTo>
                    <a:pt x="390" y="216"/>
                  </a:lnTo>
                  <a:lnTo>
                    <a:pt x="390" y="228"/>
                  </a:lnTo>
                  <a:lnTo>
                    <a:pt x="390" y="237"/>
                  </a:lnTo>
                  <a:lnTo>
                    <a:pt x="383" y="244"/>
                  </a:lnTo>
                  <a:lnTo>
                    <a:pt x="368" y="260"/>
                  </a:lnTo>
                  <a:lnTo>
                    <a:pt x="360" y="269"/>
                  </a:lnTo>
                  <a:lnTo>
                    <a:pt x="353" y="276"/>
                  </a:lnTo>
                  <a:lnTo>
                    <a:pt x="349" y="283"/>
                  </a:lnTo>
                  <a:lnTo>
                    <a:pt x="346" y="288"/>
                  </a:lnTo>
                  <a:lnTo>
                    <a:pt x="341" y="288"/>
                  </a:lnTo>
                  <a:lnTo>
                    <a:pt x="336" y="289"/>
                  </a:lnTo>
                  <a:lnTo>
                    <a:pt x="334" y="290"/>
                  </a:lnTo>
                  <a:lnTo>
                    <a:pt x="333" y="291"/>
                  </a:lnTo>
                  <a:lnTo>
                    <a:pt x="332" y="293"/>
                  </a:lnTo>
                  <a:lnTo>
                    <a:pt x="332" y="295"/>
                  </a:lnTo>
                  <a:lnTo>
                    <a:pt x="288" y="295"/>
                  </a:lnTo>
                  <a:lnTo>
                    <a:pt x="282" y="302"/>
                  </a:lnTo>
                  <a:lnTo>
                    <a:pt x="282" y="307"/>
                  </a:lnTo>
                  <a:lnTo>
                    <a:pt x="281" y="309"/>
                  </a:lnTo>
                  <a:lnTo>
                    <a:pt x="279" y="309"/>
                  </a:lnTo>
                  <a:lnTo>
                    <a:pt x="278" y="310"/>
                  </a:lnTo>
                  <a:lnTo>
                    <a:pt x="276" y="310"/>
                  </a:lnTo>
                  <a:lnTo>
                    <a:pt x="275" y="310"/>
                  </a:lnTo>
                  <a:lnTo>
                    <a:pt x="275" y="312"/>
                  </a:lnTo>
                  <a:lnTo>
                    <a:pt x="274" y="317"/>
                  </a:lnTo>
                  <a:lnTo>
                    <a:pt x="259" y="317"/>
                  </a:lnTo>
                  <a:lnTo>
                    <a:pt x="253" y="324"/>
                  </a:lnTo>
                  <a:lnTo>
                    <a:pt x="253" y="328"/>
                  </a:lnTo>
                  <a:lnTo>
                    <a:pt x="252" y="330"/>
                  </a:lnTo>
                  <a:lnTo>
                    <a:pt x="250" y="331"/>
                  </a:lnTo>
                  <a:lnTo>
                    <a:pt x="249" y="331"/>
                  </a:lnTo>
                  <a:lnTo>
                    <a:pt x="248" y="331"/>
                  </a:lnTo>
                  <a:lnTo>
                    <a:pt x="247" y="332"/>
                  </a:lnTo>
                  <a:lnTo>
                    <a:pt x="246" y="334"/>
                  </a:lnTo>
                  <a:lnTo>
                    <a:pt x="246" y="338"/>
                  </a:lnTo>
                  <a:lnTo>
                    <a:pt x="231" y="338"/>
                  </a:lnTo>
                  <a:lnTo>
                    <a:pt x="230" y="342"/>
                  </a:lnTo>
                  <a:lnTo>
                    <a:pt x="227" y="346"/>
                  </a:lnTo>
                  <a:lnTo>
                    <a:pt x="221" y="348"/>
                  </a:lnTo>
                  <a:lnTo>
                    <a:pt x="215" y="350"/>
                  </a:lnTo>
                  <a:lnTo>
                    <a:pt x="198" y="352"/>
                  </a:lnTo>
                  <a:lnTo>
                    <a:pt x="179" y="353"/>
                  </a:lnTo>
                  <a:lnTo>
                    <a:pt x="140" y="353"/>
                  </a:lnTo>
                  <a:lnTo>
                    <a:pt x="115" y="352"/>
                  </a:lnTo>
                  <a:lnTo>
                    <a:pt x="114" y="356"/>
                  </a:lnTo>
                  <a:lnTo>
                    <a:pt x="111" y="358"/>
                  </a:lnTo>
                  <a:lnTo>
                    <a:pt x="106" y="360"/>
                  </a:lnTo>
                  <a:lnTo>
                    <a:pt x="101" y="362"/>
                  </a:lnTo>
                  <a:lnTo>
                    <a:pt x="89" y="366"/>
                  </a:lnTo>
                  <a:lnTo>
                    <a:pt x="80" y="367"/>
                  </a:lnTo>
                  <a:lnTo>
                    <a:pt x="78" y="369"/>
                  </a:lnTo>
                  <a:lnTo>
                    <a:pt x="75" y="371"/>
                  </a:lnTo>
                  <a:lnTo>
                    <a:pt x="71" y="373"/>
                  </a:lnTo>
                  <a:lnTo>
                    <a:pt x="65" y="376"/>
                  </a:lnTo>
                  <a:lnTo>
                    <a:pt x="60" y="378"/>
                  </a:lnTo>
                  <a:lnTo>
                    <a:pt x="55" y="380"/>
                  </a:lnTo>
                  <a:lnTo>
                    <a:pt x="54" y="382"/>
                  </a:lnTo>
                  <a:lnTo>
                    <a:pt x="52" y="384"/>
                  </a:lnTo>
                  <a:lnTo>
                    <a:pt x="52" y="386"/>
                  </a:lnTo>
                  <a:lnTo>
                    <a:pt x="51" y="389"/>
                  </a:lnTo>
                  <a:lnTo>
                    <a:pt x="43" y="389"/>
                  </a:lnTo>
                  <a:lnTo>
                    <a:pt x="37" y="390"/>
                  </a:lnTo>
                  <a:lnTo>
                    <a:pt x="35" y="391"/>
                  </a:lnTo>
                  <a:lnTo>
                    <a:pt x="35" y="392"/>
                  </a:lnTo>
                  <a:lnTo>
                    <a:pt x="35" y="394"/>
                  </a:lnTo>
                  <a:lnTo>
                    <a:pt x="35" y="395"/>
                  </a:lnTo>
                  <a:lnTo>
                    <a:pt x="33" y="396"/>
                  </a:lnTo>
                  <a:lnTo>
                    <a:pt x="29" y="396"/>
                  </a:lnTo>
                  <a:lnTo>
                    <a:pt x="29" y="400"/>
                  </a:lnTo>
                  <a:lnTo>
                    <a:pt x="28" y="402"/>
                  </a:lnTo>
                  <a:lnTo>
                    <a:pt x="27" y="402"/>
                  </a:lnTo>
                  <a:lnTo>
                    <a:pt x="26" y="404"/>
                  </a:lnTo>
                  <a:lnTo>
                    <a:pt x="24" y="404"/>
                  </a:lnTo>
                  <a:lnTo>
                    <a:pt x="23" y="404"/>
                  </a:lnTo>
                  <a:lnTo>
                    <a:pt x="23" y="406"/>
                  </a:lnTo>
                  <a:lnTo>
                    <a:pt x="22" y="410"/>
                  </a:lnTo>
                  <a:lnTo>
                    <a:pt x="8" y="410"/>
                  </a:lnTo>
                  <a:lnTo>
                    <a:pt x="0" y="417"/>
                  </a:lnTo>
                  <a:lnTo>
                    <a:pt x="0" y="426"/>
                  </a:lnTo>
                  <a:lnTo>
                    <a:pt x="0" y="439"/>
                  </a:lnTo>
                  <a:lnTo>
                    <a:pt x="0" y="452"/>
                  </a:lnTo>
                  <a:lnTo>
                    <a:pt x="0" y="461"/>
                  </a:lnTo>
                  <a:lnTo>
                    <a:pt x="12" y="464"/>
                  </a:lnTo>
                  <a:lnTo>
                    <a:pt x="22" y="468"/>
                  </a:lnTo>
                  <a:lnTo>
                    <a:pt x="23" y="469"/>
                  </a:lnTo>
                  <a:lnTo>
                    <a:pt x="26" y="471"/>
                  </a:lnTo>
                  <a:lnTo>
                    <a:pt x="30" y="472"/>
                  </a:lnTo>
                  <a:lnTo>
                    <a:pt x="36" y="472"/>
                  </a:lnTo>
                  <a:lnTo>
                    <a:pt x="51" y="474"/>
                  </a:lnTo>
                  <a:lnTo>
                    <a:pt x="67" y="474"/>
                  </a:lnTo>
                  <a:lnTo>
                    <a:pt x="101" y="475"/>
                  </a:lnTo>
                  <a:lnTo>
                    <a:pt x="123" y="475"/>
                  </a:lnTo>
                  <a:lnTo>
                    <a:pt x="124" y="473"/>
                  </a:lnTo>
                  <a:lnTo>
                    <a:pt x="129" y="469"/>
                  </a:lnTo>
                  <a:lnTo>
                    <a:pt x="134" y="467"/>
                  </a:lnTo>
                  <a:lnTo>
                    <a:pt x="142" y="465"/>
                  </a:lnTo>
                  <a:lnTo>
                    <a:pt x="157" y="462"/>
                  </a:lnTo>
                  <a:lnTo>
                    <a:pt x="167" y="461"/>
                  </a:lnTo>
                  <a:lnTo>
                    <a:pt x="167" y="458"/>
                  </a:lnTo>
                  <a:lnTo>
                    <a:pt x="168" y="456"/>
                  </a:lnTo>
                  <a:lnTo>
                    <a:pt x="169" y="455"/>
                  </a:lnTo>
                  <a:lnTo>
                    <a:pt x="171" y="455"/>
                  </a:lnTo>
                  <a:lnTo>
                    <a:pt x="176" y="454"/>
                  </a:lnTo>
                  <a:lnTo>
                    <a:pt x="180" y="454"/>
                  </a:lnTo>
                  <a:lnTo>
                    <a:pt x="195" y="439"/>
                  </a:lnTo>
                  <a:lnTo>
                    <a:pt x="202" y="438"/>
                  </a:lnTo>
                  <a:lnTo>
                    <a:pt x="210" y="437"/>
                  </a:lnTo>
                  <a:lnTo>
                    <a:pt x="217" y="435"/>
                  </a:lnTo>
                  <a:lnTo>
                    <a:pt x="224" y="432"/>
                  </a:lnTo>
                  <a:lnTo>
                    <a:pt x="230" y="429"/>
                  </a:lnTo>
                  <a:lnTo>
                    <a:pt x="238" y="427"/>
                  </a:lnTo>
                  <a:lnTo>
                    <a:pt x="245" y="425"/>
                  </a:lnTo>
                  <a:lnTo>
                    <a:pt x="253" y="425"/>
                  </a:lnTo>
                  <a:lnTo>
                    <a:pt x="259" y="417"/>
                  </a:lnTo>
                  <a:lnTo>
                    <a:pt x="260" y="414"/>
                  </a:lnTo>
                  <a:lnTo>
                    <a:pt x="260" y="411"/>
                  </a:lnTo>
                  <a:lnTo>
                    <a:pt x="262" y="410"/>
                  </a:lnTo>
                  <a:lnTo>
                    <a:pt x="264" y="410"/>
                  </a:lnTo>
                  <a:lnTo>
                    <a:pt x="265" y="410"/>
                  </a:lnTo>
                  <a:lnTo>
                    <a:pt x="266" y="409"/>
                  </a:lnTo>
                  <a:lnTo>
                    <a:pt x="267" y="407"/>
                  </a:lnTo>
                  <a:lnTo>
                    <a:pt x="267" y="404"/>
                  </a:lnTo>
                  <a:lnTo>
                    <a:pt x="325" y="404"/>
                  </a:lnTo>
                  <a:lnTo>
                    <a:pt x="325" y="406"/>
                  </a:lnTo>
                  <a:lnTo>
                    <a:pt x="326" y="407"/>
                  </a:lnTo>
                  <a:lnTo>
                    <a:pt x="327" y="408"/>
                  </a:lnTo>
                  <a:lnTo>
                    <a:pt x="330" y="409"/>
                  </a:lnTo>
                  <a:lnTo>
                    <a:pt x="334" y="410"/>
                  </a:lnTo>
                  <a:lnTo>
                    <a:pt x="339" y="410"/>
                  </a:lnTo>
                  <a:lnTo>
                    <a:pt x="340" y="416"/>
                  </a:lnTo>
                  <a:lnTo>
                    <a:pt x="341" y="421"/>
                  </a:lnTo>
                  <a:lnTo>
                    <a:pt x="343" y="426"/>
                  </a:lnTo>
                  <a:lnTo>
                    <a:pt x="346" y="432"/>
                  </a:lnTo>
                  <a:lnTo>
                    <a:pt x="351" y="439"/>
                  </a:lnTo>
                  <a:lnTo>
                    <a:pt x="353" y="446"/>
                  </a:lnTo>
                  <a:lnTo>
                    <a:pt x="366" y="446"/>
                  </a:lnTo>
                  <a:lnTo>
                    <a:pt x="368" y="450"/>
                  </a:lnTo>
                  <a:lnTo>
                    <a:pt x="368" y="453"/>
                  </a:lnTo>
                  <a:lnTo>
                    <a:pt x="369" y="454"/>
                  </a:lnTo>
                  <a:lnTo>
                    <a:pt x="371" y="454"/>
                  </a:lnTo>
                  <a:lnTo>
                    <a:pt x="372" y="454"/>
                  </a:lnTo>
                  <a:lnTo>
                    <a:pt x="373" y="454"/>
                  </a:lnTo>
                  <a:lnTo>
                    <a:pt x="374" y="456"/>
                  </a:lnTo>
                  <a:lnTo>
                    <a:pt x="374" y="461"/>
                  </a:lnTo>
                  <a:lnTo>
                    <a:pt x="498" y="461"/>
                  </a:lnTo>
                  <a:lnTo>
                    <a:pt x="519" y="461"/>
                  </a:lnTo>
                  <a:lnTo>
                    <a:pt x="534" y="475"/>
                  </a:lnTo>
                  <a:lnTo>
                    <a:pt x="555" y="475"/>
                  </a:lnTo>
                  <a:lnTo>
                    <a:pt x="570" y="490"/>
                  </a:lnTo>
                  <a:lnTo>
                    <a:pt x="584" y="490"/>
                  </a:lnTo>
                  <a:lnTo>
                    <a:pt x="589" y="492"/>
                  </a:lnTo>
                  <a:lnTo>
                    <a:pt x="600" y="496"/>
                  </a:lnTo>
                  <a:lnTo>
                    <a:pt x="611" y="502"/>
                  </a:lnTo>
                  <a:lnTo>
                    <a:pt x="620" y="504"/>
                  </a:lnTo>
                  <a:lnTo>
                    <a:pt x="621" y="506"/>
                  </a:lnTo>
                  <a:lnTo>
                    <a:pt x="622" y="509"/>
                  </a:lnTo>
                  <a:lnTo>
                    <a:pt x="624" y="510"/>
                  </a:lnTo>
                  <a:lnTo>
                    <a:pt x="628" y="512"/>
                  </a:lnTo>
                  <a:lnTo>
                    <a:pt x="630" y="514"/>
                  </a:lnTo>
                  <a:lnTo>
                    <a:pt x="632" y="517"/>
                  </a:lnTo>
                  <a:lnTo>
                    <a:pt x="634" y="521"/>
                  </a:lnTo>
                  <a:lnTo>
                    <a:pt x="634" y="525"/>
                  </a:lnTo>
                  <a:lnTo>
                    <a:pt x="647" y="530"/>
                  </a:lnTo>
                  <a:lnTo>
                    <a:pt x="663" y="533"/>
                  </a:lnTo>
                  <a:lnTo>
                    <a:pt x="670" y="548"/>
                  </a:lnTo>
                  <a:lnTo>
                    <a:pt x="677" y="548"/>
                  </a:lnTo>
                  <a:lnTo>
                    <a:pt x="684" y="550"/>
                  </a:lnTo>
                  <a:lnTo>
                    <a:pt x="690" y="552"/>
                  </a:lnTo>
                  <a:lnTo>
                    <a:pt x="698" y="557"/>
                  </a:lnTo>
                  <a:lnTo>
                    <a:pt x="704" y="561"/>
                  </a:lnTo>
                  <a:lnTo>
                    <a:pt x="709" y="565"/>
                  </a:lnTo>
                  <a:lnTo>
                    <a:pt x="713" y="571"/>
                  </a:lnTo>
                  <a:lnTo>
                    <a:pt x="714" y="575"/>
                  </a:lnTo>
                  <a:lnTo>
                    <a:pt x="728" y="575"/>
                  </a:lnTo>
                  <a:lnTo>
                    <a:pt x="736" y="590"/>
                  </a:lnTo>
                  <a:lnTo>
                    <a:pt x="743" y="598"/>
                  </a:lnTo>
                  <a:lnTo>
                    <a:pt x="749" y="599"/>
                  </a:lnTo>
                  <a:lnTo>
                    <a:pt x="756" y="602"/>
                  </a:lnTo>
                  <a:lnTo>
                    <a:pt x="759" y="605"/>
                  </a:lnTo>
                  <a:lnTo>
                    <a:pt x="762" y="607"/>
                  </a:lnTo>
                  <a:lnTo>
                    <a:pt x="764" y="609"/>
                  </a:lnTo>
                  <a:lnTo>
                    <a:pt x="764" y="612"/>
                  </a:lnTo>
                  <a:lnTo>
                    <a:pt x="778" y="612"/>
                  </a:lnTo>
                  <a:lnTo>
                    <a:pt x="780" y="616"/>
                  </a:lnTo>
                  <a:lnTo>
                    <a:pt x="780" y="618"/>
                  </a:lnTo>
                  <a:lnTo>
                    <a:pt x="781" y="619"/>
                  </a:lnTo>
                  <a:lnTo>
                    <a:pt x="782" y="619"/>
                  </a:lnTo>
                  <a:lnTo>
                    <a:pt x="784" y="619"/>
                  </a:lnTo>
                  <a:lnTo>
                    <a:pt x="785" y="620"/>
                  </a:lnTo>
                  <a:lnTo>
                    <a:pt x="785" y="622"/>
                  </a:lnTo>
                  <a:lnTo>
                    <a:pt x="786" y="627"/>
                  </a:lnTo>
                  <a:lnTo>
                    <a:pt x="807" y="627"/>
                  </a:lnTo>
                  <a:lnTo>
                    <a:pt x="809" y="629"/>
                  </a:lnTo>
                  <a:lnTo>
                    <a:pt x="812" y="631"/>
                  </a:lnTo>
                  <a:lnTo>
                    <a:pt x="817" y="635"/>
                  </a:lnTo>
                  <a:lnTo>
                    <a:pt x="823" y="637"/>
                  </a:lnTo>
                  <a:lnTo>
                    <a:pt x="835" y="639"/>
                  </a:lnTo>
                  <a:lnTo>
                    <a:pt x="843" y="641"/>
                  </a:lnTo>
                  <a:lnTo>
                    <a:pt x="844" y="644"/>
                  </a:lnTo>
                  <a:lnTo>
                    <a:pt x="845" y="646"/>
                  </a:lnTo>
                  <a:lnTo>
                    <a:pt x="849" y="649"/>
                  </a:lnTo>
                  <a:lnTo>
                    <a:pt x="851" y="651"/>
                  </a:lnTo>
                  <a:lnTo>
                    <a:pt x="860" y="657"/>
                  </a:lnTo>
                  <a:lnTo>
                    <a:pt x="869" y="663"/>
                  </a:lnTo>
                  <a:lnTo>
                    <a:pt x="878" y="668"/>
                  </a:lnTo>
                  <a:lnTo>
                    <a:pt x="886" y="674"/>
                  </a:lnTo>
                  <a:lnTo>
                    <a:pt x="889" y="676"/>
                  </a:lnTo>
                  <a:lnTo>
                    <a:pt x="892" y="678"/>
                  </a:lnTo>
                  <a:lnTo>
                    <a:pt x="893" y="682"/>
                  </a:lnTo>
                  <a:lnTo>
                    <a:pt x="895" y="684"/>
                  </a:lnTo>
                  <a:lnTo>
                    <a:pt x="901" y="692"/>
                  </a:lnTo>
                  <a:lnTo>
                    <a:pt x="912" y="695"/>
                  </a:lnTo>
                  <a:lnTo>
                    <a:pt x="922" y="698"/>
                  </a:lnTo>
                  <a:lnTo>
                    <a:pt x="924" y="702"/>
                  </a:lnTo>
                  <a:lnTo>
                    <a:pt x="925" y="705"/>
                  </a:lnTo>
                  <a:lnTo>
                    <a:pt x="928" y="708"/>
                  </a:lnTo>
                  <a:lnTo>
                    <a:pt x="931" y="712"/>
                  </a:lnTo>
                  <a:lnTo>
                    <a:pt x="935" y="715"/>
                  </a:lnTo>
                  <a:lnTo>
                    <a:pt x="938" y="717"/>
                  </a:lnTo>
                  <a:lnTo>
                    <a:pt x="941" y="719"/>
                  </a:lnTo>
                  <a:lnTo>
                    <a:pt x="945" y="721"/>
                  </a:lnTo>
                  <a:lnTo>
                    <a:pt x="951" y="727"/>
                  </a:lnTo>
                  <a:lnTo>
                    <a:pt x="951" y="732"/>
                  </a:lnTo>
                  <a:lnTo>
                    <a:pt x="953" y="734"/>
                  </a:lnTo>
                  <a:lnTo>
                    <a:pt x="954" y="734"/>
                  </a:lnTo>
                  <a:lnTo>
                    <a:pt x="955" y="734"/>
                  </a:lnTo>
                  <a:lnTo>
                    <a:pt x="957" y="735"/>
                  </a:lnTo>
                  <a:lnTo>
                    <a:pt x="958" y="735"/>
                  </a:lnTo>
                  <a:lnTo>
                    <a:pt x="958" y="737"/>
                  </a:lnTo>
                  <a:lnTo>
                    <a:pt x="959" y="742"/>
                  </a:lnTo>
                  <a:lnTo>
                    <a:pt x="974" y="742"/>
                  </a:lnTo>
                  <a:lnTo>
                    <a:pt x="980" y="748"/>
                  </a:lnTo>
                  <a:lnTo>
                    <a:pt x="987" y="756"/>
                  </a:lnTo>
                  <a:lnTo>
                    <a:pt x="989" y="763"/>
                  </a:lnTo>
                  <a:lnTo>
                    <a:pt x="992" y="770"/>
                  </a:lnTo>
                  <a:lnTo>
                    <a:pt x="994" y="773"/>
                  </a:lnTo>
                  <a:lnTo>
                    <a:pt x="997" y="775"/>
                  </a:lnTo>
                  <a:lnTo>
                    <a:pt x="999" y="777"/>
                  </a:lnTo>
                  <a:lnTo>
                    <a:pt x="1002" y="777"/>
                  </a:lnTo>
                  <a:lnTo>
                    <a:pt x="1009" y="792"/>
                  </a:lnTo>
                  <a:lnTo>
                    <a:pt x="1009" y="820"/>
                  </a:lnTo>
                  <a:lnTo>
                    <a:pt x="1009" y="849"/>
                  </a:lnTo>
                  <a:lnTo>
                    <a:pt x="1009" y="878"/>
                  </a:lnTo>
                  <a:lnTo>
                    <a:pt x="1009" y="907"/>
                  </a:lnTo>
                  <a:lnTo>
                    <a:pt x="1009" y="937"/>
                  </a:lnTo>
                  <a:lnTo>
                    <a:pt x="1009" y="966"/>
                  </a:lnTo>
                  <a:lnTo>
                    <a:pt x="1009" y="995"/>
                  </a:lnTo>
                  <a:lnTo>
                    <a:pt x="1009" y="1023"/>
                  </a:lnTo>
                  <a:lnTo>
                    <a:pt x="1016" y="1030"/>
                  </a:lnTo>
                  <a:lnTo>
                    <a:pt x="1027" y="1030"/>
                  </a:lnTo>
                  <a:lnTo>
                    <a:pt x="1039" y="1030"/>
                  </a:lnTo>
                  <a:lnTo>
                    <a:pt x="1039" y="1015"/>
                  </a:lnTo>
                  <a:lnTo>
                    <a:pt x="1045" y="1009"/>
                  </a:lnTo>
                  <a:lnTo>
                    <a:pt x="1051" y="1007"/>
                  </a:lnTo>
                  <a:lnTo>
                    <a:pt x="1055" y="1004"/>
                  </a:lnTo>
                  <a:lnTo>
                    <a:pt x="1059" y="1000"/>
                  </a:lnTo>
                  <a:lnTo>
                    <a:pt x="1060" y="994"/>
                  </a:lnTo>
                  <a:lnTo>
                    <a:pt x="1074" y="994"/>
                  </a:lnTo>
                  <a:lnTo>
                    <a:pt x="1074" y="992"/>
                  </a:lnTo>
                  <a:lnTo>
                    <a:pt x="1075" y="990"/>
                  </a:lnTo>
                  <a:lnTo>
                    <a:pt x="1076" y="987"/>
                  </a:lnTo>
                  <a:lnTo>
                    <a:pt x="1079" y="985"/>
                  </a:lnTo>
                  <a:lnTo>
                    <a:pt x="1084" y="983"/>
                  </a:lnTo>
                  <a:lnTo>
                    <a:pt x="1090" y="982"/>
                  </a:lnTo>
                  <a:lnTo>
                    <a:pt x="1104" y="979"/>
                  </a:lnTo>
                  <a:lnTo>
                    <a:pt x="1118" y="979"/>
                  </a:lnTo>
                  <a:lnTo>
                    <a:pt x="1119" y="977"/>
                  </a:lnTo>
                  <a:lnTo>
                    <a:pt x="1121" y="975"/>
                  </a:lnTo>
                  <a:lnTo>
                    <a:pt x="1126" y="974"/>
                  </a:lnTo>
                  <a:lnTo>
                    <a:pt x="1132" y="974"/>
                  </a:lnTo>
                  <a:lnTo>
                    <a:pt x="1147" y="973"/>
                  </a:lnTo>
                  <a:lnTo>
                    <a:pt x="1165" y="974"/>
                  </a:lnTo>
                  <a:lnTo>
                    <a:pt x="1196" y="977"/>
                  </a:lnTo>
                  <a:lnTo>
                    <a:pt x="1212" y="979"/>
                  </a:lnTo>
                  <a:lnTo>
                    <a:pt x="1212" y="982"/>
                  </a:lnTo>
                  <a:lnTo>
                    <a:pt x="1214" y="985"/>
                  </a:lnTo>
                  <a:lnTo>
                    <a:pt x="1216" y="987"/>
                  </a:lnTo>
                  <a:lnTo>
                    <a:pt x="1218" y="990"/>
                  </a:lnTo>
                  <a:lnTo>
                    <a:pt x="1223" y="993"/>
                  </a:lnTo>
                  <a:lnTo>
                    <a:pt x="1225" y="994"/>
                  </a:lnTo>
                  <a:lnTo>
                    <a:pt x="1225" y="1009"/>
                  </a:lnTo>
                  <a:lnTo>
                    <a:pt x="1239" y="1009"/>
                  </a:lnTo>
                  <a:lnTo>
                    <a:pt x="1239" y="1023"/>
                  </a:lnTo>
                  <a:lnTo>
                    <a:pt x="1239" y="1038"/>
                  </a:lnTo>
                  <a:lnTo>
                    <a:pt x="1254" y="1131"/>
                  </a:lnTo>
                  <a:lnTo>
                    <a:pt x="1262" y="1138"/>
                  </a:lnTo>
                  <a:lnTo>
                    <a:pt x="1286" y="1137"/>
                  </a:lnTo>
                  <a:lnTo>
                    <a:pt x="1310" y="1136"/>
                  </a:lnTo>
                  <a:lnTo>
                    <a:pt x="1334" y="1134"/>
                  </a:lnTo>
                  <a:lnTo>
                    <a:pt x="1359" y="1131"/>
                  </a:lnTo>
                  <a:lnTo>
                    <a:pt x="1383" y="1128"/>
                  </a:lnTo>
                  <a:lnTo>
                    <a:pt x="1407" y="1126"/>
                  </a:lnTo>
                  <a:lnTo>
                    <a:pt x="1431" y="1125"/>
                  </a:lnTo>
                  <a:lnTo>
                    <a:pt x="1456" y="1123"/>
                  </a:lnTo>
                  <a:lnTo>
                    <a:pt x="1457" y="1127"/>
                  </a:lnTo>
                  <a:lnTo>
                    <a:pt x="1460" y="1130"/>
                  </a:lnTo>
                  <a:lnTo>
                    <a:pt x="1466" y="1134"/>
                  </a:lnTo>
                  <a:lnTo>
                    <a:pt x="1472" y="1137"/>
                  </a:lnTo>
                  <a:lnTo>
                    <a:pt x="1484" y="1142"/>
                  </a:lnTo>
                  <a:lnTo>
                    <a:pt x="1492" y="1145"/>
                  </a:lnTo>
                  <a:lnTo>
                    <a:pt x="1500" y="1152"/>
                  </a:lnTo>
                  <a:lnTo>
                    <a:pt x="1501" y="1190"/>
                  </a:lnTo>
                  <a:lnTo>
                    <a:pt x="1503" y="1227"/>
                  </a:lnTo>
                  <a:lnTo>
                    <a:pt x="1505" y="1263"/>
                  </a:lnTo>
                  <a:lnTo>
                    <a:pt x="1506" y="1296"/>
                  </a:lnTo>
                  <a:lnTo>
                    <a:pt x="1529" y="1390"/>
                  </a:lnTo>
                  <a:lnTo>
                    <a:pt x="1531" y="1391"/>
                  </a:lnTo>
                  <a:lnTo>
                    <a:pt x="1533" y="1394"/>
                  </a:lnTo>
                  <a:lnTo>
                    <a:pt x="1536" y="1397"/>
                  </a:lnTo>
                  <a:lnTo>
                    <a:pt x="1538" y="1401"/>
                  </a:lnTo>
                  <a:lnTo>
                    <a:pt x="1541" y="1411"/>
                  </a:lnTo>
                  <a:lnTo>
                    <a:pt x="1543" y="1419"/>
                  </a:lnTo>
                  <a:lnTo>
                    <a:pt x="1550" y="1426"/>
                  </a:lnTo>
                  <a:lnTo>
                    <a:pt x="1556" y="1434"/>
                  </a:lnTo>
                  <a:lnTo>
                    <a:pt x="1564" y="1440"/>
                  </a:lnTo>
                  <a:lnTo>
                    <a:pt x="1571" y="1448"/>
                  </a:lnTo>
                  <a:lnTo>
                    <a:pt x="1575" y="1448"/>
                  </a:lnTo>
                  <a:lnTo>
                    <a:pt x="1578" y="1449"/>
                  </a:lnTo>
                  <a:lnTo>
                    <a:pt x="1579" y="1450"/>
                  </a:lnTo>
                  <a:lnTo>
                    <a:pt x="1579" y="1452"/>
                  </a:lnTo>
                  <a:lnTo>
                    <a:pt x="1579" y="1453"/>
                  </a:lnTo>
                  <a:lnTo>
                    <a:pt x="1580" y="1454"/>
                  </a:lnTo>
                  <a:lnTo>
                    <a:pt x="1582" y="1455"/>
                  </a:lnTo>
                  <a:lnTo>
                    <a:pt x="1586" y="1455"/>
                  </a:lnTo>
                  <a:lnTo>
                    <a:pt x="1586" y="1469"/>
                  </a:lnTo>
                  <a:lnTo>
                    <a:pt x="1589" y="1471"/>
                  </a:lnTo>
                  <a:lnTo>
                    <a:pt x="1592" y="1474"/>
                  </a:lnTo>
                  <a:lnTo>
                    <a:pt x="1596" y="1478"/>
                  </a:lnTo>
                  <a:lnTo>
                    <a:pt x="1599" y="1485"/>
                  </a:lnTo>
                  <a:lnTo>
                    <a:pt x="1604" y="1496"/>
                  </a:lnTo>
                  <a:lnTo>
                    <a:pt x="1608" y="1505"/>
                  </a:lnTo>
                  <a:lnTo>
                    <a:pt x="1611" y="1507"/>
                  </a:lnTo>
                  <a:lnTo>
                    <a:pt x="1615" y="1511"/>
                  </a:lnTo>
                  <a:lnTo>
                    <a:pt x="1620" y="1516"/>
                  </a:lnTo>
                  <a:lnTo>
                    <a:pt x="1625" y="1523"/>
                  </a:lnTo>
                  <a:lnTo>
                    <a:pt x="1632" y="1535"/>
                  </a:lnTo>
                  <a:lnTo>
                    <a:pt x="1636" y="1541"/>
                  </a:lnTo>
                  <a:lnTo>
                    <a:pt x="1641" y="1543"/>
                  </a:lnTo>
                  <a:lnTo>
                    <a:pt x="1646" y="1546"/>
                  </a:lnTo>
                  <a:lnTo>
                    <a:pt x="1649" y="1551"/>
                  </a:lnTo>
                  <a:lnTo>
                    <a:pt x="1650" y="1555"/>
                  </a:lnTo>
                  <a:lnTo>
                    <a:pt x="1673" y="1557"/>
                  </a:lnTo>
                  <a:lnTo>
                    <a:pt x="1698" y="1559"/>
                  </a:lnTo>
                  <a:lnTo>
                    <a:pt x="1726" y="1563"/>
                  </a:lnTo>
                  <a:lnTo>
                    <a:pt x="1757" y="1567"/>
                  </a:lnTo>
                  <a:lnTo>
                    <a:pt x="1789" y="1571"/>
                  </a:lnTo>
                  <a:lnTo>
                    <a:pt x="1819" y="1574"/>
                  </a:lnTo>
                  <a:lnTo>
                    <a:pt x="1848" y="1577"/>
                  </a:lnTo>
                  <a:lnTo>
                    <a:pt x="1874" y="1578"/>
                  </a:lnTo>
                  <a:lnTo>
                    <a:pt x="1875" y="1577"/>
                  </a:lnTo>
                  <a:lnTo>
                    <a:pt x="1877" y="1575"/>
                  </a:lnTo>
                  <a:lnTo>
                    <a:pt x="1879" y="1574"/>
                  </a:lnTo>
                  <a:lnTo>
                    <a:pt x="1884" y="1573"/>
                  </a:lnTo>
                  <a:lnTo>
                    <a:pt x="1892" y="1572"/>
                  </a:lnTo>
                  <a:lnTo>
                    <a:pt x="1905" y="1571"/>
                  </a:lnTo>
                  <a:lnTo>
                    <a:pt x="1928" y="1570"/>
                  </a:lnTo>
                  <a:lnTo>
                    <a:pt x="1946" y="1570"/>
                  </a:lnTo>
                  <a:lnTo>
                    <a:pt x="1953" y="1578"/>
                  </a:lnTo>
                  <a:lnTo>
                    <a:pt x="1956" y="1586"/>
                  </a:lnTo>
                  <a:lnTo>
                    <a:pt x="1962" y="1594"/>
                  </a:lnTo>
                  <a:lnTo>
                    <a:pt x="1965" y="1599"/>
                  </a:lnTo>
                  <a:lnTo>
                    <a:pt x="1968" y="1602"/>
                  </a:lnTo>
                  <a:lnTo>
                    <a:pt x="1972" y="1606"/>
                  </a:lnTo>
                  <a:lnTo>
                    <a:pt x="1975" y="1607"/>
                  </a:lnTo>
                  <a:lnTo>
                    <a:pt x="1982" y="1613"/>
                  </a:lnTo>
                  <a:lnTo>
                    <a:pt x="1986" y="1625"/>
                  </a:lnTo>
                  <a:lnTo>
                    <a:pt x="1990" y="1635"/>
                  </a:lnTo>
                  <a:lnTo>
                    <a:pt x="2024" y="1634"/>
                  </a:lnTo>
                  <a:lnTo>
                    <a:pt x="2061" y="1631"/>
                  </a:lnTo>
                  <a:lnTo>
                    <a:pt x="2096" y="1629"/>
                  </a:lnTo>
                  <a:lnTo>
                    <a:pt x="2126" y="1628"/>
                  </a:lnTo>
                  <a:lnTo>
                    <a:pt x="2127" y="1626"/>
                  </a:lnTo>
                  <a:lnTo>
                    <a:pt x="2128" y="1623"/>
                  </a:lnTo>
                  <a:lnTo>
                    <a:pt x="2131" y="1622"/>
                  </a:lnTo>
                  <a:lnTo>
                    <a:pt x="2135" y="1620"/>
                  </a:lnTo>
                  <a:lnTo>
                    <a:pt x="2145" y="1619"/>
                  </a:lnTo>
                  <a:lnTo>
                    <a:pt x="2158" y="1619"/>
                  </a:lnTo>
                  <a:lnTo>
                    <a:pt x="2191" y="1622"/>
                  </a:lnTo>
                  <a:lnTo>
                    <a:pt x="2227" y="1628"/>
                  </a:lnTo>
                  <a:lnTo>
                    <a:pt x="2264" y="1635"/>
                  </a:lnTo>
                  <a:lnTo>
                    <a:pt x="2297" y="1642"/>
                  </a:lnTo>
                  <a:lnTo>
                    <a:pt x="2319" y="1647"/>
                  </a:lnTo>
                  <a:lnTo>
                    <a:pt x="2328" y="1649"/>
                  </a:lnTo>
                  <a:lnTo>
                    <a:pt x="2329" y="1655"/>
                  </a:lnTo>
                  <a:lnTo>
                    <a:pt x="2332" y="1659"/>
                  </a:lnTo>
                  <a:lnTo>
                    <a:pt x="2337" y="1663"/>
                  </a:lnTo>
                  <a:lnTo>
                    <a:pt x="2342" y="1664"/>
                  </a:lnTo>
                  <a:lnTo>
                    <a:pt x="2350" y="1686"/>
                  </a:lnTo>
                  <a:lnTo>
                    <a:pt x="2364" y="1693"/>
                  </a:lnTo>
                  <a:lnTo>
                    <a:pt x="2371" y="1700"/>
                  </a:lnTo>
                  <a:lnTo>
                    <a:pt x="2371" y="1714"/>
                  </a:lnTo>
                  <a:lnTo>
                    <a:pt x="2374" y="1715"/>
                  </a:lnTo>
                  <a:lnTo>
                    <a:pt x="2376" y="1717"/>
                  </a:lnTo>
                  <a:lnTo>
                    <a:pt x="2377" y="1719"/>
                  </a:lnTo>
                  <a:lnTo>
                    <a:pt x="2378" y="1723"/>
                  </a:lnTo>
                  <a:lnTo>
                    <a:pt x="2378" y="1729"/>
                  </a:lnTo>
                  <a:lnTo>
                    <a:pt x="2378" y="1736"/>
                  </a:lnTo>
                  <a:lnTo>
                    <a:pt x="2380" y="1736"/>
                  </a:lnTo>
                  <a:lnTo>
                    <a:pt x="2383" y="1738"/>
                  </a:lnTo>
                  <a:lnTo>
                    <a:pt x="2384" y="1741"/>
                  </a:lnTo>
                  <a:lnTo>
                    <a:pt x="2385" y="1744"/>
                  </a:lnTo>
                  <a:lnTo>
                    <a:pt x="2386" y="1751"/>
                  </a:lnTo>
                  <a:lnTo>
                    <a:pt x="2386" y="1757"/>
                  </a:lnTo>
                  <a:lnTo>
                    <a:pt x="2400" y="1765"/>
                  </a:lnTo>
                  <a:lnTo>
                    <a:pt x="2400" y="1780"/>
                  </a:lnTo>
                  <a:lnTo>
                    <a:pt x="2403" y="1780"/>
                  </a:lnTo>
                  <a:lnTo>
                    <a:pt x="2404" y="1781"/>
                  </a:lnTo>
                  <a:lnTo>
                    <a:pt x="2406" y="1782"/>
                  </a:lnTo>
                  <a:lnTo>
                    <a:pt x="2406" y="1784"/>
                  </a:lnTo>
                  <a:lnTo>
                    <a:pt x="2407" y="1789"/>
                  </a:lnTo>
                  <a:lnTo>
                    <a:pt x="2407" y="1793"/>
                  </a:lnTo>
                  <a:lnTo>
                    <a:pt x="2410" y="1798"/>
                  </a:lnTo>
                  <a:lnTo>
                    <a:pt x="2416" y="1807"/>
                  </a:lnTo>
                  <a:lnTo>
                    <a:pt x="2422" y="1820"/>
                  </a:lnTo>
                  <a:lnTo>
                    <a:pt x="2428" y="1836"/>
                  </a:lnTo>
                  <a:lnTo>
                    <a:pt x="2434" y="1851"/>
                  </a:lnTo>
                  <a:lnTo>
                    <a:pt x="2438" y="1867"/>
                  </a:lnTo>
                  <a:lnTo>
                    <a:pt x="2442" y="1879"/>
                  </a:lnTo>
                  <a:lnTo>
                    <a:pt x="2443" y="1887"/>
                  </a:lnTo>
                  <a:lnTo>
                    <a:pt x="2446" y="1888"/>
                  </a:lnTo>
                  <a:lnTo>
                    <a:pt x="2448" y="1891"/>
                  </a:lnTo>
                  <a:lnTo>
                    <a:pt x="2451" y="1897"/>
                  </a:lnTo>
                  <a:lnTo>
                    <a:pt x="2453" y="1902"/>
                  </a:lnTo>
                  <a:lnTo>
                    <a:pt x="2456" y="1915"/>
                  </a:lnTo>
                  <a:lnTo>
                    <a:pt x="2457" y="1924"/>
                  </a:lnTo>
                  <a:lnTo>
                    <a:pt x="2460" y="1924"/>
                  </a:lnTo>
                  <a:lnTo>
                    <a:pt x="2462" y="1925"/>
                  </a:lnTo>
                  <a:lnTo>
                    <a:pt x="2463" y="1926"/>
                  </a:lnTo>
                  <a:lnTo>
                    <a:pt x="2464" y="1928"/>
                  </a:lnTo>
                  <a:lnTo>
                    <a:pt x="2465" y="1933"/>
                  </a:lnTo>
                  <a:lnTo>
                    <a:pt x="2465" y="1938"/>
                  </a:lnTo>
                  <a:lnTo>
                    <a:pt x="2471" y="1944"/>
                  </a:lnTo>
                  <a:lnTo>
                    <a:pt x="2475" y="1952"/>
                  </a:lnTo>
                  <a:lnTo>
                    <a:pt x="2481" y="1962"/>
                  </a:lnTo>
                  <a:lnTo>
                    <a:pt x="2485" y="1971"/>
                  </a:lnTo>
                  <a:lnTo>
                    <a:pt x="2489" y="1982"/>
                  </a:lnTo>
                  <a:lnTo>
                    <a:pt x="2491" y="1992"/>
                  </a:lnTo>
                  <a:lnTo>
                    <a:pt x="2493" y="2001"/>
                  </a:lnTo>
                  <a:lnTo>
                    <a:pt x="2494" y="2010"/>
                  </a:lnTo>
                  <a:lnTo>
                    <a:pt x="2499" y="2015"/>
                  </a:lnTo>
                  <a:lnTo>
                    <a:pt x="2503" y="2021"/>
                  </a:lnTo>
                  <a:lnTo>
                    <a:pt x="2506" y="2026"/>
                  </a:lnTo>
                  <a:lnTo>
                    <a:pt x="2510" y="2032"/>
                  </a:lnTo>
                  <a:lnTo>
                    <a:pt x="2512" y="2039"/>
                  </a:lnTo>
                  <a:lnTo>
                    <a:pt x="2514" y="2045"/>
                  </a:lnTo>
                  <a:lnTo>
                    <a:pt x="2515" y="2052"/>
                  </a:lnTo>
                  <a:lnTo>
                    <a:pt x="2515" y="2060"/>
                  </a:lnTo>
                  <a:lnTo>
                    <a:pt x="2518" y="2061"/>
                  </a:lnTo>
                  <a:lnTo>
                    <a:pt x="2520" y="2061"/>
                  </a:lnTo>
                  <a:lnTo>
                    <a:pt x="2521" y="2063"/>
                  </a:lnTo>
                  <a:lnTo>
                    <a:pt x="2522" y="2064"/>
                  </a:lnTo>
                  <a:lnTo>
                    <a:pt x="2522" y="2069"/>
                  </a:lnTo>
                  <a:lnTo>
                    <a:pt x="2522" y="2074"/>
                  </a:lnTo>
                  <a:lnTo>
                    <a:pt x="2528" y="2080"/>
                  </a:lnTo>
                  <a:lnTo>
                    <a:pt x="2532" y="2086"/>
                  </a:lnTo>
                  <a:lnTo>
                    <a:pt x="2535" y="2091"/>
                  </a:lnTo>
                  <a:lnTo>
                    <a:pt x="2537" y="2097"/>
                  </a:lnTo>
                  <a:lnTo>
                    <a:pt x="2601" y="2097"/>
                  </a:lnTo>
                  <a:lnTo>
                    <a:pt x="2602" y="2099"/>
                  </a:lnTo>
                  <a:lnTo>
                    <a:pt x="2604" y="2100"/>
                  </a:lnTo>
                  <a:lnTo>
                    <a:pt x="2607" y="2102"/>
                  </a:lnTo>
                  <a:lnTo>
                    <a:pt x="2609" y="2104"/>
                  </a:lnTo>
                  <a:lnTo>
                    <a:pt x="2611" y="2107"/>
                  </a:lnTo>
                  <a:lnTo>
                    <a:pt x="2614" y="2109"/>
                  </a:lnTo>
                  <a:lnTo>
                    <a:pt x="2616" y="2113"/>
                  </a:lnTo>
                  <a:lnTo>
                    <a:pt x="2616" y="2118"/>
                  </a:lnTo>
                  <a:lnTo>
                    <a:pt x="2620" y="2119"/>
                  </a:lnTo>
                  <a:lnTo>
                    <a:pt x="2624" y="2121"/>
                  </a:lnTo>
                  <a:lnTo>
                    <a:pt x="2626" y="2126"/>
                  </a:lnTo>
                  <a:lnTo>
                    <a:pt x="2629" y="2130"/>
                  </a:lnTo>
                  <a:lnTo>
                    <a:pt x="2633" y="2144"/>
                  </a:lnTo>
                  <a:lnTo>
                    <a:pt x="2635" y="2160"/>
                  </a:lnTo>
                  <a:lnTo>
                    <a:pt x="2637" y="2194"/>
                  </a:lnTo>
                  <a:lnTo>
                    <a:pt x="2638" y="2218"/>
                  </a:lnTo>
                  <a:lnTo>
                    <a:pt x="2645" y="2226"/>
                  </a:lnTo>
                  <a:lnTo>
                    <a:pt x="2663" y="2226"/>
                  </a:lnTo>
                  <a:lnTo>
                    <a:pt x="2681" y="2226"/>
                  </a:lnTo>
                  <a:lnTo>
                    <a:pt x="2700" y="2226"/>
                  </a:lnTo>
                  <a:lnTo>
                    <a:pt x="2717" y="2226"/>
                  </a:lnTo>
                  <a:lnTo>
                    <a:pt x="2721" y="2236"/>
                  </a:lnTo>
                  <a:lnTo>
                    <a:pt x="2724" y="2247"/>
                  </a:lnTo>
                  <a:lnTo>
                    <a:pt x="2732" y="2255"/>
                  </a:lnTo>
                  <a:lnTo>
                    <a:pt x="2746" y="2262"/>
                  </a:lnTo>
                  <a:lnTo>
                    <a:pt x="2746" y="2276"/>
                  </a:lnTo>
                  <a:lnTo>
                    <a:pt x="2750" y="2276"/>
                  </a:lnTo>
                  <a:lnTo>
                    <a:pt x="2752" y="2277"/>
                  </a:lnTo>
                  <a:lnTo>
                    <a:pt x="2753" y="2279"/>
                  </a:lnTo>
                  <a:lnTo>
                    <a:pt x="2753" y="2280"/>
                  </a:lnTo>
                  <a:lnTo>
                    <a:pt x="2753" y="2281"/>
                  </a:lnTo>
                  <a:lnTo>
                    <a:pt x="2754" y="2282"/>
                  </a:lnTo>
                  <a:lnTo>
                    <a:pt x="2757" y="2283"/>
                  </a:lnTo>
                  <a:lnTo>
                    <a:pt x="2760" y="2283"/>
                  </a:lnTo>
                  <a:lnTo>
                    <a:pt x="2761" y="2306"/>
                  </a:lnTo>
                  <a:lnTo>
                    <a:pt x="2764" y="2330"/>
                  </a:lnTo>
                  <a:lnTo>
                    <a:pt x="2767" y="2351"/>
                  </a:lnTo>
                  <a:lnTo>
                    <a:pt x="2768" y="2370"/>
                  </a:lnTo>
                  <a:lnTo>
                    <a:pt x="2770" y="2371"/>
                  </a:lnTo>
                  <a:lnTo>
                    <a:pt x="2772" y="2373"/>
                  </a:lnTo>
                  <a:lnTo>
                    <a:pt x="2773" y="2377"/>
                  </a:lnTo>
                  <a:lnTo>
                    <a:pt x="2774" y="2381"/>
                  </a:lnTo>
                  <a:lnTo>
                    <a:pt x="2774" y="2391"/>
                  </a:lnTo>
                  <a:lnTo>
                    <a:pt x="2774" y="2399"/>
                  </a:lnTo>
                  <a:lnTo>
                    <a:pt x="2778" y="2399"/>
                  </a:lnTo>
                  <a:lnTo>
                    <a:pt x="2779" y="2401"/>
                  </a:lnTo>
                  <a:lnTo>
                    <a:pt x="2780" y="2404"/>
                  </a:lnTo>
                  <a:lnTo>
                    <a:pt x="2781" y="2407"/>
                  </a:lnTo>
                  <a:lnTo>
                    <a:pt x="2782" y="2414"/>
                  </a:lnTo>
                  <a:lnTo>
                    <a:pt x="2782" y="2420"/>
                  </a:lnTo>
                  <a:lnTo>
                    <a:pt x="2784" y="2420"/>
                  </a:lnTo>
                  <a:lnTo>
                    <a:pt x="2787" y="2421"/>
                  </a:lnTo>
                  <a:lnTo>
                    <a:pt x="2788" y="2423"/>
                  </a:lnTo>
                  <a:lnTo>
                    <a:pt x="2789" y="2425"/>
                  </a:lnTo>
                  <a:lnTo>
                    <a:pt x="2789" y="2429"/>
                  </a:lnTo>
                  <a:lnTo>
                    <a:pt x="2789" y="2435"/>
                  </a:lnTo>
                  <a:lnTo>
                    <a:pt x="2803" y="2435"/>
                  </a:lnTo>
                  <a:lnTo>
                    <a:pt x="2803" y="2449"/>
                  </a:lnTo>
                  <a:lnTo>
                    <a:pt x="2806" y="2449"/>
                  </a:lnTo>
                  <a:lnTo>
                    <a:pt x="2808" y="2450"/>
                  </a:lnTo>
                  <a:lnTo>
                    <a:pt x="2809" y="2452"/>
                  </a:lnTo>
                  <a:lnTo>
                    <a:pt x="2810" y="2454"/>
                  </a:lnTo>
                  <a:lnTo>
                    <a:pt x="2811" y="2458"/>
                  </a:lnTo>
                  <a:lnTo>
                    <a:pt x="2811" y="2464"/>
                  </a:lnTo>
                  <a:lnTo>
                    <a:pt x="2813" y="2464"/>
                  </a:lnTo>
                  <a:lnTo>
                    <a:pt x="2815" y="2465"/>
                  </a:lnTo>
                  <a:lnTo>
                    <a:pt x="2817" y="2466"/>
                  </a:lnTo>
                  <a:lnTo>
                    <a:pt x="2817" y="2468"/>
                  </a:lnTo>
                  <a:lnTo>
                    <a:pt x="2818" y="2473"/>
                  </a:lnTo>
                  <a:lnTo>
                    <a:pt x="2818" y="2478"/>
                  </a:lnTo>
                  <a:lnTo>
                    <a:pt x="2826" y="2485"/>
                  </a:lnTo>
                  <a:lnTo>
                    <a:pt x="2836" y="2486"/>
                  </a:lnTo>
                  <a:lnTo>
                    <a:pt x="2847" y="2490"/>
                  </a:lnTo>
                  <a:lnTo>
                    <a:pt x="2858" y="2494"/>
                  </a:lnTo>
                  <a:lnTo>
                    <a:pt x="2868" y="2500"/>
                  </a:lnTo>
                  <a:lnTo>
                    <a:pt x="2879" y="2505"/>
                  </a:lnTo>
                  <a:lnTo>
                    <a:pt x="2890" y="2510"/>
                  </a:lnTo>
                  <a:lnTo>
                    <a:pt x="2901" y="2513"/>
                  </a:lnTo>
                  <a:lnTo>
                    <a:pt x="2912" y="2514"/>
                  </a:lnTo>
                  <a:lnTo>
                    <a:pt x="2919" y="2521"/>
                  </a:lnTo>
                  <a:lnTo>
                    <a:pt x="2921" y="2526"/>
                  </a:lnTo>
                  <a:lnTo>
                    <a:pt x="2924" y="2531"/>
                  </a:lnTo>
                  <a:lnTo>
                    <a:pt x="2928" y="2534"/>
                  </a:lnTo>
                  <a:lnTo>
                    <a:pt x="2933" y="2535"/>
                  </a:lnTo>
                  <a:lnTo>
                    <a:pt x="2937" y="2546"/>
                  </a:lnTo>
                  <a:lnTo>
                    <a:pt x="2941" y="2558"/>
                  </a:lnTo>
                  <a:lnTo>
                    <a:pt x="2949" y="2558"/>
                  </a:lnTo>
                  <a:lnTo>
                    <a:pt x="2957" y="2560"/>
                  </a:lnTo>
                  <a:lnTo>
                    <a:pt x="2966" y="2562"/>
                  </a:lnTo>
                  <a:lnTo>
                    <a:pt x="2975" y="2564"/>
                  </a:lnTo>
                  <a:lnTo>
                    <a:pt x="2984" y="2567"/>
                  </a:lnTo>
                  <a:lnTo>
                    <a:pt x="2993" y="2569"/>
                  </a:lnTo>
                  <a:lnTo>
                    <a:pt x="3001" y="2571"/>
                  </a:lnTo>
                  <a:lnTo>
                    <a:pt x="3010" y="2571"/>
                  </a:lnTo>
                  <a:lnTo>
                    <a:pt x="3010" y="2567"/>
                  </a:lnTo>
                  <a:lnTo>
                    <a:pt x="3011" y="2564"/>
                  </a:lnTo>
                  <a:lnTo>
                    <a:pt x="3012" y="2564"/>
                  </a:lnTo>
                  <a:lnTo>
                    <a:pt x="3013" y="2564"/>
                  </a:lnTo>
                  <a:lnTo>
                    <a:pt x="3014" y="2564"/>
                  </a:lnTo>
                  <a:lnTo>
                    <a:pt x="3015" y="2563"/>
                  </a:lnTo>
                  <a:lnTo>
                    <a:pt x="3017" y="2561"/>
                  </a:lnTo>
                  <a:lnTo>
                    <a:pt x="3017" y="2556"/>
                  </a:lnTo>
                  <a:lnTo>
                    <a:pt x="3030" y="2555"/>
                  </a:lnTo>
                  <a:lnTo>
                    <a:pt x="3047" y="2553"/>
                  </a:lnTo>
                  <a:lnTo>
                    <a:pt x="3065" y="2551"/>
                  </a:lnTo>
                  <a:lnTo>
                    <a:pt x="3081" y="2550"/>
                  </a:lnTo>
                  <a:lnTo>
                    <a:pt x="3089" y="2564"/>
                  </a:lnTo>
                  <a:lnTo>
                    <a:pt x="3099" y="2568"/>
                  </a:lnTo>
                  <a:lnTo>
                    <a:pt x="3110" y="2571"/>
                  </a:lnTo>
                  <a:lnTo>
                    <a:pt x="3110" y="2580"/>
                  </a:lnTo>
                  <a:lnTo>
                    <a:pt x="3112" y="2584"/>
                  </a:lnTo>
                  <a:lnTo>
                    <a:pt x="3113" y="2587"/>
                  </a:lnTo>
                  <a:lnTo>
                    <a:pt x="3114" y="2588"/>
                  </a:lnTo>
                  <a:lnTo>
                    <a:pt x="3115" y="2588"/>
                  </a:lnTo>
                  <a:lnTo>
                    <a:pt x="3116" y="2588"/>
                  </a:lnTo>
                  <a:lnTo>
                    <a:pt x="3117" y="2589"/>
                  </a:lnTo>
                  <a:lnTo>
                    <a:pt x="3117" y="2592"/>
                  </a:lnTo>
                  <a:lnTo>
                    <a:pt x="3128" y="2597"/>
                  </a:lnTo>
                  <a:lnTo>
                    <a:pt x="3139" y="2600"/>
                  </a:lnTo>
                  <a:lnTo>
                    <a:pt x="3139" y="2604"/>
                  </a:lnTo>
                  <a:lnTo>
                    <a:pt x="3141" y="2607"/>
                  </a:lnTo>
                  <a:lnTo>
                    <a:pt x="3142" y="2607"/>
                  </a:lnTo>
                  <a:lnTo>
                    <a:pt x="3143" y="2607"/>
                  </a:lnTo>
                  <a:lnTo>
                    <a:pt x="3144" y="2608"/>
                  </a:lnTo>
                  <a:lnTo>
                    <a:pt x="3145" y="2608"/>
                  </a:lnTo>
                  <a:lnTo>
                    <a:pt x="3146" y="2610"/>
                  </a:lnTo>
                  <a:lnTo>
                    <a:pt x="3146" y="2615"/>
                  </a:lnTo>
                  <a:lnTo>
                    <a:pt x="3161" y="2621"/>
                  </a:lnTo>
                  <a:lnTo>
                    <a:pt x="3166" y="2622"/>
                  </a:lnTo>
                  <a:lnTo>
                    <a:pt x="3171" y="2626"/>
                  </a:lnTo>
                  <a:lnTo>
                    <a:pt x="3174" y="2630"/>
                  </a:lnTo>
                  <a:lnTo>
                    <a:pt x="3175" y="2636"/>
                  </a:lnTo>
                  <a:lnTo>
                    <a:pt x="3190" y="2636"/>
                  </a:lnTo>
                  <a:lnTo>
                    <a:pt x="3204" y="2650"/>
                  </a:lnTo>
                  <a:lnTo>
                    <a:pt x="3219" y="2665"/>
                  </a:lnTo>
                  <a:lnTo>
                    <a:pt x="3222" y="2666"/>
                  </a:lnTo>
                  <a:lnTo>
                    <a:pt x="3226" y="2668"/>
                  </a:lnTo>
                  <a:lnTo>
                    <a:pt x="3232" y="2670"/>
                  </a:lnTo>
                  <a:lnTo>
                    <a:pt x="3238" y="2675"/>
                  </a:lnTo>
                  <a:lnTo>
                    <a:pt x="3242" y="2678"/>
                  </a:lnTo>
                  <a:lnTo>
                    <a:pt x="3247" y="2683"/>
                  </a:lnTo>
                  <a:lnTo>
                    <a:pt x="3249" y="2686"/>
                  </a:lnTo>
                  <a:lnTo>
                    <a:pt x="3250" y="2689"/>
                  </a:lnTo>
                  <a:lnTo>
                    <a:pt x="3261" y="2690"/>
                  </a:lnTo>
                  <a:lnTo>
                    <a:pt x="3272" y="2693"/>
                  </a:lnTo>
                  <a:lnTo>
                    <a:pt x="3283" y="2696"/>
                  </a:lnTo>
                  <a:lnTo>
                    <a:pt x="3293" y="2697"/>
                  </a:lnTo>
                  <a:lnTo>
                    <a:pt x="3293" y="2699"/>
                  </a:lnTo>
                  <a:lnTo>
                    <a:pt x="3295" y="2700"/>
                  </a:lnTo>
                  <a:lnTo>
                    <a:pt x="3297" y="2703"/>
                  </a:lnTo>
                  <a:lnTo>
                    <a:pt x="3298" y="2703"/>
                  </a:lnTo>
                  <a:lnTo>
                    <a:pt x="3302" y="2704"/>
                  </a:lnTo>
                  <a:lnTo>
                    <a:pt x="3308" y="2704"/>
                  </a:lnTo>
                  <a:lnTo>
                    <a:pt x="3309" y="2706"/>
                  </a:lnTo>
                  <a:lnTo>
                    <a:pt x="3312" y="2708"/>
                  </a:lnTo>
                  <a:lnTo>
                    <a:pt x="3318" y="2709"/>
                  </a:lnTo>
                  <a:lnTo>
                    <a:pt x="3324" y="2711"/>
                  </a:lnTo>
                  <a:lnTo>
                    <a:pt x="3336" y="2711"/>
                  </a:lnTo>
                  <a:lnTo>
                    <a:pt x="3344" y="2712"/>
                  </a:lnTo>
                  <a:lnTo>
                    <a:pt x="3345" y="2713"/>
                  </a:lnTo>
                  <a:lnTo>
                    <a:pt x="3348" y="2713"/>
                  </a:lnTo>
                  <a:lnTo>
                    <a:pt x="3353" y="2714"/>
                  </a:lnTo>
                  <a:lnTo>
                    <a:pt x="3358" y="2714"/>
                  </a:lnTo>
                  <a:lnTo>
                    <a:pt x="3374" y="2713"/>
                  </a:lnTo>
                  <a:lnTo>
                    <a:pt x="3392" y="2712"/>
                  </a:lnTo>
                  <a:lnTo>
                    <a:pt x="3427" y="2707"/>
                  </a:lnTo>
                  <a:lnTo>
                    <a:pt x="3450" y="2706"/>
                  </a:lnTo>
                  <a:lnTo>
                    <a:pt x="3463" y="2698"/>
                  </a:lnTo>
                  <a:lnTo>
                    <a:pt x="3487" y="2688"/>
                  </a:lnTo>
                  <a:lnTo>
                    <a:pt x="3509" y="2680"/>
                  </a:lnTo>
                  <a:lnTo>
                    <a:pt x="3522" y="2677"/>
                  </a:lnTo>
                  <a:lnTo>
                    <a:pt x="3522" y="2627"/>
                  </a:lnTo>
                  <a:lnTo>
                    <a:pt x="3519" y="2626"/>
                  </a:lnTo>
                  <a:lnTo>
                    <a:pt x="3517" y="2623"/>
                  </a:lnTo>
                  <a:lnTo>
                    <a:pt x="3514" y="2620"/>
                  </a:lnTo>
                  <a:lnTo>
                    <a:pt x="3512" y="2616"/>
                  </a:lnTo>
                  <a:lnTo>
                    <a:pt x="3509" y="2604"/>
                  </a:lnTo>
                  <a:lnTo>
                    <a:pt x="3506" y="2592"/>
                  </a:lnTo>
                  <a:lnTo>
                    <a:pt x="3501" y="2579"/>
                  </a:lnTo>
                  <a:lnTo>
                    <a:pt x="3498" y="2568"/>
                  </a:lnTo>
                  <a:lnTo>
                    <a:pt x="3496" y="2563"/>
                  </a:lnTo>
                  <a:lnTo>
                    <a:pt x="3493" y="2560"/>
                  </a:lnTo>
                  <a:lnTo>
                    <a:pt x="3491" y="2558"/>
                  </a:lnTo>
                  <a:lnTo>
                    <a:pt x="3488" y="2558"/>
                  </a:lnTo>
                  <a:lnTo>
                    <a:pt x="3488" y="2552"/>
                  </a:lnTo>
                  <a:lnTo>
                    <a:pt x="3484" y="2548"/>
                  </a:lnTo>
                  <a:lnTo>
                    <a:pt x="3481" y="2544"/>
                  </a:lnTo>
                  <a:lnTo>
                    <a:pt x="3478" y="2540"/>
                  </a:lnTo>
                  <a:lnTo>
                    <a:pt x="3473" y="2538"/>
                  </a:lnTo>
                  <a:lnTo>
                    <a:pt x="3470" y="2534"/>
                  </a:lnTo>
                  <a:lnTo>
                    <a:pt x="3468" y="2531"/>
                  </a:lnTo>
                  <a:lnTo>
                    <a:pt x="3466" y="2529"/>
                  </a:lnTo>
                  <a:lnTo>
                    <a:pt x="3445" y="2529"/>
                  </a:lnTo>
                  <a:lnTo>
                    <a:pt x="3436" y="2520"/>
                  </a:lnTo>
                  <a:lnTo>
                    <a:pt x="3424" y="2507"/>
                  </a:lnTo>
                  <a:lnTo>
                    <a:pt x="3418" y="2501"/>
                  </a:lnTo>
                  <a:lnTo>
                    <a:pt x="3414" y="2494"/>
                  </a:lnTo>
                  <a:lnTo>
                    <a:pt x="3411" y="2488"/>
                  </a:lnTo>
                  <a:lnTo>
                    <a:pt x="3408" y="2485"/>
                  </a:lnTo>
                  <a:lnTo>
                    <a:pt x="3406" y="2485"/>
                  </a:lnTo>
                  <a:lnTo>
                    <a:pt x="3404" y="2483"/>
                  </a:lnTo>
                  <a:lnTo>
                    <a:pt x="3402" y="2479"/>
                  </a:lnTo>
                  <a:lnTo>
                    <a:pt x="3400" y="2476"/>
                  </a:lnTo>
                  <a:lnTo>
                    <a:pt x="3396" y="2466"/>
                  </a:lnTo>
                  <a:lnTo>
                    <a:pt x="3393" y="2455"/>
                  </a:lnTo>
                  <a:lnTo>
                    <a:pt x="3388" y="2430"/>
                  </a:lnTo>
                  <a:lnTo>
                    <a:pt x="3387" y="2414"/>
                  </a:lnTo>
                  <a:lnTo>
                    <a:pt x="3391" y="2410"/>
                  </a:lnTo>
                  <a:lnTo>
                    <a:pt x="3395" y="2401"/>
                  </a:lnTo>
                  <a:lnTo>
                    <a:pt x="3400" y="2388"/>
                  </a:lnTo>
                  <a:lnTo>
                    <a:pt x="3404" y="2373"/>
                  </a:lnTo>
                  <a:lnTo>
                    <a:pt x="3413" y="2347"/>
                  </a:lnTo>
                  <a:lnTo>
                    <a:pt x="3416" y="2334"/>
                  </a:lnTo>
                  <a:lnTo>
                    <a:pt x="3418" y="2332"/>
                  </a:lnTo>
                  <a:lnTo>
                    <a:pt x="3421" y="2327"/>
                  </a:lnTo>
                  <a:lnTo>
                    <a:pt x="3422" y="2320"/>
                  </a:lnTo>
                  <a:lnTo>
                    <a:pt x="3423" y="2311"/>
                  </a:lnTo>
                  <a:lnTo>
                    <a:pt x="3423" y="2294"/>
                  </a:lnTo>
                  <a:lnTo>
                    <a:pt x="3423" y="2283"/>
                  </a:lnTo>
                  <a:lnTo>
                    <a:pt x="3421" y="2283"/>
                  </a:lnTo>
                  <a:lnTo>
                    <a:pt x="3418" y="2280"/>
                  </a:lnTo>
                  <a:lnTo>
                    <a:pt x="3415" y="2276"/>
                  </a:lnTo>
                  <a:lnTo>
                    <a:pt x="3413" y="2272"/>
                  </a:lnTo>
                  <a:lnTo>
                    <a:pt x="3411" y="2262"/>
                  </a:lnTo>
                  <a:lnTo>
                    <a:pt x="3408" y="2255"/>
                  </a:lnTo>
                  <a:lnTo>
                    <a:pt x="3405" y="2236"/>
                  </a:lnTo>
                  <a:lnTo>
                    <a:pt x="3394" y="2197"/>
                  </a:lnTo>
                  <a:lnTo>
                    <a:pt x="3389" y="2186"/>
                  </a:lnTo>
                  <a:lnTo>
                    <a:pt x="3385" y="2176"/>
                  </a:lnTo>
                  <a:lnTo>
                    <a:pt x="3381" y="2166"/>
                  </a:lnTo>
                  <a:lnTo>
                    <a:pt x="3376" y="2157"/>
                  </a:lnTo>
                  <a:lnTo>
                    <a:pt x="3370" y="2150"/>
                  </a:lnTo>
                  <a:lnTo>
                    <a:pt x="3364" y="2145"/>
                  </a:lnTo>
                  <a:lnTo>
                    <a:pt x="3362" y="2142"/>
                  </a:lnTo>
                  <a:lnTo>
                    <a:pt x="3358" y="2140"/>
                  </a:lnTo>
                  <a:lnTo>
                    <a:pt x="3355" y="2140"/>
                  </a:lnTo>
                  <a:lnTo>
                    <a:pt x="3352" y="2139"/>
                  </a:lnTo>
                  <a:lnTo>
                    <a:pt x="3352" y="2136"/>
                  </a:lnTo>
                  <a:lnTo>
                    <a:pt x="3350" y="2134"/>
                  </a:lnTo>
                  <a:lnTo>
                    <a:pt x="3349" y="2132"/>
                  </a:lnTo>
                  <a:lnTo>
                    <a:pt x="3348" y="2132"/>
                  </a:lnTo>
                  <a:lnTo>
                    <a:pt x="3346" y="2132"/>
                  </a:lnTo>
                  <a:lnTo>
                    <a:pt x="3345" y="2131"/>
                  </a:lnTo>
                  <a:lnTo>
                    <a:pt x="3345" y="2129"/>
                  </a:lnTo>
                  <a:lnTo>
                    <a:pt x="3344" y="2125"/>
                  </a:lnTo>
                  <a:lnTo>
                    <a:pt x="3229" y="2125"/>
                  </a:lnTo>
                  <a:lnTo>
                    <a:pt x="3229" y="2128"/>
                  </a:lnTo>
                  <a:lnTo>
                    <a:pt x="3226" y="2130"/>
                  </a:lnTo>
                  <a:lnTo>
                    <a:pt x="3223" y="2132"/>
                  </a:lnTo>
                  <a:lnTo>
                    <a:pt x="3220" y="2135"/>
                  </a:lnTo>
                  <a:lnTo>
                    <a:pt x="3210" y="2138"/>
                  </a:lnTo>
                  <a:lnTo>
                    <a:pt x="3195" y="2141"/>
                  </a:lnTo>
                  <a:lnTo>
                    <a:pt x="3180" y="2145"/>
                  </a:lnTo>
                  <a:lnTo>
                    <a:pt x="3161" y="2147"/>
                  </a:lnTo>
                  <a:lnTo>
                    <a:pt x="3141" y="2149"/>
                  </a:lnTo>
                  <a:lnTo>
                    <a:pt x="3119" y="2150"/>
                  </a:lnTo>
                  <a:lnTo>
                    <a:pt x="3077" y="2152"/>
                  </a:lnTo>
                  <a:lnTo>
                    <a:pt x="3037" y="2154"/>
                  </a:lnTo>
                  <a:lnTo>
                    <a:pt x="3004" y="2154"/>
                  </a:lnTo>
                  <a:lnTo>
                    <a:pt x="2984" y="2154"/>
                  </a:lnTo>
                  <a:lnTo>
                    <a:pt x="2975" y="2151"/>
                  </a:lnTo>
                  <a:lnTo>
                    <a:pt x="2957" y="2147"/>
                  </a:lnTo>
                  <a:lnTo>
                    <a:pt x="2938" y="2141"/>
                  </a:lnTo>
                  <a:lnTo>
                    <a:pt x="2926" y="2139"/>
                  </a:lnTo>
                  <a:lnTo>
                    <a:pt x="2926" y="2137"/>
                  </a:lnTo>
                  <a:lnTo>
                    <a:pt x="2925" y="2136"/>
                  </a:lnTo>
                  <a:lnTo>
                    <a:pt x="2924" y="2134"/>
                  </a:lnTo>
                  <a:lnTo>
                    <a:pt x="2922" y="2134"/>
                  </a:lnTo>
                  <a:lnTo>
                    <a:pt x="2917" y="2132"/>
                  </a:lnTo>
                  <a:lnTo>
                    <a:pt x="2912" y="2132"/>
                  </a:lnTo>
                  <a:lnTo>
                    <a:pt x="2911" y="2127"/>
                  </a:lnTo>
                  <a:lnTo>
                    <a:pt x="2907" y="2122"/>
                  </a:lnTo>
                  <a:lnTo>
                    <a:pt x="2903" y="2119"/>
                  </a:lnTo>
                  <a:lnTo>
                    <a:pt x="2897" y="2118"/>
                  </a:lnTo>
                  <a:lnTo>
                    <a:pt x="2883" y="2089"/>
                  </a:lnTo>
                  <a:lnTo>
                    <a:pt x="2876" y="2082"/>
                  </a:lnTo>
                  <a:lnTo>
                    <a:pt x="2868" y="2068"/>
                  </a:lnTo>
                  <a:lnTo>
                    <a:pt x="2861" y="2053"/>
                  </a:lnTo>
                  <a:lnTo>
                    <a:pt x="2854" y="2050"/>
                  </a:lnTo>
                  <a:lnTo>
                    <a:pt x="2842" y="2042"/>
                  </a:lnTo>
                  <a:lnTo>
                    <a:pt x="2836" y="2039"/>
                  </a:lnTo>
                  <a:lnTo>
                    <a:pt x="2830" y="2034"/>
                  </a:lnTo>
                  <a:lnTo>
                    <a:pt x="2823" y="2032"/>
                  </a:lnTo>
                  <a:lnTo>
                    <a:pt x="2818" y="2031"/>
                  </a:lnTo>
                  <a:lnTo>
                    <a:pt x="2818" y="2027"/>
                  </a:lnTo>
                  <a:lnTo>
                    <a:pt x="2817" y="2025"/>
                  </a:lnTo>
                  <a:lnTo>
                    <a:pt x="2816" y="2024"/>
                  </a:lnTo>
                  <a:lnTo>
                    <a:pt x="2815" y="2024"/>
                  </a:lnTo>
                  <a:lnTo>
                    <a:pt x="2813" y="2024"/>
                  </a:lnTo>
                  <a:lnTo>
                    <a:pt x="2812" y="2023"/>
                  </a:lnTo>
                  <a:lnTo>
                    <a:pt x="2811" y="2021"/>
                  </a:lnTo>
                  <a:lnTo>
                    <a:pt x="2811" y="2017"/>
                  </a:lnTo>
                  <a:lnTo>
                    <a:pt x="2789" y="2017"/>
                  </a:lnTo>
                  <a:lnTo>
                    <a:pt x="2787" y="2014"/>
                  </a:lnTo>
                  <a:lnTo>
                    <a:pt x="2780" y="2012"/>
                  </a:lnTo>
                  <a:lnTo>
                    <a:pt x="2771" y="2010"/>
                  </a:lnTo>
                  <a:lnTo>
                    <a:pt x="2760" y="2007"/>
                  </a:lnTo>
                  <a:lnTo>
                    <a:pt x="2738" y="2004"/>
                  </a:lnTo>
                  <a:lnTo>
                    <a:pt x="2724" y="2003"/>
                  </a:lnTo>
                  <a:lnTo>
                    <a:pt x="2717" y="1988"/>
                  </a:lnTo>
                  <a:lnTo>
                    <a:pt x="2710" y="1981"/>
                  </a:lnTo>
                  <a:lnTo>
                    <a:pt x="2700" y="1977"/>
                  </a:lnTo>
                  <a:lnTo>
                    <a:pt x="2688" y="1974"/>
                  </a:lnTo>
                  <a:lnTo>
                    <a:pt x="2688" y="1895"/>
                  </a:lnTo>
                  <a:lnTo>
                    <a:pt x="2686" y="1894"/>
                  </a:lnTo>
                  <a:lnTo>
                    <a:pt x="2684" y="1890"/>
                  </a:lnTo>
                  <a:lnTo>
                    <a:pt x="2682" y="1886"/>
                  </a:lnTo>
                  <a:lnTo>
                    <a:pt x="2679" y="1880"/>
                  </a:lnTo>
                  <a:lnTo>
                    <a:pt x="2677" y="1865"/>
                  </a:lnTo>
                  <a:lnTo>
                    <a:pt x="2676" y="1847"/>
                  </a:lnTo>
                  <a:lnTo>
                    <a:pt x="2674" y="1812"/>
                  </a:lnTo>
                  <a:lnTo>
                    <a:pt x="2674" y="1793"/>
                  </a:lnTo>
                  <a:lnTo>
                    <a:pt x="2672" y="1785"/>
                  </a:lnTo>
                  <a:lnTo>
                    <a:pt x="2668" y="1774"/>
                  </a:lnTo>
                  <a:lnTo>
                    <a:pt x="2666" y="1760"/>
                  </a:lnTo>
                  <a:lnTo>
                    <a:pt x="2664" y="1743"/>
                  </a:lnTo>
                  <a:lnTo>
                    <a:pt x="2661" y="1713"/>
                  </a:lnTo>
                  <a:lnTo>
                    <a:pt x="2659" y="1693"/>
                  </a:lnTo>
                  <a:lnTo>
                    <a:pt x="2657" y="1692"/>
                  </a:lnTo>
                  <a:lnTo>
                    <a:pt x="2655" y="1689"/>
                  </a:lnTo>
                  <a:lnTo>
                    <a:pt x="2653" y="1686"/>
                  </a:lnTo>
                  <a:lnTo>
                    <a:pt x="2652" y="1680"/>
                  </a:lnTo>
                  <a:lnTo>
                    <a:pt x="2649" y="1668"/>
                  </a:lnTo>
                  <a:lnTo>
                    <a:pt x="2646" y="1654"/>
                  </a:lnTo>
                  <a:lnTo>
                    <a:pt x="2644" y="1646"/>
                  </a:lnTo>
                  <a:lnTo>
                    <a:pt x="2642" y="1639"/>
                  </a:lnTo>
                  <a:lnTo>
                    <a:pt x="2639" y="1632"/>
                  </a:lnTo>
                  <a:lnTo>
                    <a:pt x="2636" y="1626"/>
                  </a:lnTo>
                  <a:lnTo>
                    <a:pt x="2633" y="1621"/>
                  </a:lnTo>
                  <a:lnTo>
                    <a:pt x="2628" y="1617"/>
                  </a:lnTo>
                  <a:lnTo>
                    <a:pt x="2623" y="1615"/>
                  </a:lnTo>
                  <a:lnTo>
                    <a:pt x="2616" y="1613"/>
                  </a:lnTo>
                  <a:lnTo>
                    <a:pt x="2616" y="1599"/>
                  </a:lnTo>
                  <a:lnTo>
                    <a:pt x="2609" y="1592"/>
                  </a:lnTo>
                  <a:lnTo>
                    <a:pt x="2595" y="1581"/>
                  </a:lnTo>
                  <a:lnTo>
                    <a:pt x="2580" y="1570"/>
                  </a:lnTo>
                  <a:lnTo>
                    <a:pt x="2580" y="1555"/>
                  </a:lnTo>
                  <a:lnTo>
                    <a:pt x="2577" y="1555"/>
                  </a:lnTo>
                  <a:lnTo>
                    <a:pt x="2572" y="1553"/>
                  </a:lnTo>
                  <a:lnTo>
                    <a:pt x="2570" y="1551"/>
                  </a:lnTo>
                  <a:lnTo>
                    <a:pt x="2567" y="1546"/>
                  </a:lnTo>
                  <a:lnTo>
                    <a:pt x="2561" y="1535"/>
                  </a:lnTo>
                  <a:lnTo>
                    <a:pt x="2558" y="1522"/>
                  </a:lnTo>
                  <a:lnTo>
                    <a:pt x="2554" y="1505"/>
                  </a:lnTo>
                  <a:lnTo>
                    <a:pt x="2552" y="1486"/>
                  </a:lnTo>
                  <a:lnTo>
                    <a:pt x="2551" y="1465"/>
                  </a:lnTo>
                  <a:lnTo>
                    <a:pt x="2550" y="1444"/>
                  </a:lnTo>
                  <a:lnTo>
                    <a:pt x="2549" y="1401"/>
                  </a:lnTo>
                  <a:lnTo>
                    <a:pt x="2550" y="1361"/>
                  </a:lnTo>
                  <a:lnTo>
                    <a:pt x="2551" y="1330"/>
                  </a:lnTo>
                  <a:lnTo>
                    <a:pt x="2551" y="1311"/>
                  </a:lnTo>
                  <a:lnTo>
                    <a:pt x="2549" y="1309"/>
                  </a:lnTo>
                  <a:lnTo>
                    <a:pt x="2546" y="1304"/>
                  </a:lnTo>
                  <a:lnTo>
                    <a:pt x="2541" y="1296"/>
                  </a:lnTo>
                  <a:lnTo>
                    <a:pt x="2538" y="1289"/>
                  </a:lnTo>
                  <a:lnTo>
                    <a:pt x="2532" y="1272"/>
                  </a:lnTo>
                  <a:lnTo>
                    <a:pt x="2530" y="1261"/>
                  </a:lnTo>
                  <a:lnTo>
                    <a:pt x="2523" y="1246"/>
                  </a:lnTo>
                  <a:lnTo>
                    <a:pt x="2509" y="1215"/>
                  </a:lnTo>
                  <a:lnTo>
                    <a:pt x="2500" y="1198"/>
                  </a:lnTo>
                  <a:lnTo>
                    <a:pt x="2493" y="1182"/>
                  </a:lnTo>
                  <a:lnTo>
                    <a:pt x="2489" y="1168"/>
                  </a:lnTo>
                  <a:lnTo>
                    <a:pt x="2486" y="1159"/>
                  </a:lnTo>
                  <a:lnTo>
                    <a:pt x="2472" y="1152"/>
                  </a:lnTo>
                  <a:lnTo>
                    <a:pt x="2471" y="1147"/>
                  </a:lnTo>
                  <a:lnTo>
                    <a:pt x="2469" y="1142"/>
                  </a:lnTo>
                  <a:lnTo>
                    <a:pt x="2465" y="1138"/>
                  </a:lnTo>
                  <a:lnTo>
                    <a:pt x="2462" y="1135"/>
                  </a:lnTo>
                  <a:lnTo>
                    <a:pt x="2457" y="1130"/>
                  </a:lnTo>
                  <a:lnTo>
                    <a:pt x="2454" y="1126"/>
                  </a:lnTo>
                  <a:lnTo>
                    <a:pt x="2452" y="1121"/>
                  </a:lnTo>
                  <a:lnTo>
                    <a:pt x="2451" y="1117"/>
                  </a:lnTo>
                  <a:lnTo>
                    <a:pt x="2447" y="1116"/>
                  </a:lnTo>
                  <a:lnTo>
                    <a:pt x="2445" y="1115"/>
                  </a:lnTo>
                  <a:lnTo>
                    <a:pt x="2443" y="1111"/>
                  </a:lnTo>
                  <a:lnTo>
                    <a:pt x="2441" y="1108"/>
                  </a:lnTo>
                  <a:lnTo>
                    <a:pt x="2437" y="1101"/>
                  </a:lnTo>
                  <a:lnTo>
                    <a:pt x="2436" y="1094"/>
                  </a:lnTo>
                  <a:lnTo>
                    <a:pt x="2434" y="1094"/>
                  </a:lnTo>
                  <a:lnTo>
                    <a:pt x="2431" y="1092"/>
                  </a:lnTo>
                  <a:lnTo>
                    <a:pt x="2428" y="1090"/>
                  </a:lnTo>
                  <a:lnTo>
                    <a:pt x="2425" y="1087"/>
                  </a:lnTo>
                  <a:lnTo>
                    <a:pt x="2419" y="1080"/>
                  </a:lnTo>
                  <a:lnTo>
                    <a:pt x="2415" y="1073"/>
                  </a:lnTo>
                  <a:lnTo>
                    <a:pt x="2414" y="1043"/>
                  </a:lnTo>
                  <a:lnTo>
                    <a:pt x="2410" y="1007"/>
                  </a:lnTo>
                  <a:lnTo>
                    <a:pt x="2408" y="971"/>
                  </a:lnTo>
                  <a:lnTo>
                    <a:pt x="2407" y="936"/>
                  </a:lnTo>
                  <a:lnTo>
                    <a:pt x="2405" y="935"/>
                  </a:lnTo>
                  <a:lnTo>
                    <a:pt x="2402" y="930"/>
                  </a:lnTo>
                  <a:lnTo>
                    <a:pt x="2399" y="925"/>
                  </a:lnTo>
                  <a:lnTo>
                    <a:pt x="2397" y="917"/>
                  </a:lnTo>
                  <a:lnTo>
                    <a:pt x="2394" y="902"/>
                  </a:lnTo>
                  <a:lnTo>
                    <a:pt x="2393" y="892"/>
                  </a:lnTo>
                  <a:lnTo>
                    <a:pt x="2390" y="892"/>
                  </a:lnTo>
                  <a:lnTo>
                    <a:pt x="2389" y="891"/>
                  </a:lnTo>
                  <a:lnTo>
                    <a:pt x="2387" y="890"/>
                  </a:lnTo>
                  <a:lnTo>
                    <a:pt x="2387" y="888"/>
                  </a:lnTo>
                  <a:lnTo>
                    <a:pt x="2386" y="884"/>
                  </a:lnTo>
                  <a:lnTo>
                    <a:pt x="2386" y="879"/>
                  </a:lnTo>
                  <a:lnTo>
                    <a:pt x="2384" y="878"/>
                  </a:lnTo>
                  <a:lnTo>
                    <a:pt x="2381" y="877"/>
                  </a:lnTo>
                  <a:lnTo>
                    <a:pt x="2380" y="876"/>
                  </a:lnTo>
                  <a:lnTo>
                    <a:pt x="2379" y="875"/>
                  </a:lnTo>
                  <a:lnTo>
                    <a:pt x="2378" y="869"/>
                  </a:lnTo>
                  <a:lnTo>
                    <a:pt x="2378" y="865"/>
                  </a:lnTo>
                  <a:lnTo>
                    <a:pt x="2364" y="865"/>
                  </a:lnTo>
                  <a:lnTo>
                    <a:pt x="2364" y="850"/>
                  </a:lnTo>
                  <a:lnTo>
                    <a:pt x="2359" y="849"/>
                  </a:lnTo>
                  <a:lnTo>
                    <a:pt x="2354" y="846"/>
                  </a:lnTo>
                  <a:lnTo>
                    <a:pt x="2348" y="841"/>
                  </a:lnTo>
                  <a:lnTo>
                    <a:pt x="2342" y="836"/>
                  </a:lnTo>
                  <a:lnTo>
                    <a:pt x="2320" y="836"/>
                  </a:lnTo>
                  <a:lnTo>
                    <a:pt x="2298" y="837"/>
                  </a:lnTo>
                  <a:lnTo>
                    <a:pt x="2275" y="838"/>
                  </a:lnTo>
                  <a:lnTo>
                    <a:pt x="2253" y="839"/>
                  </a:lnTo>
                  <a:lnTo>
                    <a:pt x="2231" y="840"/>
                  </a:lnTo>
                  <a:lnTo>
                    <a:pt x="2210" y="841"/>
                  </a:lnTo>
                  <a:lnTo>
                    <a:pt x="2189" y="842"/>
                  </a:lnTo>
                  <a:lnTo>
                    <a:pt x="2169" y="842"/>
                  </a:lnTo>
                  <a:lnTo>
                    <a:pt x="2155" y="857"/>
                  </a:lnTo>
                  <a:lnTo>
                    <a:pt x="2140" y="857"/>
                  </a:lnTo>
                  <a:lnTo>
                    <a:pt x="2140" y="859"/>
                  </a:lnTo>
                  <a:lnTo>
                    <a:pt x="2139" y="861"/>
                  </a:lnTo>
                  <a:lnTo>
                    <a:pt x="2137" y="863"/>
                  </a:lnTo>
                  <a:lnTo>
                    <a:pt x="2135" y="865"/>
                  </a:lnTo>
                  <a:lnTo>
                    <a:pt x="2129" y="867"/>
                  </a:lnTo>
                  <a:lnTo>
                    <a:pt x="2122" y="869"/>
                  </a:lnTo>
                  <a:lnTo>
                    <a:pt x="2116" y="871"/>
                  </a:lnTo>
                  <a:lnTo>
                    <a:pt x="2110" y="875"/>
                  </a:lnTo>
                  <a:lnTo>
                    <a:pt x="2108" y="877"/>
                  </a:lnTo>
                  <a:lnTo>
                    <a:pt x="2106" y="879"/>
                  </a:lnTo>
                  <a:lnTo>
                    <a:pt x="2105" y="882"/>
                  </a:lnTo>
                  <a:lnTo>
                    <a:pt x="2105" y="886"/>
                  </a:lnTo>
                  <a:lnTo>
                    <a:pt x="2098" y="892"/>
                  </a:lnTo>
                  <a:lnTo>
                    <a:pt x="2090" y="895"/>
                  </a:lnTo>
                  <a:lnTo>
                    <a:pt x="2080" y="898"/>
                  </a:lnTo>
                  <a:lnTo>
                    <a:pt x="2076" y="899"/>
                  </a:lnTo>
                  <a:lnTo>
                    <a:pt x="2072" y="902"/>
                  </a:lnTo>
                  <a:lnTo>
                    <a:pt x="2070" y="905"/>
                  </a:lnTo>
                  <a:lnTo>
                    <a:pt x="2069" y="907"/>
                  </a:lnTo>
                  <a:lnTo>
                    <a:pt x="2052" y="906"/>
                  </a:lnTo>
                  <a:lnTo>
                    <a:pt x="2036" y="902"/>
                  </a:lnTo>
                  <a:lnTo>
                    <a:pt x="2021" y="898"/>
                  </a:lnTo>
                  <a:lnTo>
                    <a:pt x="2004" y="892"/>
                  </a:lnTo>
                  <a:lnTo>
                    <a:pt x="1990" y="888"/>
                  </a:lnTo>
                  <a:lnTo>
                    <a:pt x="1974" y="884"/>
                  </a:lnTo>
                  <a:lnTo>
                    <a:pt x="1959" y="880"/>
                  </a:lnTo>
                  <a:lnTo>
                    <a:pt x="1946" y="879"/>
                  </a:lnTo>
                  <a:lnTo>
                    <a:pt x="1945" y="876"/>
                  </a:lnTo>
                  <a:lnTo>
                    <a:pt x="1944" y="873"/>
                  </a:lnTo>
                  <a:lnTo>
                    <a:pt x="1942" y="871"/>
                  </a:lnTo>
                  <a:lnTo>
                    <a:pt x="1938" y="869"/>
                  </a:lnTo>
                  <a:lnTo>
                    <a:pt x="1930" y="866"/>
                  </a:lnTo>
                  <a:lnTo>
                    <a:pt x="1925" y="865"/>
                  </a:lnTo>
                  <a:lnTo>
                    <a:pt x="1922" y="860"/>
                  </a:lnTo>
                  <a:lnTo>
                    <a:pt x="1914" y="854"/>
                  </a:lnTo>
                  <a:lnTo>
                    <a:pt x="1904" y="848"/>
                  </a:lnTo>
                  <a:lnTo>
                    <a:pt x="1891" y="840"/>
                  </a:lnTo>
                  <a:lnTo>
                    <a:pt x="1867" y="827"/>
                  </a:lnTo>
                  <a:lnTo>
                    <a:pt x="1852" y="821"/>
                  </a:lnTo>
                  <a:lnTo>
                    <a:pt x="1850" y="818"/>
                  </a:lnTo>
                  <a:lnTo>
                    <a:pt x="1843" y="812"/>
                  </a:lnTo>
                  <a:lnTo>
                    <a:pt x="1833" y="807"/>
                  </a:lnTo>
                  <a:lnTo>
                    <a:pt x="1822" y="800"/>
                  </a:lnTo>
                  <a:lnTo>
                    <a:pt x="1801" y="786"/>
                  </a:lnTo>
                  <a:lnTo>
                    <a:pt x="1788" y="777"/>
                  </a:lnTo>
                  <a:lnTo>
                    <a:pt x="1776" y="776"/>
                  </a:lnTo>
                  <a:lnTo>
                    <a:pt x="1766" y="774"/>
                  </a:lnTo>
                  <a:lnTo>
                    <a:pt x="1755" y="772"/>
                  </a:lnTo>
                  <a:lnTo>
                    <a:pt x="1744" y="771"/>
                  </a:lnTo>
                  <a:lnTo>
                    <a:pt x="1742" y="767"/>
                  </a:lnTo>
                  <a:lnTo>
                    <a:pt x="1735" y="763"/>
                  </a:lnTo>
                  <a:lnTo>
                    <a:pt x="1725" y="759"/>
                  </a:lnTo>
                  <a:lnTo>
                    <a:pt x="1714" y="753"/>
                  </a:lnTo>
                  <a:lnTo>
                    <a:pt x="1702" y="748"/>
                  </a:lnTo>
                  <a:lnTo>
                    <a:pt x="1689" y="745"/>
                  </a:lnTo>
                  <a:lnTo>
                    <a:pt x="1679" y="743"/>
                  </a:lnTo>
                  <a:lnTo>
                    <a:pt x="1673" y="742"/>
                  </a:lnTo>
                  <a:lnTo>
                    <a:pt x="1671" y="740"/>
                  </a:lnTo>
                  <a:lnTo>
                    <a:pt x="1670" y="737"/>
                  </a:lnTo>
                  <a:lnTo>
                    <a:pt x="1667" y="736"/>
                  </a:lnTo>
                  <a:lnTo>
                    <a:pt x="1664" y="735"/>
                  </a:lnTo>
                  <a:lnTo>
                    <a:pt x="1657" y="735"/>
                  </a:lnTo>
                  <a:lnTo>
                    <a:pt x="1650" y="734"/>
                  </a:lnTo>
                  <a:lnTo>
                    <a:pt x="1636" y="721"/>
                  </a:lnTo>
                  <a:lnTo>
                    <a:pt x="1626" y="721"/>
                  </a:lnTo>
                  <a:lnTo>
                    <a:pt x="1615" y="721"/>
                  </a:lnTo>
                  <a:lnTo>
                    <a:pt x="1615" y="717"/>
                  </a:lnTo>
                  <a:lnTo>
                    <a:pt x="1612" y="716"/>
                  </a:lnTo>
                  <a:lnTo>
                    <a:pt x="1610" y="715"/>
                  </a:lnTo>
                  <a:lnTo>
                    <a:pt x="1607" y="714"/>
                  </a:lnTo>
                  <a:lnTo>
                    <a:pt x="1599" y="713"/>
                  </a:lnTo>
                  <a:lnTo>
                    <a:pt x="1593" y="713"/>
                  </a:lnTo>
                  <a:lnTo>
                    <a:pt x="1586" y="706"/>
                  </a:lnTo>
                  <a:lnTo>
                    <a:pt x="1586" y="702"/>
                  </a:lnTo>
                  <a:lnTo>
                    <a:pt x="1584" y="699"/>
                  </a:lnTo>
                  <a:lnTo>
                    <a:pt x="1583" y="698"/>
                  </a:lnTo>
                  <a:lnTo>
                    <a:pt x="1582" y="698"/>
                  </a:lnTo>
                  <a:lnTo>
                    <a:pt x="1581" y="698"/>
                  </a:lnTo>
                  <a:lnTo>
                    <a:pt x="1580" y="697"/>
                  </a:lnTo>
                  <a:lnTo>
                    <a:pt x="1579" y="695"/>
                  </a:lnTo>
                  <a:lnTo>
                    <a:pt x="1579" y="692"/>
                  </a:lnTo>
                  <a:lnTo>
                    <a:pt x="1572" y="690"/>
                  </a:lnTo>
                  <a:lnTo>
                    <a:pt x="1565" y="687"/>
                  </a:lnTo>
                  <a:lnTo>
                    <a:pt x="1562" y="685"/>
                  </a:lnTo>
                  <a:lnTo>
                    <a:pt x="1560" y="683"/>
                  </a:lnTo>
                  <a:lnTo>
                    <a:pt x="1558" y="679"/>
                  </a:lnTo>
                  <a:lnTo>
                    <a:pt x="1556" y="677"/>
                  </a:lnTo>
                  <a:lnTo>
                    <a:pt x="1535" y="677"/>
                  </a:lnTo>
                  <a:lnTo>
                    <a:pt x="1535" y="675"/>
                  </a:lnTo>
                  <a:lnTo>
                    <a:pt x="1533" y="673"/>
                  </a:lnTo>
                  <a:lnTo>
                    <a:pt x="1531" y="670"/>
                  </a:lnTo>
                  <a:lnTo>
                    <a:pt x="1529" y="669"/>
                  </a:lnTo>
                  <a:lnTo>
                    <a:pt x="1525" y="667"/>
                  </a:lnTo>
                  <a:lnTo>
                    <a:pt x="1523" y="664"/>
                  </a:lnTo>
                  <a:lnTo>
                    <a:pt x="1522" y="660"/>
                  </a:lnTo>
                  <a:lnTo>
                    <a:pt x="1521" y="655"/>
                  </a:lnTo>
                  <a:lnTo>
                    <a:pt x="1506" y="655"/>
                  </a:lnTo>
                  <a:lnTo>
                    <a:pt x="1506" y="651"/>
                  </a:lnTo>
                  <a:lnTo>
                    <a:pt x="1505" y="649"/>
                  </a:lnTo>
                  <a:lnTo>
                    <a:pt x="1504" y="648"/>
                  </a:lnTo>
                  <a:lnTo>
                    <a:pt x="1503" y="648"/>
                  </a:lnTo>
                  <a:lnTo>
                    <a:pt x="1502" y="648"/>
                  </a:lnTo>
                  <a:lnTo>
                    <a:pt x="1501" y="647"/>
                  </a:lnTo>
                  <a:lnTo>
                    <a:pt x="1500" y="645"/>
                  </a:lnTo>
                  <a:lnTo>
                    <a:pt x="1500" y="641"/>
                  </a:lnTo>
                  <a:lnTo>
                    <a:pt x="1477" y="641"/>
                  </a:lnTo>
                  <a:lnTo>
                    <a:pt x="1477" y="638"/>
                  </a:lnTo>
                  <a:lnTo>
                    <a:pt x="1476" y="637"/>
                  </a:lnTo>
                  <a:lnTo>
                    <a:pt x="1475" y="636"/>
                  </a:lnTo>
                  <a:lnTo>
                    <a:pt x="1473" y="635"/>
                  </a:lnTo>
                  <a:lnTo>
                    <a:pt x="1468" y="634"/>
                  </a:lnTo>
                  <a:lnTo>
                    <a:pt x="1464" y="634"/>
                  </a:lnTo>
                  <a:lnTo>
                    <a:pt x="1460" y="630"/>
                  </a:lnTo>
                  <a:lnTo>
                    <a:pt x="1454" y="627"/>
                  </a:lnTo>
                  <a:lnTo>
                    <a:pt x="1445" y="623"/>
                  </a:lnTo>
                  <a:lnTo>
                    <a:pt x="1434" y="620"/>
                  </a:lnTo>
                  <a:lnTo>
                    <a:pt x="1411" y="615"/>
                  </a:lnTo>
                  <a:lnTo>
                    <a:pt x="1398" y="612"/>
                  </a:lnTo>
                  <a:lnTo>
                    <a:pt x="1385" y="598"/>
                  </a:lnTo>
                  <a:lnTo>
                    <a:pt x="1378" y="597"/>
                  </a:lnTo>
                  <a:lnTo>
                    <a:pt x="1372" y="596"/>
                  </a:lnTo>
                  <a:lnTo>
                    <a:pt x="1366" y="593"/>
                  </a:lnTo>
                  <a:lnTo>
                    <a:pt x="1359" y="590"/>
                  </a:lnTo>
                  <a:lnTo>
                    <a:pt x="1345" y="586"/>
                  </a:lnTo>
                  <a:lnTo>
                    <a:pt x="1333" y="583"/>
                  </a:lnTo>
                  <a:lnTo>
                    <a:pt x="1333" y="581"/>
                  </a:lnTo>
                  <a:lnTo>
                    <a:pt x="1331" y="578"/>
                  </a:lnTo>
                  <a:lnTo>
                    <a:pt x="1329" y="575"/>
                  </a:lnTo>
                  <a:lnTo>
                    <a:pt x="1324" y="572"/>
                  </a:lnTo>
                  <a:lnTo>
                    <a:pt x="1315" y="567"/>
                  </a:lnTo>
                  <a:lnTo>
                    <a:pt x="1305" y="562"/>
                  </a:lnTo>
                  <a:lnTo>
                    <a:pt x="1294" y="557"/>
                  </a:lnTo>
                  <a:lnTo>
                    <a:pt x="1285" y="551"/>
                  </a:lnTo>
                  <a:lnTo>
                    <a:pt x="1281" y="548"/>
                  </a:lnTo>
                  <a:lnTo>
                    <a:pt x="1279" y="545"/>
                  </a:lnTo>
                  <a:lnTo>
                    <a:pt x="1276" y="543"/>
                  </a:lnTo>
                  <a:lnTo>
                    <a:pt x="1276" y="540"/>
                  </a:lnTo>
                  <a:lnTo>
                    <a:pt x="1254" y="540"/>
                  </a:lnTo>
                  <a:lnTo>
                    <a:pt x="1254" y="538"/>
                  </a:lnTo>
                  <a:lnTo>
                    <a:pt x="1253" y="535"/>
                  </a:lnTo>
                  <a:lnTo>
                    <a:pt x="1252" y="534"/>
                  </a:lnTo>
                  <a:lnTo>
                    <a:pt x="1249" y="534"/>
                  </a:lnTo>
                  <a:lnTo>
                    <a:pt x="1245" y="533"/>
                  </a:lnTo>
                  <a:lnTo>
                    <a:pt x="1239" y="533"/>
                  </a:lnTo>
                  <a:lnTo>
                    <a:pt x="1229" y="522"/>
                  </a:lnTo>
                  <a:lnTo>
                    <a:pt x="1218" y="511"/>
                  </a:lnTo>
                  <a:lnTo>
                    <a:pt x="1204" y="504"/>
                  </a:lnTo>
                  <a:lnTo>
                    <a:pt x="1199" y="502"/>
                  </a:lnTo>
                  <a:lnTo>
                    <a:pt x="1193" y="497"/>
                  </a:lnTo>
                  <a:lnTo>
                    <a:pt x="1185" y="490"/>
                  </a:lnTo>
                  <a:lnTo>
                    <a:pt x="1175" y="482"/>
                  </a:lnTo>
                  <a:lnTo>
                    <a:pt x="1157" y="465"/>
                  </a:lnTo>
                  <a:lnTo>
                    <a:pt x="1146" y="454"/>
                  </a:lnTo>
                  <a:lnTo>
                    <a:pt x="1146" y="439"/>
                  </a:lnTo>
                  <a:lnTo>
                    <a:pt x="1143" y="439"/>
                  </a:lnTo>
                  <a:lnTo>
                    <a:pt x="1142" y="438"/>
                  </a:lnTo>
                  <a:lnTo>
                    <a:pt x="1141" y="436"/>
                  </a:lnTo>
                  <a:lnTo>
                    <a:pt x="1140" y="435"/>
                  </a:lnTo>
                  <a:lnTo>
                    <a:pt x="1139" y="430"/>
                  </a:lnTo>
                  <a:lnTo>
                    <a:pt x="1139" y="425"/>
                  </a:lnTo>
                  <a:lnTo>
                    <a:pt x="1138" y="425"/>
                  </a:lnTo>
                  <a:lnTo>
                    <a:pt x="1137" y="423"/>
                  </a:lnTo>
                  <a:lnTo>
                    <a:pt x="1136" y="421"/>
                  </a:lnTo>
                  <a:lnTo>
                    <a:pt x="1136" y="418"/>
                  </a:lnTo>
                  <a:lnTo>
                    <a:pt x="1136" y="410"/>
                  </a:lnTo>
                  <a:lnTo>
                    <a:pt x="1136" y="401"/>
                  </a:lnTo>
                  <a:lnTo>
                    <a:pt x="1138" y="376"/>
                  </a:lnTo>
                  <a:lnTo>
                    <a:pt x="1142" y="347"/>
                  </a:lnTo>
                  <a:lnTo>
                    <a:pt x="1147" y="318"/>
                  </a:lnTo>
                  <a:lnTo>
                    <a:pt x="1151" y="290"/>
                  </a:lnTo>
                  <a:lnTo>
                    <a:pt x="1155" y="267"/>
                  </a:lnTo>
                  <a:lnTo>
                    <a:pt x="1156" y="253"/>
                  </a:lnTo>
                  <a:lnTo>
                    <a:pt x="1153" y="253"/>
                  </a:lnTo>
                  <a:lnTo>
                    <a:pt x="1152" y="252"/>
                  </a:lnTo>
                  <a:lnTo>
                    <a:pt x="1150" y="251"/>
                  </a:lnTo>
                  <a:lnTo>
                    <a:pt x="1150" y="248"/>
                  </a:lnTo>
                  <a:lnTo>
                    <a:pt x="1149" y="244"/>
                  </a:lnTo>
                  <a:lnTo>
                    <a:pt x="1149" y="240"/>
                  </a:lnTo>
                  <a:lnTo>
                    <a:pt x="1135" y="232"/>
                  </a:lnTo>
                  <a:lnTo>
                    <a:pt x="1133" y="221"/>
                  </a:lnTo>
                  <a:lnTo>
                    <a:pt x="1131" y="211"/>
                  </a:lnTo>
                  <a:lnTo>
                    <a:pt x="1128" y="199"/>
                  </a:lnTo>
                  <a:lnTo>
                    <a:pt x="1127" y="188"/>
                  </a:lnTo>
                  <a:lnTo>
                    <a:pt x="1124" y="188"/>
                  </a:lnTo>
                  <a:lnTo>
                    <a:pt x="1123" y="186"/>
                  </a:lnTo>
                  <a:lnTo>
                    <a:pt x="1122" y="184"/>
                  </a:lnTo>
                  <a:lnTo>
                    <a:pt x="1121" y="180"/>
                  </a:lnTo>
                  <a:lnTo>
                    <a:pt x="1120" y="174"/>
                  </a:lnTo>
                  <a:lnTo>
                    <a:pt x="1120" y="167"/>
                  </a:lnTo>
                  <a:lnTo>
                    <a:pt x="1116" y="167"/>
                  </a:lnTo>
                  <a:lnTo>
                    <a:pt x="1113" y="166"/>
                  </a:lnTo>
                  <a:lnTo>
                    <a:pt x="1113" y="165"/>
                  </a:lnTo>
                  <a:lnTo>
                    <a:pt x="1113" y="164"/>
                  </a:lnTo>
                  <a:lnTo>
                    <a:pt x="1112" y="163"/>
                  </a:lnTo>
                  <a:lnTo>
                    <a:pt x="1112" y="161"/>
                  </a:lnTo>
                  <a:lnTo>
                    <a:pt x="1110" y="160"/>
                  </a:lnTo>
                  <a:lnTo>
                    <a:pt x="1105" y="160"/>
                  </a:lnTo>
                  <a:lnTo>
                    <a:pt x="1107" y="96"/>
                  </a:lnTo>
                  <a:lnTo>
                    <a:pt x="1099" y="89"/>
                  </a:lnTo>
                  <a:lnTo>
                    <a:pt x="1092" y="81"/>
                  </a:lnTo>
                  <a:lnTo>
                    <a:pt x="1082" y="82"/>
                  </a:lnTo>
                  <a:lnTo>
                    <a:pt x="1060" y="84"/>
                  </a:lnTo>
                  <a:lnTo>
                    <a:pt x="1037" y="88"/>
                  </a:lnTo>
                  <a:lnTo>
                    <a:pt x="1026" y="88"/>
                  </a:lnTo>
                  <a:lnTo>
                    <a:pt x="1026" y="86"/>
                  </a:lnTo>
                  <a:lnTo>
                    <a:pt x="1024" y="84"/>
                  </a:lnTo>
                  <a:lnTo>
                    <a:pt x="1022" y="83"/>
                  </a:lnTo>
                  <a:lnTo>
                    <a:pt x="1018" y="82"/>
                  </a:lnTo>
                  <a:lnTo>
                    <a:pt x="1012" y="81"/>
                  </a:lnTo>
                  <a:lnTo>
                    <a:pt x="1005" y="81"/>
                  </a:lnTo>
                  <a:lnTo>
                    <a:pt x="1005" y="72"/>
                  </a:lnTo>
                  <a:lnTo>
                    <a:pt x="1003" y="59"/>
                  </a:lnTo>
                  <a:lnTo>
                    <a:pt x="1002" y="53"/>
                  </a:lnTo>
                  <a:lnTo>
                    <a:pt x="999" y="48"/>
                  </a:lnTo>
                  <a:lnTo>
                    <a:pt x="997" y="44"/>
                  </a:lnTo>
                  <a:lnTo>
                    <a:pt x="995" y="43"/>
                  </a:lnTo>
                  <a:lnTo>
                    <a:pt x="995" y="39"/>
                  </a:lnTo>
                  <a:lnTo>
                    <a:pt x="994" y="36"/>
                  </a:lnTo>
                  <a:lnTo>
                    <a:pt x="993" y="35"/>
                  </a:lnTo>
                  <a:lnTo>
                    <a:pt x="992" y="35"/>
                  </a:lnTo>
                  <a:lnTo>
                    <a:pt x="989" y="35"/>
                  </a:lnTo>
                  <a:lnTo>
                    <a:pt x="988" y="34"/>
                  </a:lnTo>
                  <a:lnTo>
                    <a:pt x="988" y="33"/>
                  </a:lnTo>
                  <a:lnTo>
                    <a:pt x="987" y="29"/>
                  </a:lnTo>
                  <a:lnTo>
                    <a:pt x="974" y="29"/>
                  </a:lnTo>
                  <a:lnTo>
                    <a:pt x="973" y="24"/>
                  </a:lnTo>
                  <a:lnTo>
                    <a:pt x="973" y="22"/>
                  </a:lnTo>
                  <a:lnTo>
                    <a:pt x="970" y="21"/>
                  </a:lnTo>
                  <a:lnTo>
                    <a:pt x="969" y="21"/>
                  </a:lnTo>
                  <a:lnTo>
                    <a:pt x="968" y="21"/>
                  </a:lnTo>
                  <a:lnTo>
                    <a:pt x="967" y="21"/>
                  </a:lnTo>
                  <a:lnTo>
                    <a:pt x="966" y="19"/>
                  </a:lnTo>
                  <a:lnTo>
                    <a:pt x="966" y="14"/>
                  </a:lnTo>
                  <a:lnTo>
                    <a:pt x="951" y="14"/>
                  </a:lnTo>
                  <a:lnTo>
                    <a:pt x="951" y="12"/>
                  </a:lnTo>
                  <a:lnTo>
                    <a:pt x="949" y="10"/>
                  </a:lnTo>
                  <a:lnTo>
                    <a:pt x="947" y="9"/>
                  </a:lnTo>
                  <a:lnTo>
                    <a:pt x="944" y="7"/>
                  </a:lnTo>
                  <a:lnTo>
                    <a:pt x="937" y="7"/>
                  </a:lnTo>
                  <a:lnTo>
                    <a:pt x="930" y="6"/>
                  </a:lnTo>
                  <a:lnTo>
                    <a:pt x="929" y="5"/>
                  </a:lnTo>
                  <a:lnTo>
                    <a:pt x="926" y="4"/>
                  </a:lnTo>
                  <a:lnTo>
                    <a:pt x="922" y="4"/>
                  </a:lnTo>
                  <a:lnTo>
                    <a:pt x="917" y="3"/>
                  </a:lnTo>
                  <a:lnTo>
                    <a:pt x="902" y="2"/>
                  </a:lnTo>
                  <a:lnTo>
                    <a:pt x="884" y="1"/>
                  </a:lnTo>
                  <a:lnTo>
                    <a:pt x="851" y="0"/>
                  </a:lnTo>
                  <a:lnTo>
                    <a:pt x="829" y="0"/>
                  </a:lnTo>
                  <a:lnTo>
                    <a:pt x="829" y="2"/>
                  </a:lnTo>
                  <a:lnTo>
                    <a:pt x="826" y="4"/>
                  </a:lnTo>
                  <a:lnTo>
                    <a:pt x="824" y="5"/>
                  </a:lnTo>
                  <a:lnTo>
                    <a:pt x="821" y="6"/>
                  </a:lnTo>
                  <a:lnTo>
                    <a:pt x="814" y="6"/>
                  </a:lnTo>
                  <a:lnTo>
                    <a:pt x="807" y="6"/>
                  </a:lnTo>
                  <a:lnTo>
                    <a:pt x="806" y="9"/>
                  </a:lnTo>
                  <a:lnTo>
                    <a:pt x="802" y="10"/>
                  </a:lnTo>
                  <a:lnTo>
                    <a:pt x="795" y="12"/>
                  </a:lnTo>
                  <a:lnTo>
                    <a:pt x="786" y="13"/>
                  </a:lnTo>
                  <a:lnTo>
                    <a:pt x="764" y="16"/>
                  </a:lnTo>
                  <a:lnTo>
                    <a:pt x="737" y="21"/>
                  </a:lnTo>
                  <a:lnTo>
                    <a:pt x="686" y="26"/>
                  </a:lnTo>
                  <a:lnTo>
                    <a:pt x="657" y="29"/>
                  </a:lnTo>
                  <a:lnTo>
                    <a:pt x="656" y="32"/>
                  </a:lnTo>
                  <a:lnTo>
                    <a:pt x="653" y="35"/>
                  </a:lnTo>
                  <a:lnTo>
                    <a:pt x="651" y="39"/>
                  </a:lnTo>
                  <a:lnTo>
                    <a:pt x="648" y="42"/>
                  </a:lnTo>
                  <a:lnTo>
                    <a:pt x="644" y="45"/>
                  </a:lnTo>
                  <a:lnTo>
                    <a:pt x="641" y="48"/>
                  </a:lnTo>
                  <a:lnTo>
                    <a:pt x="638" y="50"/>
                  </a:lnTo>
                  <a:lnTo>
                    <a:pt x="634" y="50"/>
                  </a:lnTo>
                  <a:lnTo>
                    <a:pt x="628" y="58"/>
                  </a:lnTo>
                  <a:lnTo>
                    <a:pt x="627" y="61"/>
                  </a:lnTo>
                  <a:lnTo>
                    <a:pt x="627" y="63"/>
                  </a:lnTo>
                  <a:lnTo>
                    <a:pt x="625" y="64"/>
                  </a:lnTo>
                  <a:lnTo>
                    <a:pt x="623" y="64"/>
                  </a:lnTo>
                  <a:lnTo>
                    <a:pt x="622" y="64"/>
                  </a:lnTo>
                  <a:lnTo>
                    <a:pt x="621" y="65"/>
                  </a:lnTo>
                  <a:lnTo>
                    <a:pt x="621" y="68"/>
                  </a:lnTo>
                  <a:lnTo>
                    <a:pt x="620" y="72"/>
                  </a:lnTo>
                  <a:lnTo>
                    <a:pt x="595" y="73"/>
                  </a:lnTo>
                  <a:lnTo>
                    <a:pt x="566" y="75"/>
                  </a:lnTo>
                  <a:lnTo>
                    <a:pt x="537" y="78"/>
                  </a:lnTo>
                  <a:lnTo>
                    <a:pt x="512" y="79"/>
                  </a:lnTo>
                  <a:lnTo>
                    <a:pt x="512" y="81"/>
                  </a:lnTo>
                  <a:lnTo>
                    <a:pt x="510" y="83"/>
                  </a:lnTo>
                  <a:lnTo>
                    <a:pt x="509" y="84"/>
                  </a:lnTo>
                  <a:lnTo>
                    <a:pt x="507" y="86"/>
                  </a:lnTo>
                  <a:lnTo>
                    <a:pt x="503" y="86"/>
                  </a:lnTo>
                  <a:lnTo>
                    <a:pt x="498" y="86"/>
                  </a:lnTo>
                  <a:lnTo>
                    <a:pt x="490" y="100"/>
                  </a:lnTo>
                  <a:lnTo>
                    <a:pt x="484" y="108"/>
                  </a:lnTo>
                  <a:lnTo>
                    <a:pt x="473" y="108"/>
                  </a:lnTo>
                  <a:lnTo>
                    <a:pt x="461" y="108"/>
                  </a:lnTo>
                  <a:lnTo>
                    <a:pt x="461" y="110"/>
                  </a:lnTo>
                  <a:lnTo>
                    <a:pt x="460" y="112"/>
                  </a:lnTo>
                  <a:lnTo>
                    <a:pt x="458" y="113"/>
                  </a:lnTo>
                  <a:lnTo>
                    <a:pt x="456" y="115"/>
                  </a:lnTo>
                  <a:lnTo>
                    <a:pt x="447" y="118"/>
                  </a:lnTo>
                  <a:lnTo>
                    <a:pt x="432" y="122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8" name="Freeform 14"/>
            <p:cNvSpPr>
              <a:spLocks noChangeAspect="1"/>
            </p:cNvSpPr>
            <p:nvPr/>
          </p:nvSpPr>
          <p:spPr bwMode="gray">
            <a:xfrm rot="355651">
              <a:off x="6058808" y="4083050"/>
              <a:ext cx="343835" cy="339610"/>
            </a:xfrm>
            <a:custGeom>
              <a:avLst/>
              <a:gdLst/>
              <a:ahLst/>
              <a:cxnLst>
                <a:cxn ang="0">
                  <a:pos x="325" y="177"/>
                </a:cxn>
                <a:cxn ang="0">
                  <a:pos x="226" y="263"/>
                </a:cxn>
                <a:cxn ang="0">
                  <a:pos x="194" y="297"/>
                </a:cxn>
                <a:cxn ang="0">
                  <a:pos x="175" y="336"/>
                </a:cxn>
                <a:cxn ang="0">
                  <a:pos x="106" y="377"/>
                </a:cxn>
                <a:cxn ang="0">
                  <a:pos x="24" y="418"/>
                </a:cxn>
                <a:cxn ang="0">
                  <a:pos x="30" y="548"/>
                </a:cxn>
                <a:cxn ang="0">
                  <a:pos x="14" y="608"/>
                </a:cxn>
                <a:cxn ang="0">
                  <a:pos x="2" y="682"/>
                </a:cxn>
                <a:cxn ang="0">
                  <a:pos x="36" y="712"/>
                </a:cxn>
                <a:cxn ang="0">
                  <a:pos x="71" y="737"/>
                </a:cxn>
                <a:cxn ang="0">
                  <a:pos x="110" y="848"/>
                </a:cxn>
                <a:cxn ang="0">
                  <a:pos x="139" y="982"/>
                </a:cxn>
                <a:cxn ang="0">
                  <a:pos x="213" y="1100"/>
                </a:cxn>
                <a:cxn ang="0">
                  <a:pos x="251" y="1332"/>
                </a:cxn>
                <a:cxn ang="0">
                  <a:pos x="283" y="1363"/>
                </a:cxn>
                <a:cxn ang="0">
                  <a:pos x="288" y="1403"/>
                </a:cxn>
                <a:cxn ang="0">
                  <a:pos x="269" y="1428"/>
                </a:cxn>
                <a:cxn ang="0">
                  <a:pos x="220" y="1562"/>
                </a:cxn>
                <a:cxn ang="0">
                  <a:pos x="183" y="1907"/>
                </a:cxn>
                <a:cxn ang="0">
                  <a:pos x="261" y="1994"/>
                </a:cxn>
                <a:cxn ang="0">
                  <a:pos x="372" y="1965"/>
                </a:cxn>
                <a:cxn ang="0">
                  <a:pos x="437" y="1925"/>
                </a:cxn>
                <a:cxn ang="0">
                  <a:pos x="500" y="1692"/>
                </a:cxn>
                <a:cxn ang="0">
                  <a:pos x="549" y="1495"/>
                </a:cxn>
                <a:cxn ang="0">
                  <a:pos x="703" y="1261"/>
                </a:cxn>
                <a:cxn ang="0">
                  <a:pos x="813" y="1175"/>
                </a:cxn>
                <a:cxn ang="0">
                  <a:pos x="989" y="1138"/>
                </a:cxn>
                <a:cxn ang="0">
                  <a:pos x="1089" y="1485"/>
                </a:cxn>
                <a:cxn ang="0">
                  <a:pos x="1171" y="1519"/>
                </a:cxn>
                <a:cxn ang="0">
                  <a:pos x="1227" y="1586"/>
                </a:cxn>
                <a:cxn ang="0">
                  <a:pos x="1309" y="1771"/>
                </a:cxn>
                <a:cxn ang="0">
                  <a:pos x="1429" y="1821"/>
                </a:cxn>
                <a:cxn ang="0">
                  <a:pos x="1517" y="1916"/>
                </a:cxn>
                <a:cxn ang="0">
                  <a:pos x="1553" y="1945"/>
                </a:cxn>
                <a:cxn ang="0">
                  <a:pos x="1595" y="2003"/>
                </a:cxn>
                <a:cxn ang="0">
                  <a:pos x="1667" y="2089"/>
                </a:cxn>
                <a:cxn ang="0">
                  <a:pos x="1751" y="2032"/>
                </a:cxn>
                <a:cxn ang="0">
                  <a:pos x="1810" y="1989"/>
                </a:cxn>
                <a:cxn ang="0">
                  <a:pos x="1833" y="1970"/>
                </a:cxn>
                <a:cxn ang="0">
                  <a:pos x="1792" y="1817"/>
                </a:cxn>
                <a:cxn ang="0">
                  <a:pos x="1708" y="1751"/>
                </a:cxn>
                <a:cxn ang="0">
                  <a:pos x="1649" y="1714"/>
                </a:cxn>
                <a:cxn ang="0">
                  <a:pos x="1572" y="1642"/>
                </a:cxn>
                <a:cxn ang="0">
                  <a:pos x="1561" y="1461"/>
                </a:cxn>
                <a:cxn ang="0">
                  <a:pos x="1620" y="1423"/>
                </a:cxn>
                <a:cxn ang="0">
                  <a:pos x="1689" y="1395"/>
                </a:cxn>
                <a:cxn ang="0">
                  <a:pos x="1710" y="1337"/>
                </a:cxn>
                <a:cxn ang="0">
                  <a:pos x="1696" y="1282"/>
                </a:cxn>
                <a:cxn ang="0">
                  <a:pos x="1627" y="1189"/>
                </a:cxn>
                <a:cxn ang="0">
                  <a:pos x="1495" y="913"/>
                </a:cxn>
                <a:cxn ang="0">
                  <a:pos x="1441" y="802"/>
                </a:cxn>
                <a:cxn ang="0">
                  <a:pos x="1342" y="764"/>
                </a:cxn>
                <a:cxn ang="0">
                  <a:pos x="1226" y="768"/>
                </a:cxn>
                <a:cxn ang="0">
                  <a:pos x="1033" y="744"/>
                </a:cxn>
                <a:cxn ang="0">
                  <a:pos x="994" y="708"/>
                </a:cxn>
                <a:cxn ang="0">
                  <a:pos x="921" y="683"/>
                </a:cxn>
                <a:cxn ang="0">
                  <a:pos x="820" y="435"/>
                </a:cxn>
                <a:cxn ang="0">
                  <a:pos x="729" y="283"/>
                </a:cxn>
                <a:cxn ang="0">
                  <a:pos x="682" y="69"/>
                </a:cxn>
                <a:cxn ang="0">
                  <a:pos x="629" y="1"/>
                </a:cxn>
                <a:cxn ang="0">
                  <a:pos x="433" y="4"/>
                </a:cxn>
              </a:cxnLst>
              <a:rect l="0" t="0" r="r" b="b"/>
              <a:pathLst>
                <a:path w="1883" h="2109">
                  <a:moveTo>
                    <a:pt x="303" y="7"/>
                  </a:moveTo>
                  <a:lnTo>
                    <a:pt x="297" y="16"/>
                  </a:lnTo>
                  <a:lnTo>
                    <a:pt x="295" y="24"/>
                  </a:lnTo>
                  <a:lnTo>
                    <a:pt x="293" y="35"/>
                  </a:lnTo>
                  <a:lnTo>
                    <a:pt x="293" y="46"/>
                  </a:lnTo>
                  <a:lnTo>
                    <a:pt x="294" y="57"/>
                  </a:lnTo>
                  <a:lnTo>
                    <a:pt x="296" y="68"/>
                  </a:lnTo>
                  <a:lnTo>
                    <a:pt x="299" y="80"/>
                  </a:lnTo>
                  <a:lnTo>
                    <a:pt x="303" y="93"/>
                  </a:lnTo>
                  <a:lnTo>
                    <a:pt x="311" y="117"/>
                  </a:lnTo>
                  <a:lnTo>
                    <a:pt x="318" y="142"/>
                  </a:lnTo>
                  <a:lnTo>
                    <a:pt x="321" y="154"/>
                  </a:lnTo>
                  <a:lnTo>
                    <a:pt x="324" y="166"/>
                  </a:lnTo>
                  <a:lnTo>
                    <a:pt x="325" y="177"/>
                  </a:lnTo>
                  <a:lnTo>
                    <a:pt x="326" y="187"/>
                  </a:lnTo>
                  <a:lnTo>
                    <a:pt x="314" y="201"/>
                  </a:lnTo>
                  <a:lnTo>
                    <a:pt x="314" y="213"/>
                  </a:lnTo>
                  <a:lnTo>
                    <a:pt x="307" y="225"/>
                  </a:lnTo>
                  <a:lnTo>
                    <a:pt x="299" y="229"/>
                  </a:lnTo>
                  <a:lnTo>
                    <a:pt x="289" y="235"/>
                  </a:lnTo>
                  <a:lnTo>
                    <a:pt x="284" y="240"/>
                  </a:lnTo>
                  <a:lnTo>
                    <a:pt x="280" y="244"/>
                  </a:lnTo>
                  <a:lnTo>
                    <a:pt x="277" y="248"/>
                  </a:lnTo>
                  <a:lnTo>
                    <a:pt x="276" y="250"/>
                  </a:lnTo>
                  <a:lnTo>
                    <a:pt x="265" y="252"/>
                  </a:lnTo>
                  <a:lnTo>
                    <a:pt x="251" y="257"/>
                  </a:lnTo>
                  <a:lnTo>
                    <a:pt x="237" y="261"/>
                  </a:lnTo>
                  <a:lnTo>
                    <a:pt x="226" y="263"/>
                  </a:lnTo>
                  <a:lnTo>
                    <a:pt x="223" y="267"/>
                  </a:lnTo>
                  <a:lnTo>
                    <a:pt x="220" y="270"/>
                  </a:lnTo>
                  <a:lnTo>
                    <a:pt x="217" y="272"/>
                  </a:lnTo>
                  <a:lnTo>
                    <a:pt x="216" y="274"/>
                  </a:lnTo>
                  <a:lnTo>
                    <a:pt x="213" y="278"/>
                  </a:lnTo>
                  <a:lnTo>
                    <a:pt x="213" y="281"/>
                  </a:lnTo>
                  <a:lnTo>
                    <a:pt x="209" y="282"/>
                  </a:lnTo>
                  <a:lnTo>
                    <a:pt x="205" y="286"/>
                  </a:lnTo>
                  <a:lnTo>
                    <a:pt x="202" y="289"/>
                  </a:lnTo>
                  <a:lnTo>
                    <a:pt x="201" y="295"/>
                  </a:lnTo>
                  <a:lnTo>
                    <a:pt x="197" y="295"/>
                  </a:lnTo>
                  <a:lnTo>
                    <a:pt x="196" y="295"/>
                  </a:lnTo>
                  <a:lnTo>
                    <a:pt x="194" y="296"/>
                  </a:lnTo>
                  <a:lnTo>
                    <a:pt x="194" y="297"/>
                  </a:lnTo>
                  <a:lnTo>
                    <a:pt x="194" y="298"/>
                  </a:lnTo>
                  <a:lnTo>
                    <a:pt x="193" y="299"/>
                  </a:lnTo>
                  <a:lnTo>
                    <a:pt x="192" y="300"/>
                  </a:lnTo>
                  <a:lnTo>
                    <a:pt x="189" y="300"/>
                  </a:lnTo>
                  <a:lnTo>
                    <a:pt x="189" y="312"/>
                  </a:lnTo>
                  <a:lnTo>
                    <a:pt x="187" y="314"/>
                  </a:lnTo>
                  <a:lnTo>
                    <a:pt x="184" y="315"/>
                  </a:lnTo>
                  <a:lnTo>
                    <a:pt x="183" y="317"/>
                  </a:lnTo>
                  <a:lnTo>
                    <a:pt x="183" y="320"/>
                  </a:lnTo>
                  <a:lnTo>
                    <a:pt x="182" y="326"/>
                  </a:lnTo>
                  <a:lnTo>
                    <a:pt x="182" y="331"/>
                  </a:lnTo>
                  <a:lnTo>
                    <a:pt x="180" y="333"/>
                  </a:lnTo>
                  <a:lnTo>
                    <a:pt x="178" y="334"/>
                  </a:lnTo>
                  <a:lnTo>
                    <a:pt x="175" y="336"/>
                  </a:lnTo>
                  <a:lnTo>
                    <a:pt x="173" y="339"/>
                  </a:lnTo>
                  <a:lnTo>
                    <a:pt x="171" y="345"/>
                  </a:lnTo>
                  <a:lnTo>
                    <a:pt x="170" y="350"/>
                  </a:lnTo>
                  <a:lnTo>
                    <a:pt x="165" y="351"/>
                  </a:lnTo>
                  <a:lnTo>
                    <a:pt x="161" y="355"/>
                  </a:lnTo>
                  <a:lnTo>
                    <a:pt x="158" y="358"/>
                  </a:lnTo>
                  <a:lnTo>
                    <a:pt x="158" y="363"/>
                  </a:lnTo>
                  <a:lnTo>
                    <a:pt x="151" y="369"/>
                  </a:lnTo>
                  <a:lnTo>
                    <a:pt x="144" y="375"/>
                  </a:lnTo>
                  <a:lnTo>
                    <a:pt x="136" y="375"/>
                  </a:lnTo>
                  <a:lnTo>
                    <a:pt x="126" y="375"/>
                  </a:lnTo>
                  <a:lnTo>
                    <a:pt x="115" y="375"/>
                  </a:lnTo>
                  <a:lnTo>
                    <a:pt x="107" y="375"/>
                  </a:lnTo>
                  <a:lnTo>
                    <a:pt x="106" y="377"/>
                  </a:lnTo>
                  <a:lnTo>
                    <a:pt x="103" y="379"/>
                  </a:lnTo>
                  <a:lnTo>
                    <a:pt x="98" y="380"/>
                  </a:lnTo>
                  <a:lnTo>
                    <a:pt x="94" y="380"/>
                  </a:lnTo>
                  <a:lnTo>
                    <a:pt x="83" y="382"/>
                  </a:lnTo>
                  <a:lnTo>
                    <a:pt x="76" y="382"/>
                  </a:lnTo>
                  <a:lnTo>
                    <a:pt x="75" y="384"/>
                  </a:lnTo>
                  <a:lnTo>
                    <a:pt x="75" y="385"/>
                  </a:lnTo>
                  <a:lnTo>
                    <a:pt x="74" y="386"/>
                  </a:lnTo>
                  <a:lnTo>
                    <a:pt x="72" y="387"/>
                  </a:lnTo>
                  <a:lnTo>
                    <a:pt x="68" y="388"/>
                  </a:lnTo>
                  <a:lnTo>
                    <a:pt x="64" y="388"/>
                  </a:lnTo>
                  <a:lnTo>
                    <a:pt x="38" y="413"/>
                  </a:lnTo>
                  <a:lnTo>
                    <a:pt x="26" y="413"/>
                  </a:lnTo>
                  <a:lnTo>
                    <a:pt x="24" y="418"/>
                  </a:lnTo>
                  <a:lnTo>
                    <a:pt x="19" y="425"/>
                  </a:lnTo>
                  <a:lnTo>
                    <a:pt x="12" y="430"/>
                  </a:lnTo>
                  <a:lnTo>
                    <a:pt x="7" y="432"/>
                  </a:lnTo>
                  <a:lnTo>
                    <a:pt x="7" y="500"/>
                  </a:lnTo>
                  <a:lnTo>
                    <a:pt x="11" y="505"/>
                  </a:lnTo>
                  <a:lnTo>
                    <a:pt x="16" y="512"/>
                  </a:lnTo>
                  <a:lnTo>
                    <a:pt x="19" y="514"/>
                  </a:lnTo>
                  <a:lnTo>
                    <a:pt x="21" y="517"/>
                  </a:lnTo>
                  <a:lnTo>
                    <a:pt x="24" y="519"/>
                  </a:lnTo>
                  <a:lnTo>
                    <a:pt x="26" y="519"/>
                  </a:lnTo>
                  <a:lnTo>
                    <a:pt x="26" y="531"/>
                  </a:lnTo>
                  <a:lnTo>
                    <a:pt x="28" y="533"/>
                  </a:lnTo>
                  <a:lnTo>
                    <a:pt x="29" y="540"/>
                  </a:lnTo>
                  <a:lnTo>
                    <a:pt x="30" y="548"/>
                  </a:lnTo>
                  <a:lnTo>
                    <a:pt x="31" y="558"/>
                  </a:lnTo>
                  <a:lnTo>
                    <a:pt x="31" y="577"/>
                  </a:lnTo>
                  <a:lnTo>
                    <a:pt x="31" y="588"/>
                  </a:lnTo>
                  <a:lnTo>
                    <a:pt x="28" y="588"/>
                  </a:lnTo>
                  <a:lnTo>
                    <a:pt x="27" y="589"/>
                  </a:lnTo>
                  <a:lnTo>
                    <a:pt x="26" y="590"/>
                  </a:lnTo>
                  <a:lnTo>
                    <a:pt x="26" y="591"/>
                  </a:lnTo>
                  <a:lnTo>
                    <a:pt x="26" y="593"/>
                  </a:lnTo>
                  <a:lnTo>
                    <a:pt x="25" y="594"/>
                  </a:lnTo>
                  <a:lnTo>
                    <a:pt x="24" y="594"/>
                  </a:lnTo>
                  <a:lnTo>
                    <a:pt x="19" y="594"/>
                  </a:lnTo>
                  <a:lnTo>
                    <a:pt x="19" y="607"/>
                  </a:lnTo>
                  <a:lnTo>
                    <a:pt x="16" y="607"/>
                  </a:lnTo>
                  <a:lnTo>
                    <a:pt x="14" y="608"/>
                  </a:lnTo>
                  <a:lnTo>
                    <a:pt x="14" y="609"/>
                  </a:lnTo>
                  <a:lnTo>
                    <a:pt x="14" y="610"/>
                  </a:lnTo>
                  <a:lnTo>
                    <a:pt x="14" y="612"/>
                  </a:lnTo>
                  <a:lnTo>
                    <a:pt x="12" y="612"/>
                  </a:lnTo>
                  <a:lnTo>
                    <a:pt x="10" y="613"/>
                  </a:lnTo>
                  <a:lnTo>
                    <a:pt x="7" y="613"/>
                  </a:lnTo>
                  <a:lnTo>
                    <a:pt x="7" y="626"/>
                  </a:lnTo>
                  <a:lnTo>
                    <a:pt x="5" y="627"/>
                  </a:lnTo>
                  <a:lnTo>
                    <a:pt x="4" y="634"/>
                  </a:lnTo>
                  <a:lnTo>
                    <a:pt x="2" y="642"/>
                  </a:lnTo>
                  <a:lnTo>
                    <a:pt x="1" y="652"/>
                  </a:lnTo>
                  <a:lnTo>
                    <a:pt x="1" y="671"/>
                  </a:lnTo>
                  <a:lnTo>
                    <a:pt x="0" y="682"/>
                  </a:lnTo>
                  <a:lnTo>
                    <a:pt x="2" y="682"/>
                  </a:lnTo>
                  <a:lnTo>
                    <a:pt x="5" y="683"/>
                  </a:lnTo>
                  <a:lnTo>
                    <a:pt x="6" y="684"/>
                  </a:lnTo>
                  <a:lnTo>
                    <a:pt x="6" y="685"/>
                  </a:lnTo>
                  <a:lnTo>
                    <a:pt x="7" y="690"/>
                  </a:lnTo>
                  <a:lnTo>
                    <a:pt x="7" y="694"/>
                  </a:lnTo>
                  <a:lnTo>
                    <a:pt x="9" y="695"/>
                  </a:lnTo>
                  <a:lnTo>
                    <a:pt x="14" y="699"/>
                  </a:lnTo>
                  <a:lnTo>
                    <a:pt x="18" y="702"/>
                  </a:lnTo>
                  <a:lnTo>
                    <a:pt x="19" y="706"/>
                  </a:lnTo>
                  <a:lnTo>
                    <a:pt x="31" y="706"/>
                  </a:lnTo>
                  <a:lnTo>
                    <a:pt x="33" y="709"/>
                  </a:lnTo>
                  <a:lnTo>
                    <a:pt x="33" y="711"/>
                  </a:lnTo>
                  <a:lnTo>
                    <a:pt x="35" y="712"/>
                  </a:lnTo>
                  <a:lnTo>
                    <a:pt x="36" y="712"/>
                  </a:lnTo>
                  <a:lnTo>
                    <a:pt x="40" y="713"/>
                  </a:lnTo>
                  <a:lnTo>
                    <a:pt x="45" y="713"/>
                  </a:lnTo>
                  <a:lnTo>
                    <a:pt x="45" y="715"/>
                  </a:lnTo>
                  <a:lnTo>
                    <a:pt x="46" y="716"/>
                  </a:lnTo>
                  <a:lnTo>
                    <a:pt x="47" y="718"/>
                  </a:lnTo>
                  <a:lnTo>
                    <a:pt x="48" y="719"/>
                  </a:lnTo>
                  <a:lnTo>
                    <a:pt x="53" y="719"/>
                  </a:lnTo>
                  <a:lnTo>
                    <a:pt x="57" y="720"/>
                  </a:lnTo>
                  <a:lnTo>
                    <a:pt x="57" y="722"/>
                  </a:lnTo>
                  <a:lnTo>
                    <a:pt x="59" y="725"/>
                  </a:lnTo>
                  <a:lnTo>
                    <a:pt x="62" y="728"/>
                  </a:lnTo>
                  <a:lnTo>
                    <a:pt x="64" y="731"/>
                  </a:lnTo>
                  <a:lnTo>
                    <a:pt x="67" y="734"/>
                  </a:lnTo>
                  <a:lnTo>
                    <a:pt x="71" y="737"/>
                  </a:lnTo>
                  <a:lnTo>
                    <a:pt x="73" y="738"/>
                  </a:lnTo>
                  <a:lnTo>
                    <a:pt x="76" y="738"/>
                  </a:lnTo>
                  <a:lnTo>
                    <a:pt x="76" y="751"/>
                  </a:lnTo>
                  <a:lnTo>
                    <a:pt x="78" y="751"/>
                  </a:lnTo>
                  <a:lnTo>
                    <a:pt x="81" y="753"/>
                  </a:lnTo>
                  <a:lnTo>
                    <a:pt x="83" y="758"/>
                  </a:lnTo>
                  <a:lnTo>
                    <a:pt x="86" y="762"/>
                  </a:lnTo>
                  <a:lnTo>
                    <a:pt x="91" y="776"/>
                  </a:lnTo>
                  <a:lnTo>
                    <a:pt x="96" y="790"/>
                  </a:lnTo>
                  <a:lnTo>
                    <a:pt x="101" y="807"/>
                  </a:lnTo>
                  <a:lnTo>
                    <a:pt x="104" y="821"/>
                  </a:lnTo>
                  <a:lnTo>
                    <a:pt x="106" y="835"/>
                  </a:lnTo>
                  <a:lnTo>
                    <a:pt x="107" y="845"/>
                  </a:lnTo>
                  <a:lnTo>
                    <a:pt x="110" y="848"/>
                  </a:lnTo>
                  <a:lnTo>
                    <a:pt x="112" y="858"/>
                  </a:lnTo>
                  <a:lnTo>
                    <a:pt x="114" y="873"/>
                  </a:lnTo>
                  <a:lnTo>
                    <a:pt x="115" y="889"/>
                  </a:lnTo>
                  <a:lnTo>
                    <a:pt x="119" y="923"/>
                  </a:lnTo>
                  <a:lnTo>
                    <a:pt x="120" y="944"/>
                  </a:lnTo>
                  <a:lnTo>
                    <a:pt x="122" y="945"/>
                  </a:lnTo>
                  <a:lnTo>
                    <a:pt x="123" y="949"/>
                  </a:lnTo>
                  <a:lnTo>
                    <a:pt x="125" y="952"/>
                  </a:lnTo>
                  <a:lnTo>
                    <a:pt x="126" y="956"/>
                  </a:lnTo>
                  <a:lnTo>
                    <a:pt x="129" y="962"/>
                  </a:lnTo>
                  <a:lnTo>
                    <a:pt x="131" y="965"/>
                  </a:lnTo>
                  <a:lnTo>
                    <a:pt x="134" y="969"/>
                  </a:lnTo>
                  <a:lnTo>
                    <a:pt x="139" y="970"/>
                  </a:lnTo>
                  <a:lnTo>
                    <a:pt x="139" y="982"/>
                  </a:lnTo>
                  <a:lnTo>
                    <a:pt x="143" y="987"/>
                  </a:lnTo>
                  <a:lnTo>
                    <a:pt x="148" y="991"/>
                  </a:lnTo>
                  <a:lnTo>
                    <a:pt x="152" y="993"/>
                  </a:lnTo>
                  <a:lnTo>
                    <a:pt x="158" y="994"/>
                  </a:lnTo>
                  <a:lnTo>
                    <a:pt x="161" y="1004"/>
                  </a:lnTo>
                  <a:lnTo>
                    <a:pt x="171" y="1022"/>
                  </a:lnTo>
                  <a:lnTo>
                    <a:pt x="178" y="1032"/>
                  </a:lnTo>
                  <a:lnTo>
                    <a:pt x="183" y="1040"/>
                  </a:lnTo>
                  <a:lnTo>
                    <a:pt x="189" y="1047"/>
                  </a:lnTo>
                  <a:lnTo>
                    <a:pt x="194" y="1050"/>
                  </a:lnTo>
                  <a:lnTo>
                    <a:pt x="198" y="1064"/>
                  </a:lnTo>
                  <a:lnTo>
                    <a:pt x="201" y="1076"/>
                  </a:lnTo>
                  <a:lnTo>
                    <a:pt x="213" y="1088"/>
                  </a:lnTo>
                  <a:lnTo>
                    <a:pt x="213" y="1100"/>
                  </a:lnTo>
                  <a:lnTo>
                    <a:pt x="216" y="1103"/>
                  </a:lnTo>
                  <a:lnTo>
                    <a:pt x="217" y="1107"/>
                  </a:lnTo>
                  <a:lnTo>
                    <a:pt x="218" y="1113"/>
                  </a:lnTo>
                  <a:lnTo>
                    <a:pt x="219" y="1120"/>
                  </a:lnTo>
                  <a:lnTo>
                    <a:pt x="219" y="1135"/>
                  </a:lnTo>
                  <a:lnTo>
                    <a:pt x="220" y="1144"/>
                  </a:lnTo>
                  <a:lnTo>
                    <a:pt x="222" y="1147"/>
                  </a:lnTo>
                  <a:lnTo>
                    <a:pt x="225" y="1155"/>
                  </a:lnTo>
                  <a:lnTo>
                    <a:pt x="227" y="1166"/>
                  </a:lnTo>
                  <a:lnTo>
                    <a:pt x="228" y="1178"/>
                  </a:lnTo>
                  <a:lnTo>
                    <a:pt x="231" y="1203"/>
                  </a:lnTo>
                  <a:lnTo>
                    <a:pt x="232" y="1213"/>
                  </a:lnTo>
                  <a:lnTo>
                    <a:pt x="245" y="1326"/>
                  </a:lnTo>
                  <a:lnTo>
                    <a:pt x="251" y="1332"/>
                  </a:lnTo>
                  <a:lnTo>
                    <a:pt x="254" y="1332"/>
                  </a:lnTo>
                  <a:lnTo>
                    <a:pt x="257" y="1335"/>
                  </a:lnTo>
                  <a:lnTo>
                    <a:pt x="261" y="1338"/>
                  </a:lnTo>
                  <a:lnTo>
                    <a:pt x="266" y="1343"/>
                  </a:lnTo>
                  <a:lnTo>
                    <a:pt x="269" y="1346"/>
                  </a:lnTo>
                  <a:lnTo>
                    <a:pt x="273" y="1350"/>
                  </a:lnTo>
                  <a:lnTo>
                    <a:pt x="275" y="1354"/>
                  </a:lnTo>
                  <a:lnTo>
                    <a:pt x="276" y="1357"/>
                  </a:lnTo>
                  <a:lnTo>
                    <a:pt x="279" y="1357"/>
                  </a:lnTo>
                  <a:lnTo>
                    <a:pt x="282" y="1358"/>
                  </a:lnTo>
                  <a:lnTo>
                    <a:pt x="282" y="1359"/>
                  </a:lnTo>
                  <a:lnTo>
                    <a:pt x="283" y="1360"/>
                  </a:lnTo>
                  <a:lnTo>
                    <a:pt x="283" y="1362"/>
                  </a:lnTo>
                  <a:lnTo>
                    <a:pt x="283" y="1363"/>
                  </a:lnTo>
                  <a:lnTo>
                    <a:pt x="285" y="1363"/>
                  </a:lnTo>
                  <a:lnTo>
                    <a:pt x="288" y="1364"/>
                  </a:lnTo>
                  <a:lnTo>
                    <a:pt x="288" y="1376"/>
                  </a:lnTo>
                  <a:lnTo>
                    <a:pt x="290" y="1376"/>
                  </a:lnTo>
                  <a:lnTo>
                    <a:pt x="292" y="1378"/>
                  </a:lnTo>
                  <a:lnTo>
                    <a:pt x="293" y="1380"/>
                  </a:lnTo>
                  <a:lnTo>
                    <a:pt x="294" y="1383"/>
                  </a:lnTo>
                  <a:lnTo>
                    <a:pt x="295" y="1389"/>
                  </a:lnTo>
                  <a:lnTo>
                    <a:pt x="295" y="1395"/>
                  </a:lnTo>
                  <a:lnTo>
                    <a:pt x="293" y="1395"/>
                  </a:lnTo>
                  <a:lnTo>
                    <a:pt x="292" y="1396"/>
                  </a:lnTo>
                  <a:lnTo>
                    <a:pt x="290" y="1397"/>
                  </a:lnTo>
                  <a:lnTo>
                    <a:pt x="289" y="1398"/>
                  </a:lnTo>
                  <a:lnTo>
                    <a:pt x="288" y="1403"/>
                  </a:lnTo>
                  <a:lnTo>
                    <a:pt x="288" y="1407"/>
                  </a:lnTo>
                  <a:lnTo>
                    <a:pt x="285" y="1407"/>
                  </a:lnTo>
                  <a:lnTo>
                    <a:pt x="283" y="1408"/>
                  </a:lnTo>
                  <a:lnTo>
                    <a:pt x="283" y="1410"/>
                  </a:lnTo>
                  <a:lnTo>
                    <a:pt x="283" y="1411"/>
                  </a:lnTo>
                  <a:lnTo>
                    <a:pt x="282" y="1412"/>
                  </a:lnTo>
                  <a:lnTo>
                    <a:pt x="282" y="1413"/>
                  </a:lnTo>
                  <a:lnTo>
                    <a:pt x="279" y="1413"/>
                  </a:lnTo>
                  <a:lnTo>
                    <a:pt x="276" y="1413"/>
                  </a:lnTo>
                  <a:lnTo>
                    <a:pt x="276" y="1426"/>
                  </a:lnTo>
                  <a:lnTo>
                    <a:pt x="273" y="1426"/>
                  </a:lnTo>
                  <a:lnTo>
                    <a:pt x="270" y="1426"/>
                  </a:lnTo>
                  <a:lnTo>
                    <a:pt x="269" y="1427"/>
                  </a:lnTo>
                  <a:lnTo>
                    <a:pt x="269" y="1428"/>
                  </a:lnTo>
                  <a:lnTo>
                    <a:pt x="269" y="1430"/>
                  </a:lnTo>
                  <a:lnTo>
                    <a:pt x="269" y="1431"/>
                  </a:lnTo>
                  <a:lnTo>
                    <a:pt x="267" y="1432"/>
                  </a:lnTo>
                  <a:lnTo>
                    <a:pt x="264" y="1432"/>
                  </a:lnTo>
                  <a:lnTo>
                    <a:pt x="263" y="1439"/>
                  </a:lnTo>
                  <a:lnTo>
                    <a:pt x="259" y="1447"/>
                  </a:lnTo>
                  <a:lnTo>
                    <a:pt x="255" y="1457"/>
                  </a:lnTo>
                  <a:lnTo>
                    <a:pt x="249" y="1470"/>
                  </a:lnTo>
                  <a:lnTo>
                    <a:pt x="244" y="1481"/>
                  </a:lnTo>
                  <a:lnTo>
                    <a:pt x="237" y="1492"/>
                  </a:lnTo>
                  <a:lnTo>
                    <a:pt x="231" y="1501"/>
                  </a:lnTo>
                  <a:lnTo>
                    <a:pt x="226" y="1507"/>
                  </a:lnTo>
                  <a:lnTo>
                    <a:pt x="225" y="1533"/>
                  </a:lnTo>
                  <a:lnTo>
                    <a:pt x="220" y="1562"/>
                  </a:lnTo>
                  <a:lnTo>
                    <a:pt x="216" y="1591"/>
                  </a:lnTo>
                  <a:lnTo>
                    <a:pt x="209" y="1623"/>
                  </a:lnTo>
                  <a:lnTo>
                    <a:pt x="203" y="1654"/>
                  </a:lnTo>
                  <a:lnTo>
                    <a:pt x="198" y="1685"/>
                  </a:lnTo>
                  <a:lnTo>
                    <a:pt x="196" y="1701"/>
                  </a:lnTo>
                  <a:lnTo>
                    <a:pt x="193" y="1716"/>
                  </a:lnTo>
                  <a:lnTo>
                    <a:pt x="192" y="1732"/>
                  </a:lnTo>
                  <a:lnTo>
                    <a:pt x="192" y="1748"/>
                  </a:lnTo>
                  <a:lnTo>
                    <a:pt x="191" y="1762"/>
                  </a:lnTo>
                  <a:lnTo>
                    <a:pt x="190" y="1787"/>
                  </a:lnTo>
                  <a:lnTo>
                    <a:pt x="188" y="1817"/>
                  </a:lnTo>
                  <a:lnTo>
                    <a:pt x="186" y="1849"/>
                  </a:lnTo>
                  <a:lnTo>
                    <a:pt x="184" y="1880"/>
                  </a:lnTo>
                  <a:lnTo>
                    <a:pt x="183" y="1907"/>
                  </a:lnTo>
                  <a:lnTo>
                    <a:pt x="184" y="1917"/>
                  </a:lnTo>
                  <a:lnTo>
                    <a:pt x="184" y="1925"/>
                  </a:lnTo>
                  <a:lnTo>
                    <a:pt x="187" y="1931"/>
                  </a:lnTo>
                  <a:lnTo>
                    <a:pt x="189" y="1932"/>
                  </a:lnTo>
                  <a:lnTo>
                    <a:pt x="189" y="1951"/>
                  </a:lnTo>
                  <a:lnTo>
                    <a:pt x="194" y="1957"/>
                  </a:lnTo>
                  <a:lnTo>
                    <a:pt x="205" y="1968"/>
                  </a:lnTo>
                  <a:lnTo>
                    <a:pt x="213" y="1979"/>
                  </a:lnTo>
                  <a:lnTo>
                    <a:pt x="220" y="1989"/>
                  </a:lnTo>
                  <a:lnTo>
                    <a:pt x="232" y="1989"/>
                  </a:lnTo>
                  <a:lnTo>
                    <a:pt x="235" y="1991"/>
                  </a:lnTo>
                  <a:lnTo>
                    <a:pt x="241" y="1992"/>
                  </a:lnTo>
                  <a:lnTo>
                    <a:pt x="250" y="1993"/>
                  </a:lnTo>
                  <a:lnTo>
                    <a:pt x="261" y="1994"/>
                  </a:lnTo>
                  <a:lnTo>
                    <a:pt x="285" y="1994"/>
                  </a:lnTo>
                  <a:lnTo>
                    <a:pt x="301" y="1994"/>
                  </a:lnTo>
                  <a:lnTo>
                    <a:pt x="314" y="1982"/>
                  </a:lnTo>
                  <a:lnTo>
                    <a:pt x="321" y="1982"/>
                  </a:lnTo>
                  <a:lnTo>
                    <a:pt x="327" y="1980"/>
                  </a:lnTo>
                  <a:lnTo>
                    <a:pt x="334" y="1979"/>
                  </a:lnTo>
                  <a:lnTo>
                    <a:pt x="342" y="1976"/>
                  </a:lnTo>
                  <a:lnTo>
                    <a:pt x="349" y="1974"/>
                  </a:lnTo>
                  <a:lnTo>
                    <a:pt x="355" y="1972"/>
                  </a:lnTo>
                  <a:lnTo>
                    <a:pt x="363" y="1971"/>
                  </a:lnTo>
                  <a:lnTo>
                    <a:pt x="370" y="1970"/>
                  </a:lnTo>
                  <a:lnTo>
                    <a:pt x="370" y="1968"/>
                  </a:lnTo>
                  <a:lnTo>
                    <a:pt x="371" y="1966"/>
                  </a:lnTo>
                  <a:lnTo>
                    <a:pt x="372" y="1965"/>
                  </a:lnTo>
                  <a:lnTo>
                    <a:pt x="374" y="1964"/>
                  </a:lnTo>
                  <a:lnTo>
                    <a:pt x="378" y="1964"/>
                  </a:lnTo>
                  <a:lnTo>
                    <a:pt x="382" y="1963"/>
                  </a:lnTo>
                  <a:lnTo>
                    <a:pt x="386" y="1959"/>
                  </a:lnTo>
                  <a:lnTo>
                    <a:pt x="392" y="1955"/>
                  </a:lnTo>
                  <a:lnTo>
                    <a:pt x="399" y="1952"/>
                  </a:lnTo>
                  <a:lnTo>
                    <a:pt x="408" y="1951"/>
                  </a:lnTo>
                  <a:lnTo>
                    <a:pt x="410" y="1949"/>
                  </a:lnTo>
                  <a:lnTo>
                    <a:pt x="418" y="1942"/>
                  </a:lnTo>
                  <a:lnTo>
                    <a:pt x="426" y="1935"/>
                  </a:lnTo>
                  <a:lnTo>
                    <a:pt x="432" y="1932"/>
                  </a:lnTo>
                  <a:lnTo>
                    <a:pt x="433" y="1930"/>
                  </a:lnTo>
                  <a:lnTo>
                    <a:pt x="434" y="1927"/>
                  </a:lnTo>
                  <a:lnTo>
                    <a:pt x="437" y="1925"/>
                  </a:lnTo>
                  <a:lnTo>
                    <a:pt x="439" y="1924"/>
                  </a:lnTo>
                  <a:lnTo>
                    <a:pt x="446" y="1921"/>
                  </a:lnTo>
                  <a:lnTo>
                    <a:pt x="451" y="1920"/>
                  </a:lnTo>
                  <a:lnTo>
                    <a:pt x="457" y="1904"/>
                  </a:lnTo>
                  <a:lnTo>
                    <a:pt x="463" y="1888"/>
                  </a:lnTo>
                  <a:lnTo>
                    <a:pt x="466" y="1886"/>
                  </a:lnTo>
                  <a:lnTo>
                    <a:pt x="469" y="1880"/>
                  </a:lnTo>
                  <a:lnTo>
                    <a:pt x="471" y="1872"/>
                  </a:lnTo>
                  <a:lnTo>
                    <a:pt x="475" y="1859"/>
                  </a:lnTo>
                  <a:lnTo>
                    <a:pt x="481" y="1828"/>
                  </a:lnTo>
                  <a:lnTo>
                    <a:pt x="487" y="1791"/>
                  </a:lnTo>
                  <a:lnTo>
                    <a:pt x="493" y="1754"/>
                  </a:lnTo>
                  <a:lnTo>
                    <a:pt x="497" y="1720"/>
                  </a:lnTo>
                  <a:lnTo>
                    <a:pt x="500" y="1692"/>
                  </a:lnTo>
                  <a:lnTo>
                    <a:pt x="501" y="1676"/>
                  </a:lnTo>
                  <a:lnTo>
                    <a:pt x="504" y="1674"/>
                  </a:lnTo>
                  <a:lnTo>
                    <a:pt x="506" y="1667"/>
                  </a:lnTo>
                  <a:lnTo>
                    <a:pt x="508" y="1658"/>
                  </a:lnTo>
                  <a:lnTo>
                    <a:pt x="509" y="1648"/>
                  </a:lnTo>
                  <a:lnTo>
                    <a:pt x="513" y="1628"/>
                  </a:lnTo>
                  <a:lnTo>
                    <a:pt x="514" y="1619"/>
                  </a:lnTo>
                  <a:lnTo>
                    <a:pt x="517" y="1615"/>
                  </a:lnTo>
                  <a:lnTo>
                    <a:pt x="524" y="1604"/>
                  </a:lnTo>
                  <a:lnTo>
                    <a:pt x="532" y="1590"/>
                  </a:lnTo>
                  <a:lnTo>
                    <a:pt x="538" y="1582"/>
                  </a:lnTo>
                  <a:lnTo>
                    <a:pt x="539" y="1559"/>
                  </a:lnTo>
                  <a:lnTo>
                    <a:pt x="543" y="1529"/>
                  </a:lnTo>
                  <a:lnTo>
                    <a:pt x="549" y="1495"/>
                  </a:lnTo>
                  <a:lnTo>
                    <a:pt x="558" y="1460"/>
                  </a:lnTo>
                  <a:lnTo>
                    <a:pt x="563" y="1441"/>
                  </a:lnTo>
                  <a:lnTo>
                    <a:pt x="570" y="1422"/>
                  </a:lnTo>
                  <a:lnTo>
                    <a:pt x="576" y="1404"/>
                  </a:lnTo>
                  <a:lnTo>
                    <a:pt x="584" y="1386"/>
                  </a:lnTo>
                  <a:lnTo>
                    <a:pt x="592" y="1368"/>
                  </a:lnTo>
                  <a:lnTo>
                    <a:pt x="602" y="1353"/>
                  </a:lnTo>
                  <a:lnTo>
                    <a:pt x="612" y="1337"/>
                  </a:lnTo>
                  <a:lnTo>
                    <a:pt x="623" y="1324"/>
                  </a:lnTo>
                  <a:lnTo>
                    <a:pt x="635" y="1310"/>
                  </a:lnTo>
                  <a:lnTo>
                    <a:pt x="648" y="1298"/>
                  </a:lnTo>
                  <a:lnTo>
                    <a:pt x="662" y="1288"/>
                  </a:lnTo>
                  <a:lnTo>
                    <a:pt x="676" y="1278"/>
                  </a:lnTo>
                  <a:lnTo>
                    <a:pt x="703" y="1261"/>
                  </a:lnTo>
                  <a:lnTo>
                    <a:pt x="730" y="1248"/>
                  </a:lnTo>
                  <a:lnTo>
                    <a:pt x="741" y="1241"/>
                  </a:lnTo>
                  <a:lnTo>
                    <a:pt x="753" y="1234"/>
                  </a:lnTo>
                  <a:lnTo>
                    <a:pt x="763" y="1228"/>
                  </a:lnTo>
                  <a:lnTo>
                    <a:pt x="772" y="1221"/>
                  </a:lnTo>
                  <a:lnTo>
                    <a:pt x="779" y="1213"/>
                  </a:lnTo>
                  <a:lnTo>
                    <a:pt x="784" y="1206"/>
                  </a:lnTo>
                  <a:lnTo>
                    <a:pt x="786" y="1202"/>
                  </a:lnTo>
                  <a:lnTo>
                    <a:pt x="787" y="1197"/>
                  </a:lnTo>
                  <a:lnTo>
                    <a:pt x="788" y="1193"/>
                  </a:lnTo>
                  <a:lnTo>
                    <a:pt x="788" y="1189"/>
                  </a:lnTo>
                  <a:lnTo>
                    <a:pt x="795" y="1186"/>
                  </a:lnTo>
                  <a:lnTo>
                    <a:pt x="804" y="1181"/>
                  </a:lnTo>
                  <a:lnTo>
                    <a:pt x="813" y="1175"/>
                  </a:lnTo>
                  <a:lnTo>
                    <a:pt x="820" y="1170"/>
                  </a:lnTo>
                  <a:lnTo>
                    <a:pt x="829" y="1170"/>
                  </a:lnTo>
                  <a:lnTo>
                    <a:pt x="837" y="1167"/>
                  </a:lnTo>
                  <a:lnTo>
                    <a:pt x="846" y="1166"/>
                  </a:lnTo>
                  <a:lnTo>
                    <a:pt x="856" y="1164"/>
                  </a:lnTo>
                  <a:lnTo>
                    <a:pt x="875" y="1157"/>
                  </a:lnTo>
                  <a:lnTo>
                    <a:pt x="897" y="1151"/>
                  </a:lnTo>
                  <a:lnTo>
                    <a:pt x="918" y="1144"/>
                  </a:lnTo>
                  <a:lnTo>
                    <a:pt x="939" y="1138"/>
                  </a:lnTo>
                  <a:lnTo>
                    <a:pt x="950" y="1135"/>
                  </a:lnTo>
                  <a:lnTo>
                    <a:pt x="961" y="1134"/>
                  </a:lnTo>
                  <a:lnTo>
                    <a:pt x="971" y="1133"/>
                  </a:lnTo>
                  <a:lnTo>
                    <a:pt x="983" y="1132"/>
                  </a:lnTo>
                  <a:lnTo>
                    <a:pt x="989" y="1138"/>
                  </a:lnTo>
                  <a:lnTo>
                    <a:pt x="995" y="1144"/>
                  </a:lnTo>
                  <a:lnTo>
                    <a:pt x="996" y="1162"/>
                  </a:lnTo>
                  <a:lnTo>
                    <a:pt x="998" y="1197"/>
                  </a:lnTo>
                  <a:lnTo>
                    <a:pt x="1002" y="1247"/>
                  </a:lnTo>
                  <a:lnTo>
                    <a:pt x="1005" y="1302"/>
                  </a:lnTo>
                  <a:lnTo>
                    <a:pt x="1009" y="1357"/>
                  </a:lnTo>
                  <a:lnTo>
                    <a:pt x="1014" y="1405"/>
                  </a:lnTo>
                  <a:lnTo>
                    <a:pt x="1017" y="1439"/>
                  </a:lnTo>
                  <a:lnTo>
                    <a:pt x="1021" y="1451"/>
                  </a:lnTo>
                  <a:lnTo>
                    <a:pt x="1021" y="1470"/>
                  </a:lnTo>
                  <a:lnTo>
                    <a:pt x="1035" y="1475"/>
                  </a:lnTo>
                  <a:lnTo>
                    <a:pt x="1045" y="1482"/>
                  </a:lnTo>
                  <a:lnTo>
                    <a:pt x="1066" y="1483"/>
                  </a:lnTo>
                  <a:lnTo>
                    <a:pt x="1089" y="1485"/>
                  </a:lnTo>
                  <a:lnTo>
                    <a:pt x="1112" y="1488"/>
                  </a:lnTo>
                  <a:lnTo>
                    <a:pt x="1132" y="1489"/>
                  </a:lnTo>
                  <a:lnTo>
                    <a:pt x="1133" y="1490"/>
                  </a:lnTo>
                  <a:lnTo>
                    <a:pt x="1134" y="1492"/>
                  </a:lnTo>
                  <a:lnTo>
                    <a:pt x="1137" y="1493"/>
                  </a:lnTo>
                  <a:lnTo>
                    <a:pt x="1140" y="1494"/>
                  </a:lnTo>
                  <a:lnTo>
                    <a:pt x="1146" y="1494"/>
                  </a:lnTo>
                  <a:lnTo>
                    <a:pt x="1151" y="1494"/>
                  </a:lnTo>
                  <a:lnTo>
                    <a:pt x="1158" y="1501"/>
                  </a:lnTo>
                  <a:lnTo>
                    <a:pt x="1159" y="1505"/>
                  </a:lnTo>
                  <a:lnTo>
                    <a:pt x="1161" y="1510"/>
                  </a:lnTo>
                  <a:lnTo>
                    <a:pt x="1166" y="1512"/>
                  </a:lnTo>
                  <a:lnTo>
                    <a:pt x="1170" y="1513"/>
                  </a:lnTo>
                  <a:lnTo>
                    <a:pt x="1171" y="1519"/>
                  </a:lnTo>
                  <a:lnTo>
                    <a:pt x="1175" y="1526"/>
                  </a:lnTo>
                  <a:lnTo>
                    <a:pt x="1178" y="1532"/>
                  </a:lnTo>
                  <a:lnTo>
                    <a:pt x="1184" y="1540"/>
                  </a:lnTo>
                  <a:lnTo>
                    <a:pt x="1189" y="1547"/>
                  </a:lnTo>
                  <a:lnTo>
                    <a:pt x="1194" y="1552"/>
                  </a:lnTo>
                  <a:lnTo>
                    <a:pt x="1198" y="1556"/>
                  </a:lnTo>
                  <a:lnTo>
                    <a:pt x="1201" y="1557"/>
                  </a:lnTo>
                  <a:lnTo>
                    <a:pt x="1202" y="1560"/>
                  </a:lnTo>
                  <a:lnTo>
                    <a:pt x="1205" y="1565"/>
                  </a:lnTo>
                  <a:lnTo>
                    <a:pt x="1209" y="1569"/>
                  </a:lnTo>
                  <a:lnTo>
                    <a:pt x="1214" y="1575"/>
                  </a:lnTo>
                  <a:lnTo>
                    <a:pt x="1218" y="1579"/>
                  </a:lnTo>
                  <a:lnTo>
                    <a:pt x="1224" y="1584"/>
                  </a:lnTo>
                  <a:lnTo>
                    <a:pt x="1227" y="1586"/>
                  </a:lnTo>
                  <a:lnTo>
                    <a:pt x="1230" y="1587"/>
                  </a:lnTo>
                  <a:lnTo>
                    <a:pt x="1230" y="1601"/>
                  </a:lnTo>
                  <a:lnTo>
                    <a:pt x="1232" y="1615"/>
                  </a:lnTo>
                  <a:lnTo>
                    <a:pt x="1233" y="1627"/>
                  </a:lnTo>
                  <a:lnTo>
                    <a:pt x="1235" y="1638"/>
                  </a:lnTo>
                  <a:lnTo>
                    <a:pt x="1237" y="1649"/>
                  </a:lnTo>
                  <a:lnTo>
                    <a:pt x="1239" y="1661"/>
                  </a:lnTo>
                  <a:lnTo>
                    <a:pt x="1243" y="1671"/>
                  </a:lnTo>
                  <a:lnTo>
                    <a:pt x="1247" y="1681"/>
                  </a:lnTo>
                  <a:lnTo>
                    <a:pt x="1256" y="1700"/>
                  </a:lnTo>
                  <a:lnTo>
                    <a:pt x="1268" y="1719"/>
                  </a:lnTo>
                  <a:lnTo>
                    <a:pt x="1282" y="1739"/>
                  </a:lnTo>
                  <a:lnTo>
                    <a:pt x="1298" y="1760"/>
                  </a:lnTo>
                  <a:lnTo>
                    <a:pt x="1309" y="1771"/>
                  </a:lnTo>
                  <a:lnTo>
                    <a:pt x="1319" y="1781"/>
                  </a:lnTo>
                  <a:lnTo>
                    <a:pt x="1329" y="1789"/>
                  </a:lnTo>
                  <a:lnTo>
                    <a:pt x="1341" y="1796"/>
                  </a:lnTo>
                  <a:lnTo>
                    <a:pt x="1353" y="1801"/>
                  </a:lnTo>
                  <a:lnTo>
                    <a:pt x="1369" y="1805"/>
                  </a:lnTo>
                  <a:lnTo>
                    <a:pt x="1387" y="1807"/>
                  </a:lnTo>
                  <a:lnTo>
                    <a:pt x="1408" y="1807"/>
                  </a:lnTo>
                  <a:lnTo>
                    <a:pt x="1408" y="1809"/>
                  </a:lnTo>
                  <a:lnTo>
                    <a:pt x="1409" y="1811"/>
                  </a:lnTo>
                  <a:lnTo>
                    <a:pt x="1410" y="1812"/>
                  </a:lnTo>
                  <a:lnTo>
                    <a:pt x="1411" y="1812"/>
                  </a:lnTo>
                  <a:lnTo>
                    <a:pt x="1416" y="1814"/>
                  </a:lnTo>
                  <a:lnTo>
                    <a:pt x="1420" y="1814"/>
                  </a:lnTo>
                  <a:lnTo>
                    <a:pt x="1429" y="1821"/>
                  </a:lnTo>
                  <a:lnTo>
                    <a:pt x="1442" y="1831"/>
                  </a:lnTo>
                  <a:lnTo>
                    <a:pt x="1456" y="1840"/>
                  </a:lnTo>
                  <a:lnTo>
                    <a:pt x="1464" y="1845"/>
                  </a:lnTo>
                  <a:lnTo>
                    <a:pt x="1474" y="1860"/>
                  </a:lnTo>
                  <a:lnTo>
                    <a:pt x="1483" y="1876"/>
                  </a:lnTo>
                  <a:lnTo>
                    <a:pt x="1495" y="1883"/>
                  </a:lnTo>
                  <a:lnTo>
                    <a:pt x="1495" y="1895"/>
                  </a:lnTo>
                  <a:lnTo>
                    <a:pt x="1501" y="1896"/>
                  </a:lnTo>
                  <a:lnTo>
                    <a:pt x="1504" y="1898"/>
                  </a:lnTo>
                  <a:lnTo>
                    <a:pt x="1507" y="1903"/>
                  </a:lnTo>
                  <a:lnTo>
                    <a:pt x="1508" y="1907"/>
                  </a:lnTo>
                  <a:lnTo>
                    <a:pt x="1512" y="1910"/>
                  </a:lnTo>
                  <a:lnTo>
                    <a:pt x="1515" y="1914"/>
                  </a:lnTo>
                  <a:lnTo>
                    <a:pt x="1517" y="1916"/>
                  </a:lnTo>
                  <a:lnTo>
                    <a:pt x="1520" y="1917"/>
                  </a:lnTo>
                  <a:lnTo>
                    <a:pt x="1523" y="1920"/>
                  </a:lnTo>
                  <a:lnTo>
                    <a:pt x="1526" y="1920"/>
                  </a:lnTo>
                  <a:lnTo>
                    <a:pt x="1527" y="1923"/>
                  </a:lnTo>
                  <a:lnTo>
                    <a:pt x="1527" y="1925"/>
                  </a:lnTo>
                  <a:lnTo>
                    <a:pt x="1528" y="1926"/>
                  </a:lnTo>
                  <a:lnTo>
                    <a:pt x="1530" y="1926"/>
                  </a:lnTo>
                  <a:lnTo>
                    <a:pt x="1531" y="1926"/>
                  </a:lnTo>
                  <a:lnTo>
                    <a:pt x="1532" y="1927"/>
                  </a:lnTo>
                  <a:lnTo>
                    <a:pt x="1533" y="1928"/>
                  </a:lnTo>
                  <a:lnTo>
                    <a:pt x="1533" y="1932"/>
                  </a:lnTo>
                  <a:lnTo>
                    <a:pt x="1545" y="1932"/>
                  </a:lnTo>
                  <a:lnTo>
                    <a:pt x="1545" y="1945"/>
                  </a:lnTo>
                  <a:lnTo>
                    <a:pt x="1553" y="1945"/>
                  </a:lnTo>
                  <a:lnTo>
                    <a:pt x="1557" y="1945"/>
                  </a:lnTo>
                  <a:lnTo>
                    <a:pt x="1559" y="1946"/>
                  </a:lnTo>
                  <a:lnTo>
                    <a:pt x="1560" y="1947"/>
                  </a:lnTo>
                  <a:lnTo>
                    <a:pt x="1560" y="1949"/>
                  </a:lnTo>
                  <a:lnTo>
                    <a:pt x="1560" y="1950"/>
                  </a:lnTo>
                  <a:lnTo>
                    <a:pt x="1561" y="1951"/>
                  </a:lnTo>
                  <a:lnTo>
                    <a:pt x="1564" y="1951"/>
                  </a:lnTo>
                  <a:lnTo>
                    <a:pt x="1569" y="1959"/>
                  </a:lnTo>
                  <a:lnTo>
                    <a:pt x="1576" y="1969"/>
                  </a:lnTo>
                  <a:lnTo>
                    <a:pt x="1585" y="1979"/>
                  </a:lnTo>
                  <a:lnTo>
                    <a:pt x="1589" y="1982"/>
                  </a:lnTo>
                  <a:lnTo>
                    <a:pt x="1590" y="1990"/>
                  </a:lnTo>
                  <a:lnTo>
                    <a:pt x="1592" y="1997"/>
                  </a:lnTo>
                  <a:lnTo>
                    <a:pt x="1595" y="2003"/>
                  </a:lnTo>
                  <a:lnTo>
                    <a:pt x="1599" y="2010"/>
                  </a:lnTo>
                  <a:lnTo>
                    <a:pt x="1602" y="2016"/>
                  </a:lnTo>
                  <a:lnTo>
                    <a:pt x="1605" y="2022"/>
                  </a:lnTo>
                  <a:lnTo>
                    <a:pt x="1608" y="2028"/>
                  </a:lnTo>
                  <a:lnTo>
                    <a:pt x="1608" y="2032"/>
                  </a:lnTo>
                  <a:lnTo>
                    <a:pt x="1613" y="2037"/>
                  </a:lnTo>
                  <a:lnTo>
                    <a:pt x="1620" y="2045"/>
                  </a:lnTo>
                  <a:lnTo>
                    <a:pt x="1629" y="2053"/>
                  </a:lnTo>
                  <a:lnTo>
                    <a:pt x="1637" y="2064"/>
                  </a:lnTo>
                  <a:lnTo>
                    <a:pt x="1646" y="2074"/>
                  </a:lnTo>
                  <a:lnTo>
                    <a:pt x="1655" y="2082"/>
                  </a:lnTo>
                  <a:lnTo>
                    <a:pt x="1659" y="2086"/>
                  </a:lnTo>
                  <a:lnTo>
                    <a:pt x="1664" y="2088"/>
                  </a:lnTo>
                  <a:lnTo>
                    <a:pt x="1667" y="2089"/>
                  </a:lnTo>
                  <a:lnTo>
                    <a:pt x="1671" y="2090"/>
                  </a:lnTo>
                  <a:lnTo>
                    <a:pt x="1677" y="2103"/>
                  </a:lnTo>
                  <a:lnTo>
                    <a:pt x="1690" y="2109"/>
                  </a:lnTo>
                  <a:lnTo>
                    <a:pt x="1699" y="2106"/>
                  </a:lnTo>
                  <a:lnTo>
                    <a:pt x="1708" y="2103"/>
                  </a:lnTo>
                  <a:lnTo>
                    <a:pt x="1708" y="2090"/>
                  </a:lnTo>
                  <a:lnTo>
                    <a:pt x="1722" y="2078"/>
                  </a:lnTo>
                  <a:lnTo>
                    <a:pt x="1722" y="2065"/>
                  </a:lnTo>
                  <a:lnTo>
                    <a:pt x="1727" y="2052"/>
                  </a:lnTo>
                  <a:lnTo>
                    <a:pt x="1734" y="2047"/>
                  </a:lnTo>
                  <a:lnTo>
                    <a:pt x="1739" y="2040"/>
                  </a:lnTo>
                  <a:lnTo>
                    <a:pt x="1746" y="2033"/>
                  </a:lnTo>
                  <a:lnTo>
                    <a:pt x="1748" y="2033"/>
                  </a:lnTo>
                  <a:lnTo>
                    <a:pt x="1751" y="2032"/>
                  </a:lnTo>
                  <a:lnTo>
                    <a:pt x="1753" y="2030"/>
                  </a:lnTo>
                  <a:lnTo>
                    <a:pt x="1755" y="2027"/>
                  </a:lnTo>
                  <a:lnTo>
                    <a:pt x="1761" y="2021"/>
                  </a:lnTo>
                  <a:lnTo>
                    <a:pt x="1765" y="2016"/>
                  </a:lnTo>
                  <a:lnTo>
                    <a:pt x="1777" y="2016"/>
                  </a:lnTo>
                  <a:lnTo>
                    <a:pt x="1778" y="2011"/>
                  </a:lnTo>
                  <a:lnTo>
                    <a:pt x="1781" y="2007"/>
                  </a:lnTo>
                  <a:lnTo>
                    <a:pt x="1783" y="2003"/>
                  </a:lnTo>
                  <a:lnTo>
                    <a:pt x="1786" y="2000"/>
                  </a:lnTo>
                  <a:lnTo>
                    <a:pt x="1793" y="1995"/>
                  </a:lnTo>
                  <a:lnTo>
                    <a:pt x="1796" y="1990"/>
                  </a:lnTo>
                  <a:lnTo>
                    <a:pt x="1803" y="1990"/>
                  </a:lnTo>
                  <a:lnTo>
                    <a:pt x="1808" y="1989"/>
                  </a:lnTo>
                  <a:lnTo>
                    <a:pt x="1810" y="1989"/>
                  </a:lnTo>
                  <a:lnTo>
                    <a:pt x="1810" y="1987"/>
                  </a:lnTo>
                  <a:lnTo>
                    <a:pt x="1810" y="1985"/>
                  </a:lnTo>
                  <a:lnTo>
                    <a:pt x="1810" y="1985"/>
                  </a:lnTo>
                  <a:lnTo>
                    <a:pt x="1812" y="1984"/>
                  </a:lnTo>
                  <a:lnTo>
                    <a:pt x="1815" y="1984"/>
                  </a:lnTo>
                  <a:lnTo>
                    <a:pt x="1815" y="1980"/>
                  </a:lnTo>
                  <a:lnTo>
                    <a:pt x="1815" y="1979"/>
                  </a:lnTo>
                  <a:lnTo>
                    <a:pt x="1816" y="1978"/>
                  </a:lnTo>
                  <a:lnTo>
                    <a:pt x="1818" y="1978"/>
                  </a:lnTo>
                  <a:lnTo>
                    <a:pt x="1819" y="1978"/>
                  </a:lnTo>
                  <a:lnTo>
                    <a:pt x="1820" y="1976"/>
                  </a:lnTo>
                  <a:lnTo>
                    <a:pt x="1821" y="1975"/>
                  </a:lnTo>
                  <a:lnTo>
                    <a:pt x="1821" y="1971"/>
                  </a:lnTo>
                  <a:lnTo>
                    <a:pt x="1833" y="1970"/>
                  </a:lnTo>
                  <a:lnTo>
                    <a:pt x="1850" y="1965"/>
                  </a:lnTo>
                  <a:lnTo>
                    <a:pt x="1868" y="1961"/>
                  </a:lnTo>
                  <a:lnTo>
                    <a:pt x="1883" y="1959"/>
                  </a:lnTo>
                  <a:lnTo>
                    <a:pt x="1882" y="1946"/>
                  </a:lnTo>
                  <a:lnTo>
                    <a:pt x="1879" y="1934"/>
                  </a:lnTo>
                  <a:lnTo>
                    <a:pt x="1875" y="1922"/>
                  </a:lnTo>
                  <a:lnTo>
                    <a:pt x="1868" y="1910"/>
                  </a:lnTo>
                  <a:lnTo>
                    <a:pt x="1860" y="1897"/>
                  </a:lnTo>
                  <a:lnTo>
                    <a:pt x="1852" y="1885"/>
                  </a:lnTo>
                  <a:lnTo>
                    <a:pt x="1843" y="1874"/>
                  </a:lnTo>
                  <a:lnTo>
                    <a:pt x="1833" y="1863"/>
                  </a:lnTo>
                  <a:lnTo>
                    <a:pt x="1815" y="1841"/>
                  </a:lnTo>
                  <a:lnTo>
                    <a:pt x="1799" y="1824"/>
                  </a:lnTo>
                  <a:lnTo>
                    <a:pt x="1792" y="1817"/>
                  </a:lnTo>
                  <a:lnTo>
                    <a:pt x="1787" y="1810"/>
                  </a:lnTo>
                  <a:lnTo>
                    <a:pt x="1784" y="1805"/>
                  </a:lnTo>
                  <a:lnTo>
                    <a:pt x="1783" y="1801"/>
                  </a:lnTo>
                  <a:lnTo>
                    <a:pt x="1771" y="1801"/>
                  </a:lnTo>
                  <a:lnTo>
                    <a:pt x="1761" y="1795"/>
                  </a:lnTo>
                  <a:lnTo>
                    <a:pt x="1746" y="1789"/>
                  </a:lnTo>
                  <a:lnTo>
                    <a:pt x="1744" y="1786"/>
                  </a:lnTo>
                  <a:lnTo>
                    <a:pt x="1739" y="1781"/>
                  </a:lnTo>
                  <a:lnTo>
                    <a:pt x="1734" y="1776"/>
                  </a:lnTo>
                  <a:lnTo>
                    <a:pt x="1727" y="1770"/>
                  </a:lnTo>
                  <a:lnTo>
                    <a:pt x="1720" y="1764"/>
                  </a:lnTo>
                  <a:lnTo>
                    <a:pt x="1714" y="1759"/>
                  </a:lnTo>
                  <a:lnTo>
                    <a:pt x="1709" y="1754"/>
                  </a:lnTo>
                  <a:lnTo>
                    <a:pt x="1708" y="1751"/>
                  </a:lnTo>
                  <a:lnTo>
                    <a:pt x="1696" y="1751"/>
                  </a:lnTo>
                  <a:lnTo>
                    <a:pt x="1695" y="1749"/>
                  </a:lnTo>
                  <a:lnTo>
                    <a:pt x="1695" y="1748"/>
                  </a:lnTo>
                  <a:lnTo>
                    <a:pt x="1694" y="1747"/>
                  </a:lnTo>
                  <a:lnTo>
                    <a:pt x="1691" y="1745"/>
                  </a:lnTo>
                  <a:lnTo>
                    <a:pt x="1688" y="1744"/>
                  </a:lnTo>
                  <a:lnTo>
                    <a:pt x="1682" y="1744"/>
                  </a:lnTo>
                  <a:lnTo>
                    <a:pt x="1681" y="1742"/>
                  </a:lnTo>
                  <a:lnTo>
                    <a:pt x="1678" y="1738"/>
                  </a:lnTo>
                  <a:lnTo>
                    <a:pt x="1672" y="1732"/>
                  </a:lnTo>
                  <a:lnTo>
                    <a:pt x="1667" y="1726"/>
                  </a:lnTo>
                  <a:lnTo>
                    <a:pt x="1660" y="1722"/>
                  </a:lnTo>
                  <a:lnTo>
                    <a:pt x="1653" y="1718"/>
                  </a:lnTo>
                  <a:lnTo>
                    <a:pt x="1649" y="1714"/>
                  </a:lnTo>
                  <a:lnTo>
                    <a:pt x="1646" y="1713"/>
                  </a:lnTo>
                  <a:lnTo>
                    <a:pt x="1639" y="1707"/>
                  </a:lnTo>
                  <a:lnTo>
                    <a:pt x="1638" y="1704"/>
                  </a:lnTo>
                  <a:lnTo>
                    <a:pt x="1632" y="1700"/>
                  </a:lnTo>
                  <a:lnTo>
                    <a:pt x="1626" y="1694"/>
                  </a:lnTo>
                  <a:lnTo>
                    <a:pt x="1618" y="1689"/>
                  </a:lnTo>
                  <a:lnTo>
                    <a:pt x="1609" y="1683"/>
                  </a:lnTo>
                  <a:lnTo>
                    <a:pt x="1602" y="1677"/>
                  </a:lnTo>
                  <a:lnTo>
                    <a:pt x="1598" y="1673"/>
                  </a:lnTo>
                  <a:lnTo>
                    <a:pt x="1595" y="1670"/>
                  </a:lnTo>
                  <a:lnTo>
                    <a:pt x="1583" y="1670"/>
                  </a:lnTo>
                  <a:lnTo>
                    <a:pt x="1580" y="1657"/>
                  </a:lnTo>
                  <a:lnTo>
                    <a:pt x="1576" y="1645"/>
                  </a:lnTo>
                  <a:lnTo>
                    <a:pt x="1572" y="1642"/>
                  </a:lnTo>
                  <a:lnTo>
                    <a:pt x="1566" y="1636"/>
                  </a:lnTo>
                  <a:lnTo>
                    <a:pt x="1562" y="1629"/>
                  </a:lnTo>
                  <a:lnTo>
                    <a:pt x="1556" y="1622"/>
                  </a:lnTo>
                  <a:lnTo>
                    <a:pt x="1545" y="1604"/>
                  </a:lnTo>
                  <a:lnTo>
                    <a:pt x="1535" y="1584"/>
                  </a:lnTo>
                  <a:lnTo>
                    <a:pt x="1526" y="1565"/>
                  </a:lnTo>
                  <a:lnTo>
                    <a:pt x="1517" y="1548"/>
                  </a:lnTo>
                  <a:lnTo>
                    <a:pt x="1512" y="1537"/>
                  </a:lnTo>
                  <a:lnTo>
                    <a:pt x="1508" y="1532"/>
                  </a:lnTo>
                  <a:lnTo>
                    <a:pt x="1508" y="1501"/>
                  </a:lnTo>
                  <a:lnTo>
                    <a:pt x="1517" y="1494"/>
                  </a:lnTo>
                  <a:lnTo>
                    <a:pt x="1540" y="1479"/>
                  </a:lnTo>
                  <a:lnTo>
                    <a:pt x="1551" y="1470"/>
                  </a:lnTo>
                  <a:lnTo>
                    <a:pt x="1561" y="1461"/>
                  </a:lnTo>
                  <a:lnTo>
                    <a:pt x="1568" y="1455"/>
                  </a:lnTo>
                  <a:lnTo>
                    <a:pt x="1571" y="1451"/>
                  </a:lnTo>
                  <a:lnTo>
                    <a:pt x="1576" y="1449"/>
                  </a:lnTo>
                  <a:lnTo>
                    <a:pt x="1585" y="1444"/>
                  </a:lnTo>
                  <a:lnTo>
                    <a:pt x="1589" y="1441"/>
                  </a:lnTo>
                  <a:lnTo>
                    <a:pt x="1592" y="1437"/>
                  </a:lnTo>
                  <a:lnTo>
                    <a:pt x="1594" y="1435"/>
                  </a:lnTo>
                  <a:lnTo>
                    <a:pt x="1595" y="1432"/>
                  </a:lnTo>
                  <a:lnTo>
                    <a:pt x="1608" y="1432"/>
                  </a:lnTo>
                  <a:lnTo>
                    <a:pt x="1609" y="1430"/>
                  </a:lnTo>
                  <a:lnTo>
                    <a:pt x="1610" y="1428"/>
                  </a:lnTo>
                  <a:lnTo>
                    <a:pt x="1611" y="1426"/>
                  </a:lnTo>
                  <a:lnTo>
                    <a:pt x="1614" y="1425"/>
                  </a:lnTo>
                  <a:lnTo>
                    <a:pt x="1620" y="1423"/>
                  </a:lnTo>
                  <a:lnTo>
                    <a:pt x="1628" y="1421"/>
                  </a:lnTo>
                  <a:lnTo>
                    <a:pt x="1645" y="1420"/>
                  </a:lnTo>
                  <a:lnTo>
                    <a:pt x="1658" y="1420"/>
                  </a:lnTo>
                  <a:lnTo>
                    <a:pt x="1658" y="1417"/>
                  </a:lnTo>
                  <a:lnTo>
                    <a:pt x="1659" y="1416"/>
                  </a:lnTo>
                  <a:lnTo>
                    <a:pt x="1660" y="1415"/>
                  </a:lnTo>
                  <a:lnTo>
                    <a:pt x="1662" y="1414"/>
                  </a:lnTo>
                  <a:lnTo>
                    <a:pt x="1666" y="1413"/>
                  </a:lnTo>
                  <a:lnTo>
                    <a:pt x="1670" y="1413"/>
                  </a:lnTo>
                  <a:lnTo>
                    <a:pt x="1671" y="1408"/>
                  </a:lnTo>
                  <a:lnTo>
                    <a:pt x="1675" y="1405"/>
                  </a:lnTo>
                  <a:lnTo>
                    <a:pt x="1678" y="1402"/>
                  </a:lnTo>
                  <a:lnTo>
                    <a:pt x="1682" y="1401"/>
                  </a:lnTo>
                  <a:lnTo>
                    <a:pt x="1689" y="1395"/>
                  </a:lnTo>
                  <a:lnTo>
                    <a:pt x="1690" y="1389"/>
                  </a:lnTo>
                  <a:lnTo>
                    <a:pt x="1694" y="1383"/>
                  </a:lnTo>
                  <a:lnTo>
                    <a:pt x="1695" y="1380"/>
                  </a:lnTo>
                  <a:lnTo>
                    <a:pt x="1697" y="1378"/>
                  </a:lnTo>
                  <a:lnTo>
                    <a:pt x="1699" y="1376"/>
                  </a:lnTo>
                  <a:lnTo>
                    <a:pt x="1701" y="1376"/>
                  </a:lnTo>
                  <a:lnTo>
                    <a:pt x="1701" y="1357"/>
                  </a:lnTo>
                  <a:lnTo>
                    <a:pt x="1704" y="1356"/>
                  </a:lnTo>
                  <a:lnTo>
                    <a:pt x="1706" y="1355"/>
                  </a:lnTo>
                  <a:lnTo>
                    <a:pt x="1706" y="1353"/>
                  </a:lnTo>
                  <a:lnTo>
                    <a:pt x="1707" y="1350"/>
                  </a:lnTo>
                  <a:lnTo>
                    <a:pt x="1708" y="1344"/>
                  </a:lnTo>
                  <a:lnTo>
                    <a:pt x="1708" y="1338"/>
                  </a:lnTo>
                  <a:lnTo>
                    <a:pt x="1710" y="1337"/>
                  </a:lnTo>
                  <a:lnTo>
                    <a:pt x="1712" y="1334"/>
                  </a:lnTo>
                  <a:lnTo>
                    <a:pt x="1713" y="1328"/>
                  </a:lnTo>
                  <a:lnTo>
                    <a:pt x="1714" y="1321"/>
                  </a:lnTo>
                  <a:lnTo>
                    <a:pt x="1714" y="1309"/>
                  </a:lnTo>
                  <a:lnTo>
                    <a:pt x="1714" y="1301"/>
                  </a:lnTo>
                  <a:lnTo>
                    <a:pt x="1710" y="1300"/>
                  </a:lnTo>
                  <a:lnTo>
                    <a:pt x="1709" y="1300"/>
                  </a:lnTo>
                  <a:lnTo>
                    <a:pt x="1708" y="1299"/>
                  </a:lnTo>
                  <a:lnTo>
                    <a:pt x="1708" y="1298"/>
                  </a:lnTo>
                  <a:lnTo>
                    <a:pt x="1708" y="1297"/>
                  </a:lnTo>
                  <a:lnTo>
                    <a:pt x="1707" y="1296"/>
                  </a:lnTo>
                  <a:lnTo>
                    <a:pt x="1706" y="1295"/>
                  </a:lnTo>
                  <a:lnTo>
                    <a:pt x="1701" y="1295"/>
                  </a:lnTo>
                  <a:lnTo>
                    <a:pt x="1696" y="1282"/>
                  </a:lnTo>
                  <a:lnTo>
                    <a:pt x="1695" y="1278"/>
                  </a:lnTo>
                  <a:lnTo>
                    <a:pt x="1693" y="1272"/>
                  </a:lnTo>
                  <a:lnTo>
                    <a:pt x="1689" y="1268"/>
                  </a:lnTo>
                  <a:lnTo>
                    <a:pt x="1686" y="1262"/>
                  </a:lnTo>
                  <a:lnTo>
                    <a:pt x="1682" y="1257"/>
                  </a:lnTo>
                  <a:lnTo>
                    <a:pt x="1679" y="1251"/>
                  </a:lnTo>
                  <a:lnTo>
                    <a:pt x="1678" y="1245"/>
                  </a:lnTo>
                  <a:lnTo>
                    <a:pt x="1677" y="1239"/>
                  </a:lnTo>
                  <a:lnTo>
                    <a:pt x="1665" y="1232"/>
                  </a:lnTo>
                  <a:lnTo>
                    <a:pt x="1661" y="1223"/>
                  </a:lnTo>
                  <a:lnTo>
                    <a:pt x="1658" y="1213"/>
                  </a:lnTo>
                  <a:lnTo>
                    <a:pt x="1646" y="1201"/>
                  </a:lnTo>
                  <a:lnTo>
                    <a:pt x="1633" y="1201"/>
                  </a:lnTo>
                  <a:lnTo>
                    <a:pt x="1627" y="1189"/>
                  </a:lnTo>
                  <a:lnTo>
                    <a:pt x="1614" y="1189"/>
                  </a:lnTo>
                  <a:lnTo>
                    <a:pt x="1608" y="1178"/>
                  </a:lnTo>
                  <a:lnTo>
                    <a:pt x="1602" y="1170"/>
                  </a:lnTo>
                  <a:lnTo>
                    <a:pt x="1589" y="1163"/>
                  </a:lnTo>
                  <a:lnTo>
                    <a:pt x="1576" y="1157"/>
                  </a:lnTo>
                  <a:lnTo>
                    <a:pt x="1557" y="1138"/>
                  </a:lnTo>
                  <a:lnTo>
                    <a:pt x="1557" y="1126"/>
                  </a:lnTo>
                  <a:lnTo>
                    <a:pt x="1556" y="1125"/>
                  </a:lnTo>
                  <a:lnTo>
                    <a:pt x="1554" y="1124"/>
                  </a:lnTo>
                  <a:lnTo>
                    <a:pt x="1553" y="1122"/>
                  </a:lnTo>
                  <a:lnTo>
                    <a:pt x="1553" y="1118"/>
                  </a:lnTo>
                  <a:lnTo>
                    <a:pt x="1552" y="1113"/>
                  </a:lnTo>
                  <a:lnTo>
                    <a:pt x="1552" y="1107"/>
                  </a:lnTo>
                  <a:lnTo>
                    <a:pt x="1495" y="913"/>
                  </a:lnTo>
                  <a:lnTo>
                    <a:pt x="1489" y="907"/>
                  </a:lnTo>
                  <a:lnTo>
                    <a:pt x="1483" y="901"/>
                  </a:lnTo>
                  <a:lnTo>
                    <a:pt x="1477" y="894"/>
                  </a:lnTo>
                  <a:lnTo>
                    <a:pt x="1473" y="891"/>
                  </a:lnTo>
                  <a:lnTo>
                    <a:pt x="1469" y="886"/>
                  </a:lnTo>
                  <a:lnTo>
                    <a:pt x="1467" y="882"/>
                  </a:lnTo>
                  <a:lnTo>
                    <a:pt x="1465" y="877"/>
                  </a:lnTo>
                  <a:lnTo>
                    <a:pt x="1463" y="868"/>
                  </a:lnTo>
                  <a:lnTo>
                    <a:pt x="1461" y="858"/>
                  </a:lnTo>
                  <a:lnTo>
                    <a:pt x="1460" y="841"/>
                  </a:lnTo>
                  <a:lnTo>
                    <a:pt x="1457" y="827"/>
                  </a:lnTo>
                  <a:lnTo>
                    <a:pt x="1453" y="818"/>
                  </a:lnTo>
                  <a:lnTo>
                    <a:pt x="1448" y="810"/>
                  </a:lnTo>
                  <a:lnTo>
                    <a:pt x="1441" y="802"/>
                  </a:lnTo>
                  <a:lnTo>
                    <a:pt x="1436" y="795"/>
                  </a:lnTo>
                  <a:lnTo>
                    <a:pt x="1428" y="786"/>
                  </a:lnTo>
                  <a:lnTo>
                    <a:pt x="1420" y="776"/>
                  </a:lnTo>
                  <a:lnTo>
                    <a:pt x="1412" y="764"/>
                  </a:lnTo>
                  <a:lnTo>
                    <a:pt x="1405" y="752"/>
                  </a:lnTo>
                  <a:lnTo>
                    <a:pt x="1391" y="753"/>
                  </a:lnTo>
                  <a:lnTo>
                    <a:pt x="1378" y="755"/>
                  </a:lnTo>
                  <a:lnTo>
                    <a:pt x="1365" y="758"/>
                  </a:lnTo>
                  <a:lnTo>
                    <a:pt x="1354" y="758"/>
                  </a:lnTo>
                  <a:lnTo>
                    <a:pt x="1354" y="760"/>
                  </a:lnTo>
                  <a:lnTo>
                    <a:pt x="1353" y="762"/>
                  </a:lnTo>
                  <a:lnTo>
                    <a:pt x="1351" y="763"/>
                  </a:lnTo>
                  <a:lnTo>
                    <a:pt x="1348" y="763"/>
                  </a:lnTo>
                  <a:lnTo>
                    <a:pt x="1342" y="764"/>
                  </a:lnTo>
                  <a:lnTo>
                    <a:pt x="1336" y="764"/>
                  </a:lnTo>
                  <a:lnTo>
                    <a:pt x="1335" y="768"/>
                  </a:lnTo>
                  <a:lnTo>
                    <a:pt x="1335" y="770"/>
                  </a:lnTo>
                  <a:lnTo>
                    <a:pt x="1334" y="770"/>
                  </a:lnTo>
                  <a:lnTo>
                    <a:pt x="1333" y="771"/>
                  </a:lnTo>
                  <a:lnTo>
                    <a:pt x="1332" y="771"/>
                  </a:lnTo>
                  <a:lnTo>
                    <a:pt x="1331" y="771"/>
                  </a:lnTo>
                  <a:lnTo>
                    <a:pt x="1330" y="773"/>
                  </a:lnTo>
                  <a:lnTo>
                    <a:pt x="1330" y="777"/>
                  </a:lnTo>
                  <a:lnTo>
                    <a:pt x="1305" y="774"/>
                  </a:lnTo>
                  <a:lnTo>
                    <a:pt x="1271" y="771"/>
                  </a:lnTo>
                  <a:lnTo>
                    <a:pt x="1253" y="769"/>
                  </a:lnTo>
                  <a:lnTo>
                    <a:pt x="1237" y="768"/>
                  </a:lnTo>
                  <a:lnTo>
                    <a:pt x="1226" y="768"/>
                  </a:lnTo>
                  <a:lnTo>
                    <a:pt x="1220" y="769"/>
                  </a:lnTo>
                  <a:lnTo>
                    <a:pt x="1083" y="769"/>
                  </a:lnTo>
                  <a:lnTo>
                    <a:pt x="1082" y="766"/>
                  </a:lnTo>
                  <a:lnTo>
                    <a:pt x="1082" y="763"/>
                  </a:lnTo>
                  <a:lnTo>
                    <a:pt x="1081" y="763"/>
                  </a:lnTo>
                  <a:lnTo>
                    <a:pt x="1080" y="763"/>
                  </a:lnTo>
                  <a:lnTo>
                    <a:pt x="1079" y="763"/>
                  </a:lnTo>
                  <a:lnTo>
                    <a:pt x="1077" y="762"/>
                  </a:lnTo>
                  <a:lnTo>
                    <a:pt x="1076" y="760"/>
                  </a:lnTo>
                  <a:lnTo>
                    <a:pt x="1076" y="757"/>
                  </a:lnTo>
                  <a:lnTo>
                    <a:pt x="1057" y="757"/>
                  </a:lnTo>
                  <a:lnTo>
                    <a:pt x="1052" y="751"/>
                  </a:lnTo>
                  <a:lnTo>
                    <a:pt x="1045" y="744"/>
                  </a:lnTo>
                  <a:lnTo>
                    <a:pt x="1033" y="744"/>
                  </a:lnTo>
                  <a:lnTo>
                    <a:pt x="1033" y="732"/>
                  </a:lnTo>
                  <a:lnTo>
                    <a:pt x="1021" y="732"/>
                  </a:lnTo>
                  <a:lnTo>
                    <a:pt x="1019" y="729"/>
                  </a:lnTo>
                  <a:lnTo>
                    <a:pt x="1019" y="726"/>
                  </a:lnTo>
                  <a:lnTo>
                    <a:pt x="1018" y="725"/>
                  </a:lnTo>
                  <a:lnTo>
                    <a:pt x="1017" y="725"/>
                  </a:lnTo>
                  <a:lnTo>
                    <a:pt x="1016" y="725"/>
                  </a:lnTo>
                  <a:lnTo>
                    <a:pt x="1015" y="724"/>
                  </a:lnTo>
                  <a:lnTo>
                    <a:pt x="1014" y="723"/>
                  </a:lnTo>
                  <a:lnTo>
                    <a:pt x="1014" y="720"/>
                  </a:lnTo>
                  <a:lnTo>
                    <a:pt x="1005" y="716"/>
                  </a:lnTo>
                  <a:lnTo>
                    <a:pt x="995" y="713"/>
                  </a:lnTo>
                  <a:lnTo>
                    <a:pt x="995" y="710"/>
                  </a:lnTo>
                  <a:lnTo>
                    <a:pt x="994" y="708"/>
                  </a:lnTo>
                  <a:lnTo>
                    <a:pt x="993" y="706"/>
                  </a:lnTo>
                  <a:lnTo>
                    <a:pt x="992" y="706"/>
                  </a:lnTo>
                  <a:lnTo>
                    <a:pt x="990" y="706"/>
                  </a:lnTo>
                  <a:lnTo>
                    <a:pt x="990" y="706"/>
                  </a:lnTo>
                  <a:lnTo>
                    <a:pt x="989" y="704"/>
                  </a:lnTo>
                  <a:lnTo>
                    <a:pt x="989" y="701"/>
                  </a:lnTo>
                  <a:lnTo>
                    <a:pt x="976" y="701"/>
                  </a:lnTo>
                  <a:lnTo>
                    <a:pt x="970" y="689"/>
                  </a:lnTo>
                  <a:lnTo>
                    <a:pt x="960" y="689"/>
                  </a:lnTo>
                  <a:lnTo>
                    <a:pt x="951" y="689"/>
                  </a:lnTo>
                  <a:lnTo>
                    <a:pt x="949" y="686"/>
                  </a:lnTo>
                  <a:lnTo>
                    <a:pt x="942" y="684"/>
                  </a:lnTo>
                  <a:lnTo>
                    <a:pt x="932" y="683"/>
                  </a:lnTo>
                  <a:lnTo>
                    <a:pt x="921" y="683"/>
                  </a:lnTo>
                  <a:lnTo>
                    <a:pt x="899" y="682"/>
                  </a:lnTo>
                  <a:lnTo>
                    <a:pt x="882" y="682"/>
                  </a:lnTo>
                  <a:lnTo>
                    <a:pt x="871" y="681"/>
                  </a:lnTo>
                  <a:lnTo>
                    <a:pt x="862" y="678"/>
                  </a:lnTo>
                  <a:lnTo>
                    <a:pt x="856" y="675"/>
                  </a:lnTo>
                  <a:lnTo>
                    <a:pt x="852" y="671"/>
                  </a:lnTo>
                  <a:lnTo>
                    <a:pt x="850" y="666"/>
                  </a:lnTo>
                  <a:lnTo>
                    <a:pt x="847" y="663"/>
                  </a:lnTo>
                  <a:lnTo>
                    <a:pt x="844" y="661"/>
                  </a:lnTo>
                  <a:lnTo>
                    <a:pt x="841" y="660"/>
                  </a:lnTo>
                  <a:lnTo>
                    <a:pt x="841" y="478"/>
                  </a:lnTo>
                  <a:lnTo>
                    <a:pt x="836" y="472"/>
                  </a:lnTo>
                  <a:lnTo>
                    <a:pt x="829" y="458"/>
                  </a:lnTo>
                  <a:lnTo>
                    <a:pt x="820" y="435"/>
                  </a:lnTo>
                  <a:lnTo>
                    <a:pt x="810" y="411"/>
                  </a:lnTo>
                  <a:lnTo>
                    <a:pt x="791" y="365"/>
                  </a:lnTo>
                  <a:lnTo>
                    <a:pt x="783" y="344"/>
                  </a:lnTo>
                  <a:lnTo>
                    <a:pt x="770" y="338"/>
                  </a:lnTo>
                  <a:lnTo>
                    <a:pt x="764" y="331"/>
                  </a:lnTo>
                  <a:lnTo>
                    <a:pt x="764" y="319"/>
                  </a:lnTo>
                  <a:lnTo>
                    <a:pt x="758" y="314"/>
                  </a:lnTo>
                  <a:lnTo>
                    <a:pt x="751" y="307"/>
                  </a:lnTo>
                  <a:lnTo>
                    <a:pt x="745" y="302"/>
                  </a:lnTo>
                  <a:lnTo>
                    <a:pt x="739" y="300"/>
                  </a:lnTo>
                  <a:lnTo>
                    <a:pt x="738" y="296"/>
                  </a:lnTo>
                  <a:lnTo>
                    <a:pt x="736" y="292"/>
                  </a:lnTo>
                  <a:lnTo>
                    <a:pt x="733" y="288"/>
                  </a:lnTo>
                  <a:lnTo>
                    <a:pt x="729" y="283"/>
                  </a:lnTo>
                  <a:lnTo>
                    <a:pt x="726" y="280"/>
                  </a:lnTo>
                  <a:lnTo>
                    <a:pt x="722" y="274"/>
                  </a:lnTo>
                  <a:lnTo>
                    <a:pt x="720" y="269"/>
                  </a:lnTo>
                  <a:lnTo>
                    <a:pt x="720" y="263"/>
                  </a:lnTo>
                  <a:lnTo>
                    <a:pt x="716" y="259"/>
                  </a:lnTo>
                  <a:lnTo>
                    <a:pt x="710" y="253"/>
                  </a:lnTo>
                  <a:lnTo>
                    <a:pt x="706" y="245"/>
                  </a:lnTo>
                  <a:lnTo>
                    <a:pt x="702" y="238"/>
                  </a:lnTo>
                  <a:lnTo>
                    <a:pt x="695" y="222"/>
                  </a:lnTo>
                  <a:lnTo>
                    <a:pt x="689" y="213"/>
                  </a:lnTo>
                  <a:lnTo>
                    <a:pt x="688" y="181"/>
                  </a:lnTo>
                  <a:lnTo>
                    <a:pt x="686" y="143"/>
                  </a:lnTo>
                  <a:lnTo>
                    <a:pt x="683" y="105"/>
                  </a:lnTo>
                  <a:lnTo>
                    <a:pt x="682" y="69"/>
                  </a:lnTo>
                  <a:lnTo>
                    <a:pt x="670" y="57"/>
                  </a:lnTo>
                  <a:lnTo>
                    <a:pt x="669" y="51"/>
                  </a:lnTo>
                  <a:lnTo>
                    <a:pt x="667" y="46"/>
                  </a:lnTo>
                  <a:lnTo>
                    <a:pt x="663" y="39"/>
                  </a:lnTo>
                  <a:lnTo>
                    <a:pt x="660" y="33"/>
                  </a:lnTo>
                  <a:lnTo>
                    <a:pt x="655" y="28"/>
                  </a:lnTo>
                  <a:lnTo>
                    <a:pt x="651" y="23"/>
                  </a:lnTo>
                  <a:lnTo>
                    <a:pt x="648" y="20"/>
                  </a:lnTo>
                  <a:lnTo>
                    <a:pt x="645" y="19"/>
                  </a:lnTo>
                  <a:lnTo>
                    <a:pt x="644" y="14"/>
                  </a:lnTo>
                  <a:lnTo>
                    <a:pt x="642" y="11"/>
                  </a:lnTo>
                  <a:lnTo>
                    <a:pt x="639" y="8"/>
                  </a:lnTo>
                  <a:lnTo>
                    <a:pt x="635" y="4"/>
                  </a:lnTo>
                  <a:lnTo>
                    <a:pt x="629" y="1"/>
                  </a:lnTo>
                  <a:lnTo>
                    <a:pt x="626" y="0"/>
                  </a:lnTo>
                  <a:lnTo>
                    <a:pt x="545" y="0"/>
                  </a:lnTo>
                  <a:lnTo>
                    <a:pt x="545" y="4"/>
                  </a:lnTo>
                  <a:lnTo>
                    <a:pt x="544" y="5"/>
                  </a:lnTo>
                  <a:lnTo>
                    <a:pt x="543" y="7"/>
                  </a:lnTo>
                  <a:lnTo>
                    <a:pt x="542" y="7"/>
                  </a:lnTo>
                  <a:lnTo>
                    <a:pt x="541" y="7"/>
                  </a:lnTo>
                  <a:lnTo>
                    <a:pt x="539" y="8"/>
                  </a:lnTo>
                  <a:lnTo>
                    <a:pt x="539" y="9"/>
                  </a:lnTo>
                  <a:lnTo>
                    <a:pt x="538" y="12"/>
                  </a:lnTo>
                  <a:lnTo>
                    <a:pt x="445" y="12"/>
                  </a:lnTo>
                  <a:lnTo>
                    <a:pt x="443" y="10"/>
                  </a:lnTo>
                  <a:lnTo>
                    <a:pt x="439" y="7"/>
                  </a:lnTo>
                  <a:lnTo>
                    <a:pt x="433" y="4"/>
                  </a:lnTo>
                  <a:lnTo>
                    <a:pt x="426" y="3"/>
                  </a:lnTo>
                  <a:lnTo>
                    <a:pt x="404" y="1"/>
                  </a:lnTo>
                  <a:lnTo>
                    <a:pt x="381" y="0"/>
                  </a:lnTo>
                  <a:lnTo>
                    <a:pt x="356" y="1"/>
                  </a:lnTo>
                  <a:lnTo>
                    <a:pt x="333" y="2"/>
                  </a:lnTo>
                  <a:lnTo>
                    <a:pt x="314" y="4"/>
                  </a:lnTo>
                  <a:lnTo>
                    <a:pt x="303" y="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49" name="Freeform 15"/>
            <p:cNvSpPr>
              <a:spLocks noChangeAspect="1"/>
            </p:cNvSpPr>
            <p:nvPr/>
          </p:nvSpPr>
          <p:spPr bwMode="gray">
            <a:xfrm rot="355651">
              <a:off x="5808074" y="3995738"/>
              <a:ext cx="305749" cy="282119"/>
            </a:xfrm>
            <a:custGeom>
              <a:avLst/>
              <a:gdLst/>
              <a:ahLst/>
              <a:cxnLst>
                <a:cxn ang="0">
                  <a:pos x="1402" y="770"/>
                </a:cxn>
                <a:cxn ang="0">
                  <a:pos x="1286" y="763"/>
                </a:cxn>
                <a:cxn ang="0">
                  <a:pos x="1187" y="690"/>
                </a:cxn>
                <a:cxn ang="0">
                  <a:pos x="1112" y="619"/>
                </a:cxn>
                <a:cxn ang="0">
                  <a:pos x="1034" y="523"/>
                </a:cxn>
                <a:cxn ang="0">
                  <a:pos x="1008" y="483"/>
                </a:cxn>
                <a:cxn ang="0">
                  <a:pos x="977" y="436"/>
                </a:cxn>
                <a:cxn ang="0">
                  <a:pos x="961" y="349"/>
                </a:cxn>
                <a:cxn ang="0">
                  <a:pos x="938" y="183"/>
                </a:cxn>
                <a:cxn ang="0">
                  <a:pos x="932" y="2"/>
                </a:cxn>
                <a:cxn ang="0">
                  <a:pos x="846" y="19"/>
                </a:cxn>
                <a:cxn ang="0">
                  <a:pos x="754" y="36"/>
                </a:cxn>
                <a:cxn ang="0">
                  <a:pos x="724" y="52"/>
                </a:cxn>
                <a:cxn ang="0">
                  <a:pos x="667" y="118"/>
                </a:cxn>
                <a:cxn ang="0">
                  <a:pos x="590" y="145"/>
                </a:cxn>
                <a:cxn ang="0">
                  <a:pos x="543" y="138"/>
                </a:cxn>
                <a:cxn ang="0">
                  <a:pos x="453" y="111"/>
                </a:cxn>
                <a:cxn ang="0">
                  <a:pos x="336" y="98"/>
                </a:cxn>
                <a:cxn ang="0">
                  <a:pos x="196" y="165"/>
                </a:cxn>
                <a:cxn ang="0">
                  <a:pos x="141" y="466"/>
                </a:cxn>
                <a:cxn ang="0">
                  <a:pos x="93" y="564"/>
                </a:cxn>
                <a:cxn ang="0">
                  <a:pos x="112" y="627"/>
                </a:cxn>
                <a:cxn ang="0">
                  <a:pos x="122" y="669"/>
                </a:cxn>
                <a:cxn ang="0">
                  <a:pos x="70" y="790"/>
                </a:cxn>
                <a:cxn ang="0">
                  <a:pos x="32" y="856"/>
                </a:cxn>
                <a:cxn ang="0">
                  <a:pos x="7" y="915"/>
                </a:cxn>
                <a:cxn ang="0">
                  <a:pos x="96" y="1034"/>
                </a:cxn>
                <a:cxn ang="0">
                  <a:pos x="216" y="1063"/>
                </a:cxn>
                <a:cxn ang="0">
                  <a:pos x="366" y="1109"/>
                </a:cxn>
                <a:cxn ang="0">
                  <a:pos x="390" y="1179"/>
                </a:cxn>
                <a:cxn ang="0">
                  <a:pos x="375" y="1419"/>
                </a:cxn>
                <a:cxn ang="0">
                  <a:pos x="389" y="1543"/>
                </a:cxn>
                <a:cxn ang="0">
                  <a:pos x="541" y="1529"/>
                </a:cxn>
                <a:cxn ang="0">
                  <a:pos x="601" y="1596"/>
                </a:cxn>
                <a:cxn ang="0">
                  <a:pos x="603" y="1635"/>
                </a:cxn>
                <a:cxn ang="0">
                  <a:pos x="654" y="1680"/>
                </a:cxn>
                <a:cxn ang="0">
                  <a:pos x="722" y="1748"/>
                </a:cxn>
                <a:cxn ang="0">
                  <a:pos x="742" y="1667"/>
                </a:cxn>
                <a:cxn ang="0">
                  <a:pos x="755" y="1637"/>
                </a:cxn>
                <a:cxn ang="0">
                  <a:pos x="858" y="1522"/>
                </a:cxn>
                <a:cxn ang="0">
                  <a:pos x="851" y="1428"/>
                </a:cxn>
                <a:cxn ang="0">
                  <a:pos x="812" y="1263"/>
                </a:cxn>
                <a:cxn ang="0">
                  <a:pos x="850" y="1214"/>
                </a:cxn>
                <a:cxn ang="0">
                  <a:pos x="886" y="1020"/>
                </a:cxn>
                <a:cxn ang="0">
                  <a:pos x="1018" y="977"/>
                </a:cxn>
                <a:cxn ang="0">
                  <a:pos x="1088" y="1000"/>
                </a:cxn>
                <a:cxn ang="0">
                  <a:pos x="1210" y="1111"/>
                </a:cxn>
                <a:cxn ang="0">
                  <a:pos x="1360" y="1342"/>
                </a:cxn>
                <a:cxn ang="0">
                  <a:pos x="1473" y="1575"/>
                </a:cxn>
                <a:cxn ang="0">
                  <a:pos x="1629" y="1650"/>
                </a:cxn>
                <a:cxn ang="0">
                  <a:pos x="1656" y="1493"/>
                </a:cxn>
                <a:cxn ang="0">
                  <a:pos x="1630" y="1399"/>
                </a:cxn>
                <a:cxn ang="0">
                  <a:pos x="1575" y="1331"/>
                </a:cxn>
                <a:cxn ang="0">
                  <a:pos x="1555" y="1272"/>
                </a:cxn>
                <a:cxn ang="0">
                  <a:pos x="1527" y="1125"/>
                </a:cxn>
                <a:cxn ang="0">
                  <a:pos x="1500" y="1080"/>
                </a:cxn>
                <a:cxn ang="0">
                  <a:pos x="1481" y="1062"/>
                </a:cxn>
                <a:cxn ang="0">
                  <a:pos x="1445" y="1044"/>
                </a:cxn>
                <a:cxn ang="0">
                  <a:pos x="1438" y="991"/>
                </a:cxn>
                <a:cxn ang="0">
                  <a:pos x="1450" y="957"/>
                </a:cxn>
                <a:cxn ang="0">
                  <a:pos x="1464" y="937"/>
                </a:cxn>
                <a:cxn ang="0">
                  <a:pos x="1457" y="866"/>
                </a:cxn>
              </a:cxnLst>
              <a:rect l="0" t="0" r="r" b="b"/>
              <a:pathLst>
                <a:path w="1680" h="1756">
                  <a:moveTo>
                    <a:pt x="1462" y="764"/>
                  </a:moveTo>
                  <a:lnTo>
                    <a:pt x="1450" y="764"/>
                  </a:lnTo>
                  <a:lnTo>
                    <a:pt x="1438" y="764"/>
                  </a:lnTo>
                  <a:lnTo>
                    <a:pt x="1427" y="764"/>
                  </a:lnTo>
                  <a:lnTo>
                    <a:pt x="1416" y="764"/>
                  </a:lnTo>
                  <a:lnTo>
                    <a:pt x="1416" y="766"/>
                  </a:lnTo>
                  <a:lnTo>
                    <a:pt x="1414" y="767"/>
                  </a:lnTo>
                  <a:lnTo>
                    <a:pt x="1412" y="769"/>
                  </a:lnTo>
                  <a:lnTo>
                    <a:pt x="1408" y="769"/>
                  </a:lnTo>
                  <a:lnTo>
                    <a:pt x="1402" y="770"/>
                  </a:lnTo>
                  <a:lnTo>
                    <a:pt x="1397" y="770"/>
                  </a:lnTo>
                  <a:lnTo>
                    <a:pt x="1396" y="771"/>
                  </a:lnTo>
                  <a:lnTo>
                    <a:pt x="1393" y="772"/>
                  </a:lnTo>
                  <a:lnTo>
                    <a:pt x="1387" y="773"/>
                  </a:lnTo>
                  <a:lnTo>
                    <a:pt x="1380" y="773"/>
                  </a:lnTo>
                  <a:lnTo>
                    <a:pt x="1364" y="772"/>
                  </a:lnTo>
                  <a:lnTo>
                    <a:pt x="1345" y="771"/>
                  </a:lnTo>
                  <a:lnTo>
                    <a:pt x="1309" y="766"/>
                  </a:lnTo>
                  <a:lnTo>
                    <a:pt x="1293" y="764"/>
                  </a:lnTo>
                  <a:lnTo>
                    <a:pt x="1286" y="763"/>
                  </a:lnTo>
                  <a:lnTo>
                    <a:pt x="1278" y="761"/>
                  </a:lnTo>
                  <a:lnTo>
                    <a:pt x="1269" y="756"/>
                  </a:lnTo>
                  <a:lnTo>
                    <a:pt x="1259" y="751"/>
                  </a:lnTo>
                  <a:lnTo>
                    <a:pt x="1248" y="744"/>
                  </a:lnTo>
                  <a:lnTo>
                    <a:pt x="1238" y="736"/>
                  </a:lnTo>
                  <a:lnTo>
                    <a:pt x="1226" y="727"/>
                  </a:lnTo>
                  <a:lnTo>
                    <a:pt x="1216" y="718"/>
                  </a:lnTo>
                  <a:lnTo>
                    <a:pt x="1206" y="709"/>
                  </a:lnTo>
                  <a:lnTo>
                    <a:pt x="1196" y="699"/>
                  </a:lnTo>
                  <a:lnTo>
                    <a:pt x="1187" y="690"/>
                  </a:lnTo>
                  <a:lnTo>
                    <a:pt x="1181" y="682"/>
                  </a:lnTo>
                  <a:lnTo>
                    <a:pt x="1174" y="673"/>
                  </a:lnTo>
                  <a:lnTo>
                    <a:pt x="1169" y="665"/>
                  </a:lnTo>
                  <a:lnTo>
                    <a:pt x="1166" y="657"/>
                  </a:lnTo>
                  <a:lnTo>
                    <a:pt x="1165" y="651"/>
                  </a:lnTo>
                  <a:lnTo>
                    <a:pt x="1155" y="651"/>
                  </a:lnTo>
                  <a:lnTo>
                    <a:pt x="1143" y="638"/>
                  </a:lnTo>
                  <a:lnTo>
                    <a:pt x="1130" y="626"/>
                  </a:lnTo>
                  <a:lnTo>
                    <a:pt x="1120" y="626"/>
                  </a:lnTo>
                  <a:lnTo>
                    <a:pt x="1112" y="619"/>
                  </a:lnTo>
                  <a:lnTo>
                    <a:pt x="1096" y="601"/>
                  </a:lnTo>
                  <a:lnTo>
                    <a:pt x="1079" y="584"/>
                  </a:lnTo>
                  <a:lnTo>
                    <a:pt x="1071" y="577"/>
                  </a:lnTo>
                  <a:lnTo>
                    <a:pt x="1070" y="571"/>
                  </a:lnTo>
                  <a:lnTo>
                    <a:pt x="1069" y="565"/>
                  </a:lnTo>
                  <a:lnTo>
                    <a:pt x="1066" y="560"/>
                  </a:lnTo>
                  <a:lnTo>
                    <a:pt x="1062" y="554"/>
                  </a:lnTo>
                  <a:lnTo>
                    <a:pt x="1053" y="544"/>
                  </a:lnTo>
                  <a:lnTo>
                    <a:pt x="1044" y="533"/>
                  </a:lnTo>
                  <a:lnTo>
                    <a:pt x="1034" y="523"/>
                  </a:lnTo>
                  <a:lnTo>
                    <a:pt x="1025" y="512"/>
                  </a:lnTo>
                  <a:lnTo>
                    <a:pt x="1022" y="507"/>
                  </a:lnTo>
                  <a:lnTo>
                    <a:pt x="1019" y="503"/>
                  </a:lnTo>
                  <a:lnTo>
                    <a:pt x="1018" y="497"/>
                  </a:lnTo>
                  <a:lnTo>
                    <a:pt x="1016" y="493"/>
                  </a:lnTo>
                  <a:lnTo>
                    <a:pt x="1013" y="493"/>
                  </a:lnTo>
                  <a:lnTo>
                    <a:pt x="1011" y="492"/>
                  </a:lnTo>
                  <a:lnTo>
                    <a:pt x="1010" y="490"/>
                  </a:lnTo>
                  <a:lnTo>
                    <a:pt x="1009" y="487"/>
                  </a:lnTo>
                  <a:lnTo>
                    <a:pt x="1008" y="483"/>
                  </a:lnTo>
                  <a:lnTo>
                    <a:pt x="1006" y="478"/>
                  </a:lnTo>
                  <a:lnTo>
                    <a:pt x="1004" y="477"/>
                  </a:lnTo>
                  <a:lnTo>
                    <a:pt x="1001" y="473"/>
                  </a:lnTo>
                  <a:lnTo>
                    <a:pt x="996" y="468"/>
                  </a:lnTo>
                  <a:lnTo>
                    <a:pt x="993" y="462"/>
                  </a:lnTo>
                  <a:lnTo>
                    <a:pt x="989" y="455"/>
                  </a:lnTo>
                  <a:lnTo>
                    <a:pt x="985" y="449"/>
                  </a:lnTo>
                  <a:lnTo>
                    <a:pt x="983" y="443"/>
                  </a:lnTo>
                  <a:lnTo>
                    <a:pt x="982" y="438"/>
                  </a:lnTo>
                  <a:lnTo>
                    <a:pt x="977" y="436"/>
                  </a:lnTo>
                  <a:lnTo>
                    <a:pt x="972" y="434"/>
                  </a:lnTo>
                  <a:lnTo>
                    <a:pt x="972" y="415"/>
                  </a:lnTo>
                  <a:lnTo>
                    <a:pt x="970" y="395"/>
                  </a:lnTo>
                  <a:lnTo>
                    <a:pt x="968" y="376"/>
                  </a:lnTo>
                  <a:lnTo>
                    <a:pt x="967" y="360"/>
                  </a:lnTo>
                  <a:lnTo>
                    <a:pt x="964" y="359"/>
                  </a:lnTo>
                  <a:lnTo>
                    <a:pt x="963" y="357"/>
                  </a:lnTo>
                  <a:lnTo>
                    <a:pt x="963" y="353"/>
                  </a:lnTo>
                  <a:lnTo>
                    <a:pt x="963" y="350"/>
                  </a:lnTo>
                  <a:lnTo>
                    <a:pt x="961" y="349"/>
                  </a:lnTo>
                  <a:lnTo>
                    <a:pt x="958" y="348"/>
                  </a:lnTo>
                  <a:lnTo>
                    <a:pt x="956" y="346"/>
                  </a:lnTo>
                  <a:lnTo>
                    <a:pt x="954" y="343"/>
                  </a:lnTo>
                  <a:lnTo>
                    <a:pt x="951" y="336"/>
                  </a:lnTo>
                  <a:lnTo>
                    <a:pt x="948" y="324"/>
                  </a:lnTo>
                  <a:lnTo>
                    <a:pt x="944" y="299"/>
                  </a:lnTo>
                  <a:lnTo>
                    <a:pt x="941" y="267"/>
                  </a:lnTo>
                  <a:lnTo>
                    <a:pt x="939" y="236"/>
                  </a:lnTo>
                  <a:lnTo>
                    <a:pt x="938" y="206"/>
                  </a:lnTo>
                  <a:lnTo>
                    <a:pt x="938" y="183"/>
                  </a:lnTo>
                  <a:lnTo>
                    <a:pt x="937" y="167"/>
                  </a:lnTo>
                  <a:lnTo>
                    <a:pt x="938" y="148"/>
                  </a:lnTo>
                  <a:lnTo>
                    <a:pt x="939" y="128"/>
                  </a:lnTo>
                  <a:lnTo>
                    <a:pt x="941" y="107"/>
                  </a:lnTo>
                  <a:lnTo>
                    <a:pt x="943" y="86"/>
                  </a:lnTo>
                  <a:lnTo>
                    <a:pt x="945" y="63"/>
                  </a:lnTo>
                  <a:lnTo>
                    <a:pt x="946" y="42"/>
                  </a:lnTo>
                  <a:lnTo>
                    <a:pt x="947" y="20"/>
                  </a:lnTo>
                  <a:lnTo>
                    <a:pt x="947" y="0"/>
                  </a:lnTo>
                  <a:lnTo>
                    <a:pt x="932" y="2"/>
                  </a:lnTo>
                  <a:lnTo>
                    <a:pt x="912" y="6"/>
                  </a:lnTo>
                  <a:lnTo>
                    <a:pt x="902" y="10"/>
                  </a:lnTo>
                  <a:lnTo>
                    <a:pt x="890" y="12"/>
                  </a:lnTo>
                  <a:lnTo>
                    <a:pt x="879" y="14"/>
                  </a:lnTo>
                  <a:lnTo>
                    <a:pt x="869" y="14"/>
                  </a:lnTo>
                  <a:lnTo>
                    <a:pt x="868" y="16"/>
                  </a:lnTo>
                  <a:lnTo>
                    <a:pt x="865" y="17"/>
                  </a:lnTo>
                  <a:lnTo>
                    <a:pt x="860" y="17"/>
                  </a:lnTo>
                  <a:lnTo>
                    <a:pt x="856" y="19"/>
                  </a:lnTo>
                  <a:lnTo>
                    <a:pt x="846" y="19"/>
                  </a:lnTo>
                  <a:lnTo>
                    <a:pt x="839" y="19"/>
                  </a:lnTo>
                  <a:lnTo>
                    <a:pt x="838" y="21"/>
                  </a:lnTo>
                  <a:lnTo>
                    <a:pt x="836" y="23"/>
                  </a:lnTo>
                  <a:lnTo>
                    <a:pt x="832" y="24"/>
                  </a:lnTo>
                  <a:lnTo>
                    <a:pt x="828" y="25"/>
                  </a:lnTo>
                  <a:lnTo>
                    <a:pt x="817" y="29"/>
                  </a:lnTo>
                  <a:lnTo>
                    <a:pt x="802" y="30"/>
                  </a:lnTo>
                  <a:lnTo>
                    <a:pt x="774" y="33"/>
                  </a:lnTo>
                  <a:lnTo>
                    <a:pt x="755" y="34"/>
                  </a:lnTo>
                  <a:lnTo>
                    <a:pt x="754" y="36"/>
                  </a:lnTo>
                  <a:lnTo>
                    <a:pt x="753" y="39"/>
                  </a:lnTo>
                  <a:lnTo>
                    <a:pt x="751" y="39"/>
                  </a:lnTo>
                  <a:lnTo>
                    <a:pt x="747" y="40"/>
                  </a:lnTo>
                  <a:lnTo>
                    <a:pt x="745" y="40"/>
                  </a:lnTo>
                  <a:lnTo>
                    <a:pt x="743" y="42"/>
                  </a:lnTo>
                  <a:lnTo>
                    <a:pt x="741" y="44"/>
                  </a:lnTo>
                  <a:lnTo>
                    <a:pt x="741" y="49"/>
                  </a:lnTo>
                  <a:lnTo>
                    <a:pt x="735" y="49"/>
                  </a:lnTo>
                  <a:lnTo>
                    <a:pt x="730" y="51"/>
                  </a:lnTo>
                  <a:lnTo>
                    <a:pt x="724" y="52"/>
                  </a:lnTo>
                  <a:lnTo>
                    <a:pt x="718" y="55"/>
                  </a:lnTo>
                  <a:lnTo>
                    <a:pt x="708" y="61"/>
                  </a:lnTo>
                  <a:lnTo>
                    <a:pt x="698" y="69"/>
                  </a:lnTo>
                  <a:lnTo>
                    <a:pt x="689" y="75"/>
                  </a:lnTo>
                  <a:lnTo>
                    <a:pt x="682" y="82"/>
                  </a:lnTo>
                  <a:lnTo>
                    <a:pt x="676" y="87"/>
                  </a:lnTo>
                  <a:lnTo>
                    <a:pt x="672" y="88"/>
                  </a:lnTo>
                  <a:lnTo>
                    <a:pt x="670" y="99"/>
                  </a:lnTo>
                  <a:lnTo>
                    <a:pt x="668" y="108"/>
                  </a:lnTo>
                  <a:lnTo>
                    <a:pt x="667" y="118"/>
                  </a:lnTo>
                  <a:lnTo>
                    <a:pt x="666" y="128"/>
                  </a:lnTo>
                  <a:lnTo>
                    <a:pt x="668" y="128"/>
                  </a:lnTo>
                  <a:lnTo>
                    <a:pt x="669" y="130"/>
                  </a:lnTo>
                  <a:lnTo>
                    <a:pt x="670" y="132"/>
                  </a:lnTo>
                  <a:lnTo>
                    <a:pt x="670" y="136"/>
                  </a:lnTo>
                  <a:lnTo>
                    <a:pt x="672" y="142"/>
                  </a:lnTo>
                  <a:lnTo>
                    <a:pt x="672" y="147"/>
                  </a:lnTo>
                  <a:lnTo>
                    <a:pt x="592" y="147"/>
                  </a:lnTo>
                  <a:lnTo>
                    <a:pt x="592" y="146"/>
                  </a:lnTo>
                  <a:lnTo>
                    <a:pt x="590" y="145"/>
                  </a:lnTo>
                  <a:lnTo>
                    <a:pt x="589" y="144"/>
                  </a:lnTo>
                  <a:lnTo>
                    <a:pt x="587" y="144"/>
                  </a:lnTo>
                  <a:lnTo>
                    <a:pt x="582" y="142"/>
                  </a:lnTo>
                  <a:lnTo>
                    <a:pt x="578" y="142"/>
                  </a:lnTo>
                  <a:lnTo>
                    <a:pt x="577" y="141"/>
                  </a:lnTo>
                  <a:lnTo>
                    <a:pt x="572" y="139"/>
                  </a:lnTo>
                  <a:lnTo>
                    <a:pt x="568" y="139"/>
                  </a:lnTo>
                  <a:lnTo>
                    <a:pt x="562" y="138"/>
                  </a:lnTo>
                  <a:lnTo>
                    <a:pt x="550" y="138"/>
                  </a:lnTo>
                  <a:lnTo>
                    <a:pt x="543" y="138"/>
                  </a:lnTo>
                  <a:lnTo>
                    <a:pt x="540" y="136"/>
                  </a:lnTo>
                  <a:lnTo>
                    <a:pt x="531" y="132"/>
                  </a:lnTo>
                  <a:lnTo>
                    <a:pt x="517" y="129"/>
                  </a:lnTo>
                  <a:lnTo>
                    <a:pt x="503" y="126"/>
                  </a:lnTo>
                  <a:lnTo>
                    <a:pt x="474" y="120"/>
                  </a:lnTo>
                  <a:lnTo>
                    <a:pt x="459" y="118"/>
                  </a:lnTo>
                  <a:lnTo>
                    <a:pt x="458" y="116"/>
                  </a:lnTo>
                  <a:lnTo>
                    <a:pt x="457" y="115"/>
                  </a:lnTo>
                  <a:lnTo>
                    <a:pt x="455" y="112"/>
                  </a:lnTo>
                  <a:lnTo>
                    <a:pt x="453" y="111"/>
                  </a:lnTo>
                  <a:lnTo>
                    <a:pt x="446" y="109"/>
                  </a:lnTo>
                  <a:lnTo>
                    <a:pt x="439" y="108"/>
                  </a:lnTo>
                  <a:lnTo>
                    <a:pt x="438" y="107"/>
                  </a:lnTo>
                  <a:lnTo>
                    <a:pt x="437" y="104"/>
                  </a:lnTo>
                  <a:lnTo>
                    <a:pt x="434" y="103"/>
                  </a:lnTo>
                  <a:lnTo>
                    <a:pt x="430" y="102"/>
                  </a:lnTo>
                  <a:lnTo>
                    <a:pt x="420" y="100"/>
                  </a:lnTo>
                  <a:lnTo>
                    <a:pt x="407" y="99"/>
                  </a:lnTo>
                  <a:lnTo>
                    <a:pt x="375" y="97"/>
                  </a:lnTo>
                  <a:lnTo>
                    <a:pt x="336" y="98"/>
                  </a:lnTo>
                  <a:lnTo>
                    <a:pt x="296" y="101"/>
                  </a:lnTo>
                  <a:lnTo>
                    <a:pt x="260" y="106"/>
                  </a:lnTo>
                  <a:lnTo>
                    <a:pt x="245" y="108"/>
                  </a:lnTo>
                  <a:lnTo>
                    <a:pt x="232" y="111"/>
                  </a:lnTo>
                  <a:lnTo>
                    <a:pt x="223" y="115"/>
                  </a:lnTo>
                  <a:lnTo>
                    <a:pt x="217" y="118"/>
                  </a:lnTo>
                  <a:lnTo>
                    <a:pt x="212" y="126"/>
                  </a:lnTo>
                  <a:lnTo>
                    <a:pt x="206" y="136"/>
                  </a:lnTo>
                  <a:lnTo>
                    <a:pt x="200" y="149"/>
                  </a:lnTo>
                  <a:lnTo>
                    <a:pt x="196" y="165"/>
                  </a:lnTo>
                  <a:lnTo>
                    <a:pt x="187" y="199"/>
                  </a:lnTo>
                  <a:lnTo>
                    <a:pt x="178" y="237"/>
                  </a:lnTo>
                  <a:lnTo>
                    <a:pt x="171" y="274"/>
                  </a:lnTo>
                  <a:lnTo>
                    <a:pt x="165" y="305"/>
                  </a:lnTo>
                  <a:lnTo>
                    <a:pt x="160" y="327"/>
                  </a:lnTo>
                  <a:lnTo>
                    <a:pt x="158" y="336"/>
                  </a:lnTo>
                  <a:lnTo>
                    <a:pt x="157" y="357"/>
                  </a:lnTo>
                  <a:lnTo>
                    <a:pt x="154" y="388"/>
                  </a:lnTo>
                  <a:lnTo>
                    <a:pt x="149" y="426"/>
                  </a:lnTo>
                  <a:lnTo>
                    <a:pt x="141" y="466"/>
                  </a:lnTo>
                  <a:lnTo>
                    <a:pt x="137" y="485"/>
                  </a:lnTo>
                  <a:lnTo>
                    <a:pt x="131" y="504"/>
                  </a:lnTo>
                  <a:lnTo>
                    <a:pt x="125" y="521"/>
                  </a:lnTo>
                  <a:lnTo>
                    <a:pt x="118" y="536"/>
                  </a:lnTo>
                  <a:lnTo>
                    <a:pt x="115" y="543"/>
                  </a:lnTo>
                  <a:lnTo>
                    <a:pt x="111" y="549"/>
                  </a:lnTo>
                  <a:lnTo>
                    <a:pt x="107" y="554"/>
                  </a:lnTo>
                  <a:lnTo>
                    <a:pt x="102" y="559"/>
                  </a:lnTo>
                  <a:lnTo>
                    <a:pt x="98" y="562"/>
                  </a:lnTo>
                  <a:lnTo>
                    <a:pt x="93" y="564"/>
                  </a:lnTo>
                  <a:lnTo>
                    <a:pt x="89" y="567"/>
                  </a:lnTo>
                  <a:lnTo>
                    <a:pt x="83" y="567"/>
                  </a:lnTo>
                  <a:lnTo>
                    <a:pt x="83" y="591"/>
                  </a:lnTo>
                  <a:lnTo>
                    <a:pt x="88" y="593"/>
                  </a:lnTo>
                  <a:lnTo>
                    <a:pt x="92" y="597"/>
                  </a:lnTo>
                  <a:lnTo>
                    <a:pt x="98" y="601"/>
                  </a:lnTo>
                  <a:lnTo>
                    <a:pt x="102" y="608"/>
                  </a:lnTo>
                  <a:lnTo>
                    <a:pt x="107" y="615"/>
                  </a:lnTo>
                  <a:lnTo>
                    <a:pt x="110" y="621"/>
                  </a:lnTo>
                  <a:lnTo>
                    <a:pt x="112" y="627"/>
                  </a:lnTo>
                  <a:lnTo>
                    <a:pt x="113" y="631"/>
                  </a:lnTo>
                  <a:lnTo>
                    <a:pt x="117" y="632"/>
                  </a:lnTo>
                  <a:lnTo>
                    <a:pt x="118" y="635"/>
                  </a:lnTo>
                  <a:lnTo>
                    <a:pt x="118" y="637"/>
                  </a:lnTo>
                  <a:lnTo>
                    <a:pt x="118" y="641"/>
                  </a:lnTo>
                  <a:lnTo>
                    <a:pt x="120" y="642"/>
                  </a:lnTo>
                  <a:lnTo>
                    <a:pt x="121" y="645"/>
                  </a:lnTo>
                  <a:lnTo>
                    <a:pt x="122" y="649"/>
                  </a:lnTo>
                  <a:lnTo>
                    <a:pt x="122" y="655"/>
                  </a:lnTo>
                  <a:lnTo>
                    <a:pt x="122" y="669"/>
                  </a:lnTo>
                  <a:lnTo>
                    <a:pt x="121" y="687"/>
                  </a:lnTo>
                  <a:lnTo>
                    <a:pt x="120" y="704"/>
                  </a:lnTo>
                  <a:lnTo>
                    <a:pt x="118" y="721"/>
                  </a:lnTo>
                  <a:lnTo>
                    <a:pt x="116" y="733"/>
                  </a:lnTo>
                  <a:lnTo>
                    <a:pt x="113" y="740"/>
                  </a:lnTo>
                  <a:lnTo>
                    <a:pt x="108" y="750"/>
                  </a:lnTo>
                  <a:lnTo>
                    <a:pt x="100" y="759"/>
                  </a:lnTo>
                  <a:lnTo>
                    <a:pt x="90" y="769"/>
                  </a:lnTo>
                  <a:lnTo>
                    <a:pt x="80" y="780"/>
                  </a:lnTo>
                  <a:lnTo>
                    <a:pt x="70" y="790"/>
                  </a:lnTo>
                  <a:lnTo>
                    <a:pt x="62" y="800"/>
                  </a:lnTo>
                  <a:lnTo>
                    <a:pt x="59" y="804"/>
                  </a:lnTo>
                  <a:lnTo>
                    <a:pt x="56" y="809"/>
                  </a:lnTo>
                  <a:lnTo>
                    <a:pt x="54" y="814"/>
                  </a:lnTo>
                  <a:lnTo>
                    <a:pt x="54" y="819"/>
                  </a:lnTo>
                  <a:lnTo>
                    <a:pt x="44" y="819"/>
                  </a:lnTo>
                  <a:lnTo>
                    <a:pt x="43" y="827"/>
                  </a:lnTo>
                  <a:lnTo>
                    <a:pt x="41" y="837"/>
                  </a:lnTo>
                  <a:lnTo>
                    <a:pt x="37" y="846"/>
                  </a:lnTo>
                  <a:lnTo>
                    <a:pt x="32" y="856"/>
                  </a:lnTo>
                  <a:lnTo>
                    <a:pt x="26" y="865"/>
                  </a:lnTo>
                  <a:lnTo>
                    <a:pt x="20" y="871"/>
                  </a:lnTo>
                  <a:lnTo>
                    <a:pt x="16" y="875"/>
                  </a:lnTo>
                  <a:lnTo>
                    <a:pt x="12" y="876"/>
                  </a:lnTo>
                  <a:lnTo>
                    <a:pt x="8" y="878"/>
                  </a:lnTo>
                  <a:lnTo>
                    <a:pt x="5" y="878"/>
                  </a:lnTo>
                  <a:lnTo>
                    <a:pt x="0" y="882"/>
                  </a:lnTo>
                  <a:lnTo>
                    <a:pt x="1" y="892"/>
                  </a:lnTo>
                  <a:lnTo>
                    <a:pt x="3" y="902"/>
                  </a:lnTo>
                  <a:lnTo>
                    <a:pt x="7" y="915"/>
                  </a:lnTo>
                  <a:lnTo>
                    <a:pt x="13" y="927"/>
                  </a:lnTo>
                  <a:lnTo>
                    <a:pt x="20" y="940"/>
                  </a:lnTo>
                  <a:lnTo>
                    <a:pt x="27" y="954"/>
                  </a:lnTo>
                  <a:lnTo>
                    <a:pt x="35" y="967"/>
                  </a:lnTo>
                  <a:lnTo>
                    <a:pt x="45" y="981"/>
                  </a:lnTo>
                  <a:lnTo>
                    <a:pt x="54" y="994"/>
                  </a:lnTo>
                  <a:lnTo>
                    <a:pt x="64" y="1006"/>
                  </a:lnTo>
                  <a:lnTo>
                    <a:pt x="75" y="1016"/>
                  </a:lnTo>
                  <a:lnTo>
                    <a:pt x="85" y="1026"/>
                  </a:lnTo>
                  <a:lnTo>
                    <a:pt x="96" y="1034"/>
                  </a:lnTo>
                  <a:lnTo>
                    <a:pt x="106" y="1041"/>
                  </a:lnTo>
                  <a:lnTo>
                    <a:pt x="110" y="1043"/>
                  </a:lnTo>
                  <a:lnTo>
                    <a:pt x="115" y="1044"/>
                  </a:lnTo>
                  <a:lnTo>
                    <a:pt x="119" y="1045"/>
                  </a:lnTo>
                  <a:lnTo>
                    <a:pt x="123" y="1045"/>
                  </a:lnTo>
                  <a:lnTo>
                    <a:pt x="139" y="1046"/>
                  </a:lnTo>
                  <a:lnTo>
                    <a:pt x="155" y="1048"/>
                  </a:lnTo>
                  <a:lnTo>
                    <a:pt x="170" y="1051"/>
                  </a:lnTo>
                  <a:lnTo>
                    <a:pt x="186" y="1054"/>
                  </a:lnTo>
                  <a:lnTo>
                    <a:pt x="216" y="1063"/>
                  </a:lnTo>
                  <a:lnTo>
                    <a:pt x="246" y="1073"/>
                  </a:lnTo>
                  <a:lnTo>
                    <a:pt x="275" y="1083"/>
                  </a:lnTo>
                  <a:lnTo>
                    <a:pt x="304" y="1091"/>
                  </a:lnTo>
                  <a:lnTo>
                    <a:pt x="318" y="1094"/>
                  </a:lnTo>
                  <a:lnTo>
                    <a:pt x="330" y="1098"/>
                  </a:lnTo>
                  <a:lnTo>
                    <a:pt x="343" y="1099"/>
                  </a:lnTo>
                  <a:lnTo>
                    <a:pt x="356" y="1100"/>
                  </a:lnTo>
                  <a:lnTo>
                    <a:pt x="357" y="1103"/>
                  </a:lnTo>
                  <a:lnTo>
                    <a:pt x="361" y="1107"/>
                  </a:lnTo>
                  <a:lnTo>
                    <a:pt x="366" y="1109"/>
                  </a:lnTo>
                  <a:lnTo>
                    <a:pt x="370" y="1110"/>
                  </a:lnTo>
                  <a:lnTo>
                    <a:pt x="370" y="1125"/>
                  </a:lnTo>
                  <a:lnTo>
                    <a:pt x="372" y="1125"/>
                  </a:lnTo>
                  <a:lnTo>
                    <a:pt x="376" y="1127"/>
                  </a:lnTo>
                  <a:lnTo>
                    <a:pt x="378" y="1129"/>
                  </a:lnTo>
                  <a:lnTo>
                    <a:pt x="380" y="1132"/>
                  </a:lnTo>
                  <a:lnTo>
                    <a:pt x="384" y="1140"/>
                  </a:lnTo>
                  <a:lnTo>
                    <a:pt x="387" y="1151"/>
                  </a:lnTo>
                  <a:lnTo>
                    <a:pt x="389" y="1164"/>
                  </a:lnTo>
                  <a:lnTo>
                    <a:pt x="390" y="1179"/>
                  </a:lnTo>
                  <a:lnTo>
                    <a:pt x="392" y="1195"/>
                  </a:lnTo>
                  <a:lnTo>
                    <a:pt x="392" y="1211"/>
                  </a:lnTo>
                  <a:lnTo>
                    <a:pt x="394" y="1244"/>
                  </a:lnTo>
                  <a:lnTo>
                    <a:pt x="392" y="1274"/>
                  </a:lnTo>
                  <a:lnTo>
                    <a:pt x="391" y="1299"/>
                  </a:lnTo>
                  <a:lnTo>
                    <a:pt x="390" y="1312"/>
                  </a:lnTo>
                  <a:lnTo>
                    <a:pt x="385" y="1339"/>
                  </a:lnTo>
                  <a:lnTo>
                    <a:pt x="380" y="1365"/>
                  </a:lnTo>
                  <a:lnTo>
                    <a:pt x="377" y="1391"/>
                  </a:lnTo>
                  <a:lnTo>
                    <a:pt x="375" y="1419"/>
                  </a:lnTo>
                  <a:lnTo>
                    <a:pt x="372" y="1446"/>
                  </a:lnTo>
                  <a:lnTo>
                    <a:pt x="371" y="1474"/>
                  </a:lnTo>
                  <a:lnTo>
                    <a:pt x="370" y="1502"/>
                  </a:lnTo>
                  <a:lnTo>
                    <a:pt x="370" y="1530"/>
                  </a:lnTo>
                  <a:lnTo>
                    <a:pt x="380" y="1530"/>
                  </a:lnTo>
                  <a:lnTo>
                    <a:pt x="380" y="1533"/>
                  </a:lnTo>
                  <a:lnTo>
                    <a:pt x="381" y="1535"/>
                  </a:lnTo>
                  <a:lnTo>
                    <a:pt x="382" y="1539"/>
                  </a:lnTo>
                  <a:lnTo>
                    <a:pt x="384" y="1541"/>
                  </a:lnTo>
                  <a:lnTo>
                    <a:pt x="389" y="1543"/>
                  </a:lnTo>
                  <a:lnTo>
                    <a:pt x="395" y="1545"/>
                  </a:lnTo>
                  <a:lnTo>
                    <a:pt x="403" y="1545"/>
                  </a:lnTo>
                  <a:lnTo>
                    <a:pt x="410" y="1545"/>
                  </a:lnTo>
                  <a:lnTo>
                    <a:pt x="419" y="1544"/>
                  </a:lnTo>
                  <a:lnTo>
                    <a:pt x="428" y="1542"/>
                  </a:lnTo>
                  <a:lnTo>
                    <a:pt x="465" y="1531"/>
                  </a:lnTo>
                  <a:lnTo>
                    <a:pt x="488" y="1524"/>
                  </a:lnTo>
                  <a:lnTo>
                    <a:pt x="511" y="1525"/>
                  </a:lnTo>
                  <a:lnTo>
                    <a:pt x="531" y="1527"/>
                  </a:lnTo>
                  <a:lnTo>
                    <a:pt x="541" y="1529"/>
                  </a:lnTo>
                  <a:lnTo>
                    <a:pt x="551" y="1532"/>
                  </a:lnTo>
                  <a:lnTo>
                    <a:pt x="559" y="1534"/>
                  </a:lnTo>
                  <a:lnTo>
                    <a:pt x="568" y="1539"/>
                  </a:lnTo>
                  <a:lnTo>
                    <a:pt x="576" y="1543"/>
                  </a:lnTo>
                  <a:lnTo>
                    <a:pt x="582" y="1550"/>
                  </a:lnTo>
                  <a:lnTo>
                    <a:pt x="588" y="1556"/>
                  </a:lnTo>
                  <a:lnTo>
                    <a:pt x="592" y="1564"/>
                  </a:lnTo>
                  <a:lnTo>
                    <a:pt x="597" y="1573"/>
                  </a:lnTo>
                  <a:lnTo>
                    <a:pt x="600" y="1583"/>
                  </a:lnTo>
                  <a:lnTo>
                    <a:pt x="601" y="1596"/>
                  </a:lnTo>
                  <a:lnTo>
                    <a:pt x="602" y="1608"/>
                  </a:lnTo>
                  <a:lnTo>
                    <a:pt x="600" y="1609"/>
                  </a:lnTo>
                  <a:lnTo>
                    <a:pt x="599" y="1610"/>
                  </a:lnTo>
                  <a:lnTo>
                    <a:pt x="598" y="1611"/>
                  </a:lnTo>
                  <a:lnTo>
                    <a:pt x="597" y="1613"/>
                  </a:lnTo>
                  <a:lnTo>
                    <a:pt x="597" y="1619"/>
                  </a:lnTo>
                  <a:lnTo>
                    <a:pt x="598" y="1626"/>
                  </a:lnTo>
                  <a:lnTo>
                    <a:pt x="599" y="1629"/>
                  </a:lnTo>
                  <a:lnTo>
                    <a:pt x="601" y="1632"/>
                  </a:lnTo>
                  <a:lnTo>
                    <a:pt x="603" y="1635"/>
                  </a:lnTo>
                  <a:lnTo>
                    <a:pt x="607" y="1638"/>
                  </a:lnTo>
                  <a:lnTo>
                    <a:pt x="611" y="1640"/>
                  </a:lnTo>
                  <a:lnTo>
                    <a:pt x="616" y="1641"/>
                  </a:lnTo>
                  <a:lnTo>
                    <a:pt x="620" y="1642"/>
                  </a:lnTo>
                  <a:lnTo>
                    <a:pt x="627" y="1642"/>
                  </a:lnTo>
                  <a:lnTo>
                    <a:pt x="641" y="1634"/>
                  </a:lnTo>
                  <a:lnTo>
                    <a:pt x="643" y="1641"/>
                  </a:lnTo>
                  <a:lnTo>
                    <a:pt x="646" y="1652"/>
                  </a:lnTo>
                  <a:lnTo>
                    <a:pt x="649" y="1666"/>
                  </a:lnTo>
                  <a:lnTo>
                    <a:pt x="654" y="1680"/>
                  </a:lnTo>
                  <a:lnTo>
                    <a:pt x="658" y="1695"/>
                  </a:lnTo>
                  <a:lnTo>
                    <a:pt x="663" y="1711"/>
                  </a:lnTo>
                  <a:lnTo>
                    <a:pt x="665" y="1726"/>
                  </a:lnTo>
                  <a:lnTo>
                    <a:pt x="666" y="1742"/>
                  </a:lnTo>
                  <a:lnTo>
                    <a:pt x="682" y="1756"/>
                  </a:lnTo>
                  <a:lnTo>
                    <a:pt x="691" y="1756"/>
                  </a:lnTo>
                  <a:lnTo>
                    <a:pt x="701" y="1756"/>
                  </a:lnTo>
                  <a:lnTo>
                    <a:pt x="712" y="1756"/>
                  </a:lnTo>
                  <a:lnTo>
                    <a:pt x="721" y="1756"/>
                  </a:lnTo>
                  <a:lnTo>
                    <a:pt x="722" y="1748"/>
                  </a:lnTo>
                  <a:lnTo>
                    <a:pt x="725" y="1740"/>
                  </a:lnTo>
                  <a:lnTo>
                    <a:pt x="728" y="1729"/>
                  </a:lnTo>
                  <a:lnTo>
                    <a:pt x="731" y="1722"/>
                  </a:lnTo>
                  <a:lnTo>
                    <a:pt x="732" y="1719"/>
                  </a:lnTo>
                  <a:lnTo>
                    <a:pt x="734" y="1714"/>
                  </a:lnTo>
                  <a:lnTo>
                    <a:pt x="735" y="1705"/>
                  </a:lnTo>
                  <a:lnTo>
                    <a:pt x="737" y="1695"/>
                  </a:lnTo>
                  <a:lnTo>
                    <a:pt x="740" y="1676"/>
                  </a:lnTo>
                  <a:lnTo>
                    <a:pt x="741" y="1667"/>
                  </a:lnTo>
                  <a:lnTo>
                    <a:pt x="742" y="1667"/>
                  </a:lnTo>
                  <a:lnTo>
                    <a:pt x="743" y="1665"/>
                  </a:lnTo>
                  <a:lnTo>
                    <a:pt x="744" y="1663"/>
                  </a:lnTo>
                  <a:lnTo>
                    <a:pt x="744" y="1659"/>
                  </a:lnTo>
                  <a:lnTo>
                    <a:pt x="745" y="1652"/>
                  </a:lnTo>
                  <a:lnTo>
                    <a:pt x="745" y="1648"/>
                  </a:lnTo>
                  <a:lnTo>
                    <a:pt x="749" y="1647"/>
                  </a:lnTo>
                  <a:lnTo>
                    <a:pt x="751" y="1646"/>
                  </a:lnTo>
                  <a:lnTo>
                    <a:pt x="753" y="1645"/>
                  </a:lnTo>
                  <a:lnTo>
                    <a:pt x="754" y="1642"/>
                  </a:lnTo>
                  <a:lnTo>
                    <a:pt x="755" y="1637"/>
                  </a:lnTo>
                  <a:lnTo>
                    <a:pt x="755" y="1634"/>
                  </a:lnTo>
                  <a:lnTo>
                    <a:pt x="760" y="1631"/>
                  </a:lnTo>
                  <a:lnTo>
                    <a:pt x="766" y="1628"/>
                  </a:lnTo>
                  <a:lnTo>
                    <a:pt x="774" y="1621"/>
                  </a:lnTo>
                  <a:lnTo>
                    <a:pt x="783" y="1612"/>
                  </a:lnTo>
                  <a:lnTo>
                    <a:pt x="804" y="1590"/>
                  </a:lnTo>
                  <a:lnTo>
                    <a:pt x="827" y="1564"/>
                  </a:lnTo>
                  <a:lnTo>
                    <a:pt x="838" y="1550"/>
                  </a:lnTo>
                  <a:lnTo>
                    <a:pt x="848" y="1535"/>
                  </a:lnTo>
                  <a:lnTo>
                    <a:pt x="858" y="1522"/>
                  </a:lnTo>
                  <a:lnTo>
                    <a:pt x="866" y="1509"/>
                  </a:lnTo>
                  <a:lnTo>
                    <a:pt x="874" y="1495"/>
                  </a:lnTo>
                  <a:lnTo>
                    <a:pt x="879" y="1484"/>
                  </a:lnTo>
                  <a:lnTo>
                    <a:pt x="883" y="1474"/>
                  </a:lnTo>
                  <a:lnTo>
                    <a:pt x="884" y="1465"/>
                  </a:lnTo>
                  <a:lnTo>
                    <a:pt x="879" y="1463"/>
                  </a:lnTo>
                  <a:lnTo>
                    <a:pt x="872" y="1457"/>
                  </a:lnTo>
                  <a:lnTo>
                    <a:pt x="866" y="1448"/>
                  </a:lnTo>
                  <a:lnTo>
                    <a:pt x="859" y="1438"/>
                  </a:lnTo>
                  <a:lnTo>
                    <a:pt x="851" y="1428"/>
                  </a:lnTo>
                  <a:lnTo>
                    <a:pt x="845" y="1419"/>
                  </a:lnTo>
                  <a:lnTo>
                    <a:pt x="839" y="1414"/>
                  </a:lnTo>
                  <a:lnTo>
                    <a:pt x="835" y="1411"/>
                  </a:lnTo>
                  <a:lnTo>
                    <a:pt x="831" y="1397"/>
                  </a:lnTo>
                  <a:lnTo>
                    <a:pt x="826" y="1373"/>
                  </a:lnTo>
                  <a:lnTo>
                    <a:pt x="819" y="1343"/>
                  </a:lnTo>
                  <a:lnTo>
                    <a:pt x="813" y="1310"/>
                  </a:lnTo>
                  <a:lnTo>
                    <a:pt x="812" y="1293"/>
                  </a:lnTo>
                  <a:lnTo>
                    <a:pt x="812" y="1277"/>
                  </a:lnTo>
                  <a:lnTo>
                    <a:pt x="812" y="1263"/>
                  </a:lnTo>
                  <a:lnTo>
                    <a:pt x="816" y="1250"/>
                  </a:lnTo>
                  <a:lnTo>
                    <a:pt x="818" y="1244"/>
                  </a:lnTo>
                  <a:lnTo>
                    <a:pt x="820" y="1238"/>
                  </a:lnTo>
                  <a:lnTo>
                    <a:pt x="823" y="1234"/>
                  </a:lnTo>
                  <a:lnTo>
                    <a:pt x="827" y="1231"/>
                  </a:lnTo>
                  <a:lnTo>
                    <a:pt x="831" y="1227"/>
                  </a:lnTo>
                  <a:lnTo>
                    <a:pt x="837" y="1225"/>
                  </a:lnTo>
                  <a:lnTo>
                    <a:pt x="842" y="1224"/>
                  </a:lnTo>
                  <a:lnTo>
                    <a:pt x="849" y="1223"/>
                  </a:lnTo>
                  <a:lnTo>
                    <a:pt x="850" y="1214"/>
                  </a:lnTo>
                  <a:lnTo>
                    <a:pt x="852" y="1192"/>
                  </a:lnTo>
                  <a:lnTo>
                    <a:pt x="856" y="1161"/>
                  </a:lnTo>
                  <a:lnTo>
                    <a:pt x="860" y="1127"/>
                  </a:lnTo>
                  <a:lnTo>
                    <a:pt x="865" y="1091"/>
                  </a:lnTo>
                  <a:lnTo>
                    <a:pt x="870" y="1060"/>
                  </a:lnTo>
                  <a:lnTo>
                    <a:pt x="872" y="1048"/>
                  </a:lnTo>
                  <a:lnTo>
                    <a:pt x="875" y="1038"/>
                  </a:lnTo>
                  <a:lnTo>
                    <a:pt x="877" y="1030"/>
                  </a:lnTo>
                  <a:lnTo>
                    <a:pt x="878" y="1026"/>
                  </a:lnTo>
                  <a:lnTo>
                    <a:pt x="886" y="1020"/>
                  </a:lnTo>
                  <a:lnTo>
                    <a:pt x="895" y="1015"/>
                  </a:lnTo>
                  <a:lnTo>
                    <a:pt x="904" y="1012"/>
                  </a:lnTo>
                  <a:lnTo>
                    <a:pt x="914" y="1010"/>
                  </a:lnTo>
                  <a:lnTo>
                    <a:pt x="935" y="1007"/>
                  </a:lnTo>
                  <a:lnTo>
                    <a:pt x="955" y="1005"/>
                  </a:lnTo>
                  <a:lnTo>
                    <a:pt x="970" y="1002"/>
                  </a:lnTo>
                  <a:lnTo>
                    <a:pt x="982" y="996"/>
                  </a:lnTo>
                  <a:lnTo>
                    <a:pt x="994" y="990"/>
                  </a:lnTo>
                  <a:lnTo>
                    <a:pt x="1006" y="983"/>
                  </a:lnTo>
                  <a:lnTo>
                    <a:pt x="1018" y="977"/>
                  </a:lnTo>
                  <a:lnTo>
                    <a:pt x="1031" y="972"/>
                  </a:lnTo>
                  <a:lnTo>
                    <a:pt x="1038" y="969"/>
                  </a:lnTo>
                  <a:lnTo>
                    <a:pt x="1046" y="968"/>
                  </a:lnTo>
                  <a:lnTo>
                    <a:pt x="1053" y="967"/>
                  </a:lnTo>
                  <a:lnTo>
                    <a:pt x="1061" y="967"/>
                  </a:lnTo>
                  <a:lnTo>
                    <a:pt x="1066" y="974"/>
                  </a:lnTo>
                  <a:lnTo>
                    <a:pt x="1075" y="986"/>
                  </a:lnTo>
                  <a:lnTo>
                    <a:pt x="1079" y="992"/>
                  </a:lnTo>
                  <a:lnTo>
                    <a:pt x="1085" y="996"/>
                  </a:lnTo>
                  <a:lnTo>
                    <a:pt x="1088" y="1000"/>
                  </a:lnTo>
                  <a:lnTo>
                    <a:pt x="1091" y="1001"/>
                  </a:lnTo>
                  <a:lnTo>
                    <a:pt x="1091" y="1006"/>
                  </a:lnTo>
                  <a:lnTo>
                    <a:pt x="1095" y="1012"/>
                  </a:lnTo>
                  <a:lnTo>
                    <a:pt x="1098" y="1017"/>
                  </a:lnTo>
                  <a:lnTo>
                    <a:pt x="1105" y="1024"/>
                  </a:lnTo>
                  <a:lnTo>
                    <a:pt x="1119" y="1038"/>
                  </a:lnTo>
                  <a:lnTo>
                    <a:pt x="1138" y="1053"/>
                  </a:lnTo>
                  <a:lnTo>
                    <a:pt x="1160" y="1070"/>
                  </a:lnTo>
                  <a:lnTo>
                    <a:pt x="1185" y="1089"/>
                  </a:lnTo>
                  <a:lnTo>
                    <a:pt x="1210" y="1111"/>
                  </a:lnTo>
                  <a:lnTo>
                    <a:pt x="1234" y="1136"/>
                  </a:lnTo>
                  <a:lnTo>
                    <a:pt x="1255" y="1159"/>
                  </a:lnTo>
                  <a:lnTo>
                    <a:pt x="1274" y="1185"/>
                  </a:lnTo>
                  <a:lnTo>
                    <a:pt x="1291" y="1211"/>
                  </a:lnTo>
                  <a:lnTo>
                    <a:pt x="1307" y="1236"/>
                  </a:lnTo>
                  <a:lnTo>
                    <a:pt x="1320" y="1260"/>
                  </a:lnTo>
                  <a:lnTo>
                    <a:pt x="1332" y="1281"/>
                  </a:lnTo>
                  <a:lnTo>
                    <a:pt x="1341" y="1299"/>
                  </a:lnTo>
                  <a:lnTo>
                    <a:pt x="1348" y="1312"/>
                  </a:lnTo>
                  <a:lnTo>
                    <a:pt x="1360" y="1342"/>
                  </a:lnTo>
                  <a:lnTo>
                    <a:pt x="1373" y="1376"/>
                  </a:lnTo>
                  <a:lnTo>
                    <a:pt x="1385" y="1413"/>
                  </a:lnTo>
                  <a:lnTo>
                    <a:pt x="1399" y="1450"/>
                  </a:lnTo>
                  <a:lnTo>
                    <a:pt x="1406" y="1469"/>
                  </a:lnTo>
                  <a:lnTo>
                    <a:pt x="1415" y="1488"/>
                  </a:lnTo>
                  <a:lnTo>
                    <a:pt x="1424" y="1507"/>
                  </a:lnTo>
                  <a:lnTo>
                    <a:pt x="1435" y="1525"/>
                  </a:lnTo>
                  <a:lnTo>
                    <a:pt x="1446" y="1543"/>
                  </a:lnTo>
                  <a:lnTo>
                    <a:pt x="1459" y="1560"/>
                  </a:lnTo>
                  <a:lnTo>
                    <a:pt x="1473" y="1575"/>
                  </a:lnTo>
                  <a:lnTo>
                    <a:pt x="1489" y="1590"/>
                  </a:lnTo>
                  <a:lnTo>
                    <a:pt x="1502" y="1600"/>
                  </a:lnTo>
                  <a:lnTo>
                    <a:pt x="1517" y="1610"/>
                  </a:lnTo>
                  <a:lnTo>
                    <a:pt x="1531" y="1618"/>
                  </a:lnTo>
                  <a:lnTo>
                    <a:pt x="1546" y="1625"/>
                  </a:lnTo>
                  <a:lnTo>
                    <a:pt x="1561" y="1630"/>
                  </a:lnTo>
                  <a:lnTo>
                    <a:pt x="1578" y="1636"/>
                  </a:lnTo>
                  <a:lnTo>
                    <a:pt x="1595" y="1641"/>
                  </a:lnTo>
                  <a:lnTo>
                    <a:pt x="1614" y="1646"/>
                  </a:lnTo>
                  <a:lnTo>
                    <a:pt x="1629" y="1650"/>
                  </a:lnTo>
                  <a:lnTo>
                    <a:pt x="1646" y="1657"/>
                  </a:lnTo>
                  <a:lnTo>
                    <a:pt x="1663" y="1663"/>
                  </a:lnTo>
                  <a:lnTo>
                    <a:pt x="1680" y="1669"/>
                  </a:lnTo>
                  <a:lnTo>
                    <a:pt x="1668" y="1562"/>
                  </a:lnTo>
                  <a:lnTo>
                    <a:pt x="1667" y="1552"/>
                  </a:lnTo>
                  <a:lnTo>
                    <a:pt x="1664" y="1527"/>
                  </a:lnTo>
                  <a:lnTo>
                    <a:pt x="1663" y="1515"/>
                  </a:lnTo>
                  <a:lnTo>
                    <a:pt x="1661" y="1504"/>
                  </a:lnTo>
                  <a:lnTo>
                    <a:pt x="1658" y="1496"/>
                  </a:lnTo>
                  <a:lnTo>
                    <a:pt x="1656" y="1493"/>
                  </a:lnTo>
                  <a:lnTo>
                    <a:pt x="1655" y="1484"/>
                  </a:lnTo>
                  <a:lnTo>
                    <a:pt x="1655" y="1469"/>
                  </a:lnTo>
                  <a:lnTo>
                    <a:pt x="1654" y="1462"/>
                  </a:lnTo>
                  <a:lnTo>
                    <a:pt x="1653" y="1456"/>
                  </a:lnTo>
                  <a:lnTo>
                    <a:pt x="1652" y="1452"/>
                  </a:lnTo>
                  <a:lnTo>
                    <a:pt x="1649" y="1449"/>
                  </a:lnTo>
                  <a:lnTo>
                    <a:pt x="1649" y="1437"/>
                  </a:lnTo>
                  <a:lnTo>
                    <a:pt x="1637" y="1425"/>
                  </a:lnTo>
                  <a:lnTo>
                    <a:pt x="1634" y="1413"/>
                  </a:lnTo>
                  <a:lnTo>
                    <a:pt x="1630" y="1399"/>
                  </a:lnTo>
                  <a:lnTo>
                    <a:pt x="1625" y="1396"/>
                  </a:lnTo>
                  <a:lnTo>
                    <a:pt x="1619" y="1389"/>
                  </a:lnTo>
                  <a:lnTo>
                    <a:pt x="1614" y="1381"/>
                  </a:lnTo>
                  <a:lnTo>
                    <a:pt x="1607" y="1371"/>
                  </a:lnTo>
                  <a:lnTo>
                    <a:pt x="1597" y="1353"/>
                  </a:lnTo>
                  <a:lnTo>
                    <a:pt x="1594" y="1343"/>
                  </a:lnTo>
                  <a:lnTo>
                    <a:pt x="1588" y="1342"/>
                  </a:lnTo>
                  <a:lnTo>
                    <a:pt x="1584" y="1340"/>
                  </a:lnTo>
                  <a:lnTo>
                    <a:pt x="1579" y="1336"/>
                  </a:lnTo>
                  <a:lnTo>
                    <a:pt x="1575" y="1331"/>
                  </a:lnTo>
                  <a:lnTo>
                    <a:pt x="1575" y="1319"/>
                  </a:lnTo>
                  <a:lnTo>
                    <a:pt x="1570" y="1318"/>
                  </a:lnTo>
                  <a:lnTo>
                    <a:pt x="1567" y="1314"/>
                  </a:lnTo>
                  <a:lnTo>
                    <a:pt x="1565" y="1311"/>
                  </a:lnTo>
                  <a:lnTo>
                    <a:pt x="1562" y="1305"/>
                  </a:lnTo>
                  <a:lnTo>
                    <a:pt x="1561" y="1301"/>
                  </a:lnTo>
                  <a:lnTo>
                    <a:pt x="1559" y="1298"/>
                  </a:lnTo>
                  <a:lnTo>
                    <a:pt x="1558" y="1294"/>
                  </a:lnTo>
                  <a:lnTo>
                    <a:pt x="1556" y="1293"/>
                  </a:lnTo>
                  <a:lnTo>
                    <a:pt x="1555" y="1272"/>
                  </a:lnTo>
                  <a:lnTo>
                    <a:pt x="1551" y="1238"/>
                  </a:lnTo>
                  <a:lnTo>
                    <a:pt x="1550" y="1222"/>
                  </a:lnTo>
                  <a:lnTo>
                    <a:pt x="1548" y="1207"/>
                  </a:lnTo>
                  <a:lnTo>
                    <a:pt x="1546" y="1197"/>
                  </a:lnTo>
                  <a:lnTo>
                    <a:pt x="1543" y="1194"/>
                  </a:lnTo>
                  <a:lnTo>
                    <a:pt x="1542" y="1184"/>
                  </a:lnTo>
                  <a:lnTo>
                    <a:pt x="1540" y="1170"/>
                  </a:lnTo>
                  <a:lnTo>
                    <a:pt x="1537" y="1156"/>
                  </a:lnTo>
                  <a:lnTo>
                    <a:pt x="1532" y="1139"/>
                  </a:lnTo>
                  <a:lnTo>
                    <a:pt x="1527" y="1125"/>
                  </a:lnTo>
                  <a:lnTo>
                    <a:pt x="1522" y="1111"/>
                  </a:lnTo>
                  <a:lnTo>
                    <a:pt x="1519" y="1107"/>
                  </a:lnTo>
                  <a:lnTo>
                    <a:pt x="1517" y="1102"/>
                  </a:lnTo>
                  <a:lnTo>
                    <a:pt x="1514" y="1100"/>
                  </a:lnTo>
                  <a:lnTo>
                    <a:pt x="1512" y="1100"/>
                  </a:lnTo>
                  <a:lnTo>
                    <a:pt x="1512" y="1087"/>
                  </a:lnTo>
                  <a:lnTo>
                    <a:pt x="1509" y="1087"/>
                  </a:lnTo>
                  <a:lnTo>
                    <a:pt x="1507" y="1086"/>
                  </a:lnTo>
                  <a:lnTo>
                    <a:pt x="1503" y="1083"/>
                  </a:lnTo>
                  <a:lnTo>
                    <a:pt x="1500" y="1080"/>
                  </a:lnTo>
                  <a:lnTo>
                    <a:pt x="1498" y="1077"/>
                  </a:lnTo>
                  <a:lnTo>
                    <a:pt x="1495" y="1074"/>
                  </a:lnTo>
                  <a:lnTo>
                    <a:pt x="1493" y="1071"/>
                  </a:lnTo>
                  <a:lnTo>
                    <a:pt x="1493" y="1069"/>
                  </a:lnTo>
                  <a:lnTo>
                    <a:pt x="1489" y="1068"/>
                  </a:lnTo>
                  <a:lnTo>
                    <a:pt x="1484" y="1068"/>
                  </a:lnTo>
                  <a:lnTo>
                    <a:pt x="1483" y="1067"/>
                  </a:lnTo>
                  <a:lnTo>
                    <a:pt x="1482" y="1065"/>
                  </a:lnTo>
                  <a:lnTo>
                    <a:pt x="1481" y="1064"/>
                  </a:lnTo>
                  <a:lnTo>
                    <a:pt x="1481" y="1062"/>
                  </a:lnTo>
                  <a:lnTo>
                    <a:pt x="1476" y="1062"/>
                  </a:lnTo>
                  <a:lnTo>
                    <a:pt x="1472" y="1061"/>
                  </a:lnTo>
                  <a:lnTo>
                    <a:pt x="1471" y="1061"/>
                  </a:lnTo>
                  <a:lnTo>
                    <a:pt x="1469" y="1060"/>
                  </a:lnTo>
                  <a:lnTo>
                    <a:pt x="1469" y="1058"/>
                  </a:lnTo>
                  <a:lnTo>
                    <a:pt x="1467" y="1055"/>
                  </a:lnTo>
                  <a:lnTo>
                    <a:pt x="1455" y="1055"/>
                  </a:lnTo>
                  <a:lnTo>
                    <a:pt x="1454" y="1051"/>
                  </a:lnTo>
                  <a:lnTo>
                    <a:pt x="1450" y="1048"/>
                  </a:lnTo>
                  <a:lnTo>
                    <a:pt x="1445" y="1044"/>
                  </a:lnTo>
                  <a:lnTo>
                    <a:pt x="1443" y="1043"/>
                  </a:lnTo>
                  <a:lnTo>
                    <a:pt x="1443" y="1039"/>
                  </a:lnTo>
                  <a:lnTo>
                    <a:pt x="1442" y="1034"/>
                  </a:lnTo>
                  <a:lnTo>
                    <a:pt x="1442" y="1033"/>
                  </a:lnTo>
                  <a:lnTo>
                    <a:pt x="1441" y="1032"/>
                  </a:lnTo>
                  <a:lnTo>
                    <a:pt x="1438" y="1031"/>
                  </a:lnTo>
                  <a:lnTo>
                    <a:pt x="1436" y="1031"/>
                  </a:lnTo>
                  <a:lnTo>
                    <a:pt x="1437" y="1020"/>
                  </a:lnTo>
                  <a:lnTo>
                    <a:pt x="1437" y="1001"/>
                  </a:lnTo>
                  <a:lnTo>
                    <a:pt x="1438" y="991"/>
                  </a:lnTo>
                  <a:lnTo>
                    <a:pt x="1440" y="983"/>
                  </a:lnTo>
                  <a:lnTo>
                    <a:pt x="1441" y="976"/>
                  </a:lnTo>
                  <a:lnTo>
                    <a:pt x="1443" y="975"/>
                  </a:lnTo>
                  <a:lnTo>
                    <a:pt x="1443" y="962"/>
                  </a:lnTo>
                  <a:lnTo>
                    <a:pt x="1446" y="962"/>
                  </a:lnTo>
                  <a:lnTo>
                    <a:pt x="1448" y="961"/>
                  </a:lnTo>
                  <a:lnTo>
                    <a:pt x="1450" y="961"/>
                  </a:lnTo>
                  <a:lnTo>
                    <a:pt x="1450" y="959"/>
                  </a:lnTo>
                  <a:lnTo>
                    <a:pt x="1450" y="958"/>
                  </a:lnTo>
                  <a:lnTo>
                    <a:pt x="1450" y="957"/>
                  </a:lnTo>
                  <a:lnTo>
                    <a:pt x="1452" y="956"/>
                  </a:lnTo>
                  <a:lnTo>
                    <a:pt x="1455" y="956"/>
                  </a:lnTo>
                  <a:lnTo>
                    <a:pt x="1455" y="943"/>
                  </a:lnTo>
                  <a:lnTo>
                    <a:pt x="1460" y="943"/>
                  </a:lnTo>
                  <a:lnTo>
                    <a:pt x="1461" y="943"/>
                  </a:lnTo>
                  <a:lnTo>
                    <a:pt x="1462" y="942"/>
                  </a:lnTo>
                  <a:lnTo>
                    <a:pt x="1462" y="940"/>
                  </a:lnTo>
                  <a:lnTo>
                    <a:pt x="1462" y="939"/>
                  </a:lnTo>
                  <a:lnTo>
                    <a:pt x="1463" y="938"/>
                  </a:lnTo>
                  <a:lnTo>
                    <a:pt x="1464" y="937"/>
                  </a:lnTo>
                  <a:lnTo>
                    <a:pt x="1467" y="937"/>
                  </a:lnTo>
                  <a:lnTo>
                    <a:pt x="1467" y="926"/>
                  </a:lnTo>
                  <a:lnTo>
                    <a:pt x="1467" y="907"/>
                  </a:lnTo>
                  <a:lnTo>
                    <a:pt x="1466" y="897"/>
                  </a:lnTo>
                  <a:lnTo>
                    <a:pt x="1465" y="889"/>
                  </a:lnTo>
                  <a:lnTo>
                    <a:pt x="1464" y="882"/>
                  </a:lnTo>
                  <a:lnTo>
                    <a:pt x="1462" y="880"/>
                  </a:lnTo>
                  <a:lnTo>
                    <a:pt x="1462" y="868"/>
                  </a:lnTo>
                  <a:lnTo>
                    <a:pt x="1460" y="868"/>
                  </a:lnTo>
                  <a:lnTo>
                    <a:pt x="1457" y="866"/>
                  </a:lnTo>
                  <a:lnTo>
                    <a:pt x="1455" y="863"/>
                  </a:lnTo>
                  <a:lnTo>
                    <a:pt x="1452" y="861"/>
                  </a:lnTo>
                  <a:lnTo>
                    <a:pt x="1447" y="854"/>
                  </a:lnTo>
                  <a:lnTo>
                    <a:pt x="1443" y="849"/>
                  </a:lnTo>
                  <a:lnTo>
                    <a:pt x="1443" y="781"/>
                  </a:lnTo>
                  <a:lnTo>
                    <a:pt x="1447" y="779"/>
                  </a:lnTo>
                  <a:lnTo>
                    <a:pt x="1453" y="775"/>
                  </a:lnTo>
                  <a:lnTo>
                    <a:pt x="1459" y="770"/>
                  </a:lnTo>
                  <a:lnTo>
                    <a:pt x="1462" y="7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0" name="Freeform 16"/>
            <p:cNvSpPr>
              <a:spLocks noChangeAspect="1"/>
            </p:cNvSpPr>
            <p:nvPr/>
          </p:nvSpPr>
          <p:spPr bwMode="gray">
            <a:xfrm rot="355651">
              <a:off x="5919158" y="3854450"/>
              <a:ext cx="416835" cy="342803"/>
            </a:xfrm>
            <a:custGeom>
              <a:avLst/>
              <a:gdLst/>
              <a:ahLst/>
              <a:cxnLst>
                <a:cxn ang="0">
                  <a:pos x="788" y="36"/>
                </a:cxn>
                <a:cxn ang="0">
                  <a:pos x="639" y="88"/>
                </a:cxn>
                <a:cxn ang="0">
                  <a:pos x="519" y="119"/>
                </a:cxn>
                <a:cxn ang="0">
                  <a:pos x="463" y="153"/>
                </a:cxn>
                <a:cxn ang="0">
                  <a:pos x="345" y="144"/>
                </a:cxn>
                <a:cxn ang="0">
                  <a:pos x="227" y="53"/>
                </a:cxn>
                <a:cxn ang="0">
                  <a:pos x="128" y="15"/>
                </a:cxn>
                <a:cxn ang="0">
                  <a:pos x="61" y="76"/>
                </a:cxn>
                <a:cxn ang="0">
                  <a:pos x="16" y="250"/>
                </a:cxn>
                <a:cxn ang="0">
                  <a:pos x="5" y="461"/>
                </a:cxn>
                <a:cxn ang="0">
                  <a:pos x="22" y="644"/>
                </a:cxn>
                <a:cxn ang="0">
                  <a:pos x="126" y="721"/>
                </a:cxn>
                <a:cxn ang="0">
                  <a:pos x="244" y="755"/>
                </a:cxn>
                <a:cxn ang="0">
                  <a:pos x="307" y="795"/>
                </a:cxn>
                <a:cxn ang="0">
                  <a:pos x="369" y="879"/>
                </a:cxn>
                <a:cxn ang="0">
                  <a:pos x="382" y="1122"/>
                </a:cxn>
                <a:cxn ang="0">
                  <a:pos x="406" y="1344"/>
                </a:cxn>
                <a:cxn ang="0">
                  <a:pos x="436" y="1456"/>
                </a:cxn>
                <a:cxn ang="0">
                  <a:pos x="468" y="1506"/>
                </a:cxn>
                <a:cxn ang="0">
                  <a:pos x="586" y="1632"/>
                </a:cxn>
                <a:cxn ang="0">
                  <a:pos x="702" y="1745"/>
                </a:cxn>
                <a:cxn ang="0">
                  <a:pos x="851" y="1763"/>
                </a:cxn>
                <a:cxn ang="0">
                  <a:pos x="951" y="1730"/>
                </a:cxn>
                <a:cxn ang="0">
                  <a:pos x="1023" y="1718"/>
                </a:cxn>
                <a:cxn ang="0">
                  <a:pos x="1062" y="1663"/>
                </a:cxn>
                <a:cxn ang="0">
                  <a:pos x="1081" y="1632"/>
                </a:cxn>
                <a:cxn ang="0">
                  <a:pos x="1156" y="1591"/>
                </a:cxn>
                <a:cxn ang="0">
                  <a:pos x="1182" y="1436"/>
                </a:cxn>
                <a:cxn ang="0">
                  <a:pos x="1305" y="1346"/>
                </a:cxn>
                <a:cxn ang="0">
                  <a:pos x="1505" y="1343"/>
                </a:cxn>
                <a:cxn ang="0">
                  <a:pos x="1549" y="1400"/>
                </a:cxn>
                <a:cxn ang="0">
                  <a:pos x="1605" y="1623"/>
                </a:cxn>
                <a:cxn ang="0">
                  <a:pos x="1689" y="1754"/>
                </a:cxn>
                <a:cxn ang="0">
                  <a:pos x="1778" y="2025"/>
                </a:cxn>
                <a:cxn ang="0">
                  <a:pos x="1872" y="2049"/>
                </a:cxn>
                <a:cxn ang="0">
                  <a:pos x="1912" y="2075"/>
                </a:cxn>
                <a:cxn ang="0">
                  <a:pos x="2099" y="2112"/>
                </a:cxn>
                <a:cxn ang="0">
                  <a:pos x="2215" y="2107"/>
                </a:cxn>
                <a:cxn ang="0">
                  <a:pos x="2280" y="2083"/>
                </a:cxn>
                <a:cxn ang="0">
                  <a:pos x="2275" y="1946"/>
                </a:cxn>
                <a:cxn ang="0">
                  <a:pos x="2256" y="1668"/>
                </a:cxn>
                <a:cxn ang="0">
                  <a:pos x="2219" y="1578"/>
                </a:cxn>
                <a:cxn ang="0">
                  <a:pos x="2173" y="1516"/>
                </a:cxn>
                <a:cxn ang="0">
                  <a:pos x="2122" y="1441"/>
                </a:cxn>
                <a:cxn ang="0">
                  <a:pos x="2048" y="1263"/>
                </a:cxn>
                <a:cxn ang="0">
                  <a:pos x="1968" y="1088"/>
                </a:cxn>
                <a:cxn ang="0">
                  <a:pos x="1889" y="974"/>
                </a:cxn>
                <a:cxn ang="0">
                  <a:pos x="1836" y="901"/>
                </a:cxn>
                <a:cxn ang="0">
                  <a:pos x="1769" y="946"/>
                </a:cxn>
                <a:cxn ang="0">
                  <a:pos x="1744" y="977"/>
                </a:cxn>
                <a:cxn ang="0">
                  <a:pos x="1656" y="1016"/>
                </a:cxn>
                <a:cxn ang="0">
                  <a:pos x="1497" y="1039"/>
                </a:cxn>
                <a:cxn ang="0">
                  <a:pos x="1454" y="827"/>
                </a:cxn>
                <a:cxn ang="0">
                  <a:pos x="1413" y="710"/>
                </a:cxn>
                <a:cxn ang="0">
                  <a:pos x="1355" y="634"/>
                </a:cxn>
                <a:cxn ang="0">
                  <a:pos x="1288" y="536"/>
                </a:cxn>
                <a:cxn ang="0">
                  <a:pos x="1239" y="489"/>
                </a:cxn>
                <a:cxn ang="0">
                  <a:pos x="1198" y="433"/>
                </a:cxn>
                <a:cxn ang="0">
                  <a:pos x="1158" y="107"/>
                </a:cxn>
                <a:cxn ang="0">
                  <a:pos x="1073" y="95"/>
                </a:cxn>
                <a:cxn ang="0">
                  <a:pos x="948" y="81"/>
                </a:cxn>
                <a:cxn ang="0">
                  <a:pos x="913" y="61"/>
                </a:cxn>
                <a:cxn ang="0">
                  <a:pos x="868" y="18"/>
                </a:cxn>
              </a:cxnLst>
              <a:rect l="0" t="0" r="r" b="b"/>
              <a:pathLst>
                <a:path w="2286" h="2120">
                  <a:moveTo>
                    <a:pt x="846" y="0"/>
                  </a:moveTo>
                  <a:lnTo>
                    <a:pt x="837" y="1"/>
                  </a:lnTo>
                  <a:lnTo>
                    <a:pt x="831" y="1"/>
                  </a:lnTo>
                  <a:lnTo>
                    <a:pt x="829" y="3"/>
                  </a:lnTo>
                  <a:lnTo>
                    <a:pt x="828" y="3"/>
                  </a:lnTo>
                  <a:lnTo>
                    <a:pt x="828" y="4"/>
                  </a:lnTo>
                  <a:lnTo>
                    <a:pt x="828" y="5"/>
                  </a:lnTo>
                  <a:lnTo>
                    <a:pt x="827" y="5"/>
                  </a:lnTo>
                  <a:lnTo>
                    <a:pt x="823" y="5"/>
                  </a:lnTo>
                  <a:lnTo>
                    <a:pt x="819" y="14"/>
                  </a:lnTo>
                  <a:lnTo>
                    <a:pt x="808" y="20"/>
                  </a:lnTo>
                  <a:lnTo>
                    <a:pt x="797" y="27"/>
                  </a:lnTo>
                  <a:lnTo>
                    <a:pt x="792" y="32"/>
                  </a:lnTo>
                  <a:lnTo>
                    <a:pt x="788" y="36"/>
                  </a:lnTo>
                  <a:lnTo>
                    <a:pt x="788" y="45"/>
                  </a:lnTo>
                  <a:lnTo>
                    <a:pt x="783" y="49"/>
                  </a:lnTo>
                  <a:lnTo>
                    <a:pt x="779" y="54"/>
                  </a:lnTo>
                  <a:lnTo>
                    <a:pt x="779" y="67"/>
                  </a:lnTo>
                  <a:lnTo>
                    <a:pt x="774" y="73"/>
                  </a:lnTo>
                  <a:lnTo>
                    <a:pt x="770" y="81"/>
                  </a:lnTo>
                  <a:lnTo>
                    <a:pt x="766" y="81"/>
                  </a:lnTo>
                  <a:lnTo>
                    <a:pt x="764" y="82"/>
                  </a:lnTo>
                  <a:lnTo>
                    <a:pt x="762" y="83"/>
                  </a:lnTo>
                  <a:lnTo>
                    <a:pt x="761" y="85"/>
                  </a:lnTo>
                  <a:lnTo>
                    <a:pt x="753" y="87"/>
                  </a:lnTo>
                  <a:lnTo>
                    <a:pt x="747" y="90"/>
                  </a:lnTo>
                  <a:lnTo>
                    <a:pt x="640" y="85"/>
                  </a:lnTo>
                  <a:lnTo>
                    <a:pt x="639" y="88"/>
                  </a:lnTo>
                  <a:lnTo>
                    <a:pt x="636" y="92"/>
                  </a:lnTo>
                  <a:lnTo>
                    <a:pt x="634" y="94"/>
                  </a:lnTo>
                  <a:lnTo>
                    <a:pt x="631" y="94"/>
                  </a:lnTo>
                  <a:lnTo>
                    <a:pt x="631" y="99"/>
                  </a:lnTo>
                  <a:lnTo>
                    <a:pt x="629" y="103"/>
                  </a:lnTo>
                  <a:lnTo>
                    <a:pt x="626" y="106"/>
                  </a:lnTo>
                  <a:lnTo>
                    <a:pt x="622" y="107"/>
                  </a:lnTo>
                  <a:lnTo>
                    <a:pt x="622" y="116"/>
                  </a:lnTo>
                  <a:lnTo>
                    <a:pt x="619" y="116"/>
                  </a:lnTo>
                  <a:lnTo>
                    <a:pt x="617" y="117"/>
                  </a:lnTo>
                  <a:lnTo>
                    <a:pt x="615" y="119"/>
                  </a:lnTo>
                  <a:lnTo>
                    <a:pt x="614" y="121"/>
                  </a:lnTo>
                  <a:lnTo>
                    <a:pt x="524" y="121"/>
                  </a:lnTo>
                  <a:lnTo>
                    <a:pt x="519" y="119"/>
                  </a:lnTo>
                  <a:lnTo>
                    <a:pt x="511" y="117"/>
                  </a:lnTo>
                  <a:lnTo>
                    <a:pt x="502" y="116"/>
                  </a:lnTo>
                  <a:lnTo>
                    <a:pt x="493" y="116"/>
                  </a:lnTo>
                  <a:lnTo>
                    <a:pt x="493" y="119"/>
                  </a:lnTo>
                  <a:lnTo>
                    <a:pt x="492" y="120"/>
                  </a:lnTo>
                  <a:lnTo>
                    <a:pt x="491" y="120"/>
                  </a:lnTo>
                  <a:lnTo>
                    <a:pt x="489" y="121"/>
                  </a:lnTo>
                  <a:lnTo>
                    <a:pt x="484" y="121"/>
                  </a:lnTo>
                  <a:lnTo>
                    <a:pt x="480" y="121"/>
                  </a:lnTo>
                  <a:lnTo>
                    <a:pt x="475" y="136"/>
                  </a:lnTo>
                  <a:lnTo>
                    <a:pt x="471" y="148"/>
                  </a:lnTo>
                  <a:lnTo>
                    <a:pt x="468" y="149"/>
                  </a:lnTo>
                  <a:lnTo>
                    <a:pt x="465" y="151"/>
                  </a:lnTo>
                  <a:lnTo>
                    <a:pt x="463" y="153"/>
                  </a:lnTo>
                  <a:lnTo>
                    <a:pt x="462" y="157"/>
                  </a:lnTo>
                  <a:lnTo>
                    <a:pt x="457" y="161"/>
                  </a:lnTo>
                  <a:lnTo>
                    <a:pt x="444" y="161"/>
                  </a:lnTo>
                  <a:lnTo>
                    <a:pt x="439" y="164"/>
                  </a:lnTo>
                  <a:lnTo>
                    <a:pt x="434" y="167"/>
                  </a:lnTo>
                  <a:lnTo>
                    <a:pt x="425" y="168"/>
                  </a:lnTo>
                  <a:lnTo>
                    <a:pt x="416" y="169"/>
                  </a:lnTo>
                  <a:lnTo>
                    <a:pt x="396" y="170"/>
                  </a:lnTo>
                  <a:lnTo>
                    <a:pt x="378" y="170"/>
                  </a:lnTo>
                  <a:lnTo>
                    <a:pt x="375" y="167"/>
                  </a:lnTo>
                  <a:lnTo>
                    <a:pt x="371" y="162"/>
                  </a:lnTo>
                  <a:lnTo>
                    <a:pt x="366" y="159"/>
                  </a:lnTo>
                  <a:lnTo>
                    <a:pt x="359" y="154"/>
                  </a:lnTo>
                  <a:lnTo>
                    <a:pt x="345" y="144"/>
                  </a:lnTo>
                  <a:lnTo>
                    <a:pt x="328" y="133"/>
                  </a:lnTo>
                  <a:lnTo>
                    <a:pt x="310" y="122"/>
                  </a:lnTo>
                  <a:lnTo>
                    <a:pt x="293" y="111"/>
                  </a:lnTo>
                  <a:lnTo>
                    <a:pt x="286" y="105"/>
                  </a:lnTo>
                  <a:lnTo>
                    <a:pt x="280" y="101"/>
                  </a:lnTo>
                  <a:lnTo>
                    <a:pt x="274" y="95"/>
                  </a:lnTo>
                  <a:lnTo>
                    <a:pt x="271" y="90"/>
                  </a:lnTo>
                  <a:lnTo>
                    <a:pt x="267" y="90"/>
                  </a:lnTo>
                  <a:lnTo>
                    <a:pt x="263" y="87"/>
                  </a:lnTo>
                  <a:lnTo>
                    <a:pt x="260" y="85"/>
                  </a:lnTo>
                  <a:lnTo>
                    <a:pt x="255" y="82"/>
                  </a:lnTo>
                  <a:lnTo>
                    <a:pt x="246" y="73"/>
                  </a:lnTo>
                  <a:lnTo>
                    <a:pt x="236" y="63"/>
                  </a:lnTo>
                  <a:lnTo>
                    <a:pt x="227" y="53"/>
                  </a:lnTo>
                  <a:lnTo>
                    <a:pt x="217" y="45"/>
                  </a:lnTo>
                  <a:lnTo>
                    <a:pt x="213" y="42"/>
                  </a:lnTo>
                  <a:lnTo>
                    <a:pt x="208" y="38"/>
                  </a:lnTo>
                  <a:lnTo>
                    <a:pt x="204" y="37"/>
                  </a:lnTo>
                  <a:lnTo>
                    <a:pt x="199" y="36"/>
                  </a:lnTo>
                  <a:lnTo>
                    <a:pt x="197" y="33"/>
                  </a:lnTo>
                  <a:lnTo>
                    <a:pt x="194" y="30"/>
                  </a:lnTo>
                  <a:lnTo>
                    <a:pt x="189" y="28"/>
                  </a:lnTo>
                  <a:lnTo>
                    <a:pt x="186" y="27"/>
                  </a:lnTo>
                  <a:lnTo>
                    <a:pt x="184" y="23"/>
                  </a:lnTo>
                  <a:lnTo>
                    <a:pt x="182" y="18"/>
                  </a:lnTo>
                  <a:lnTo>
                    <a:pt x="166" y="18"/>
                  </a:lnTo>
                  <a:lnTo>
                    <a:pt x="147" y="16"/>
                  </a:lnTo>
                  <a:lnTo>
                    <a:pt x="128" y="15"/>
                  </a:lnTo>
                  <a:lnTo>
                    <a:pt x="110" y="14"/>
                  </a:lnTo>
                  <a:lnTo>
                    <a:pt x="106" y="18"/>
                  </a:lnTo>
                  <a:lnTo>
                    <a:pt x="102" y="24"/>
                  </a:lnTo>
                  <a:lnTo>
                    <a:pt x="93" y="35"/>
                  </a:lnTo>
                  <a:lnTo>
                    <a:pt x="84" y="47"/>
                  </a:lnTo>
                  <a:lnTo>
                    <a:pt x="79" y="54"/>
                  </a:lnTo>
                  <a:lnTo>
                    <a:pt x="79" y="63"/>
                  </a:lnTo>
                  <a:lnTo>
                    <a:pt x="75" y="64"/>
                  </a:lnTo>
                  <a:lnTo>
                    <a:pt x="73" y="65"/>
                  </a:lnTo>
                  <a:lnTo>
                    <a:pt x="72" y="66"/>
                  </a:lnTo>
                  <a:lnTo>
                    <a:pt x="71" y="68"/>
                  </a:lnTo>
                  <a:lnTo>
                    <a:pt x="70" y="73"/>
                  </a:lnTo>
                  <a:lnTo>
                    <a:pt x="70" y="76"/>
                  </a:lnTo>
                  <a:lnTo>
                    <a:pt x="61" y="76"/>
                  </a:lnTo>
                  <a:lnTo>
                    <a:pt x="60" y="81"/>
                  </a:lnTo>
                  <a:lnTo>
                    <a:pt x="55" y="85"/>
                  </a:lnTo>
                  <a:lnTo>
                    <a:pt x="51" y="91"/>
                  </a:lnTo>
                  <a:lnTo>
                    <a:pt x="48" y="94"/>
                  </a:lnTo>
                  <a:lnTo>
                    <a:pt x="39" y="94"/>
                  </a:lnTo>
                  <a:lnTo>
                    <a:pt x="34" y="99"/>
                  </a:lnTo>
                  <a:lnTo>
                    <a:pt x="33" y="103"/>
                  </a:lnTo>
                  <a:lnTo>
                    <a:pt x="31" y="110"/>
                  </a:lnTo>
                  <a:lnTo>
                    <a:pt x="29" y="114"/>
                  </a:lnTo>
                  <a:lnTo>
                    <a:pt x="25" y="116"/>
                  </a:lnTo>
                  <a:lnTo>
                    <a:pt x="24" y="151"/>
                  </a:lnTo>
                  <a:lnTo>
                    <a:pt x="21" y="186"/>
                  </a:lnTo>
                  <a:lnTo>
                    <a:pt x="17" y="219"/>
                  </a:lnTo>
                  <a:lnTo>
                    <a:pt x="16" y="250"/>
                  </a:lnTo>
                  <a:lnTo>
                    <a:pt x="15" y="250"/>
                  </a:lnTo>
                  <a:lnTo>
                    <a:pt x="14" y="251"/>
                  </a:lnTo>
                  <a:lnTo>
                    <a:pt x="13" y="254"/>
                  </a:lnTo>
                  <a:lnTo>
                    <a:pt x="12" y="256"/>
                  </a:lnTo>
                  <a:lnTo>
                    <a:pt x="12" y="261"/>
                  </a:lnTo>
                  <a:lnTo>
                    <a:pt x="12" y="268"/>
                  </a:lnTo>
                  <a:lnTo>
                    <a:pt x="12" y="275"/>
                  </a:lnTo>
                  <a:lnTo>
                    <a:pt x="11" y="280"/>
                  </a:lnTo>
                  <a:lnTo>
                    <a:pt x="11" y="283"/>
                  </a:lnTo>
                  <a:lnTo>
                    <a:pt x="10" y="285"/>
                  </a:lnTo>
                  <a:lnTo>
                    <a:pt x="8" y="286"/>
                  </a:lnTo>
                  <a:lnTo>
                    <a:pt x="7" y="286"/>
                  </a:lnTo>
                  <a:lnTo>
                    <a:pt x="7" y="456"/>
                  </a:lnTo>
                  <a:lnTo>
                    <a:pt x="5" y="461"/>
                  </a:lnTo>
                  <a:lnTo>
                    <a:pt x="3" y="468"/>
                  </a:lnTo>
                  <a:lnTo>
                    <a:pt x="2" y="477"/>
                  </a:lnTo>
                  <a:lnTo>
                    <a:pt x="1" y="486"/>
                  </a:lnTo>
                  <a:lnTo>
                    <a:pt x="0" y="506"/>
                  </a:lnTo>
                  <a:lnTo>
                    <a:pt x="0" y="528"/>
                  </a:lnTo>
                  <a:lnTo>
                    <a:pt x="2" y="572"/>
                  </a:lnTo>
                  <a:lnTo>
                    <a:pt x="3" y="607"/>
                  </a:lnTo>
                  <a:lnTo>
                    <a:pt x="5" y="607"/>
                  </a:lnTo>
                  <a:lnTo>
                    <a:pt x="6" y="610"/>
                  </a:lnTo>
                  <a:lnTo>
                    <a:pt x="7" y="613"/>
                  </a:lnTo>
                  <a:lnTo>
                    <a:pt x="7" y="616"/>
                  </a:lnTo>
                  <a:lnTo>
                    <a:pt x="10" y="621"/>
                  </a:lnTo>
                  <a:lnTo>
                    <a:pt x="16" y="632"/>
                  </a:lnTo>
                  <a:lnTo>
                    <a:pt x="22" y="644"/>
                  </a:lnTo>
                  <a:lnTo>
                    <a:pt x="25" y="652"/>
                  </a:lnTo>
                  <a:lnTo>
                    <a:pt x="29" y="653"/>
                  </a:lnTo>
                  <a:lnTo>
                    <a:pt x="34" y="655"/>
                  </a:lnTo>
                  <a:lnTo>
                    <a:pt x="39" y="659"/>
                  </a:lnTo>
                  <a:lnTo>
                    <a:pt x="44" y="664"/>
                  </a:lnTo>
                  <a:lnTo>
                    <a:pt x="54" y="674"/>
                  </a:lnTo>
                  <a:lnTo>
                    <a:pt x="61" y="683"/>
                  </a:lnTo>
                  <a:lnTo>
                    <a:pt x="77" y="692"/>
                  </a:lnTo>
                  <a:lnTo>
                    <a:pt x="92" y="701"/>
                  </a:lnTo>
                  <a:lnTo>
                    <a:pt x="93" y="705"/>
                  </a:lnTo>
                  <a:lnTo>
                    <a:pt x="98" y="708"/>
                  </a:lnTo>
                  <a:lnTo>
                    <a:pt x="103" y="711"/>
                  </a:lnTo>
                  <a:lnTo>
                    <a:pt x="111" y="715"/>
                  </a:lnTo>
                  <a:lnTo>
                    <a:pt x="126" y="721"/>
                  </a:lnTo>
                  <a:lnTo>
                    <a:pt x="137" y="728"/>
                  </a:lnTo>
                  <a:lnTo>
                    <a:pt x="149" y="728"/>
                  </a:lnTo>
                  <a:lnTo>
                    <a:pt x="167" y="729"/>
                  </a:lnTo>
                  <a:lnTo>
                    <a:pt x="176" y="730"/>
                  </a:lnTo>
                  <a:lnTo>
                    <a:pt x="183" y="731"/>
                  </a:lnTo>
                  <a:lnTo>
                    <a:pt x="186" y="732"/>
                  </a:lnTo>
                  <a:lnTo>
                    <a:pt x="188" y="734"/>
                  </a:lnTo>
                  <a:lnTo>
                    <a:pt x="189" y="735"/>
                  </a:lnTo>
                  <a:lnTo>
                    <a:pt x="190" y="737"/>
                  </a:lnTo>
                  <a:lnTo>
                    <a:pt x="206" y="739"/>
                  </a:lnTo>
                  <a:lnTo>
                    <a:pt x="222" y="741"/>
                  </a:lnTo>
                  <a:lnTo>
                    <a:pt x="231" y="750"/>
                  </a:lnTo>
                  <a:lnTo>
                    <a:pt x="237" y="753"/>
                  </a:lnTo>
                  <a:lnTo>
                    <a:pt x="244" y="755"/>
                  </a:lnTo>
                  <a:lnTo>
                    <a:pt x="252" y="757"/>
                  </a:lnTo>
                  <a:lnTo>
                    <a:pt x="257" y="759"/>
                  </a:lnTo>
                  <a:lnTo>
                    <a:pt x="271" y="759"/>
                  </a:lnTo>
                  <a:lnTo>
                    <a:pt x="272" y="763"/>
                  </a:lnTo>
                  <a:lnTo>
                    <a:pt x="275" y="767"/>
                  </a:lnTo>
                  <a:lnTo>
                    <a:pt x="280" y="770"/>
                  </a:lnTo>
                  <a:lnTo>
                    <a:pt x="284" y="773"/>
                  </a:lnTo>
                  <a:lnTo>
                    <a:pt x="285" y="776"/>
                  </a:lnTo>
                  <a:lnTo>
                    <a:pt x="290" y="780"/>
                  </a:lnTo>
                  <a:lnTo>
                    <a:pt x="292" y="783"/>
                  </a:lnTo>
                  <a:lnTo>
                    <a:pt x="295" y="784"/>
                  </a:lnTo>
                  <a:lnTo>
                    <a:pt x="299" y="785"/>
                  </a:lnTo>
                  <a:lnTo>
                    <a:pt x="302" y="786"/>
                  </a:lnTo>
                  <a:lnTo>
                    <a:pt x="307" y="795"/>
                  </a:lnTo>
                  <a:lnTo>
                    <a:pt x="313" y="797"/>
                  </a:lnTo>
                  <a:lnTo>
                    <a:pt x="320" y="799"/>
                  </a:lnTo>
                  <a:lnTo>
                    <a:pt x="324" y="804"/>
                  </a:lnTo>
                  <a:lnTo>
                    <a:pt x="329" y="813"/>
                  </a:lnTo>
                  <a:lnTo>
                    <a:pt x="333" y="815"/>
                  </a:lnTo>
                  <a:lnTo>
                    <a:pt x="338" y="817"/>
                  </a:lnTo>
                  <a:lnTo>
                    <a:pt x="340" y="824"/>
                  </a:lnTo>
                  <a:lnTo>
                    <a:pt x="342" y="830"/>
                  </a:lnTo>
                  <a:lnTo>
                    <a:pt x="346" y="832"/>
                  </a:lnTo>
                  <a:lnTo>
                    <a:pt x="349" y="836"/>
                  </a:lnTo>
                  <a:lnTo>
                    <a:pt x="352" y="843"/>
                  </a:lnTo>
                  <a:lnTo>
                    <a:pt x="356" y="851"/>
                  </a:lnTo>
                  <a:lnTo>
                    <a:pt x="362" y="867"/>
                  </a:lnTo>
                  <a:lnTo>
                    <a:pt x="369" y="879"/>
                  </a:lnTo>
                  <a:lnTo>
                    <a:pt x="369" y="892"/>
                  </a:lnTo>
                  <a:lnTo>
                    <a:pt x="378" y="901"/>
                  </a:lnTo>
                  <a:lnTo>
                    <a:pt x="379" y="921"/>
                  </a:lnTo>
                  <a:lnTo>
                    <a:pt x="381" y="943"/>
                  </a:lnTo>
                  <a:lnTo>
                    <a:pt x="385" y="968"/>
                  </a:lnTo>
                  <a:lnTo>
                    <a:pt x="386" y="994"/>
                  </a:lnTo>
                  <a:lnTo>
                    <a:pt x="388" y="994"/>
                  </a:lnTo>
                  <a:lnTo>
                    <a:pt x="390" y="994"/>
                  </a:lnTo>
                  <a:lnTo>
                    <a:pt x="390" y="1014"/>
                  </a:lnTo>
                  <a:lnTo>
                    <a:pt x="389" y="1036"/>
                  </a:lnTo>
                  <a:lnTo>
                    <a:pt x="388" y="1057"/>
                  </a:lnTo>
                  <a:lnTo>
                    <a:pt x="386" y="1080"/>
                  </a:lnTo>
                  <a:lnTo>
                    <a:pt x="384" y="1101"/>
                  </a:lnTo>
                  <a:lnTo>
                    <a:pt x="382" y="1122"/>
                  </a:lnTo>
                  <a:lnTo>
                    <a:pt x="381" y="1142"/>
                  </a:lnTo>
                  <a:lnTo>
                    <a:pt x="380" y="1161"/>
                  </a:lnTo>
                  <a:lnTo>
                    <a:pt x="381" y="1177"/>
                  </a:lnTo>
                  <a:lnTo>
                    <a:pt x="381" y="1200"/>
                  </a:lnTo>
                  <a:lnTo>
                    <a:pt x="382" y="1230"/>
                  </a:lnTo>
                  <a:lnTo>
                    <a:pt x="384" y="1261"/>
                  </a:lnTo>
                  <a:lnTo>
                    <a:pt x="387" y="1293"/>
                  </a:lnTo>
                  <a:lnTo>
                    <a:pt x="391" y="1318"/>
                  </a:lnTo>
                  <a:lnTo>
                    <a:pt x="394" y="1330"/>
                  </a:lnTo>
                  <a:lnTo>
                    <a:pt x="397" y="1337"/>
                  </a:lnTo>
                  <a:lnTo>
                    <a:pt x="399" y="1340"/>
                  </a:lnTo>
                  <a:lnTo>
                    <a:pt x="401" y="1342"/>
                  </a:lnTo>
                  <a:lnTo>
                    <a:pt x="404" y="1343"/>
                  </a:lnTo>
                  <a:lnTo>
                    <a:pt x="406" y="1344"/>
                  </a:lnTo>
                  <a:lnTo>
                    <a:pt x="406" y="1347"/>
                  </a:lnTo>
                  <a:lnTo>
                    <a:pt x="406" y="1351"/>
                  </a:lnTo>
                  <a:lnTo>
                    <a:pt x="407" y="1353"/>
                  </a:lnTo>
                  <a:lnTo>
                    <a:pt x="410" y="1354"/>
                  </a:lnTo>
                  <a:lnTo>
                    <a:pt x="411" y="1370"/>
                  </a:lnTo>
                  <a:lnTo>
                    <a:pt x="413" y="1389"/>
                  </a:lnTo>
                  <a:lnTo>
                    <a:pt x="415" y="1409"/>
                  </a:lnTo>
                  <a:lnTo>
                    <a:pt x="415" y="1428"/>
                  </a:lnTo>
                  <a:lnTo>
                    <a:pt x="420" y="1430"/>
                  </a:lnTo>
                  <a:lnTo>
                    <a:pt x="425" y="1432"/>
                  </a:lnTo>
                  <a:lnTo>
                    <a:pt x="426" y="1437"/>
                  </a:lnTo>
                  <a:lnTo>
                    <a:pt x="428" y="1443"/>
                  </a:lnTo>
                  <a:lnTo>
                    <a:pt x="432" y="1449"/>
                  </a:lnTo>
                  <a:lnTo>
                    <a:pt x="436" y="1456"/>
                  </a:lnTo>
                  <a:lnTo>
                    <a:pt x="439" y="1462"/>
                  </a:lnTo>
                  <a:lnTo>
                    <a:pt x="444" y="1467"/>
                  </a:lnTo>
                  <a:lnTo>
                    <a:pt x="447" y="1471"/>
                  </a:lnTo>
                  <a:lnTo>
                    <a:pt x="449" y="1472"/>
                  </a:lnTo>
                  <a:lnTo>
                    <a:pt x="451" y="1477"/>
                  </a:lnTo>
                  <a:lnTo>
                    <a:pt x="452" y="1481"/>
                  </a:lnTo>
                  <a:lnTo>
                    <a:pt x="453" y="1484"/>
                  </a:lnTo>
                  <a:lnTo>
                    <a:pt x="454" y="1486"/>
                  </a:lnTo>
                  <a:lnTo>
                    <a:pt x="456" y="1487"/>
                  </a:lnTo>
                  <a:lnTo>
                    <a:pt x="459" y="1487"/>
                  </a:lnTo>
                  <a:lnTo>
                    <a:pt x="461" y="1491"/>
                  </a:lnTo>
                  <a:lnTo>
                    <a:pt x="462" y="1497"/>
                  </a:lnTo>
                  <a:lnTo>
                    <a:pt x="465" y="1501"/>
                  </a:lnTo>
                  <a:lnTo>
                    <a:pt x="468" y="1506"/>
                  </a:lnTo>
                  <a:lnTo>
                    <a:pt x="477" y="1517"/>
                  </a:lnTo>
                  <a:lnTo>
                    <a:pt x="487" y="1527"/>
                  </a:lnTo>
                  <a:lnTo>
                    <a:pt x="496" y="1538"/>
                  </a:lnTo>
                  <a:lnTo>
                    <a:pt x="505" y="1548"/>
                  </a:lnTo>
                  <a:lnTo>
                    <a:pt x="509" y="1554"/>
                  </a:lnTo>
                  <a:lnTo>
                    <a:pt x="512" y="1559"/>
                  </a:lnTo>
                  <a:lnTo>
                    <a:pt x="513" y="1565"/>
                  </a:lnTo>
                  <a:lnTo>
                    <a:pt x="514" y="1571"/>
                  </a:lnTo>
                  <a:lnTo>
                    <a:pt x="522" y="1578"/>
                  </a:lnTo>
                  <a:lnTo>
                    <a:pt x="539" y="1595"/>
                  </a:lnTo>
                  <a:lnTo>
                    <a:pt x="555" y="1613"/>
                  </a:lnTo>
                  <a:lnTo>
                    <a:pt x="563" y="1620"/>
                  </a:lnTo>
                  <a:lnTo>
                    <a:pt x="573" y="1620"/>
                  </a:lnTo>
                  <a:lnTo>
                    <a:pt x="586" y="1632"/>
                  </a:lnTo>
                  <a:lnTo>
                    <a:pt x="598" y="1645"/>
                  </a:lnTo>
                  <a:lnTo>
                    <a:pt x="608" y="1645"/>
                  </a:lnTo>
                  <a:lnTo>
                    <a:pt x="609" y="1651"/>
                  </a:lnTo>
                  <a:lnTo>
                    <a:pt x="612" y="1659"/>
                  </a:lnTo>
                  <a:lnTo>
                    <a:pt x="617" y="1667"/>
                  </a:lnTo>
                  <a:lnTo>
                    <a:pt x="624" y="1676"/>
                  </a:lnTo>
                  <a:lnTo>
                    <a:pt x="630" y="1684"/>
                  </a:lnTo>
                  <a:lnTo>
                    <a:pt x="639" y="1693"/>
                  </a:lnTo>
                  <a:lnTo>
                    <a:pt x="649" y="1703"/>
                  </a:lnTo>
                  <a:lnTo>
                    <a:pt x="659" y="1712"/>
                  </a:lnTo>
                  <a:lnTo>
                    <a:pt x="669" y="1721"/>
                  </a:lnTo>
                  <a:lnTo>
                    <a:pt x="681" y="1730"/>
                  </a:lnTo>
                  <a:lnTo>
                    <a:pt x="691" y="1738"/>
                  </a:lnTo>
                  <a:lnTo>
                    <a:pt x="702" y="1745"/>
                  </a:lnTo>
                  <a:lnTo>
                    <a:pt x="712" y="1750"/>
                  </a:lnTo>
                  <a:lnTo>
                    <a:pt x="721" y="1755"/>
                  </a:lnTo>
                  <a:lnTo>
                    <a:pt x="729" y="1757"/>
                  </a:lnTo>
                  <a:lnTo>
                    <a:pt x="736" y="1758"/>
                  </a:lnTo>
                  <a:lnTo>
                    <a:pt x="752" y="1760"/>
                  </a:lnTo>
                  <a:lnTo>
                    <a:pt x="788" y="1765"/>
                  </a:lnTo>
                  <a:lnTo>
                    <a:pt x="807" y="1766"/>
                  </a:lnTo>
                  <a:lnTo>
                    <a:pt x="823" y="1767"/>
                  </a:lnTo>
                  <a:lnTo>
                    <a:pt x="830" y="1767"/>
                  </a:lnTo>
                  <a:lnTo>
                    <a:pt x="836" y="1766"/>
                  </a:lnTo>
                  <a:lnTo>
                    <a:pt x="839" y="1765"/>
                  </a:lnTo>
                  <a:lnTo>
                    <a:pt x="840" y="1764"/>
                  </a:lnTo>
                  <a:lnTo>
                    <a:pt x="845" y="1764"/>
                  </a:lnTo>
                  <a:lnTo>
                    <a:pt x="851" y="1763"/>
                  </a:lnTo>
                  <a:lnTo>
                    <a:pt x="855" y="1763"/>
                  </a:lnTo>
                  <a:lnTo>
                    <a:pt x="857" y="1761"/>
                  </a:lnTo>
                  <a:lnTo>
                    <a:pt x="859" y="1760"/>
                  </a:lnTo>
                  <a:lnTo>
                    <a:pt x="859" y="1758"/>
                  </a:lnTo>
                  <a:lnTo>
                    <a:pt x="870" y="1758"/>
                  </a:lnTo>
                  <a:lnTo>
                    <a:pt x="880" y="1758"/>
                  </a:lnTo>
                  <a:lnTo>
                    <a:pt x="891" y="1758"/>
                  </a:lnTo>
                  <a:lnTo>
                    <a:pt x="903" y="1758"/>
                  </a:lnTo>
                  <a:lnTo>
                    <a:pt x="904" y="1757"/>
                  </a:lnTo>
                  <a:lnTo>
                    <a:pt x="905" y="1756"/>
                  </a:lnTo>
                  <a:lnTo>
                    <a:pt x="917" y="1756"/>
                  </a:lnTo>
                  <a:lnTo>
                    <a:pt x="943" y="1731"/>
                  </a:lnTo>
                  <a:lnTo>
                    <a:pt x="947" y="1731"/>
                  </a:lnTo>
                  <a:lnTo>
                    <a:pt x="951" y="1730"/>
                  </a:lnTo>
                  <a:lnTo>
                    <a:pt x="953" y="1729"/>
                  </a:lnTo>
                  <a:lnTo>
                    <a:pt x="954" y="1728"/>
                  </a:lnTo>
                  <a:lnTo>
                    <a:pt x="954" y="1727"/>
                  </a:lnTo>
                  <a:lnTo>
                    <a:pt x="955" y="1725"/>
                  </a:lnTo>
                  <a:lnTo>
                    <a:pt x="962" y="1725"/>
                  </a:lnTo>
                  <a:lnTo>
                    <a:pt x="973" y="1723"/>
                  </a:lnTo>
                  <a:lnTo>
                    <a:pt x="977" y="1723"/>
                  </a:lnTo>
                  <a:lnTo>
                    <a:pt x="982" y="1722"/>
                  </a:lnTo>
                  <a:lnTo>
                    <a:pt x="985" y="1720"/>
                  </a:lnTo>
                  <a:lnTo>
                    <a:pt x="986" y="1718"/>
                  </a:lnTo>
                  <a:lnTo>
                    <a:pt x="994" y="1718"/>
                  </a:lnTo>
                  <a:lnTo>
                    <a:pt x="1005" y="1718"/>
                  </a:lnTo>
                  <a:lnTo>
                    <a:pt x="1015" y="1718"/>
                  </a:lnTo>
                  <a:lnTo>
                    <a:pt x="1023" y="1718"/>
                  </a:lnTo>
                  <a:lnTo>
                    <a:pt x="1030" y="1712"/>
                  </a:lnTo>
                  <a:lnTo>
                    <a:pt x="1037" y="1706"/>
                  </a:lnTo>
                  <a:lnTo>
                    <a:pt x="1037" y="1701"/>
                  </a:lnTo>
                  <a:lnTo>
                    <a:pt x="1040" y="1698"/>
                  </a:lnTo>
                  <a:lnTo>
                    <a:pt x="1044" y="1694"/>
                  </a:lnTo>
                  <a:lnTo>
                    <a:pt x="1049" y="1693"/>
                  </a:lnTo>
                  <a:lnTo>
                    <a:pt x="1050" y="1688"/>
                  </a:lnTo>
                  <a:lnTo>
                    <a:pt x="1052" y="1682"/>
                  </a:lnTo>
                  <a:lnTo>
                    <a:pt x="1054" y="1679"/>
                  </a:lnTo>
                  <a:lnTo>
                    <a:pt x="1057" y="1677"/>
                  </a:lnTo>
                  <a:lnTo>
                    <a:pt x="1059" y="1676"/>
                  </a:lnTo>
                  <a:lnTo>
                    <a:pt x="1061" y="1674"/>
                  </a:lnTo>
                  <a:lnTo>
                    <a:pt x="1061" y="1669"/>
                  </a:lnTo>
                  <a:lnTo>
                    <a:pt x="1062" y="1663"/>
                  </a:lnTo>
                  <a:lnTo>
                    <a:pt x="1062" y="1660"/>
                  </a:lnTo>
                  <a:lnTo>
                    <a:pt x="1063" y="1658"/>
                  </a:lnTo>
                  <a:lnTo>
                    <a:pt x="1066" y="1657"/>
                  </a:lnTo>
                  <a:lnTo>
                    <a:pt x="1068" y="1655"/>
                  </a:lnTo>
                  <a:lnTo>
                    <a:pt x="1068" y="1643"/>
                  </a:lnTo>
                  <a:lnTo>
                    <a:pt x="1071" y="1643"/>
                  </a:lnTo>
                  <a:lnTo>
                    <a:pt x="1072" y="1642"/>
                  </a:lnTo>
                  <a:lnTo>
                    <a:pt x="1073" y="1641"/>
                  </a:lnTo>
                  <a:lnTo>
                    <a:pt x="1073" y="1640"/>
                  </a:lnTo>
                  <a:lnTo>
                    <a:pt x="1073" y="1639"/>
                  </a:lnTo>
                  <a:lnTo>
                    <a:pt x="1075" y="1638"/>
                  </a:lnTo>
                  <a:lnTo>
                    <a:pt x="1076" y="1638"/>
                  </a:lnTo>
                  <a:lnTo>
                    <a:pt x="1080" y="1638"/>
                  </a:lnTo>
                  <a:lnTo>
                    <a:pt x="1081" y="1632"/>
                  </a:lnTo>
                  <a:lnTo>
                    <a:pt x="1084" y="1629"/>
                  </a:lnTo>
                  <a:lnTo>
                    <a:pt x="1088" y="1625"/>
                  </a:lnTo>
                  <a:lnTo>
                    <a:pt x="1092" y="1624"/>
                  </a:lnTo>
                  <a:lnTo>
                    <a:pt x="1092" y="1621"/>
                  </a:lnTo>
                  <a:lnTo>
                    <a:pt x="1095" y="1617"/>
                  </a:lnTo>
                  <a:lnTo>
                    <a:pt x="1096" y="1615"/>
                  </a:lnTo>
                  <a:lnTo>
                    <a:pt x="1099" y="1613"/>
                  </a:lnTo>
                  <a:lnTo>
                    <a:pt x="1102" y="1610"/>
                  </a:lnTo>
                  <a:lnTo>
                    <a:pt x="1105" y="1606"/>
                  </a:lnTo>
                  <a:lnTo>
                    <a:pt x="1116" y="1604"/>
                  </a:lnTo>
                  <a:lnTo>
                    <a:pt x="1130" y="1600"/>
                  </a:lnTo>
                  <a:lnTo>
                    <a:pt x="1144" y="1595"/>
                  </a:lnTo>
                  <a:lnTo>
                    <a:pt x="1155" y="1593"/>
                  </a:lnTo>
                  <a:lnTo>
                    <a:pt x="1156" y="1591"/>
                  </a:lnTo>
                  <a:lnTo>
                    <a:pt x="1159" y="1587"/>
                  </a:lnTo>
                  <a:lnTo>
                    <a:pt x="1163" y="1583"/>
                  </a:lnTo>
                  <a:lnTo>
                    <a:pt x="1168" y="1578"/>
                  </a:lnTo>
                  <a:lnTo>
                    <a:pt x="1178" y="1572"/>
                  </a:lnTo>
                  <a:lnTo>
                    <a:pt x="1186" y="1568"/>
                  </a:lnTo>
                  <a:lnTo>
                    <a:pt x="1193" y="1556"/>
                  </a:lnTo>
                  <a:lnTo>
                    <a:pt x="1193" y="1544"/>
                  </a:lnTo>
                  <a:lnTo>
                    <a:pt x="1205" y="1530"/>
                  </a:lnTo>
                  <a:lnTo>
                    <a:pt x="1204" y="1520"/>
                  </a:lnTo>
                  <a:lnTo>
                    <a:pt x="1203" y="1509"/>
                  </a:lnTo>
                  <a:lnTo>
                    <a:pt x="1200" y="1497"/>
                  </a:lnTo>
                  <a:lnTo>
                    <a:pt x="1197" y="1485"/>
                  </a:lnTo>
                  <a:lnTo>
                    <a:pt x="1190" y="1460"/>
                  </a:lnTo>
                  <a:lnTo>
                    <a:pt x="1182" y="1436"/>
                  </a:lnTo>
                  <a:lnTo>
                    <a:pt x="1178" y="1423"/>
                  </a:lnTo>
                  <a:lnTo>
                    <a:pt x="1175" y="1411"/>
                  </a:lnTo>
                  <a:lnTo>
                    <a:pt x="1173" y="1400"/>
                  </a:lnTo>
                  <a:lnTo>
                    <a:pt x="1172" y="1389"/>
                  </a:lnTo>
                  <a:lnTo>
                    <a:pt x="1172" y="1378"/>
                  </a:lnTo>
                  <a:lnTo>
                    <a:pt x="1174" y="1367"/>
                  </a:lnTo>
                  <a:lnTo>
                    <a:pt x="1176" y="1359"/>
                  </a:lnTo>
                  <a:lnTo>
                    <a:pt x="1182" y="1350"/>
                  </a:lnTo>
                  <a:lnTo>
                    <a:pt x="1193" y="1347"/>
                  </a:lnTo>
                  <a:lnTo>
                    <a:pt x="1212" y="1345"/>
                  </a:lnTo>
                  <a:lnTo>
                    <a:pt x="1235" y="1344"/>
                  </a:lnTo>
                  <a:lnTo>
                    <a:pt x="1260" y="1343"/>
                  </a:lnTo>
                  <a:lnTo>
                    <a:pt x="1283" y="1344"/>
                  </a:lnTo>
                  <a:lnTo>
                    <a:pt x="1305" y="1346"/>
                  </a:lnTo>
                  <a:lnTo>
                    <a:pt x="1312" y="1347"/>
                  </a:lnTo>
                  <a:lnTo>
                    <a:pt x="1318" y="1350"/>
                  </a:lnTo>
                  <a:lnTo>
                    <a:pt x="1322" y="1353"/>
                  </a:lnTo>
                  <a:lnTo>
                    <a:pt x="1324" y="1355"/>
                  </a:lnTo>
                  <a:lnTo>
                    <a:pt x="1417" y="1355"/>
                  </a:lnTo>
                  <a:lnTo>
                    <a:pt x="1418" y="1352"/>
                  </a:lnTo>
                  <a:lnTo>
                    <a:pt x="1418" y="1351"/>
                  </a:lnTo>
                  <a:lnTo>
                    <a:pt x="1420" y="1350"/>
                  </a:lnTo>
                  <a:lnTo>
                    <a:pt x="1421" y="1350"/>
                  </a:lnTo>
                  <a:lnTo>
                    <a:pt x="1422" y="1350"/>
                  </a:lnTo>
                  <a:lnTo>
                    <a:pt x="1423" y="1348"/>
                  </a:lnTo>
                  <a:lnTo>
                    <a:pt x="1424" y="1347"/>
                  </a:lnTo>
                  <a:lnTo>
                    <a:pt x="1424" y="1343"/>
                  </a:lnTo>
                  <a:lnTo>
                    <a:pt x="1505" y="1343"/>
                  </a:lnTo>
                  <a:lnTo>
                    <a:pt x="1508" y="1344"/>
                  </a:lnTo>
                  <a:lnTo>
                    <a:pt x="1514" y="1347"/>
                  </a:lnTo>
                  <a:lnTo>
                    <a:pt x="1518" y="1351"/>
                  </a:lnTo>
                  <a:lnTo>
                    <a:pt x="1521" y="1354"/>
                  </a:lnTo>
                  <a:lnTo>
                    <a:pt x="1523" y="1357"/>
                  </a:lnTo>
                  <a:lnTo>
                    <a:pt x="1524" y="1362"/>
                  </a:lnTo>
                  <a:lnTo>
                    <a:pt x="1527" y="1363"/>
                  </a:lnTo>
                  <a:lnTo>
                    <a:pt x="1530" y="1366"/>
                  </a:lnTo>
                  <a:lnTo>
                    <a:pt x="1534" y="1371"/>
                  </a:lnTo>
                  <a:lnTo>
                    <a:pt x="1539" y="1376"/>
                  </a:lnTo>
                  <a:lnTo>
                    <a:pt x="1542" y="1382"/>
                  </a:lnTo>
                  <a:lnTo>
                    <a:pt x="1546" y="1389"/>
                  </a:lnTo>
                  <a:lnTo>
                    <a:pt x="1548" y="1394"/>
                  </a:lnTo>
                  <a:lnTo>
                    <a:pt x="1549" y="1400"/>
                  </a:lnTo>
                  <a:lnTo>
                    <a:pt x="1561" y="1412"/>
                  </a:lnTo>
                  <a:lnTo>
                    <a:pt x="1562" y="1448"/>
                  </a:lnTo>
                  <a:lnTo>
                    <a:pt x="1565" y="1486"/>
                  </a:lnTo>
                  <a:lnTo>
                    <a:pt x="1567" y="1524"/>
                  </a:lnTo>
                  <a:lnTo>
                    <a:pt x="1568" y="1556"/>
                  </a:lnTo>
                  <a:lnTo>
                    <a:pt x="1574" y="1565"/>
                  </a:lnTo>
                  <a:lnTo>
                    <a:pt x="1581" y="1581"/>
                  </a:lnTo>
                  <a:lnTo>
                    <a:pt x="1585" y="1588"/>
                  </a:lnTo>
                  <a:lnTo>
                    <a:pt x="1589" y="1596"/>
                  </a:lnTo>
                  <a:lnTo>
                    <a:pt x="1595" y="1602"/>
                  </a:lnTo>
                  <a:lnTo>
                    <a:pt x="1599" y="1606"/>
                  </a:lnTo>
                  <a:lnTo>
                    <a:pt x="1599" y="1612"/>
                  </a:lnTo>
                  <a:lnTo>
                    <a:pt x="1601" y="1617"/>
                  </a:lnTo>
                  <a:lnTo>
                    <a:pt x="1605" y="1623"/>
                  </a:lnTo>
                  <a:lnTo>
                    <a:pt x="1608" y="1626"/>
                  </a:lnTo>
                  <a:lnTo>
                    <a:pt x="1612" y="1631"/>
                  </a:lnTo>
                  <a:lnTo>
                    <a:pt x="1615" y="1635"/>
                  </a:lnTo>
                  <a:lnTo>
                    <a:pt x="1617" y="1639"/>
                  </a:lnTo>
                  <a:lnTo>
                    <a:pt x="1618" y="1643"/>
                  </a:lnTo>
                  <a:lnTo>
                    <a:pt x="1624" y="1645"/>
                  </a:lnTo>
                  <a:lnTo>
                    <a:pt x="1630" y="1650"/>
                  </a:lnTo>
                  <a:lnTo>
                    <a:pt x="1637" y="1657"/>
                  </a:lnTo>
                  <a:lnTo>
                    <a:pt x="1643" y="1662"/>
                  </a:lnTo>
                  <a:lnTo>
                    <a:pt x="1643" y="1674"/>
                  </a:lnTo>
                  <a:lnTo>
                    <a:pt x="1649" y="1681"/>
                  </a:lnTo>
                  <a:lnTo>
                    <a:pt x="1662" y="1687"/>
                  </a:lnTo>
                  <a:lnTo>
                    <a:pt x="1670" y="1708"/>
                  </a:lnTo>
                  <a:lnTo>
                    <a:pt x="1689" y="1754"/>
                  </a:lnTo>
                  <a:lnTo>
                    <a:pt x="1699" y="1778"/>
                  </a:lnTo>
                  <a:lnTo>
                    <a:pt x="1708" y="1801"/>
                  </a:lnTo>
                  <a:lnTo>
                    <a:pt x="1715" y="1815"/>
                  </a:lnTo>
                  <a:lnTo>
                    <a:pt x="1720" y="1821"/>
                  </a:lnTo>
                  <a:lnTo>
                    <a:pt x="1720" y="2003"/>
                  </a:lnTo>
                  <a:lnTo>
                    <a:pt x="1723" y="2004"/>
                  </a:lnTo>
                  <a:lnTo>
                    <a:pt x="1726" y="2006"/>
                  </a:lnTo>
                  <a:lnTo>
                    <a:pt x="1729" y="2009"/>
                  </a:lnTo>
                  <a:lnTo>
                    <a:pt x="1731" y="2014"/>
                  </a:lnTo>
                  <a:lnTo>
                    <a:pt x="1735" y="2018"/>
                  </a:lnTo>
                  <a:lnTo>
                    <a:pt x="1741" y="2021"/>
                  </a:lnTo>
                  <a:lnTo>
                    <a:pt x="1750" y="2024"/>
                  </a:lnTo>
                  <a:lnTo>
                    <a:pt x="1761" y="2025"/>
                  </a:lnTo>
                  <a:lnTo>
                    <a:pt x="1778" y="2025"/>
                  </a:lnTo>
                  <a:lnTo>
                    <a:pt x="1800" y="2026"/>
                  </a:lnTo>
                  <a:lnTo>
                    <a:pt x="1811" y="2026"/>
                  </a:lnTo>
                  <a:lnTo>
                    <a:pt x="1821" y="2027"/>
                  </a:lnTo>
                  <a:lnTo>
                    <a:pt x="1828" y="2029"/>
                  </a:lnTo>
                  <a:lnTo>
                    <a:pt x="1830" y="2032"/>
                  </a:lnTo>
                  <a:lnTo>
                    <a:pt x="1839" y="2032"/>
                  </a:lnTo>
                  <a:lnTo>
                    <a:pt x="1849" y="2032"/>
                  </a:lnTo>
                  <a:lnTo>
                    <a:pt x="1855" y="2044"/>
                  </a:lnTo>
                  <a:lnTo>
                    <a:pt x="1868" y="2044"/>
                  </a:lnTo>
                  <a:lnTo>
                    <a:pt x="1868" y="2047"/>
                  </a:lnTo>
                  <a:lnTo>
                    <a:pt x="1869" y="2049"/>
                  </a:lnTo>
                  <a:lnTo>
                    <a:pt x="1869" y="2049"/>
                  </a:lnTo>
                  <a:lnTo>
                    <a:pt x="1871" y="2049"/>
                  </a:lnTo>
                  <a:lnTo>
                    <a:pt x="1872" y="2049"/>
                  </a:lnTo>
                  <a:lnTo>
                    <a:pt x="1873" y="2051"/>
                  </a:lnTo>
                  <a:lnTo>
                    <a:pt x="1874" y="2053"/>
                  </a:lnTo>
                  <a:lnTo>
                    <a:pt x="1874" y="2056"/>
                  </a:lnTo>
                  <a:lnTo>
                    <a:pt x="1884" y="2059"/>
                  </a:lnTo>
                  <a:lnTo>
                    <a:pt x="1893" y="2063"/>
                  </a:lnTo>
                  <a:lnTo>
                    <a:pt x="1893" y="2066"/>
                  </a:lnTo>
                  <a:lnTo>
                    <a:pt x="1894" y="2067"/>
                  </a:lnTo>
                  <a:lnTo>
                    <a:pt x="1895" y="2068"/>
                  </a:lnTo>
                  <a:lnTo>
                    <a:pt x="1896" y="2068"/>
                  </a:lnTo>
                  <a:lnTo>
                    <a:pt x="1897" y="2068"/>
                  </a:lnTo>
                  <a:lnTo>
                    <a:pt x="1898" y="2069"/>
                  </a:lnTo>
                  <a:lnTo>
                    <a:pt x="1898" y="2072"/>
                  </a:lnTo>
                  <a:lnTo>
                    <a:pt x="1900" y="2075"/>
                  </a:lnTo>
                  <a:lnTo>
                    <a:pt x="1912" y="2075"/>
                  </a:lnTo>
                  <a:lnTo>
                    <a:pt x="1912" y="2087"/>
                  </a:lnTo>
                  <a:lnTo>
                    <a:pt x="1924" y="2087"/>
                  </a:lnTo>
                  <a:lnTo>
                    <a:pt x="1931" y="2094"/>
                  </a:lnTo>
                  <a:lnTo>
                    <a:pt x="1936" y="2100"/>
                  </a:lnTo>
                  <a:lnTo>
                    <a:pt x="1955" y="2100"/>
                  </a:lnTo>
                  <a:lnTo>
                    <a:pt x="1955" y="2103"/>
                  </a:lnTo>
                  <a:lnTo>
                    <a:pt x="1956" y="2105"/>
                  </a:lnTo>
                  <a:lnTo>
                    <a:pt x="1958" y="2106"/>
                  </a:lnTo>
                  <a:lnTo>
                    <a:pt x="1959" y="2106"/>
                  </a:lnTo>
                  <a:lnTo>
                    <a:pt x="1960" y="2106"/>
                  </a:lnTo>
                  <a:lnTo>
                    <a:pt x="1961" y="2106"/>
                  </a:lnTo>
                  <a:lnTo>
                    <a:pt x="1961" y="2109"/>
                  </a:lnTo>
                  <a:lnTo>
                    <a:pt x="1962" y="2112"/>
                  </a:lnTo>
                  <a:lnTo>
                    <a:pt x="2099" y="2112"/>
                  </a:lnTo>
                  <a:lnTo>
                    <a:pt x="2105" y="2111"/>
                  </a:lnTo>
                  <a:lnTo>
                    <a:pt x="2116" y="2111"/>
                  </a:lnTo>
                  <a:lnTo>
                    <a:pt x="2132" y="2112"/>
                  </a:lnTo>
                  <a:lnTo>
                    <a:pt x="2150" y="2114"/>
                  </a:lnTo>
                  <a:lnTo>
                    <a:pt x="2184" y="2117"/>
                  </a:lnTo>
                  <a:lnTo>
                    <a:pt x="2209" y="2120"/>
                  </a:lnTo>
                  <a:lnTo>
                    <a:pt x="2209" y="2116"/>
                  </a:lnTo>
                  <a:lnTo>
                    <a:pt x="2210" y="2114"/>
                  </a:lnTo>
                  <a:lnTo>
                    <a:pt x="2211" y="2114"/>
                  </a:lnTo>
                  <a:lnTo>
                    <a:pt x="2212" y="2114"/>
                  </a:lnTo>
                  <a:lnTo>
                    <a:pt x="2213" y="2113"/>
                  </a:lnTo>
                  <a:lnTo>
                    <a:pt x="2214" y="2113"/>
                  </a:lnTo>
                  <a:lnTo>
                    <a:pt x="2214" y="2111"/>
                  </a:lnTo>
                  <a:lnTo>
                    <a:pt x="2215" y="2107"/>
                  </a:lnTo>
                  <a:lnTo>
                    <a:pt x="2221" y="2107"/>
                  </a:lnTo>
                  <a:lnTo>
                    <a:pt x="2227" y="2106"/>
                  </a:lnTo>
                  <a:lnTo>
                    <a:pt x="2230" y="2106"/>
                  </a:lnTo>
                  <a:lnTo>
                    <a:pt x="2232" y="2105"/>
                  </a:lnTo>
                  <a:lnTo>
                    <a:pt x="2233" y="2103"/>
                  </a:lnTo>
                  <a:lnTo>
                    <a:pt x="2233" y="2101"/>
                  </a:lnTo>
                  <a:lnTo>
                    <a:pt x="2241" y="2101"/>
                  </a:lnTo>
                  <a:lnTo>
                    <a:pt x="2250" y="2100"/>
                  </a:lnTo>
                  <a:lnTo>
                    <a:pt x="2260" y="2097"/>
                  </a:lnTo>
                  <a:lnTo>
                    <a:pt x="2270" y="2096"/>
                  </a:lnTo>
                  <a:lnTo>
                    <a:pt x="2273" y="2094"/>
                  </a:lnTo>
                  <a:lnTo>
                    <a:pt x="2278" y="2092"/>
                  </a:lnTo>
                  <a:lnTo>
                    <a:pt x="2278" y="2083"/>
                  </a:lnTo>
                  <a:lnTo>
                    <a:pt x="2280" y="2083"/>
                  </a:lnTo>
                  <a:lnTo>
                    <a:pt x="2281" y="2081"/>
                  </a:lnTo>
                  <a:lnTo>
                    <a:pt x="2282" y="2077"/>
                  </a:lnTo>
                  <a:lnTo>
                    <a:pt x="2282" y="2074"/>
                  </a:lnTo>
                  <a:lnTo>
                    <a:pt x="2284" y="2072"/>
                  </a:lnTo>
                  <a:lnTo>
                    <a:pt x="2285" y="2065"/>
                  </a:lnTo>
                  <a:lnTo>
                    <a:pt x="2285" y="2056"/>
                  </a:lnTo>
                  <a:lnTo>
                    <a:pt x="2286" y="2045"/>
                  </a:lnTo>
                  <a:lnTo>
                    <a:pt x="2285" y="2035"/>
                  </a:lnTo>
                  <a:lnTo>
                    <a:pt x="2285" y="2025"/>
                  </a:lnTo>
                  <a:lnTo>
                    <a:pt x="2284" y="2019"/>
                  </a:lnTo>
                  <a:lnTo>
                    <a:pt x="2282" y="2016"/>
                  </a:lnTo>
                  <a:lnTo>
                    <a:pt x="2280" y="1992"/>
                  </a:lnTo>
                  <a:lnTo>
                    <a:pt x="2278" y="1969"/>
                  </a:lnTo>
                  <a:lnTo>
                    <a:pt x="2275" y="1946"/>
                  </a:lnTo>
                  <a:lnTo>
                    <a:pt x="2273" y="1922"/>
                  </a:lnTo>
                  <a:lnTo>
                    <a:pt x="2265" y="1909"/>
                  </a:lnTo>
                  <a:lnTo>
                    <a:pt x="2263" y="1890"/>
                  </a:lnTo>
                  <a:lnTo>
                    <a:pt x="2261" y="1867"/>
                  </a:lnTo>
                  <a:lnTo>
                    <a:pt x="2259" y="1856"/>
                  </a:lnTo>
                  <a:lnTo>
                    <a:pt x="2257" y="1846"/>
                  </a:lnTo>
                  <a:lnTo>
                    <a:pt x="2253" y="1836"/>
                  </a:lnTo>
                  <a:lnTo>
                    <a:pt x="2251" y="1830"/>
                  </a:lnTo>
                  <a:lnTo>
                    <a:pt x="2251" y="1713"/>
                  </a:lnTo>
                  <a:lnTo>
                    <a:pt x="2252" y="1711"/>
                  </a:lnTo>
                  <a:lnTo>
                    <a:pt x="2253" y="1706"/>
                  </a:lnTo>
                  <a:lnTo>
                    <a:pt x="2255" y="1697"/>
                  </a:lnTo>
                  <a:lnTo>
                    <a:pt x="2255" y="1688"/>
                  </a:lnTo>
                  <a:lnTo>
                    <a:pt x="2256" y="1668"/>
                  </a:lnTo>
                  <a:lnTo>
                    <a:pt x="2256" y="1655"/>
                  </a:lnTo>
                  <a:lnTo>
                    <a:pt x="2253" y="1650"/>
                  </a:lnTo>
                  <a:lnTo>
                    <a:pt x="2250" y="1642"/>
                  </a:lnTo>
                  <a:lnTo>
                    <a:pt x="2246" y="1635"/>
                  </a:lnTo>
                  <a:lnTo>
                    <a:pt x="2242" y="1633"/>
                  </a:lnTo>
                  <a:lnTo>
                    <a:pt x="2241" y="1628"/>
                  </a:lnTo>
                  <a:lnTo>
                    <a:pt x="2240" y="1620"/>
                  </a:lnTo>
                  <a:lnTo>
                    <a:pt x="2237" y="1613"/>
                  </a:lnTo>
                  <a:lnTo>
                    <a:pt x="2234" y="1605"/>
                  </a:lnTo>
                  <a:lnTo>
                    <a:pt x="2231" y="1597"/>
                  </a:lnTo>
                  <a:lnTo>
                    <a:pt x="2227" y="1592"/>
                  </a:lnTo>
                  <a:lnTo>
                    <a:pt x="2223" y="1586"/>
                  </a:lnTo>
                  <a:lnTo>
                    <a:pt x="2220" y="1584"/>
                  </a:lnTo>
                  <a:lnTo>
                    <a:pt x="2219" y="1578"/>
                  </a:lnTo>
                  <a:lnTo>
                    <a:pt x="2215" y="1573"/>
                  </a:lnTo>
                  <a:lnTo>
                    <a:pt x="2211" y="1566"/>
                  </a:lnTo>
                  <a:lnTo>
                    <a:pt x="2207" y="1559"/>
                  </a:lnTo>
                  <a:lnTo>
                    <a:pt x="2201" y="1553"/>
                  </a:lnTo>
                  <a:lnTo>
                    <a:pt x="2196" y="1546"/>
                  </a:lnTo>
                  <a:lnTo>
                    <a:pt x="2194" y="1540"/>
                  </a:lnTo>
                  <a:lnTo>
                    <a:pt x="2193" y="1535"/>
                  </a:lnTo>
                  <a:lnTo>
                    <a:pt x="2189" y="1533"/>
                  </a:lnTo>
                  <a:lnTo>
                    <a:pt x="2184" y="1530"/>
                  </a:lnTo>
                  <a:lnTo>
                    <a:pt x="2183" y="1527"/>
                  </a:lnTo>
                  <a:lnTo>
                    <a:pt x="2182" y="1524"/>
                  </a:lnTo>
                  <a:lnTo>
                    <a:pt x="2179" y="1520"/>
                  </a:lnTo>
                  <a:lnTo>
                    <a:pt x="2176" y="1518"/>
                  </a:lnTo>
                  <a:lnTo>
                    <a:pt x="2173" y="1516"/>
                  </a:lnTo>
                  <a:lnTo>
                    <a:pt x="2169" y="1514"/>
                  </a:lnTo>
                  <a:lnTo>
                    <a:pt x="2165" y="1513"/>
                  </a:lnTo>
                  <a:lnTo>
                    <a:pt x="2162" y="1513"/>
                  </a:lnTo>
                  <a:lnTo>
                    <a:pt x="2160" y="1508"/>
                  </a:lnTo>
                  <a:lnTo>
                    <a:pt x="2156" y="1504"/>
                  </a:lnTo>
                  <a:lnTo>
                    <a:pt x="2152" y="1500"/>
                  </a:lnTo>
                  <a:lnTo>
                    <a:pt x="2148" y="1499"/>
                  </a:lnTo>
                  <a:lnTo>
                    <a:pt x="2144" y="1495"/>
                  </a:lnTo>
                  <a:lnTo>
                    <a:pt x="2140" y="1486"/>
                  </a:lnTo>
                  <a:lnTo>
                    <a:pt x="2140" y="1472"/>
                  </a:lnTo>
                  <a:lnTo>
                    <a:pt x="2131" y="1468"/>
                  </a:lnTo>
                  <a:lnTo>
                    <a:pt x="2131" y="1459"/>
                  </a:lnTo>
                  <a:lnTo>
                    <a:pt x="2131" y="1450"/>
                  </a:lnTo>
                  <a:lnTo>
                    <a:pt x="2122" y="1441"/>
                  </a:lnTo>
                  <a:lnTo>
                    <a:pt x="2122" y="1423"/>
                  </a:lnTo>
                  <a:lnTo>
                    <a:pt x="2115" y="1414"/>
                  </a:lnTo>
                  <a:lnTo>
                    <a:pt x="2107" y="1400"/>
                  </a:lnTo>
                  <a:lnTo>
                    <a:pt x="2098" y="1381"/>
                  </a:lnTo>
                  <a:lnTo>
                    <a:pt x="2089" y="1360"/>
                  </a:lnTo>
                  <a:lnTo>
                    <a:pt x="2081" y="1340"/>
                  </a:lnTo>
                  <a:lnTo>
                    <a:pt x="2075" y="1319"/>
                  </a:lnTo>
                  <a:lnTo>
                    <a:pt x="2069" y="1304"/>
                  </a:lnTo>
                  <a:lnTo>
                    <a:pt x="2068" y="1294"/>
                  </a:lnTo>
                  <a:lnTo>
                    <a:pt x="2064" y="1290"/>
                  </a:lnTo>
                  <a:lnTo>
                    <a:pt x="2059" y="1286"/>
                  </a:lnTo>
                  <a:lnTo>
                    <a:pt x="2056" y="1280"/>
                  </a:lnTo>
                  <a:lnTo>
                    <a:pt x="2052" y="1275"/>
                  </a:lnTo>
                  <a:lnTo>
                    <a:pt x="2048" y="1263"/>
                  </a:lnTo>
                  <a:lnTo>
                    <a:pt x="2044" y="1249"/>
                  </a:lnTo>
                  <a:lnTo>
                    <a:pt x="2040" y="1235"/>
                  </a:lnTo>
                  <a:lnTo>
                    <a:pt x="2036" y="1221"/>
                  </a:lnTo>
                  <a:lnTo>
                    <a:pt x="2033" y="1216"/>
                  </a:lnTo>
                  <a:lnTo>
                    <a:pt x="2030" y="1210"/>
                  </a:lnTo>
                  <a:lnTo>
                    <a:pt x="2027" y="1205"/>
                  </a:lnTo>
                  <a:lnTo>
                    <a:pt x="2023" y="1200"/>
                  </a:lnTo>
                  <a:lnTo>
                    <a:pt x="2023" y="1182"/>
                  </a:lnTo>
                  <a:lnTo>
                    <a:pt x="2015" y="1167"/>
                  </a:lnTo>
                  <a:lnTo>
                    <a:pt x="2006" y="1151"/>
                  </a:lnTo>
                  <a:lnTo>
                    <a:pt x="2006" y="1138"/>
                  </a:lnTo>
                  <a:lnTo>
                    <a:pt x="1996" y="1125"/>
                  </a:lnTo>
                  <a:lnTo>
                    <a:pt x="1977" y="1102"/>
                  </a:lnTo>
                  <a:lnTo>
                    <a:pt x="1968" y="1088"/>
                  </a:lnTo>
                  <a:lnTo>
                    <a:pt x="1960" y="1077"/>
                  </a:lnTo>
                  <a:lnTo>
                    <a:pt x="1954" y="1067"/>
                  </a:lnTo>
                  <a:lnTo>
                    <a:pt x="1952" y="1062"/>
                  </a:lnTo>
                  <a:lnTo>
                    <a:pt x="1948" y="1053"/>
                  </a:lnTo>
                  <a:lnTo>
                    <a:pt x="1941" y="1048"/>
                  </a:lnTo>
                  <a:lnTo>
                    <a:pt x="1934" y="1044"/>
                  </a:lnTo>
                  <a:lnTo>
                    <a:pt x="1930" y="1036"/>
                  </a:lnTo>
                  <a:lnTo>
                    <a:pt x="1920" y="1021"/>
                  </a:lnTo>
                  <a:lnTo>
                    <a:pt x="1910" y="1008"/>
                  </a:lnTo>
                  <a:lnTo>
                    <a:pt x="1903" y="999"/>
                  </a:lnTo>
                  <a:lnTo>
                    <a:pt x="1903" y="990"/>
                  </a:lnTo>
                  <a:lnTo>
                    <a:pt x="1896" y="984"/>
                  </a:lnTo>
                  <a:lnTo>
                    <a:pt x="1889" y="977"/>
                  </a:lnTo>
                  <a:lnTo>
                    <a:pt x="1889" y="974"/>
                  </a:lnTo>
                  <a:lnTo>
                    <a:pt x="1888" y="969"/>
                  </a:lnTo>
                  <a:lnTo>
                    <a:pt x="1887" y="967"/>
                  </a:lnTo>
                  <a:lnTo>
                    <a:pt x="1886" y="966"/>
                  </a:lnTo>
                  <a:lnTo>
                    <a:pt x="1884" y="965"/>
                  </a:lnTo>
                  <a:lnTo>
                    <a:pt x="1881" y="963"/>
                  </a:lnTo>
                  <a:lnTo>
                    <a:pt x="1876" y="959"/>
                  </a:lnTo>
                  <a:lnTo>
                    <a:pt x="1876" y="950"/>
                  </a:lnTo>
                  <a:lnTo>
                    <a:pt x="1872" y="948"/>
                  </a:lnTo>
                  <a:lnTo>
                    <a:pt x="1867" y="946"/>
                  </a:lnTo>
                  <a:lnTo>
                    <a:pt x="1867" y="937"/>
                  </a:lnTo>
                  <a:lnTo>
                    <a:pt x="1858" y="932"/>
                  </a:lnTo>
                  <a:lnTo>
                    <a:pt x="1858" y="923"/>
                  </a:lnTo>
                  <a:lnTo>
                    <a:pt x="1849" y="914"/>
                  </a:lnTo>
                  <a:lnTo>
                    <a:pt x="1836" y="901"/>
                  </a:lnTo>
                  <a:lnTo>
                    <a:pt x="1826" y="902"/>
                  </a:lnTo>
                  <a:lnTo>
                    <a:pt x="1817" y="904"/>
                  </a:lnTo>
                  <a:lnTo>
                    <a:pt x="1808" y="909"/>
                  </a:lnTo>
                  <a:lnTo>
                    <a:pt x="1800" y="914"/>
                  </a:lnTo>
                  <a:lnTo>
                    <a:pt x="1787" y="914"/>
                  </a:lnTo>
                  <a:lnTo>
                    <a:pt x="1786" y="917"/>
                  </a:lnTo>
                  <a:lnTo>
                    <a:pt x="1782" y="921"/>
                  </a:lnTo>
                  <a:lnTo>
                    <a:pt x="1778" y="927"/>
                  </a:lnTo>
                  <a:lnTo>
                    <a:pt x="1773" y="928"/>
                  </a:lnTo>
                  <a:lnTo>
                    <a:pt x="1773" y="937"/>
                  </a:lnTo>
                  <a:lnTo>
                    <a:pt x="1771" y="938"/>
                  </a:lnTo>
                  <a:lnTo>
                    <a:pt x="1770" y="940"/>
                  </a:lnTo>
                  <a:lnTo>
                    <a:pt x="1769" y="942"/>
                  </a:lnTo>
                  <a:lnTo>
                    <a:pt x="1769" y="946"/>
                  </a:lnTo>
                  <a:lnTo>
                    <a:pt x="1768" y="947"/>
                  </a:lnTo>
                  <a:lnTo>
                    <a:pt x="1767" y="948"/>
                  </a:lnTo>
                  <a:lnTo>
                    <a:pt x="1766" y="949"/>
                  </a:lnTo>
                  <a:lnTo>
                    <a:pt x="1766" y="951"/>
                  </a:lnTo>
                  <a:lnTo>
                    <a:pt x="1764" y="956"/>
                  </a:lnTo>
                  <a:lnTo>
                    <a:pt x="1764" y="959"/>
                  </a:lnTo>
                  <a:lnTo>
                    <a:pt x="1762" y="960"/>
                  </a:lnTo>
                  <a:lnTo>
                    <a:pt x="1761" y="962"/>
                  </a:lnTo>
                  <a:lnTo>
                    <a:pt x="1760" y="965"/>
                  </a:lnTo>
                  <a:lnTo>
                    <a:pt x="1760" y="968"/>
                  </a:lnTo>
                  <a:lnTo>
                    <a:pt x="1757" y="969"/>
                  </a:lnTo>
                  <a:lnTo>
                    <a:pt x="1752" y="971"/>
                  </a:lnTo>
                  <a:lnTo>
                    <a:pt x="1749" y="974"/>
                  </a:lnTo>
                  <a:lnTo>
                    <a:pt x="1744" y="977"/>
                  </a:lnTo>
                  <a:lnTo>
                    <a:pt x="1739" y="980"/>
                  </a:lnTo>
                  <a:lnTo>
                    <a:pt x="1734" y="984"/>
                  </a:lnTo>
                  <a:lnTo>
                    <a:pt x="1730" y="986"/>
                  </a:lnTo>
                  <a:lnTo>
                    <a:pt x="1724" y="986"/>
                  </a:lnTo>
                  <a:lnTo>
                    <a:pt x="1718" y="995"/>
                  </a:lnTo>
                  <a:lnTo>
                    <a:pt x="1711" y="1004"/>
                  </a:lnTo>
                  <a:lnTo>
                    <a:pt x="1671" y="1004"/>
                  </a:lnTo>
                  <a:lnTo>
                    <a:pt x="1671" y="1007"/>
                  </a:lnTo>
                  <a:lnTo>
                    <a:pt x="1668" y="1008"/>
                  </a:lnTo>
                  <a:lnTo>
                    <a:pt x="1665" y="1008"/>
                  </a:lnTo>
                  <a:lnTo>
                    <a:pt x="1662" y="1008"/>
                  </a:lnTo>
                  <a:lnTo>
                    <a:pt x="1662" y="1010"/>
                  </a:lnTo>
                  <a:lnTo>
                    <a:pt x="1660" y="1013"/>
                  </a:lnTo>
                  <a:lnTo>
                    <a:pt x="1656" y="1016"/>
                  </a:lnTo>
                  <a:lnTo>
                    <a:pt x="1653" y="1017"/>
                  </a:lnTo>
                  <a:lnTo>
                    <a:pt x="1653" y="1026"/>
                  </a:lnTo>
                  <a:lnTo>
                    <a:pt x="1649" y="1029"/>
                  </a:lnTo>
                  <a:lnTo>
                    <a:pt x="1645" y="1033"/>
                  </a:lnTo>
                  <a:lnTo>
                    <a:pt x="1642" y="1036"/>
                  </a:lnTo>
                  <a:lnTo>
                    <a:pt x="1639" y="1039"/>
                  </a:lnTo>
                  <a:lnTo>
                    <a:pt x="1636" y="1040"/>
                  </a:lnTo>
                  <a:lnTo>
                    <a:pt x="1634" y="1043"/>
                  </a:lnTo>
                  <a:lnTo>
                    <a:pt x="1632" y="1045"/>
                  </a:lnTo>
                  <a:lnTo>
                    <a:pt x="1630" y="1048"/>
                  </a:lnTo>
                  <a:lnTo>
                    <a:pt x="1596" y="1047"/>
                  </a:lnTo>
                  <a:lnTo>
                    <a:pt x="1560" y="1044"/>
                  </a:lnTo>
                  <a:lnTo>
                    <a:pt x="1527" y="1042"/>
                  </a:lnTo>
                  <a:lnTo>
                    <a:pt x="1497" y="1039"/>
                  </a:lnTo>
                  <a:lnTo>
                    <a:pt x="1488" y="1030"/>
                  </a:lnTo>
                  <a:lnTo>
                    <a:pt x="1479" y="1021"/>
                  </a:lnTo>
                  <a:lnTo>
                    <a:pt x="1470" y="1021"/>
                  </a:lnTo>
                  <a:lnTo>
                    <a:pt x="1465" y="1017"/>
                  </a:lnTo>
                  <a:lnTo>
                    <a:pt x="1465" y="1008"/>
                  </a:lnTo>
                  <a:lnTo>
                    <a:pt x="1464" y="1004"/>
                  </a:lnTo>
                  <a:lnTo>
                    <a:pt x="1463" y="992"/>
                  </a:lnTo>
                  <a:lnTo>
                    <a:pt x="1462" y="976"/>
                  </a:lnTo>
                  <a:lnTo>
                    <a:pt x="1462" y="957"/>
                  </a:lnTo>
                  <a:lnTo>
                    <a:pt x="1462" y="920"/>
                  </a:lnTo>
                  <a:lnTo>
                    <a:pt x="1461" y="901"/>
                  </a:lnTo>
                  <a:lnTo>
                    <a:pt x="1460" y="878"/>
                  </a:lnTo>
                  <a:lnTo>
                    <a:pt x="1456" y="852"/>
                  </a:lnTo>
                  <a:lnTo>
                    <a:pt x="1454" y="827"/>
                  </a:lnTo>
                  <a:lnTo>
                    <a:pt x="1452" y="804"/>
                  </a:lnTo>
                  <a:lnTo>
                    <a:pt x="1443" y="795"/>
                  </a:lnTo>
                  <a:lnTo>
                    <a:pt x="1443" y="779"/>
                  </a:lnTo>
                  <a:lnTo>
                    <a:pt x="1443" y="764"/>
                  </a:lnTo>
                  <a:lnTo>
                    <a:pt x="1441" y="763"/>
                  </a:lnTo>
                  <a:lnTo>
                    <a:pt x="1440" y="760"/>
                  </a:lnTo>
                  <a:lnTo>
                    <a:pt x="1440" y="758"/>
                  </a:lnTo>
                  <a:lnTo>
                    <a:pt x="1438" y="755"/>
                  </a:lnTo>
                  <a:lnTo>
                    <a:pt x="1430" y="746"/>
                  </a:lnTo>
                  <a:lnTo>
                    <a:pt x="1430" y="737"/>
                  </a:lnTo>
                  <a:lnTo>
                    <a:pt x="1425" y="735"/>
                  </a:lnTo>
                  <a:lnTo>
                    <a:pt x="1422" y="732"/>
                  </a:lnTo>
                  <a:lnTo>
                    <a:pt x="1416" y="721"/>
                  </a:lnTo>
                  <a:lnTo>
                    <a:pt x="1413" y="710"/>
                  </a:lnTo>
                  <a:lnTo>
                    <a:pt x="1404" y="706"/>
                  </a:lnTo>
                  <a:lnTo>
                    <a:pt x="1399" y="692"/>
                  </a:lnTo>
                  <a:lnTo>
                    <a:pt x="1395" y="679"/>
                  </a:lnTo>
                  <a:lnTo>
                    <a:pt x="1386" y="674"/>
                  </a:lnTo>
                  <a:lnTo>
                    <a:pt x="1385" y="670"/>
                  </a:lnTo>
                  <a:lnTo>
                    <a:pt x="1382" y="667"/>
                  </a:lnTo>
                  <a:lnTo>
                    <a:pt x="1378" y="662"/>
                  </a:lnTo>
                  <a:lnTo>
                    <a:pt x="1375" y="658"/>
                  </a:lnTo>
                  <a:lnTo>
                    <a:pt x="1370" y="653"/>
                  </a:lnTo>
                  <a:lnTo>
                    <a:pt x="1367" y="649"/>
                  </a:lnTo>
                  <a:lnTo>
                    <a:pt x="1364" y="643"/>
                  </a:lnTo>
                  <a:lnTo>
                    <a:pt x="1364" y="639"/>
                  </a:lnTo>
                  <a:lnTo>
                    <a:pt x="1359" y="636"/>
                  </a:lnTo>
                  <a:lnTo>
                    <a:pt x="1355" y="634"/>
                  </a:lnTo>
                  <a:lnTo>
                    <a:pt x="1350" y="625"/>
                  </a:lnTo>
                  <a:lnTo>
                    <a:pt x="1346" y="616"/>
                  </a:lnTo>
                  <a:lnTo>
                    <a:pt x="1342" y="614"/>
                  </a:lnTo>
                  <a:lnTo>
                    <a:pt x="1337" y="607"/>
                  </a:lnTo>
                  <a:lnTo>
                    <a:pt x="1329" y="599"/>
                  </a:lnTo>
                  <a:lnTo>
                    <a:pt x="1321" y="588"/>
                  </a:lnTo>
                  <a:lnTo>
                    <a:pt x="1313" y="577"/>
                  </a:lnTo>
                  <a:lnTo>
                    <a:pt x="1307" y="567"/>
                  </a:lnTo>
                  <a:lnTo>
                    <a:pt x="1302" y="558"/>
                  </a:lnTo>
                  <a:lnTo>
                    <a:pt x="1301" y="554"/>
                  </a:lnTo>
                  <a:lnTo>
                    <a:pt x="1297" y="549"/>
                  </a:lnTo>
                  <a:lnTo>
                    <a:pt x="1292" y="547"/>
                  </a:lnTo>
                  <a:lnTo>
                    <a:pt x="1288" y="545"/>
                  </a:lnTo>
                  <a:lnTo>
                    <a:pt x="1288" y="536"/>
                  </a:lnTo>
                  <a:lnTo>
                    <a:pt x="1283" y="534"/>
                  </a:lnTo>
                  <a:lnTo>
                    <a:pt x="1279" y="532"/>
                  </a:lnTo>
                  <a:lnTo>
                    <a:pt x="1277" y="525"/>
                  </a:lnTo>
                  <a:lnTo>
                    <a:pt x="1274" y="518"/>
                  </a:lnTo>
                  <a:lnTo>
                    <a:pt x="1265" y="518"/>
                  </a:lnTo>
                  <a:lnTo>
                    <a:pt x="1263" y="514"/>
                  </a:lnTo>
                  <a:lnTo>
                    <a:pt x="1261" y="509"/>
                  </a:lnTo>
                  <a:lnTo>
                    <a:pt x="1258" y="508"/>
                  </a:lnTo>
                  <a:lnTo>
                    <a:pt x="1254" y="506"/>
                  </a:lnTo>
                  <a:lnTo>
                    <a:pt x="1252" y="504"/>
                  </a:lnTo>
                  <a:lnTo>
                    <a:pt x="1252" y="500"/>
                  </a:lnTo>
                  <a:lnTo>
                    <a:pt x="1248" y="496"/>
                  </a:lnTo>
                  <a:lnTo>
                    <a:pt x="1243" y="491"/>
                  </a:lnTo>
                  <a:lnTo>
                    <a:pt x="1239" y="489"/>
                  </a:lnTo>
                  <a:lnTo>
                    <a:pt x="1234" y="487"/>
                  </a:lnTo>
                  <a:lnTo>
                    <a:pt x="1234" y="478"/>
                  </a:lnTo>
                  <a:lnTo>
                    <a:pt x="1230" y="476"/>
                  </a:lnTo>
                  <a:lnTo>
                    <a:pt x="1225" y="474"/>
                  </a:lnTo>
                  <a:lnTo>
                    <a:pt x="1224" y="469"/>
                  </a:lnTo>
                  <a:lnTo>
                    <a:pt x="1222" y="465"/>
                  </a:lnTo>
                  <a:lnTo>
                    <a:pt x="1220" y="461"/>
                  </a:lnTo>
                  <a:lnTo>
                    <a:pt x="1216" y="460"/>
                  </a:lnTo>
                  <a:lnTo>
                    <a:pt x="1215" y="457"/>
                  </a:lnTo>
                  <a:lnTo>
                    <a:pt x="1214" y="452"/>
                  </a:lnTo>
                  <a:lnTo>
                    <a:pt x="1212" y="448"/>
                  </a:lnTo>
                  <a:lnTo>
                    <a:pt x="1209" y="443"/>
                  </a:lnTo>
                  <a:lnTo>
                    <a:pt x="1203" y="437"/>
                  </a:lnTo>
                  <a:lnTo>
                    <a:pt x="1198" y="433"/>
                  </a:lnTo>
                  <a:lnTo>
                    <a:pt x="1196" y="399"/>
                  </a:lnTo>
                  <a:lnTo>
                    <a:pt x="1193" y="361"/>
                  </a:lnTo>
                  <a:lnTo>
                    <a:pt x="1187" y="321"/>
                  </a:lnTo>
                  <a:lnTo>
                    <a:pt x="1181" y="278"/>
                  </a:lnTo>
                  <a:lnTo>
                    <a:pt x="1174" y="236"/>
                  </a:lnTo>
                  <a:lnTo>
                    <a:pt x="1168" y="193"/>
                  </a:lnTo>
                  <a:lnTo>
                    <a:pt x="1166" y="173"/>
                  </a:lnTo>
                  <a:lnTo>
                    <a:pt x="1164" y="153"/>
                  </a:lnTo>
                  <a:lnTo>
                    <a:pt x="1163" y="134"/>
                  </a:lnTo>
                  <a:lnTo>
                    <a:pt x="1163" y="116"/>
                  </a:lnTo>
                  <a:lnTo>
                    <a:pt x="1159" y="116"/>
                  </a:lnTo>
                  <a:lnTo>
                    <a:pt x="1158" y="114"/>
                  </a:lnTo>
                  <a:lnTo>
                    <a:pt x="1158" y="111"/>
                  </a:lnTo>
                  <a:lnTo>
                    <a:pt x="1158" y="107"/>
                  </a:lnTo>
                  <a:lnTo>
                    <a:pt x="1136" y="107"/>
                  </a:lnTo>
                  <a:lnTo>
                    <a:pt x="1135" y="106"/>
                  </a:lnTo>
                  <a:lnTo>
                    <a:pt x="1132" y="105"/>
                  </a:lnTo>
                  <a:lnTo>
                    <a:pt x="1127" y="104"/>
                  </a:lnTo>
                  <a:lnTo>
                    <a:pt x="1121" y="104"/>
                  </a:lnTo>
                  <a:lnTo>
                    <a:pt x="1111" y="103"/>
                  </a:lnTo>
                  <a:lnTo>
                    <a:pt x="1105" y="103"/>
                  </a:lnTo>
                  <a:lnTo>
                    <a:pt x="1104" y="101"/>
                  </a:lnTo>
                  <a:lnTo>
                    <a:pt x="1101" y="100"/>
                  </a:lnTo>
                  <a:lnTo>
                    <a:pt x="1099" y="99"/>
                  </a:lnTo>
                  <a:lnTo>
                    <a:pt x="1096" y="99"/>
                  </a:lnTo>
                  <a:lnTo>
                    <a:pt x="1092" y="97"/>
                  </a:lnTo>
                  <a:lnTo>
                    <a:pt x="1085" y="96"/>
                  </a:lnTo>
                  <a:lnTo>
                    <a:pt x="1073" y="95"/>
                  </a:lnTo>
                  <a:lnTo>
                    <a:pt x="1061" y="95"/>
                  </a:lnTo>
                  <a:lnTo>
                    <a:pt x="1036" y="94"/>
                  </a:lnTo>
                  <a:lnTo>
                    <a:pt x="1020" y="94"/>
                  </a:lnTo>
                  <a:lnTo>
                    <a:pt x="1019" y="96"/>
                  </a:lnTo>
                  <a:lnTo>
                    <a:pt x="1018" y="97"/>
                  </a:lnTo>
                  <a:lnTo>
                    <a:pt x="1017" y="97"/>
                  </a:lnTo>
                  <a:lnTo>
                    <a:pt x="1013" y="99"/>
                  </a:lnTo>
                  <a:lnTo>
                    <a:pt x="1008" y="99"/>
                  </a:lnTo>
                  <a:lnTo>
                    <a:pt x="1000" y="97"/>
                  </a:lnTo>
                  <a:lnTo>
                    <a:pt x="986" y="95"/>
                  </a:lnTo>
                  <a:lnTo>
                    <a:pt x="980" y="94"/>
                  </a:lnTo>
                  <a:lnTo>
                    <a:pt x="972" y="87"/>
                  </a:lnTo>
                  <a:lnTo>
                    <a:pt x="962" y="81"/>
                  </a:lnTo>
                  <a:lnTo>
                    <a:pt x="948" y="81"/>
                  </a:lnTo>
                  <a:lnTo>
                    <a:pt x="948" y="80"/>
                  </a:lnTo>
                  <a:lnTo>
                    <a:pt x="947" y="78"/>
                  </a:lnTo>
                  <a:lnTo>
                    <a:pt x="945" y="77"/>
                  </a:lnTo>
                  <a:lnTo>
                    <a:pt x="943" y="77"/>
                  </a:lnTo>
                  <a:lnTo>
                    <a:pt x="939" y="76"/>
                  </a:lnTo>
                  <a:lnTo>
                    <a:pt x="935" y="76"/>
                  </a:lnTo>
                  <a:lnTo>
                    <a:pt x="934" y="74"/>
                  </a:lnTo>
                  <a:lnTo>
                    <a:pt x="932" y="73"/>
                  </a:lnTo>
                  <a:lnTo>
                    <a:pt x="929" y="72"/>
                  </a:lnTo>
                  <a:lnTo>
                    <a:pt x="926" y="72"/>
                  </a:lnTo>
                  <a:lnTo>
                    <a:pt x="924" y="67"/>
                  </a:lnTo>
                  <a:lnTo>
                    <a:pt x="922" y="63"/>
                  </a:lnTo>
                  <a:lnTo>
                    <a:pt x="917" y="63"/>
                  </a:lnTo>
                  <a:lnTo>
                    <a:pt x="913" y="61"/>
                  </a:lnTo>
                  <a:lnTo>
                    <a:pt x="909" y="57"/>
                  </a:lnTo>
                  <a:lnTo>
                    <a:pt x="908" y="54"/>
                  </a:lnTo>
                  <a:lnTo>
                    <a:pt x="899" y="54"/>
                  </a:lnTo>
                  <a:lnTo>
                    <a:pt x="898" y="51"/>
                  </a:lnTo>
                  <a:lnTo>
                    <a:pt x="897" y="48"/>
                  </a:lnTo>
                  <a:lnTo>
                    <a:pt x="894" y="46"/>
                  </a:lnTo>
                  <a:lnTo>
                    <a:pt x="890" y="45"/>
                  </a:lnTo>
                  <a:lnTo>
                    <a:pt x="889" y="42"/>
                  </a:lnTo>
                  <a:lnTo>
                    <a:pt x="886" y="39"/>
                  </a:lnTo>
                  <a:lnTo>
                    <a:pt x="881" y="37"/>
                  </a:lnTo>
                  <a:lnTo>
                    <a:pt x="877" y="36"/>
                  </a:lnTo>
                  <a:lnTo>
                    <a:pt x="877" y="23"/>
                  </a:lnTo>
                  <a:lnTo>
                    <a:pt x="873" y="20"/>
                  </a:lnTo>
                  <a:lnTo>
                    <a:pt x="868" y="18"/>
                  </a:lnTo>
                  <a:lnTo>
                    <a:pt x="868" y="9"/>
                  </a:lnTo>
                  <a:lnTo>
                    <a:pt x="859" y="9"/>
                  </a:lnTo>
                  <a:lnTo>
                    <a:pt x="84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1" name="Freeform 17"/>
            <p:cNvSpPr>
              <a:spLocks noChangeAspect="1"/>
            </p:cNvSpPr>
            <p:nvPr/>
          </p:nvSpPr>
          <p:spPr bwMode="gray">
            <a:xfrm rot="355651">
              <a:off x="6138157" y="3890963"/>
              <a:ext cx="389328" cy="193758"/>
            </a:xfrm>
            <a:custGeom>
              <a:avLst/>
              <a:gdLst/>
              <a:ahLst/>
              <a:cxnLst>
                <a:cxn ang="0">
                  <a:pos x="1359" y="1032"/>
                </a:cxn>
                <a:cxn ang="0">
                  <a:pos x="1416" y="1097"/>
                </a:cxn>
                <a:cxn ang="0">
                  <a:pos x="1474" y="1161"/>
                </a:cxn>
                <a:cxn ang="0">
                  <a:pos x="1498" y="1178"/>
                </a:cxn>
                <a:cxn ang="0">
                  <a:pos x="1536" y="1201"/>
                </a:cxn>
                <a:cxn ang="0">
                  <a:pos x="1587" y="1174"/>
                </a:cxn>
                <a:cxn ang="0">
                  <a:pos x="1611" y="1149"/>
                </a:cxn>
                <a:cxn ang="0">
                  <a:pos x="1810" y="1051"/>
                </a:cxn>
                <a:cxn ang="0">
                  <a:pos x="2087" y="925"/>
                </a:cxn>
                <a:cxn ang="0">
                  <a:pos x="2144" y="786"/>
                </a:cxn>
                <a:cxn ang="0">
                  <a:pos x="2087" y="709"/>
                </a:cxn>
                <a:cxn ang="0">
                  <a:pos x="2057" y="682"/>
                </a:cxn>
                <a:cxn ang="0">
                  <a:pos x="1993" y="646"/>
                </a:cxn>
                <a:cxn ang="0">
                  <a:pos x="1829" y="638"/>
                </a:cxn>
                <a:cxn ang="0">
                  <a:pos x="1722" y="577"/>
                </a:cxn>
                <a:cxn ang="0">
                  <a:pos x="1666" y="533"/>
                </a:cxn>
                <a:cxn ang="0">
                  <a:pos x="1580" y="471"/>
                </a:cxn>
                <a:cxn ang="0">
                  <a:pos x="1561" y="446"/>
                </a:cxn>
                <a:cxn ang="0">
                  <a:pos x="1535" y="391"/>
                </a:cxn>
                <a:cxn ang="0">
                  <a:pos x="1535" y="230"/>
                </a:cxn>
                <a:cxn ang="0">
                  <a:pos x="1337" y="241"/>
                </a:cxn>
                <a:cxn ang="0">
                  <a:pos x="1287" y="269"/>
                </a:cxn>
                <a:cxn ang="0">
                  <a:pos x="1230" y="303"/>
                </a:cxn>
                <a:cxn ang="0">
                  <a:pos x="1179" y="356"/>
                </a:cxn>
                <a:cxn ang="0">
                  <a:pos x="1132" y="260"/>
                </a:cxn>
                <a:cxn ang="0">
                  <a:pos x="1095" y="223"/>
                </a:cxn>
                <a:cxn ang="0">
                  <a:pos x="1065" y="218"/>
                </a:cxn>
                <a:cxn ang="0">
                  <a:pos x="1008" y="254"/>
                </a:cxn>
                <a:cxn ang="0">
                  <a:pos x="865" y="267"/>
                </a:cxn>
                <a:cxn ang="0">
                  <a:pos x="806" y="170"/>
                </a:cxn>
                <a:cxn ang="0">
                  <a:pos x="680" y="113"/>
                </a:cxn>
                <a:cxn ang="0">
                  <a:pos x="525" y="89"/>
                </a:cxn>
                <a:cxn ang="0">
                  <a:pos x="369" y="96"/>
                </a:cxn>
                <a:cxn ang="0">
                  <a:pos x="270" y="51"/>
                </a:cxn>
                <a:cxn ang="0">
                  <a:pos x="210" y="2"/>
                </a:cxn>
                <a:cxn ang="0">
                  <a:pos x="15" y="28"/>
                </a:cxn>
                <a:cxn ang="0">
                  <a:pos x="38" y="316"/>
                </a:cxn>
                <a:cxn ang="0">
                  <a:pos x="72" y="393"/>
                </a:cxn>
                <a:cxn ang="0">
                  <a:pos x="107" y="435"/>
                </a:cxn>
                <a:cxn ang="0">
                  <a:pos x="155" y="494"/>
                </a:cxn>
                <a:cxn ang="0">
                  <a:pos x="212" y="570"/>
                </a:cxn>
                <a:cxn ang="0">
                  <a:pos x="267" y="652"/>
                </a:cxn>
                <a:cxn ang="0">
                  <a:pos x="298" y="769"/>
                </a:cxn>
                <a:cxn ang="0">
                  <a:pos x="330" y="947"/>
                </a:cxn>
                <a:cxn ang="0">
                  <a:pos x="491" y="946"/>
                </a:cxn>
                <a:cxn ang="0">
                  <a:pos x="560" y="912"/>
                </a:cxn>
                <a:cxn ang="0">
                  <a:pos x="604" y="877"/>
                </a:cxn>
                <a:cxn ang="0">
                  <a:pos x="615" y="845"/>
                </a:cxn>
                <a:cxn ang="0">
                  <a:pos x="658" y="697"/>
                </a:cxn>
                <a:cxn ang="0">
                  <a:pos x="628" y="606"/>
                </a:cxn>
                <a:cxn ang="0">
                  <a:pos x="766" y="606"/>
                </a:cxn>
                <a:cxn ang="0">
                  <a:pos x="902" y="652"/>
                </a:cxn>
                <a:cxn ang="0">
                  <a:pos x="1017" y="687"/>
                </a:cxn>
                <a:cxn ang="0">
                  <a:pos x="1191" y="731"/>
                </a:cxn>
                <a:cxn ang="0">
                  <a:pos x="1232" y="754"/>
                </a:cxn>
                <a:cxn ang="0">
                  <a:pos x="1364" y="807"/>
                </a:cxn>
                <a:cxn ang="0">
                  <a:pos x="1391" y="825"/>
                </a:cxn>
                <a:cxn ang="0">
                  <a:pos x="1411" y="844"/>
                </a:cxn>
                <a:cxn ang="0">
                  <a:pos x="1443" y="894"/>
                </a:cxn>
                <a:cxn ang="0">
                  <a:pos x="1441" y="917"/>
                </a:cxn>
              </a:cxnLst>
              <a:rect l="0" t="0" r="r" b="b"/>
              <a:pathLst>
                <a:path w="2153" h="1210">
                  <a:moveTo>
                    <a:pt x="1424" y="931"/>
                  </a:moveTo>
                  <a:lnTo>
                    <a:pt x="1409" y="951"/>
                  </a:lnTo>
                  <a:lnTo>
                    <a:pt x="1399" y="962"/>
                  </a:lnTo>
                  <a:lnTo>
                    <a:pt x="1387" y="962"/>
                  </a:lnTo>
                  <a:lnTo>
                    <a:pt x="1386" y="966"/>
                  </a:lnTo>
                  <a:lnTo>
                    <a:pt x="1383" y="970"/>
                  </a:lnTo>
                  <a:lnTo>
                    <a:pt x="1379" y="973"/>
                  </a:lnTo>
                  <a:lnTo>
                    <a:pt x="1374" y="974"/>
                  </a:lnTo>
                  <a:lnTo>
                    <a:pt x="1371" y="985"/>
                  </a:lnTo>
                  <a:lnTo>
                    <a:pt x="1366" y="1008"/>
                  </a:lnTo>
                  <a:lnTo>
                    <a:pt x="1361" y="1020"/>
                  </a:lnTo>
                  <a:lnTo>
                    <a:pt x="1359" y="1032"/>
                  </a:lnTo>
                  <a:lnTo>
                    <a:pt x="1357" y="1045"/>
                  </a:lnTo>
                  <a:lnTo>
                    <a:pt x="1355" y="1055"/>
                  </a:lnTo>
                  <a:lnTo>
                    <a:pt x="1362" y="1065"/>
                  </a:lnTo>
                  <a:lnTo>
                    <a:pt x="1368" y="1079"/>
                  </a:lnTo>
                  <a:lnTo>
                    <a:pt x="1372" y="1080"/>
                  </a:lnTo>
                  <a:lnTo>
                    <a:pt x="1378" y="1084"/>
                  </a:lnTo>
                  <a:lnTo>
                    <a:pt x="1382" y="1087"/>
                  </a:lnTo>
                  <a:lnTo>
                    <a:pt x="1387" y="1091"/>
                  </a:lnTo>
                  <a:lnTo>
                    <a:pt x="1411" y="1091"/>
                  </a:lnTo>
                  <a:lnTo>
                    <a:pt x="1412" y="1094"/>
                  </a:lnTo>
                  <a:lnTo>
                    <a:pt x="1414" y="1096"/>
                  </a:lnTo>
                  <a:lnTo>
                    <a:pt x="1416" y="1097"/>
                  </a:lnTo>
                  <a:lnTo>
                    <a:pt x="1418" y="1097"/>
                  </a:lnTo>
                  <a:lnTo>
                    <a:pt x="1425" y="1098"/>
                  </a:lnTo>
                  <a:lnTo>
                    <a:pt x="1430" y="1098"/>
                  </a:lnTo>
                  <a:lnTo>
                    <a:pt x="1436" y="1105"/>
                  </a:lnTo>
                  <a:lnTo>
                    <a:pt x="1443" y="1110"/>
                  </a:lnTo>
                  <a:lnTo>
                    <a:pt x="1445" y="1116"/>
                  </a:lnTo>
                  <a:lnTo>
                    <a:pt x="1449" y="1123"/>
                  </a:lnTo>
                  <a:lnTo>
                    <a:pt x="1456" y="1129"/>
                  </a:lnTo>
                  <a:lnTo>
                    <a:pt x="1462" y="1135"/>
                  </a:lnTo>
                  <a:lnTo>
                    <a:pt x="1462" y="1147"/>
                  </a:lnTo>
                  <a:lnTo>
                    <a:pt x="1467" y="1154"/>
                  </a:lnTo>
                  <a:lnTo>
                    <a:pt x="1474" y="1161"/>
                  </a:lnTo>
                  <a:lnTo>
                    <a:pt x="1477" y="1161"/>
                  </a:lnTo>
                  <a:lnTo>
                    <a:pt x="1479" y="1161"/>
                  </a:lnTo>
                  <a:lnTo>
                    <a:pt x="1479" y="1162"/>
                  </a:lnTo>
                  <a:lnTo>
                    <a:pt x="1479" y="1163"/>
                  </a:lnTo>
                  <a:lnTo>
                    <a:pt x="1479" y="1164"/>
                  </a:lnTo>
                  <a:lnTo>
                    <a:pt x="1481" y="1165"/>
                  </a:lnTo>
                  <a:lnTo>
                    <a:pt x="1483" y="1166"/>
                  </a:lnTo>
                  <a:lnTo>
                    <a:pt x="1486" y="1166"/>
                  </a:lnTo>
                  <a:lnTo>
                    <a:pt x="1487" y="1171"/>
                  </a:lnTo>
                  <a:lnTo>
                    <a:pt x="1489" y="1175"/>
                  </a:lnTo>
                  <a:lnTo>
                    <a:pt x="1494" y="1177"/>
                  </a:lnTo>
                  <a:lnTo>
                    <a:pt x="1498" y="1178"/>
                  </a:lnTo>
                  <a:lnTo>
                    <a:pt x="1498" y="1182"/>
                  </a:lnTo>
                  <a:lnTo>
                    <a:pt x="1499" y="1184"/>
                  </a:lnTo>
                  <a:lnTo>
                    <a:pt x="1501" y="1185"/>
                  </a:lnTo>
                  <a:lnTo>
                    <a:pt x="1502" y="1185"/>
                  </a:lnTo>
                  <a:lnTo>
                    <a:pt x="1503" y="1185"/>
                  </a:lnTo>
                  <a:lnTo>
                    <a:pt x="1504" y="1186"/>
                  </a:lnTo>
                  <a:lnTo>
                    <a:pt x="1504" y="1187"/>
                  </a:lnTo>
                  <a:lnTo>
                    <a:pt x="1505" y="1191"/>
                  </a:lnTo>
                  <a:lnTo>
                    <a:pt x="1512" y="1192"/>
                  </a:lnTo>
                  <a:lnTo>
                    <a:pt x="1520" y="1194"/>
                  </a:lnTo>
                  <a:lnTo>
                    <a:pt x="1527" y="1197"/>
                  </a:lnTo>
                  <a:lnTo>
                    <a:pt x="1536" y="1201"/>
                  </a:lnTo>
                  <a:lnTo>
                    <a:pt x="1545" y="1204"/>
                  </a:lnTo>
                  <a:lnTo>
                    <a:pt x="1554" y="1206"/>
                  </a:lnTo>
                  <a:lnTo>
                    <a:pt x="1563" y="1209"/>
                  </a:lnTo>
                  <a:lnTo>
                    <a:pt x="1573" y="1210"/>
                  </a:lnTo>
                  <a:lnTo>
                    <a:pt x="1577" y="1196"/>
                  </a:lnTo>
                  <a:lnTo>
                    <a:pt x="1579" y="1178"/>
                  </a:lnTo>
                  <a:lnTo>
                    <a:pt x="1583" y="1178"/>
                  </a:lnTo>
                  <a:lnTo>
                    <a:pt x="1584" y="1177"/>
                  </a:lnTo>
                  <a:lnTo>
                    <a:pt x="1585" y="1177"/>
                  </a:lnTo>
                  <a:lnTo>
                    <a:pt x="1585" y="1175"/>
                  </a:lnTo>
                  <a:lnTo>
                    <a:pt x="1585" y="1174"/>
                  </a:lnTo>
                  <a:lnTo>
                    <a:pt x="1587" y="1174"/>
                  </a:lnTo>
                  <a:lnTo>
                    <a:pt x="1588" y="1173"/>
                  </a:lnTo>
                  <a:lnTo>
                    <a:pt x="1591" y="1173"/>
                  </a:lnTo>
                  <a:lnTo>
                    <a:pt x="1592" y="1165"/>
                  </a:lnTo>
                  <a:lnTo>
                    <a:pt x="1592" y="1161"/>
                  </a:lnTo>
                  <a:lnTo>
                    <a:pt x="1593" y="1159"/>
                  </a:lnTo>
                  <a:lnTo>
                    <a:pt x="1594" y="1158"/>
                  </a:lnTo>
                  <a:lnTo>
                    <a:pt x="1596" y="1158"/>
                  </a:lnTo>
                  <a:lnTo>
                    <a:pt x="1597" y="1158"/>
                  </a:lnTo>
                  <a:lnTo>
                    <a:pt x="1598" y="1157"/>
                  </a:lnTo>
                  <a:lnTo>
                    <a:pt x="1598" y="1154"/>
                  </a:lnTo>
                  <a:lnTo>
                    <a:pt x="1604" y="1153"/>
                  </a:lnTo>
                  <a:lnTo>
                    <a:pt x="1611" y="1149"/>
                  </a:lnTo>
                  <a:lnTo>
                    <a:pt x="1618" y="1145"/>
                  </a:lnTo>
                  <a:lnTo>
                    <a:pt x="1626" y="1139"/>
                  </a:lnTo>
                  <a:lnTo>
                    <a:pt x="1633" y="1134"/>
                  </a:lnTo>
                  <a:lnTo>
                    <a:pt x="1642" y="1129"/>
                  </a:lnTo>
                  <a:lnTo>
                    <a:pt x="1649" y="1125"/>
                  </a:lnTo>
                  <a:lnTo>
                    <a:pt x="1657" y="1123"/>
                  </a:lnTo>
                  <a:lnTo>
                    <a:pt x="1678" y="1118"/>
                  </a:lnTo>
                  <a:lnTo>
                    <a:pt x="1709" y="1109"/>
                  </a:lnTo>
                  <a:lnTo>
                    <a:pt x="1740" y="1101"/>
                  </a:lnTo>
                  <a:lnTo>
                    <a:pt x="1760" y="1098"/>
                  </a:lnTo>
                  <a:lnTo>
                    <a:pt x="1777" y="1079"/>
                  </a:lnTo>
                  <a:lnTo>
                    <a:pt x="1810" y="1051"/>
                  </a:lnTo>
                  <a:lnTo>
                    <a:pt x="1831" y="1036"/>
                  </a:lnTo>
                  <a:lnTo>
                    <a:pt x="1856" y="1019"/>
                  </a:lnTo>
                  <a:lnTo>
                    <a:pt x="1869" y="1011"/>
                  </a:lnTo>
                  <a:lnTo>
                    <a:pt x="1884" y="1003"/>
                  </a:lnTo>
                  <a:lnTo>
                    <a:pt x="1899" y="994"/>
                  </a:lnTo>
                  <a:lnTo>
                    <a:pt x="1916" y="988"/>
                  </a:lnTo>
                  <a:lnTo>
                    <a:pt x="1953" y="972"/>
                  </a:lnTo>
                  <a:lnTo>
                    <a:pt x="1987" y="959"/>
                  </a:lnTo>
                  <a:lnTo>
                    <a:pt x="2017" y="947"/>
                  </a:lnTo>
                  <a:lnTo>
                    <a:pt x="2044" y="940"/>
                  </a:lnTo>
                  <a:lnTo>
                    <a:pt x="2067" y="932"/>
                  </a:lnTo>
                  <a:lnTo>
                    <a:pt x="2087" y="925"/>
                  </a:lnTo>
                  <a:lnTo>
                    <a:pt x="2102" y="920"/>
                  </a:lnTo>
                  <a:lnTo>
                    <a:pt x="2116" y="914"/>
                  </a:lnTo>
                  <a:lnTo>
                    <a:pt x="2122" y="909"/>
                  </a:lnTo>
                  <a:lnTo>
                    <a:pt x="2128" y="904"/>
                  </a:lnTo>
                  <a:lnTo>
                    <a:pt x="2131" y="897"/>
                  </a:lnTo>
                  <a:lnTo>
                    <a:pt x="2132" y="889"/>
                  </a:lnTo>
                  <a:lnTo>
                    <a:pt x="2135" y="864"/>
                  </a:lnTo>
                  <a:lnTo>
                    <a:pt x="2135" y="820"/>
                  </a:lnTo>
                  <a:lnTo>
                    <a:pt x="2136" y="811"/>
                  </a:lnTo>
                  <a:lnTo>
                    <a:pt x="2138" y="802"/>
                  </a:lnTo>
                  <a:lnTo>
                    <a:pt x="2140" y="793"/>
                  </a:lnTo>
                  <a:lnTo>
                    <a:pt x="2144" y="786"/>
                  </a:lnTo>
                  <a:lnTo>
                    <a:pt x="2147" y="777"/>
                  </a:lnTo>
                  <a:lnTo>
                    <a:pt x="2149" y="769"/>
                  </a:lnTo>
                  <a:lnTo>
                    <a:pt x="2151" y="761"/>
                  </a:lnTo>
                  <a:lnTo>
                    <a:pt x="2153" y="753"/>
                  </a:lnTo>
                  <a:lnTo>
                    <a:pt x="2147" y="753"/>
                  </a:lnTo>
                  <a:lnTo>
                    <a:pt x="2142" y="752"/>
                  </a:lnTo>
                  <a:lnTo>
                    <a:pt x="2137" y="749"/>
                  </a:lnTo>
                  <a:lnTo>
                    <a:pt x="2131" y="747"/>
                  </a:lnTo>
                  <a:lnTo>
                    <a:pt x="2121" y="738"/>
                  </a:lnTo>
                  <a:lnTo>
                    <a:pt x="2110" y="729"/>
                  </a:lnTo>
                  <a:lnTo>
                    <a:pt x="2099" y="719"/>
                  </a:lnTo>
                  <a:lnTo>
                    <a:pt x="2087" y="709"/>
                  </a:lnTo>
                  <a:lnTo>
                    <a:pt x="2081" y="704"/>
                  </a:lnTo>
                  <a:lnTo>
                    <a:pt x="2076" y="701"/>
                  </a:lnTo>
                  <a:lnTo>
                    <a:pt x="2069" y="697"/>
                  </a:lnTo>
                  <a:lnTo>
                    <a:pt x="2063" y="695"/>
                  </a:lnTo>
                  <a:lnTo>
                    <a:pt x="2063" y="691"/>
                  </a:lnTo>
                  <a:lnTo>
                    <a:pt x="2062" y="690"/>
                  </a:lnTo>
                  <a:lnTo>
                    <a:pt x="2061" y="688"/>
                  </a:lnTo>
                  <a:lnTo>
                    <a:pt x="2060" y="688"/>
                  </a:lnTo>
                  <a:lnTo>
                    <a:pt x="2059" y="688"/>
                  </a:lnTo>
                  <a:lnTo>
                    <a:pt x="2058" y="687"/>
                  </a:lnTo>
                  <a:lnTo>
                    <a:pt x="2058" y="686"/>
                  </a:lnTo>
                  <a:lnTo>
                    <a:pt x="2057" y="682"/>
                  </a:lnTo>
                  <a:lnTo>
                    <a:pt x="2044" y="682"/>
                  </a:lnTo>
                  <a:lnTo>
                    <a:pt x="2044" y="680"/>
                  </a:lnTo>
                  <a:lnTo>
                    <a:pt x="2042" y="677"/>
                  </a:lnTo>
                  <a:lnTo>
                    <a:pt x="2039" y="674"/>
                  </a:lnTo>
                  <a:lnTo>
                    <a:pt x="2034" y="671"/>
                  </a:lnTo>
                  <a:lnTo>
                    <a:pt x="2026" y="666"/>
                  </a:lnTo>
                  <a:lnTo>
                    <a:pt x="2020" y="664"/>
                  </a:lnTo>
                  <a:lnTo>
                    <a:pt x="2017" y="659"/>
                  </a:lnTo>
                  <a:lnTo>
                    <a:pt x="2014" y="656"/>
                  </a:lnTo>
                  <a:lnTo>
                    <a:pt x="2010" y="653"/>
                  </a:lnTo>
                  <a:lnTo>
                    <a:pt x="2004" y="649"/>
                  </a:lnTo>
                  <a:lnTo>
                    <a:pt x="1993" y="646"/>
                  </a:lnTo>
                  <a:lnTo>
                    <a:pt x="1980" y="644"/>
                  </a:lnTo>
                  <a:lnTo>
                    <a:pt x="1965" y="643"/>
                  </a:lnTo>
                  <a:lnTo>
                    <a:pt x="1948" y="643"/>
                  </a:lnTo>
                  <a:lnTo>
                    <a:pt x="1932" y="644"/>
                  </a:lnTo>
                  <a:lnTo>
                    <a:pt x="1915" y="644"/>
                  </a:lnTo>
                  <a:lnTo>
                    <a:pt x="1897" y="645"/>
                  </a:lnTo>
                  <a:lnTo>
                    <a:pt x="1880" y="645"/>
                  </a:lnTo>
                  <a:lnTo>
                    <a:pt x="1863" y="645"/>
                  </a:lnTo>
                  <a:lnTo>
                    <a:pt x="1849" y="644"/>
                  </a:lnTo>
                  <a:lnTo>
                    <a:pt x="1842" y="643"/>
                  </a:lnTo>
                  <a:lnTo>
                    <a:pt x="1836" y="641"/>
                  </a:lnTo>
                  <a:lnTo>
                    <a:pt x="1829" y="638"/>
                  </a:lnTo>
                  <a:lnTo>
                    <a:pt x="1824" y="636"/>
                  </a:lnTo>
                  <a:lnTo>
                    <a:pt x="1819" y="633"/>
                  </a:lnTo>
                  <a:lnTo>
                    <a:pt x="1815" y="629"/>
                  </a:lnTo>
                  <a:lnTo>
                    <a:pt x="1811" y="625"/>
                  </a:lnTo>
                  <a:lnTo>
                    <a:pt x="1809" y="620"/>
                  </a:lnTo>
                  <a:lnTo>
                    <a:pt x="1784" y="620"/>
                  </a:lnTo>
                  <a:lnTo>
                    <a:pt x="1776" y="614"/>
                  </a:lnTo>
                  <a:lnTo>
                    <a:pt x="1757" y="598"/>
                  </a:lnTo>
                  <a:lnTo>
                    <a:pt x="1747" y="590"/>
                  </a:lnTo>
                  <a:lnTo>
                    <a:pt x="1737" y="584"/>
                  </a:lnTo>
                  <a:lnTo>
                    <a:pt x="1728" y="579"/>
                  </a:lnTo>
                  <a:lnTo>
                    <a:pt x="1722" y="577"/>
                  </a:lnTo>
                  <a:lnTo>
                    <a:pt x="1716" y="570"/>
                  </a:lnTo>
                  <a:lnTo>
                    <a:pt x="1715" y="567"/>
                  </a:lnTo>
                  <a:lnTo>
                    <a:pt x="1715" y="566"/>
                  </a:lnTo>
                  <a:lnTo>
                    <a:pt x="1714" y="565"/>
                  </a:lnTo>
                  <a:lnTo>
                    <a:pt x="1713" y="565"/>
                  </a:lnTo>
                  <a:lnTo>
                    <a:pt x="1712" y="565"/>
                  </a:lnTo>
                  <a:lnTo>
                    <a:pt x="1710" y="563"/>
                  </a:lnTo>
                  <a:lnTo>
                    <a:pt x="1709" y="562"/>
                  </a:lnTo>
                  <a:lnTo>
                    <a:pt x="1709" y="558"/>
                  </a:lnTo>
                  <a:lnTo>
                    <a:pt x="1694" y="552"/>
                  </a:lnTo>
                  <a:lnTo>
                    <a:pt x="1678" y="546"/>
                  </a:lnTo>
                  <a:lnTo>
                    <a:pt x="1666" y="533"/>
                  </a:lnTo>
                  <a:lnTo>
                    <a:pt x="1654" y="521"/>
                  </a:lnTo>
                  <a:lnTo>
                    <a:pt x="1635" y="521"/>
                  </a:lnTo>
                  <a:lnTo>
                    <a:pt x="1622" y="509"/>
                  </a:lnTo>
                  <a:lnTo>
                    <a:pt x="1610" y="509"/>
                  </a:lnTo>
                  <a:lnTo>
                    <a:pt x="1608" y="503"/>
                  </a:lnTo>
                  <a:lnTo>
                    <a:pt x="1603" y="497"/>
                  </a:lnTo>
                  <a:lnTo>
                    <a:pt x="1597" y="492"/>
                  </a:lnTo>
                  <a:lnTo>
                    <a:pt x="1591" y="490"/>
                  </a:lnTo>
                  <a:lnTo>
                    <a:pt x="1589" y="481"/>
                  </a:lnTo>
                  <a:lnTo>
                    <a:pt x="1585" y="471"/>
                  </a:lnTo>
                  <a:lnTo>
                    <a:pt x="1582" y="471"/>
                  </a:lnTo>
                  <a:lnTo>
                    <a:pt x="1580" y="471"/>
                  </a:lnTo>
                  <a:lnTo>
                    <a:pt x="1579" y="470"/>
                  </a:lnTo>
                  <a:lnTo>
                    <a:pt x="1579" y="469"/>
                  </a:lnTo>
                  <a:lnTo>
                    <a:pt x="1579" y="468"/>
                  </a:lnTo>
                  <a:lnTo>
                    <a:pt x="1579" y="466"/>
                  </a:lnTo>
                  <a:lnTo>
                    <a:pt x="1577" y="465"/>
                  </a:lnTo>
                  <a:lnTo>
                    <a:pt x="1573" y="465"/>
                  </a:lnTo>
                  <a:lnTo>
                    <a:pt x="1572" y="460"/>
                  </a:lnTo>
                  <a:lnTo>
                    <a:pt x="1569" y="453"/>
                  </a:lnTo>
                  <a:lnTo>
                    <a:pt x="1568" y="451"/>
                  </a:lnTo>
                  <a:lnTo>
                    <a:pt x="1565" y="449"/>
                  </a:lnTo>
                  <a:lnTo>
                    <a:pt x="1563" y="447"/>
                  </a:lnTo>
                  <a:lnTo>
                    <a:pt x="1561" y="446"/>
                  </a:lnTo>
                  <a:lnTo>
                    <a:pt x="1561" y="434"/>
                  </a:lnTo>
                  <a:lnTo>
                    <a:pt x="1549" y="434"/>
                  </a:lnTo>
                  <a:lnTo>
                    <a:pt x="1549" y="422"/>
                  </a:lnTo>
                  <a:lnTo>
                    <a:pt x="1544" y="422"/>
                  </a:lnTo>
                  <a:lnTo>
                    <a:pt x="1543" y="421"/>
                  </a:lnTo>
                  <a:lnTo>
                    <a:pt x="1542" y="420"/>
                  </a:lnTo>
                  <a:lnTo>
                    <a:pt x="1542" y="418"/>
                  </a:lnTo>
                  <a:lnTo>
                    <a:pt x="1542" y="417"/>
                  </a:lnTo>
                  <a:lnTo>
                    <a:pt x="1541" y="416"/>
                  </a:lnTo>
                  <a:lnTo>
                    <a:pt x="1540" y="416"/>
                  </a:lnTo>
                  <a:lnTo>
                    <a:pt x="1535" y="415"/>
                  </a:lnTo>
                  <a:lnTo>
                    <a:pt x="1535" y="391"/>
                  </a:lnTo>
                  <a:lnTo>
                    <a:pt x="1534" y="385"/>
                  </a:lnTo>
                  <a:lnTo>
                    <a:pt x="1532" y="370"/>
                  </a:lnTo>
                  <a:lnTo>
                    <a:pt x="1531" y="348"/>
                  </a:lnTo>
                  <a:lnTo>
                    <a:pt x="1531" y="324"/>
                  </a:lnTo>
                  <a:lnTo>
                    <a:pt x="1530" y="273"/>
                  </a:lnTo>
                  <a:lnTo>
                    <a:pt x="1530" y="242"/>
                  </a:lnTo>
                  <a:lnTo>
                    <a:pt x="1532" y="242"/>
                  </a:lnTo>
                  <a:lnTo>
                    <a:pt x="1533" y="241"/>
                  </a:lnTo>
                  <a:lnTo>
                    <a:pt x="1534" y="240"/>
                  </a:lnTo>
                  <a:lnTo>
                    <a:pt x="1535" y="238"/>
                  </a:lnTo>
                  <a:lnTo>
                    <a:pt x="1535" y="234"/>
                  </a:lnTo>
                  <a:lnTo>
                    <a:pt x="1535" y="230"/>
                  </a:lnTo>
                  <a:lnTo>
                    <a:pt x="1530" y="223"/>
                  </a:lnTo>
                  <a:lnTo>
                    <a:pt x="1523" y="218"/>
                  </a:lnTo>
                  <a:lnTo>
                    <a:pt x="1499" y="218"/>
                  </a:lnTo>
                  <a:lnTo>
                    <a:pt x="1475" y="220"/>
                  </a:lnTo>
                  <a:lnTo>
                    <a:pt x="1450" y="223"/>
                  </a:lnTo>
                  <a:lnTo>
                    <a:pt x="1426" y="226"/>
                  </a:lnTo>
                  <a:lnTo>
                    <a:pt x="1401" y="230"/>
                  </a:lnTo>
                  <a:lnTo>
                    <a:pt x="1379" y="233"/>
                  </a:lnTo>
                  <a:lnTo>
                    <a:pt x="1357" y="234"/>
                  </a:lnTo>
                  <a:lnTo>
                    <a:pt x="1338" y="235"/>
                  </a:lnTo>
                  <a:lnTo>
                    <a:pt x="1337" y="239"/>
                  </a:lnTo>
                  <a:lnTo>
                    <a:pt x="1337" y="241"/>
                  </a:lnTo>
                  <a:lnTo>
                    <a:pt x="1335" y="242"/>
                  </a:lnTo>
                  <a:lnTo>
                    <a:pt x="1334" y="242"/>
                  </a:lnTo>
                  <a:lnTo>
                    <a:pt x="1333" y="242"/>
                  </a:lnTo>
                  <a:lnTo>
                    <a:pt x="1332" y="242"/>
                  </a:lnTo>
                  <a:lnTo>
                    <a:pt x="1331" y="244"/>
                  </a:lnTo>
                  <a:lnTo>
                    <a:pt x="1331" y="248"/>
                  </a:lnTo>
                  <a:lnTo>
                    <a:pt x="1325" y="249"/>
                  </a:lnTo>
                  <a:lnTo>
                    <a:pt x="1318" y="251"/>
                  </a:lnTo>
                  <a:lnTo>
                    <a:pt x="1310" y="254"/>
                  </a:lnTo>
                  <a:lnTo>
                    <a:pt x="1302" y="259"/>
                  </a:lnTo>
                  <a:lnTo>
                    <a:pt x="1294" y="263"/>
                  </a:lnTo>
                  <a:lnTo>
                    <a:pt x="1287" y="269"/>
                  </a:lnTo>
                  <a:lnTo>
                    <a:pt x="1285" y="271"/>
                  </a:lnTo>
                  <a:lnTo>
                    <a:pt x="1283" y="274"/>
                  </a:lnTo>
                  <a:lnTo>
                    <a:pt x="1282" y="277"/>
                  </a:lnTo>
                  <a:lnTo>
                    <a:pt x="1281" y="279"/>
                  </a:lnTo>
                  <a:lnTo>
                    <a:pt x="1268" y="279"/>
                  </a:lnTo>
                  <a:lnTo>
                    <a:pt x="1263" y="286"/>
                  </a:lnTo>
                  <a:lnTo>
                    <a:pt x="1263" y="298"/>
                  </a:lnTo>
                  <a:lnTo>
                    <a:pt x="1251" y="298"/>
                  </a:lnTo>
                  <a:lnTo>
                    <a:pt x="1248" y="300"/>
                  </a:lnTo>
                  <a:lnTo>
                    <a:pt x="1244" y="301"/>
                  </a:lnTo>
                  <a:lnTo>
                    <a:pt x="1238" y="302"/>
                  </a:lnTo>
                  <a:lnTo>
                    <a:pt x="1230" y="303"/>
                  </a:lnTo>
                  <a:lnTo>
                    <a:pt x="1216" y="303"/>
                  </a:lnTo>
                  <a:lnTo>
                    <a:pt x="1207" y="303"/>
                  </a:lnTo>
                  <a:lnTo>
                    <a:pt x="1207" y="316"/>
                  </a:lnTo>
                  <a:lnTo>
                    <a:pt x="1205" y="318"/>
                  </a:lnTo>
                  <a:lnTo>
                    <a:pt x="1204" y="322"/>
                  </a:lnTo>
                  <a:lnTo>
                    <a:pt x="1203" y="328"/>
                  </a:lnTo>
                  <a:lnTo>
                    <a:pt x="1201" y="336"/>
                  </a:lnTo>
                  <a:lnTo>
                    <a:pt x="1200" y="350"/>
                  </a:lnTo>
                  <a:lnTo>
                    <a:pt x="1200" y="359"/>
                  </a:lnTo>
                  <a:lnTo>
                    <a:pt x="1193" y="359"/>
                  </a:lnTo>
                  <a:lnTo>
                    <a:pt x="1185" y="358"/>
                  </a:lnTo>
                  <a:lnTo>
                    <a:pt x="1179" y="356"/>
                  </a:lnTo>
                  <a:lnTo>
                    <a:pt x="1174" y="353"/>
                  </a:lnTo>
                  <a:lnTo>
                    <a:pt x="1163" y="347"/>
                  </a:lnTo>
                  <a:lnTo>
                    <a:pt x="1151" y="341"/>
                  </a:lnTo>
                  <a:lnTo>
                    <a:pt x="1151" y="298"/>
                  </a:lnTo>
                  <a:lnTo>
                    <a:pt x="1149" y="298"/>
                  </a:lnTo>
                  <a:lnTo>
                    <a:pt x="1148" y="297"/>
                  </a:lnTo>
                  <a:lnTo>
                    <a:pt x="1147" y="296"/>
                  </a:lnTo>
                  <a:lnTo>
                    <a:pt x="1146" y="293"/>
                  </a:lnTo>
                  <a:lnTo>
                    <a:pt x="1145" y="290"/>
                  </a:lnTo>
                  <a:lnTo>
                    <a:pt x="1145" y="286"/>
                  </a:lnTo>
                  <a:lnTo>
                    <a:pt x="1139" y="276"/>
                  </a:lnTo>
                  <a:lnTo>
                    <a:pt x="1132" y="260"/>
                  </a:lnTo>
                  <a:lnTo>
                    <a:pt x="1130" y="260"/>
                  </a:lnTo>
                  <a:lnTo>
                    <a:pt x="1127" y="258"/>
                  </a:lnTo>
                  <a:lnTo>
                    <a:pt x="1123" y="254"/>
                  </a:lnTo>
                  <a:lnTo>
                    <a:pt x="1121" y="250"/>
                  </a:lnTo>
                  <a:lnTo>
                    <a:pt x="1115" y="242"/>
                  </a:lnTo>
                  <a:lnTo>
                    <a:pt x="1113" y="235"/>
                  </a:lnTo>
                  <a:lnTo>
                    <a:pt x="1110" y="233"/>
                  </a:lnTo>
                  <a:lnTo>
                    <a:pt x="1107" y="230"/>
                  </a:lnTo>
                  <a:lnTo>
                    <a:pt x="1104" y="228"/>
                  </a:lnTo>
                  <a:lnTo>
                    <a:pt x="1102" y="225"/>
                  </a:lnTo>
                  <a:lnTo>
                    <a:pt x="1099" y="224"/>
                  </a:lnTo>
                  <a:lnTo>
                    <a:pt x="1095" y="223"/>
                  </a:lnTo>
                  <a:lnTo>
                    <a:pt x="1094" y="220"/>
                  </a:lnTo>
                  <a:lnTo>
                    <a:pt x="1094" y="218"/>
                  </a:lnTo>
                  <a:lnTo>
                    <a:pt x="1093" y="218"/>
                  </a:lnTo>
                  <a:lnTo>
                    <a:pt x="1092" y="218"/>
                  </a:lnTo>
                  <a:lnTo>
                    <a:pt x="1091" y="216"/>
                  </a:lnTo>
                  <a:lnTo>
                    <a:pt x="1090" y="216"/>
                  </a:lnTo>
                  <a:lnTo>
                    <a:pt x="1089" y="214"/>
                  </a:lnTo>
                  <a:lnTo>
                    <a:pt x="1089" y="211"/>
                  </a:lnTo>
                  <a:lnTo>
                    <a:pt x="1082" y="211"/>
                  </a:lnTo>
                  <a:lnTo>
                    <a:pt x="1076" y="213"/>
                  </a:lnTo>
                  <a:lnTo>
                    <a:pt x="1070" y="215"/>
                  </a:lnTo>
                  <a:lnTo>
                    <a:pt x="1065" y="218"/>
                  </a:lnTo>
                  <a:lnTo>
                    <a:pt x="1055" y="224"/>
                  </a:lnTo>
                  <a:lnTo>
                    <a:pt x="1045" y="230"/>
                  </a:lnTo>
                  <a:lnTo>
                    <a:pt x="1044" y="234"/>
                  </a:lnTo>
                  <a:lnTo>
                    <a:pt x="1042" y="238"/>
                  </a:lnTo>
                  <a:lnTo>
                    <a:pt x="1037" y="241"/>
                  </a:lnTo>
                  <a:lnTo>
                    <a:pt x="1033" y="242"/>
                  </a:lnTo>
                  <a:lnTo>
                    <a:pt x="1032" y="244"/>
                  </a:lnTo>
                  <a:lnTo>
                    <a:pt x="1030" y="247"/>
                  </a:lnTo>
                  <a:lnTo>
                    <a:pt x="1027" y="249"/>
                  </a:lnTo>
                  <a:lnTo>
                    <a:pt x="1023" y="250"/>
                  </a:lnTo>
                  <a:lnTo>
                    <a:pt x="1015" y="253"/>
                  </a:lnTo>
                  <a:lnTo>
                    <a:pt x="1008" y="254"/>
                  </a:lnTo>
                  <a:lnTo>
                    <a:pt x="1008" y="257"/>
                  </a:lnTo>
                  <a:lnTo>
                    <a:pt x="1007" y="260"/>
                  </a:lnTo>
                  <a:lnTo>
                    <a:pt x="1005" y="262"/>
                  </a:lnTo>
                  <a:lnTo>
                    <a:pt x="1003" y="263"/>
                  </a:lnTo>
                  <a:lnTo>
                    <a:pt x="996" y="267"/>
                  </a:lnTo>
                  <a:lnTo>
                    <a:pt x="987" y="269"/>
                  </a:lnTo>
                  <a:lnTo>
                    <a:pt x="977" y="271"/>
                  </a:lnTo>
                  <a:lnTo>
                    <a:pt x="966" y="272"/>
                  </a:lnTo>
                  <a:lnTo>
                    <a:pt x="954" y="272"/>
                  </a:lnTo>
                  <a:lnTo>
                    <a:pt x="941" y="272"/>
                  </a:lnTo>
                  <a:lnTo>
                    <a:pt x="893" y="269"/>
                  </a:lnTo>
                  <a:lnTo>
                    <a:pt x="865" y="267"/>
                  </a:lnTo>
                  <a:lnTo>
                    <a:pt x="859" y="260"/>
                  </a:lnTo>
                  <a:lnTo>
                    <a:pt x="857" y="251"/>
                  </a:lnTo>
                  <a:lnTo>
                    <a:pt x="853" y="242"/>
                  </a:lnTo>
                  <a:lnTo>
                    <a:pt x="841" y="230"/>
                  </a:lnTo>
                  <a:lnTo>
                    <a:pt x="829" y="218"/>
                  </a:lnTo>
                  <a:lnTo>
                    <a:pt x="829" y="204"/>
                  </a:lnTo>
                  <a:lnTo>
                    <a:pt x="816" y="199"/>
                  </a:lnTo>
                  <a:lnTo>
                    <a:pt x="810" y="192"/>
                  </a:lnTo>
                  <a:lnTo>
                    <a:pt x="810" y="183"/>
                  </a:lnTo>
                  <a:lnTo>
                    <a:pt x="810" y="174"/>
                  </a:lnTo>
                  <a:lnTo>
                    <a:pt x="807" y="173"/>
                  </a:lnTo>
                  <a:lnTo>
                    <a:pt x="806" y="170"/>
                  </a:lnTo>
                  <a:lnTo>
                    <a:pt x="804" y="166"/>
                  </a:lnTo>
                  <a:lnTo>
                    <a:pt x="803" y="161"/>
                  </a:lnTo>
                  <a:lnTo>
                    <a:pt x="801" y="156"/>
                  </a:lnTo>
                  <a:lnTo>
                    <a:pt x="798" y="153"/>
                  </a:lnTo>
                  <a:lnTo>
                    <a:pt x="795" y="149"/>
                  </a:lnTo>
                  <a:lnTo>
                    <a:pt x="791" y="148"/>
                  </a:lnTo>
                  <a:lnTo>
                    <a:pt x="791" y="136"/>
                  </a:lnTo>
                  <a:lnTo>
                    <a:pt x="775" y="124"/>
                  </a:lnTo>
                  <a:lnTo>
                    <a:pt x="759" y="111"/>
                  </a:lnTo>
                  <a:lnTo>
                    <a:pt x="744" y="111"/>
                  </a:lnTo>
                  <a:lnTo>
                    <a:pt x="716" y="113"/>
                  </a:lnTo>
                  <a:lnTo>
                    <a:pt x="680" y="113"/>
                  </a:lnTo>
                  <a:lnTo>
                    <a:pt x="642" y="111"/>
                  </a:lnTo>
                  <a:lnTo>
                    <a:pt x="605" y="109"/>
                  </a:lnTo>
                  <a:lnTo>
                    <a:pt x="573" y="106"/>
                  </a:lnTo>
                  <a:lnTo>
                    <a:pt x="561" y="104"/>
                  </a:lnTo>
                  <a:lnTo>
                    <a:pt x="551" y="100"/>
                  </a:lnTo>
                  <a:lnTo>
                    <a:pt x="547" y="99"/>
                  </a:lnTo>
                  <a:lnTo>
                    <a:pt x="545" y="97"/>
                  </a:lnTo>
                  <a:lnTo>
                    <a:pt x="543" y="95"/>
                  </a:lnTo>
                  <a:lnTo>
                    <a:pt x="543" y="93"/>
                  </a:lnTo>
                  <a:lnTo>
                    <a:pt x="537" y="93"/>
                  </a:lnTo>
                  <a:lnTo>
                    <a:pt x="532" y="91"/>
                  </a:lnTo>
                  <a:lnTo>
                    <a:pt x="525" y="89"/>
                  </a:lnTo>
                  <a:lnTo>
                    <a:pt x="519" y="86"/>
                  </a:lnTo>
                  <a:lnTo>
                    <a:pt x="514" y="82"/>
                  </a:lnTo>
                  <a:lnTo>
                    <a:pt x="509" y="80"/>
                  </a:lnTo>
                  <a:lnTo>
                    <a:pt x="507" y="77"/>
                  </a:lnTo>
                  <a:lnTo>
                    <a:pt x="506" y="75"/>
                  </a:lnTo>
                  <a:lnTo>
                    <a:pt x="490" y="75"/>
                  </a:lnTo>
                  <a:lnTo>
                    <a:pt x="476" y="76"/>
                  </a:lnTo>
                  <a:lnTo>
                    <a:pt x="461" y="77"/>
                  </a:lnTo>
                  <a:lnTo>
                    <a:pt x="448" y="79"/>
                  </a:lnTo>
                  <a:lnTo>
                    <a:pt x="421" y="84"/>
                  </a:lnTo>
                  <a:lnTo>
                    <a:pt x="394" y="90"/>
                  </a:lnTo>
                  <a:lnTo>
                    <a:pt x="369" y="96"/>
                  </a:lnTo>
                  <a:lnTo>
                    <a:pt x="342" y="100"/>
                  </a:lnTo>
                  <a:lnTo>
                    <a:pt x="328" y="103"/>
                  </a:lnTo>
                  <a:lnTo>
                    <a:pt x="316" y="104"/>
                  </a:lnTo>
                  <a:lnTo>
                    <a:pt x="302" y="105"/>
                  </a:lnTo>
                  <a:lnTo>
                    <a:pt x="288" y="105"/>
                  </a:lnTo>
                  <a:lnTo>
                    <a:pt x="285" y="93"/>
                  </a:lnTo>
                  <a:lnTo>
                    <a:pt x="282" y="80"/>
                  </a:lnTo>
                  <a:lnTo>
                    <a:pt x="279" y="79"/>
                  </a:lnTo>
                  <a:lnTo>
                    <a:pt x="277" y="76"/>
                  </a:lnTo>
                  <a:lnTo>
                    <a:pt x="275" y="70"/>
                  </a:lnTo>
                  <a:lnTo>
                    <a:pt x="274" y="65"/>
                  </a:lnTo>
                  <a:lnTo>
                    <a:pt x="270" y="51"/>
                  </a:lnTo>
                  <a:lnTo>
                    <a:pt x="269" y="43"/>
                  </a:lnTo>
                  <a:lnTo>
                    <a:pt x="264" y="38"/>
                  </a:lnTo>
                  <a:lnTo>
                    <a:pt x="257" y="31"/>
                  </a:lnTo>
                  <a:lnTo>
                    <a:pt x="250" y="27"/>
                  </a:lnTo>
                  <a:lnTo>
                    <a:pt x="245" y="24"/>
                  </a:lnTo>
                  <a:lnTo>
                    <a:pt x="245" y="12"/>
                  </a:lnTo>
                  <a:lnTo>
                    <a:pt x="238" y="5"/>
                  </a:lnTo>
                  <a:lnTo>
                    <a:pt x="226" y="5"/>
                  </a:lnTo>
                  <a:lnTo>
                    <a:pt x="214" y="5"/>
                  </a:lnTo>
                  <a:lnTo>
                    <a:pt x="214" y="4"/>
                  </a:lnTo>
                  <a:lnTo>
                    <a:pt x="212" y="3"/>
                  </a:lnTo>
                  <a:lnTo>
                    <a:pt x="210" y="2"/>
                  </a:lnTo>
                  <a:lnTo>
                    <a:pt x="207" y="1"/>
                  </a:lnTo>
                  <a:lnTo>
                    <a:pt x="199" y="0"/>
                  </a:lnTo>
                  <a:lnTo>
                    <a:pt x="189" y="0"/>
                  </a:lnTo>
                  <a:lnTo>
                    <a:pt x="162" y="2"/>
                  </a:lnTo>
                  <a:lnTo>
                    <a:pt x="133" y="7"/>
                  </a:lnTo>
                  <a:lnTo>
                    <a:pt x="103" y="11"/>
                  </a:lnTo>
                  <a:lnTo>
                    <a:pt x="77" y="17"/>
                  </a:lnTo>
                  <a:lnTo>
                    <a:pt x="59" y="21"/>
                  </a:lnTo>
                  <a:lnTo>
                    <a:pt x="53" y="24"/>
                  </a:lnTo>
                  <a:lnTo>
                    <a:pt x="40" y="26"/>
                  </a:lnTo>
                  <a:lnTo>
                    <a:pt x="28" y="27"/>
                  </a:lnTo>
                  <a:lnTo>
                    <a:pt x="15" y="28"/>
                  </a:lnTo>
                  <a:lnTo>
                    <a:pt x="0" y="31"/>
                  </a:lnTo>
                  <a:lnTo>
                    <a:pt x="1" y="32"/>
                  </a:lnTo>
                  <a:lnTo>
                    <a:pt x="5" y="33"/>
                  </a:lnTo>
                  <a:lnTo>
                    <a:pt x="5" y="51"/>
                  </a:lnTo>
                  <a:lnTo>
                    <a:pt x="6" y="70"/>
                  </a:lnTo>
                  <a:lnTo>
                    <a:pt x="8" y="90"/>
                  </a:lnTo>
                  <a:lnTo>
                    <a:pt x="10" y="110"/>
                  </a:lnTo>
                  <a:lnTo>
                    <a:pt x="16" y="153"/>
                  </a:lnTo>
                  <a:lnTo>
                    <a:pt x="23" y="195"/>
                  </a:lnTo>
                  <a:lnTo>
                    <a:pt x="29" y="238"/>
                  </a:lnTo>
                  <a:lnTo>
                    <a:pt x="35" y="278"/>
                  </a:lnTo>
                  <a:lnTo>
                    <a:pt x="38" y="316"/>
                  </a:lnTo>
                  <a:lnTo>
                    <a:pt x="40" y="350"/>
                  </a:lnTo>
                  <a:lnTo>
                    <a:pt x="45" y="354"/>
                  </a:lnTo>
                  <a:lnTo>
                    <a:pt x="51" y="360"/>
                  </a:lnTo>
                  <a:lnTo>
                    <a:pt x="54" y="365"/>
                  </a:lnTo>
                  <a:lnTo>
                    <a:pt x="56" y="369"/>
                  </a:lnTo>
                  <a:lnTo>
                    <a:pt x="57" y="374"/>
                  </a:lnTo>
                  <a:lnTo>
                    <a:pt x="58" y="377"/>
                  </a:lnTo>
                  <a:lnTo>
                    <a:pt x="62" y="378"/>
                  </a:lnTo>
                  <a:lnTo>
                    <a:pt x="64" y="382"/>
                  </a:lnTo>
                  <a:lnTo>
                    <a:pt x="66" y="386"/>
                  </a:lnTo>
                  <a:lnTo>
                    <a:pt x="67" y="391"/>
                  </a:lnTo>
                  <a:lnTo>
                    <a:pt x="72" y="393"/>
                  </a:lnTo>
                  <a:lnTo>
                    <a:pt x="76" y="395"/>
                  </a:lnTo>
                  <a:lnTo>
                    <a:pt x="76" y="404"/>
                  </a:lnTo>
                  <a:lnTo>
                    <a:pt x="81" y="406"/>
                  </a:lnTo>
                  <a:lnTo>
                    <a:pt x="85" y="408"/>
                  </a:lnTo>
                  <a:lnTo>
                    <a:pt x="90" y="413"/>
                  </a:lnTo>
                  <a:lnTo>
                    <a:pt x="94" y="417"/>
                  </a:lnTo>
                  <a:lnTo>
                    <a:pt x="94" y="421"/>
                  </a:lnTo>
                  <a:lnTo>
                    <a:pt x="96" y="423"/>
                  </a:lnTo>
                  <a:lnTo>
                    <a:pt x="100" y="425"/>
                  </a:lnTo>
                  <a:lnTo>
                    <a:pt x="103" y="426"/>
                  </a:lnTo>
                  <a:lnTo>
                    <a:pt x="105" y="431"/>
                  </a:lnTo>
                  <a:lnTo>
                    <a:pt x="107" y="435"/>
                  </a:lnTo>
                  <a:lnTo>
                    <a:pt x="116" y="435"/>
                  </a:lnTo>
                  <a:lnTo>
                    <a:pt x="119" y="442"/>
                  </a:lnTo>
                  <a:lnTo>
                    <a:pt x="121" y="449"/>
                  </a:lnTo>
                  <a:lnTo>
                    <a:pt x="125" y="451"/>
                  </a:lnTo>
                  <a:lnTo>
                    <a:pt x="130" y="453"/>
                  </a:lnTo>
                  <a:lnTo>
                    <a:pt x="130" y="462"/>
                  </a:lnTo>
                  <a:lnTo>
                    <a:pt x="134" y="464"/>
                  </a:lnTo>
                  <a:lnTo>
                    <a:pt x="139" y="466"/>
                  </a:lnTo>
                  <a:lnTo>
                    <a:pt x="143" y="471"/>
                  </a:lnTo>
                  <a:lnTo>
                    <a:pt x="144" y="475"/>
                  </a:lnTo>
                  <a:lnTo>
                    <a:pt x="149" y="484"/>
                  </a:lnTo>
                  <a:lnTo>
                    <a:pt x="155" y="494"/>
                  </a:lnTo>
                  <a:lnTo>
                    <a:pt x="163" y="505"/>
                  </a:lnTo>
                  <a:lnTo>
                    <a:pt x="171" y="516"/>
                  </a:lnTo>
                  <a:lnTo>
                    <a:pt x="179" y="524"/>
                  </a:lnTo>
                  <a:lnTo>
                    <a:pt x="184" y="531"/>
                  </a:lnTo>
                  <a:lnTo>
                    <a:pt x="188" y="533"/>
                  </a:lnTo>
                  <a:lnTo>
                    <a:pt x="192" y="542"/>
                  </a:lnTo>
                  <a:lnTo>
                    <a:pt x="197" y="551"/>
                  </a:lnTo>
                  <a:lnTo>
                    <a:pt x="201" y="553"/>
                  </a:lnTo>
                  <a:lnTo>
                    <a:pt x="206" y="556"/>
                  </a:lnTo>
                  <a:lnTo>
                    <a:pt x="206" y="560"/>
                  </a:lnTo>
                  <a:lnTo>
                    <a:pt x="209" y="566"/>
                  </a:lnTo>
                  <a:lnTo>
                    <a:pt x="212" y="570"/>
                  </a:lnTo>
                  <a:lnTo>
                    <a:pt x="217" y="575"/>
                  </a:lnTo>
                  <a:lnTo>
                    <a:pt x="220" y="579"/>
                  </a:lnTo>
                  <a:lnTo>
                    <a:pt x="224" y="584"/>
                  </a:lnTo>
                  <a:lnTo>
                    <a:pt x="227" y="587"/>
                  </a:lnTo>
                  <a:lnTo>
                    <a:pt x="228" y="591"/>
                  </a:lnTo>
                  <a:lnTo>
                    <a:pt x="237" y="596"/>
                  </a:lnTo>
                  <a:lnTo>
                    <a:pt x="241" y="609"/>
                  </a:lnTo>
                  <a:lnTo>
                    <a:pt x="246" y="623"/>
                  </a:lnTo>
                  <a:lnTo>
                    <a:pt x="255" y="627"/>
                  </a:lnTo>
                  <a:lnTo>
                    <a:pt x="258" y="638"/>
                  </a:lnTo>
                  <a:lnTo>
                    <a:pt x="264" y="649"/>
                  </a:lnTo>
                  <a:lnTo>
                    <a:pt x="267" y="652"/>
                  </a:lnTo>
                  <a:lnTo>
                    <a:pt x="272" y="654"/>
                  </a:lnTo>
                  <a:lnTo>
                    <a:pt x="272" y="663"/>
                  </a:lnTo>
                  <a:lnTo>
                    <a:pt x="280" y="672"/>
                  </a:lnTo>
                  <a:lnTo>
                    <a:pt x="282" y="675"/>
                  </a:lnTo>
                  <a:lnTo>
                    <a:pt x="282" y="677"/>
                  </a:lnTo>
                  <a:lnTo>
                    <a:pt x="283" y="680"/>
                  </a:lnTo>
                  <a:lnTo>
                    <a:pt x="285" y="681"/>
                  </a:lnTo>
                  <a:lnTo>
                    <a:pt x="285" y="696"/>
                  </a:lnTo>
                  <a:lnTo>
                    <a:pt x="285" y="712"/>
                  </a:lnTo>
                  <a:lnTo>
                    <a:pt x="294" y="721"/>
                  </a:lnTo>
                  <a:lnTo>
                    <a:pt x="296" y="744"/>
                  </a:lnTo>
                  <a:lnTo>
                    <a:pt x="298" y="769"/>
                  </a:lnTo>
                  <a:lnTo>
                    <a:pt x="302" y="795"/>
                  </a:lnTo>
                  <a:lnTo>
                    <a:pt x="303" y="818"/>
                  </a:lnTo>
                  <a:lnTo>
                    <a:pt x="304" y="837"/>
                  </a:lnTo>
                  <a:lnTo>
                    <a:pt x="304" y="874"/>
                  </a:lnTo>
                  <a:lnTo>
                    <a:pt x="304" y="893"/>
                  </a:lnTo>
                  <a:lnTo>
                    <a:pt x="305" y="909"/>
                  </a:lnTo>
                  <a:lnTo>
                    <a:pt x="306" y="921"/>
                  </a:lnTo>
                  <a:lnTo>
                    <a:pt x="307" y="925"/>
                  </a:lnTo>
                  <a:lnTo>
                    <a:pt x="307" y="934"/>
                  </a:lnTo>
                  <a:lnTo>
                    <a:pt x="312" y="938"/>
                  </a:lnTo>
                  <a:lnTo>
                    <a:pt x="321" y="938"/>
                  </a:lnTo>
                  <a:lnTo>
                    <a:pt x="330" y="947"/>
                  </a:lnTo>
                  <a:lnTo>
                    <a:pt x="339" y="956"/>
                  </a:lnTo>
                  <a:lnTo>
                    <a:pt x="369" y="959"/>
                  </a:lnTo>
                  <a:lnTo>
                    <a:pt x="402" y="961"/>
                  </a:lnTo>
                  <a:lnTo>
                    <a:pt x="438" y="964"/>
                  </a:lnTo>
                  <a:lnTo>
                    <a:pt x="472" y="965"/>
                  </a:lnTo>
                  <a:lnTo>
                    <a:pt x="474" y="962"/>
                  </a:lnTo>
                  <a:lnTo>
                    <a:pt x="476" y="960"/>
                  </a:lnTo>
                  <a:lnTo>
                    <a:pt x="478" y="957"/>
                  </a:lnTo>
                  <a:lnTo>
                    <a:pt x="481" y="956"/>
                  </a:lnTo>
                  <a:lnTo>
                    <a:pt x="484" y="953"/>
                  </a:lnTo>
                  <a:lnTo>
                    <a:pt x="487" y="950"/>
                  </a:lnTo>
                  <a:lnTo>
                    <a:pt x="491" y="946"/>
                  </a:lnTo>
                  <a:lnTo>
                    <a:pt x="495" y="943"/>
                  </a:lnTo>
                  <a:lnTo>
                    <a:pt x="495" y="934"/>
                  </a:lnTo>
                  <a:lnTo>
                    <a:pt x="498" y="933"/>
                  </a:lnTo>
                  <a:lnTo>
                    <a:pt x="502" y="930"/>
                  </a:lnTo>
                  <a:lnTo>
                    <a:pt x="504" y="927"/>
                  </a:lnTo>
                  <a:lnTo>
                    <a:pt x="504" y="925"/>
                  </a:lnTo>
                  <a:lnTo>
                    <a:pt x="507" y="925"/>
                  </a:lnTo>
                  <a:lnTo>
                    <a:pt x="510" y="925"/>
                  </a:lnTo>
                  <a:lnTo>
                    <a:pt x="513" y="924"/>
                  </a:lnTo>
                  <a:lnTo>
                    <a:pt x="513" y="921"/>
                  </a:lnTo>
                  <a:lnTo>
                    <a:pt x="553" y="921"/>
                  </a:lnTo>
                  <a:lnTo>
                    <a:pt x="560" y="912"/>
                  </a:lnTo>
                  <a:lnTo>
                    <a:pt x="566" y="903"/>
                  </a:lnTo>
                  <a:lnTo>
                    <a:pt x="572" y="903"/>
                  </a:lnTo>
                  <a:lnTo>
                    <a:pt x="576" y="901"/>
                  </a:lnTo>
                  <a:lnTo>
                    <a:pt x="581" y="897"/>
                  </a:lnTo>
                  <a:lnTo>
                    <a:pt x="586" y="894"/>
                  </a:lnTo>
                  <a:lnTo>
                    <a:pt x="591" y="891"/>
                  </a:lnTo>
                  <a:lnTo>
                    <a:pt x="594" y="888"/>
                  </a:lnTo>
                  <a:lnTo>
                    <a:pt x="599" y="886"/>
                  </a:lnTo>
                  <a:lnTo>
                    <a:pt x="602" y="885"/>
                  </a:lnTo>
                  <a:lnTo>
                    <a:pt x="602" y="882"/>
                  </a:lnTo>
                  <a:lnTo>
                    <a:pt x="603" y="879"/>
                  </a:lnTo>
                  <a:lnTo>
                    <a:pt x="604" y="877"/>
                  </a:lnTo>
                  <a:lnTo>
                    <a:pt x="606" y="876"/>
                  </a:lnTo>
                  <a:lnTo>
                    <a:pt x="606" y="873"/>
                  </a:lnTo>
                  <a:lnTo>
                    <a:pt x="608" y="868"/>
                  </a:lnTo>
                  <a:lnTo>
                    <a:pt x="608" y="866"/>
                  </a:lnTo>
                  <a:lnTo>
                    <a:pt x="609" y="865"/>
                  </a:lnTo>
                  <a:lnTo>
                    <a:pt x="610" y="864"/>
                  </a:lnTo>
                  <a:lnTo>
                    <a:pt x="611" y="863"/>
                  </a:lnTo>
                  <a:lnTo>
                    <a:pt x="611" y="859"/>
                  </a:lnTo>
                  <a:lnTo>
                    <a:pt x="612" y="857"/>
                  </a:lnTo>
                  <a:lnTo>
                    <a:pt x="613" y="855"/>
                  </a:lnTo>
                  <a:lnTo>
                    <a:pt x="615" y="854"/>
                  </a:lnTo>
                  <a:lnTo>
                    <a:pt x="615" y="845"/>
                  </a:lnTo>
                  <a:lnTo>
                    <a:pt x="620" y="844"/>
                  </a:lnTo>
                  <a:lnTo>
                    <a:pt x="624" y="838"/>
                  </a:lnTo>
                  <a:lnTo>
                    <a:pt x="628" y="834"/>
                  </a:lnTo>
                  <a:lnTo>
                    <a:pt x="629" y="831"/>
                  </a:lnTo>
                  <a:lnTo>
                    <a:pt x="642" y="831"/>
                  </a:lnTo>
                  <a:lnTo>
                    <a:pt x="649" y="827"/>
                  </a:lnTo>
                  <a:lnTo>
                    <a:pt x="657" y="822"/>
                  </a:lnTo>
                  <a:lnTo>
                    <a:pt x="664" y="820"/>
                  </a:lnTo>
                  <a:lnTo>
                    <a:pt x="673" y="819"/>
                  </a:lnTo>
                  <a:lnTo>
                    <a:pt x="673" y="720"/>
                  </a:lnTo>
                  <a:lnTo>
                    <a:pt x="661" y="713"/>
                  </a:lnTo>
                  <a:lnTo>
                    <a:pt x="658" y="697"/>
                  </a:lnTo>
                  <a:lnTo>
                    <a:pt x="654" y="682"/>
                  </a:lnTo>
                  <a:lnTo>
                    <a:pt x="642" y="676"/>
                  </a:lnTo>
                  <a:lnTo>
                    <a:pt x="642" y="665"/>
                  </a:lnTo>
                  <a:lnTo>
                    <a:pt x="642" y="652"/>
                  </a:lnTo>
                  <a:lnTo>
                    <a:pt x="642" y="638"/>
                  </a:lnTo>
                  <a:lnTo>
                    <a:pt x="642" y="626"/>
                  </a:lnTo>
                  <a:lnTo>
                    <a:pt x="638" y="626"/>
                  </a:lnTo>
                  <a:lnTo>
                    <a:pt x="635" y="623"/>
                  </a:lnTo>
                  <a:lnTo>
                    <a:pt x="633" y="618"/>
                  </a:lnTo>
                  <a:lnTo>
                    <a:pt x="632" y="614"/>
                  </a:lnTo>
                  <a:lnTo>
                    <a:pt x="630" y="609"/>
                  </a:lnTo>
                  <a:lnTo>
                    <a:pt x="628" y="606"/>
                  </a:lnTo>
                  <a:lnTo>
                    <a:pt x="625" y="604"/>
                  </a:lnTo>
                  <a:lnTo>
                    <a:pt x="623" y="603"/>
                  </a:lnTo>
                  <a:lnTo>
                    <a:pt x="620" y="601"/>
                  </a:lnTo>
                  <a:lnTo>
                    <a:pt x="618" y="601"/>
                  </a:lnTo>
                  <a:lnTo>
                    <a:pt x="618" y="589"/>
                  </a:lnTo>
                  <a:lnTo>
                    <a:pt x="651" y="591"/>
                  </a:lnTo>
                  <a:lnTo>
                    <a:pt x="686" y="596"/>
                  </a:lnTo>
                  <a:lnTo>
                    <a:pt x="702" y="598"/>
                  </a:lnTo>
                  <a:lnTo>
                    <a:pt x="720" y="599"/>
                  </a:lnTo>
                  <a:lnTo>
                    <a:pt x="737" y="601"/>
                  </a:lnTo>
                  <a:lnTo>
                    <a:pt x="754" y="601"/>
                  </a:lnTo>
                  <a:lnTo>
                    <a:pt x="766" y="606"/>
                  </a:lnTo>
                  <a:lnTo>
                    <a:pt x="795" y="614"/>
                  </a:lnTo>
                  <a:lnTo>
                    <a:pt x="824" y="623"/>
                  </a:lnTo>
                  <a:lnTo>
                    <a:pt x="841" y="626"/>
                  </a:lnTo>
                  <a:lnTo>
                    <a:pt x="853" y="636"/>
                  </a:lnTo>
                  <a:lnTo>
                    <a:pt x="865" y="645"/>
                  </a:lnTo>
                  <a:lnTo>
                    <a:pt x="884" y="645"/>
                  </a:lnTo>
                  <a:lnTo>
                    <a:pt x="884" y="647"/>
                  </a:lnTo>
                  <a:lnTo>
                    <a:pt x="886" y="648"/>
                  </a:lnTo>
                  <a:lnTo>
                    <a:pt x="888" y="649"/>
                  </a:lnTo>
                  <a:lnTo>
                    <a:pt x="891" y="651"/>
                  </a:lnTo>
                  <a:lnTo>
                    <a:pt x="897" y="652"/>
                  </a:lnTo>
                  <a:lnTo>
                    <a:pt x="902" y="652"/>
                  </a:lnTo>
                  <a:lnTo>
                    <a:pt x="908" y="656"/>
                  </a:lnTo>
                  <a:lnTo>
                    <a:pt x="913" y="659"/>
                  </a:lnTo>
                  <a:lnTo>
                    <a:pt x="919" y="664"/>
                  </a:lnTo>
                  <a:lnTo>
                    <a:pt x="926" y="666"/>
                  </a:lnTo>
                  <a:lnTo>
                    <a:pt x="939" y="672"/>
                  </a:lnTo>
                  <a:lnTo>
                    <a:pt x="954" y="676"/>
                  </a:lnTo>
                  <a:lnTo>
                    <a:pt x="968" y="680"/>
                  </a:lnTo>
                  <a:lnTo>
                    <a:pt x="982" y="681"/>
                  </a:lnTo>
                  <a:lnTo>
                    <a:pt x="996" y="682"/>
                  </a:lnTo>
                  <a:lnTo>
                    <a:pt x="1008" y="682"/>
                  </a:lnTo>
                  <a:lnTo>
                    <a:pt x="1011" y="685"/>
                  </a:lnTo>
                  <a:lnTo>
                    <a:pt x="1017" y="687"/>
                  </a:lnTo>
                  <a:lnTo>
                    <a:pt x="1026" y="688"/>
                  </a:lnTo>
                  <a:lnTo>
                    <a:pt x="1037" y="691"/>
                  </a:lnTo>
                  <a:lnTo>
                    <a:pt x="1057" y="694"/>
                  </a:lnTo>
                  <a:lnTo>
                    <a:pt x="1070" y="695"/>
                  </a:lnTo>
                  <a:lnTo>
                    <a:pt x="1084" y="697"/>
                  </a:lnTo>
                  <a:lnTo>
                    <a:pt x="1111" y="704"/>
                  </a:lnTo>
                  <a:lnTo>
                    <a:pt x="1137" y="711"/>
                  </a:lnTo>
                  <a:lnTo>
                    <a:pt x="1151" y="713"/>
                  </a:lnTo>
                  <a:lnTo>
                    <a:pt x="1163" y="725"/>
                  </a:lnTo>
                  <a:lnTo>
                    <a:pt x="1172" y="726"/>
                  </a:lnTo>
                  <a:lnTo>
                    <a:pt x="1182" y="729"/>
                  </a:lnTo>
                  <a:lnTo>
                    <a:pt x="1191" y="731"/>
                  </a:lnTo>
                  <a:lnTo>
                    <a:pt x="1200" y="732"/>
                  </a:lnTo>
                  <a:lnTo>
                    <a:pt x="1203" y="735"/>
                  </a:lnTo>
                  <a:lnTo>
                    <a:pt x="1207" y="739"/>
                  </a:lnTo>
                  <a:lnTo>
                    <a:pt x="1209" y="741"/>
                  </a:lnTo>
                  <a:lnTo>
                    <a:pt x="1211" y="743"/>
                  </a:lnTo>
                  <a:lnTo>
                    <a:pt x="1213" y="747"/>
                  </a:lnTo>
                  <a:lnTo>
                    <a:pt x="1213" y="751"/>
                  </a:lnTo>
                  <a:lnTo>
                    <a:pt x="1218" y="751"/>
                  </a:lnTo>
                  <a:lnTo>
                    <a:pt x="1225" y="751"/>
                  </a:lnTo>
                  <a:lnTo>
                    <a:pt x="1227" y="752"/>
                  </a:lnTo>
                  <a:lnTo>
                    <a:pt x="1229" y="753"/>
                  </a:lnTo>
                  <a:lnTo>
                    <a:pt x="1232" y="754"/>
                  </a:lnTo>
                  <a:lnTo>
                    <a:pt x="1232" y="757"/>
                  </a:lnTo>
                  <a:lnTo>
                    <a:pt x="1251" y="757"/>
                  </a:lnTo>
                  <a:lnTo>
                    <a:pt x="1253" y="760"/>
                  </a:lnTo>
                  <a:lnTo>
                    <a:pt x="1258" y="762"/>
                  </a:lnTo>
                  <a:lnTo>
                    <a:pt x="1266" y="766"/>
                  </a:lnTo>
                  <a:lnTo>
                    <a:pt x="1276" y="769"/>
                  </a:lnTo>
                  <a:lnTo>
                    <a:pt x="1297" y="773"/>
                  </a:lnTo>
                  <a:lnTo>
                    <a:pt x="1312" y="776"/>
                  </a:lnTo>
                  <a:lnTo>
                    <a:pt x="1362" y="800"/>
                  </a:lnTo>
                  <a:lnTo>
                    <a:pt x="1362" y="803"/>
                  </a:lnTo>
                  <a:lnTo>
                    <a:pt x="1363" y="806"/>
                  </a:lnTo>
                  <a:lnTo>
                    <a:pt x="1364" y="807"/>
                  </a:lnTo>
                  <a:lnTo>
                    <a:pt x="1366" y="807"/>
                  </a:lnTo>
                  <a:lnTo>
                    <a:pt x="1367" y="807"/>
                  </a:lnTo>
                  <a:lnTo>
                    <a:pt x="1367" y="807"/>
                  </a:lnTo>
                  <a:lnTo>
                    <a:pt x="1368" y="809"/>
                  </a:lnTo>
                  <a:lnTo>
                    <a:pt x="1368" y="812"/>
                  </a:lnTo>
                  <a:lnTo>
                    <a:pt x="1378" y="816"/>
                  </a:lnTo>
                  <a:lnTo>
                    <a:pt x="1387" y="819"/>
                  </a:lnTo>
                  <a:lnTo>
                    <a:pt x="1387" y="822"/>
                  </a:lnTo>
                  <a:lnTo>
                    <a:pt x="1388" y="825"/>
                  </a:lnTo>
                  <a:lnTo>
                    <a:pt x="1389" y="825"/>
                  </a:lnTo>
                  <a:lnTo>
                    <a:pt x="1390" y="825"/>
                  </a:lnTo>
                  <a:lnTo>
                    <a:pt x="1391" y="825"/>
                  </a:lnTo>
                  <a:lnTo>
                    <a:pt x="1392" y="826"/>
                  </a:lnTo>
                  <a:lnTo>
                    <a:pt x="1392" y="828"/>
                  </a:lnTo>
                  <a:lnTo>
                    <a:pt x="1393" y="831"/>
                  </a:lnTo>
                  <a:lnTo>
                    <a:pt x="1406" y="831"/>
                  </a:lnTo>
                  <a:lnTo>
                    <a:pt x="1406" y="835"/>
                  </a:lnTo>
                  <a:lnTo>
                    <a:pt x="1407" y="837"/>
                  </a:lnTo>
                  <a:lnTo>
                    <a:pt x="1407" y="837"/>
                  </a:lnTo>
                  <a:lnTo>
                    <a:pt x="1408" y="837"/>
                  </a:lnTo>
                  <a:lnTo>
                    <a:pt x="1409" y="838"/>
                  </a:lnTo>
                  <a:lnTo>
                    <a:pt x="1410" y="838"/>
                  </a:lnTo>
                  <a:lnTo>
                    <a:pt x="1411" y="840"/>
                  </a:lnTo>
                  <a:lnTo>
                    <a:pt x="1411" y="844"/>
                  </a:lnTo>
                  <a:lnTo>
                    <a:pt x="1424" y="844"/>
                  </a:lnTo>
                  <a:lnTo>
                    <a:pt x="1424" y="856"/>
                  </a:lnTo>
                  <a:lnTo>
                    <a:pt x="1430" y="863"/>
                  </a:lnTo>
                  <a:lnTo>
                    <a:pt x="1434" y="863"/>
                  </a:lnTo>
                  <a:lnTo>
                    <a:pt x="1436" y="864"/>
                  </a:lnTo>
                  <a:lnTo>
                    <a:pt x="1436" y="865"/>
                  </a:lnTo>
                  <a:lnTo>
                    <a:pt x="1436" y="866"/>
                  </a:lnTo>
                  <a:lnTo>
                    <a:pt x="1437" y="867"/>
                  </a:lnTo>
                  <a:lnTo>
                    <a:pt x="1437" y="867"/>
                  </a:lnTo>
                  <a:lnTo>
                    <a:pt x="1439" y="868"/>
                  </a:lnTo>
                  <a:lnTo>
                    <a:pt x="1443" y="868"/>
                  </a:lnTo>
                  <a:lnTo>
                    <a:pt x="1443" y="894"/>
                  </a:lnTo>
                  <a:lnTo>
                    <a:pt x="1445" y="894"/>
                  </a:lnTo>
                  <a:lnTo>
                    <a:pt x="1446" y="895"/>
                  </a:lnTo>
                  <a:lnTo>
                    <a:pt x="1447" y="897"/>
                  </a:lnTo>
                  <a:lnTo>
                    <a:pt x="1448" y="901"/>
                  </a:lnTo>
                  <a:lnTo>
                    <a:pt x="1449" y="906"/>
                  </a:lnTo>
                  <a:lnTo>
                    <a:pt x="1449" y="912"/>
                  </a:lnTo>
                  <a:lnTo>
                    <a:pt x="1445" y="912"/>
                  </a:lnTo>
                  <a:lnTo>
                    <a:pt x="1444" y="913"/>
                  </a:lnTo>
                  <a:lnTo>
                    <a:pt x="1443" y="914"/>
                  </a:lnTo>
                  <a:lnTo>
                    <a:pt x="1443" y="915"/>
                  </a:lnTo>
                  <a:lnTo>
                    <a:pt x="1443" y="916"/>
                  </a:lnTo>
                  <a:lnTo>
                    <a:pt x="1441" y="917"/>
                  </a:lnTo>
                  <a:lnTo>
                    <a:pt x="1440" y="918"/>
                  </a:lnTo>
                  <a:lnTo>
                    <a:pt x="1436" y="918"/>
                  </a:lnTo>
                  <a:lnTo>
                    <a:pt x="1436" y="931"/>
                  </a:lnTo>
                  <a:lnTo>
                    <a:pt x="1424" y="93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2" name="Freeform 18"/>
            <p:cNvSpPr>
              <a:spLocks noChangeAspect="1"/>
            </p:cNvSpPr>
            <p:nvPr/>
          </p:nvSpPr>
          <p:spPr bwMode="gray">
            <a:xfrm rot="355651">
              <a:off x="5681118" y="3714750"/>
              <a:ext cx="324793" cy="290637"/>
            </a:xfrm>
            <a:custGeom>
              <a:avLst/>
              <a:gdLst/>
              <a:ahLst/>
              <a:cxnLst>
                <a:cxn ang="0">
                  <a:pos x="1544" y="680"/>
                </a:cxn>
                <a:cxn ang="0">
                  <a:pos x="1460" y="731"/>
                </a:cxn>
                <a:cxn ang="0">
                  <a:pos x="1413" y="814"/>
                </a:cxn>
                <a:cxn ang="0">
                  <a:pos x="1397" y="949"/>
                </a:cxn>
                <a:cxn ang="0">
                  <a:pos x="1396" y="1279"/>
                </a:cxn>
                <a:cxn ang="0">
                  <a:pos x="1487" y="1371"/>
                </a:cxn>
                <a:cxn ang="0">
                  <a:pos x="1611" y="1404"/>
                </a:cxn>
                <a:cxn ang="0">
                  <a:pos x="1684" y="1447"/>
                </a:cxn>
                <a:cxn ang="0">
                  <a:pos x="1741" y="1506"/>
                </a:cxn>
                <a:cxn ang="0">
                  <a:pos x="1722" y="1669"/>
                </a:cxn>
                <a:cxn ang="0">
                  <a:pos x="1634" y="1687"/>
                </a:cxn>
                <a:cxn ang="0">
                  <a:pos x="1550" y="1712"/>
                </a:cxn>
                <a:cxn ang="0">
                  <a:pos x="1502" y="1793"/>
                </a:cxn>
                <a:cxn ang="0">
                  <a:pos x="1382" y="1795"/>
                </a:cxn>
                <a:cxn ang="0">
                  <a:pos x="1270" y="1764"/>
                </a:cxn>
                <a:cxn ang="0">
                  <a:pos x="1166" y="1748"/>
                </a:cxn>
                <a:cxn ang="0">
                  <a:pos x="1146" y="1688"/>
                </a:cxn>
                <a:cxn ang="0">
                  <a:pos x="1123" y="1637"/>
                </a:cxn>
                <a:cxn ang="0">
                  <a:pos x="1094" y="1585"/>
                </a:cxn>
                <a:cxn ang="0">
                  <a:pos x="1003" y="1486"/>
                </a:cxn>
                <a:cxn ang="0">
                  <a:pos x="965" y="1426"/>
                </a:cxn>
                <a:cxn ang="0">
                  <a:pos x="890" y="1314"/>
                </a:cxn>
                <a:cxn ang="0">
                  <a:pos x="851" y="1245"/>
                </a:cxn>
                <a:cxn ang="0">
                  <a:pos x="789" y="1179"/>
                </a:cxn>
                <a:cxn ang="0">
                  <a:pos x="725" y="1109"/>
                </a:cxn>
                <a:cxn ang="0">
                  <a:pos x="677" y="1048"/>
                </a:cxn>
                <a:cxn ang="0">
                  <a:pos x="628" y="995"/>
                </a:cxn>
                <a:cxn ang="0">
                  <a:pos x="462" y="960"/>
                </a:cxn>
                <a:cxn ang="0">
                  <a:pos x="436" y="841"/>
                </a:cxn>
                <a:cxn ang="0">
                  <a:pos x="427" y="747"/>
                </a:cxn>
                <a:cxn ang="0">
                  <a:pos x="386" y="691"/>
                </a:cxn>
                <a:cxn ang="0">
                  <a:pos x="283" y="629"/>
                </a:cxn>
                <a:cxn ang="0">
                  <a:pos x="234" y="601"/>
                </a:cxn>
                <a:cxn ang="0">
                  <a:pos x="88" y="587"/>
                </a:cxn>
                <a:cxn ang="0">
                  <a:pos x="18" y="530"/>
                </a:cxn>
                <a:cxn ang="0">
                  <a:pos x="1" y="455"/>
                </a:cxn>
                <a:cxn ang="0">
                  <a:pos x="55" y="314"/>
                </a:cxn>
                <a:cxn ang="0">
                  <a:pos x="70" y="264"/>
                </a:cxn>
                <a:cxn ang="0">
                  <a:pos x="343" y="71"/>
                </a:cxn>
                <a:cxn ang="0">
                  <a:pos x="429" y="56"/>
                </a:cxn>
                <a:cxn ang="0">
                  <a:pos x="531" y="3"/>
                </a:cxn>
                <a:cxn ang="0">
                  <a:pos x="568" y="51"/>
                </a:cxn>
                <a:cxn ang="0">
                  <a:pos x="752" y="76"/>
                </a:cxn>
                <a:cxn ang="0">
                  <a:pos x="787" y="106"/>
                </a:cxn>
                <a:cxn ang="0">
                  <a:pos x="816" y="144"/>
                </a:cxn>
                <a:cxn ang="0">
                  <a:pos x="866" y="180"/>
                </a:cxn>
                <a:cxn ang="0">
                  <a:pos x="911" y="230"/>
                </a:cxn>
                <a:cxn ang="0">
                  <a:pos x="857" y="278"/>
                </a:cxn>
                <a:cxn ang="0">
                  <a:pos x="821" y="332"/>
                </a:cxn>
                <a:cxn ang="0">
                  <a:pos x="755" y="389"/>
                </a:cxn>
                <a:cxn ang="0">
                  <a:pos x="780" y="429"/>
                </a:cxn>
                <a:cxn ang="0">
                  <a:pos x="839" y="464"/>
                </a:cxn>
                <a:cxn ang="0">
                  <a:pos x="971" y="506"/>
                </a:cxn>
                <a:cxn ang="0">
                  <a:pos x="1061" y="571"/>
                </a:cxn>
                <a:cxn ang="0">
                  <a:pos x="1166" y="587"/>
                </a:cxn>
                <a:cxn ang="0">
                  <a:pos x="1232" y="599"/>
                </a:cxn>
                <a:cxn ang="0">
                  <a:pos x="1264" y="539"/>
                </a:cxn>
                <a:cxn ang="0">
                  <a:pos x="1298" y="508"/>
                </a:cxn>
                <a:cxn ang="0">
                  <a:pos x="1353" y="429"/>
                </a:cxn>
                <a:cxn ang="0">
                  <a:pos x="1409" y="360"/>
                </a:cxn>
                <a:cxn ang="0">
                  <a:pos x="1457" y="335"/>
                </a:cxn>
                <a:cxn ang="0">
                  <a:pos x="1476" y="316"/>
                </a:cxn>
              </a:cxnLst>
              <a:rect l="0" t="0" r="r" b="b"/>
              <a:pathLst>
                <a:path w="1777" h="1804">
                  <a:moveTo>
                    <a:pt x="1505" y="380"/>
                  </a:moveTo>
                  <a:lnTo>
                    <a:pt x="1519" y="394"/>
                  </a:lnTo>
                  <a:lnTo>
                    <a:pt x="1518" y="413"/>
                  </a:lnTo>
                  <a:lnTo>
                    <a:pt x="1517" y="438"/>
                  </a:lnTo>
                  <a:lnTo>
                    <a:pt x="1515" y="466"/>
                  </a:lnTo>
                  <a:lnTo>
                    <a:pt x="1512" y="496"/>
                  </a:lnTo>
                  <a:lnTo>
                    <a:pt x="1511" y="525"/>
                  </a:lnTo>
                  <a:lnTo>
                    <a:pt x="1510" y="552"/>
                  </a:lnTo>
                  <a:lnTo>
                    <a:pt x="1510" y="573"/>
                  </a:lnTo>
                  <a:lnTo>
                    <a:pt x="1512" y="587"/>
                  </a:lnTo>
                  <a:lnTo>
                    <a:pt x="1518" y="603"/>
                  </a:lnTo>
                  <a:lnTo>
                    <a:pt x="1525" y="625"/>
                  </a:lnTo>
                  <a:lnTo>
                    <a:pt x="1534" y="651"/>
                  </a:lnTo>
                  <a:lnTo>
                    <a:pt x="1544" y="680"/>
                  </a:lnTo>
                  <a:lnTo>
                    <a:pt x="1533" y="679"/>
                  </a:lnTo>
                  <a:lnTo>
                    <a:pt x="1520" y="678"/>
                  </a:lnTo>
                  <a:lnTo>
                    <a:pt x="1509" y="678"/>
                  </a:lnTo>
                  <a:lnTo>
                    <a:pt x="1499" y="677"/>
                  </a:lnTo>
                  <a:lnTo>
                    <a:pt x="1495" y="681"/>
                  </a:lnTo>
                  <a:lnTo>
                    <a:pt x="1491" y="687"/>
                  </a:lnTo>
                  <a:lnTo>
                    <a:pt x="1482" y="698"/>
                  </a:lnTo>
                  <a:lnTo>
                    <a:pt x="1473" y="710"/>
                  </a:lnTo>
                  <a:lnTo>
                    <a:pt x="1468" y="717"/>
                  </a:lnTo>
                  <a:lnTo>
                    <a:pt x="1468" y="726"/>
                  </a:lnTo>
                  <a:lnTo>
                    <a:pt x="1464" y="727"/>
                  </a:lnTo>
                  <a:lnTo>
                    <a:pt x="1462" y="728"/>
                  </a:lnTo>
                  <a:lnTo>
                    <a:pt x="1461" y="729"/>
                  </a:lnTo>
                  <a:lnTo>
                    <a:pt x="1460" y="731"/>
                  </a:lnTo>
                  <a:lnTo>
                    <a:pt x="1459" y="736"/>
                  </a:lnTo>
                  <a:lnTo>
                    <a:pt x="1459" y="739"/>
                  </a:lnTo>
                  <a:lnTo>
                    <a:pt x="1450" y="739"/>
                  </a:lnTo>
                  <a:lnTo>
                    <a:pt x="1449" y="744"/>
                  </a:lnTo>
                  <a:lnTo>
                    <a:pt x="1444" y="748"/>
                  </a:lnTo>
                  <a:lnTo>
                    <a:pt x="1440" y="754"/>
                  </a:lnTo>
                  <a:lnTo>
                    <a:pt x="1437" y="757"/>
                  </a:lnTo>
                  <a:lnTo>
                    <a:pt x="1428" y="757"/>
                  </a:lnTo>
                  <a:lnTo>
                    <a:pt x="1423" y="762"/>
                  </a:lnTo>
                  <a:lnTo>
                    <a:pt x="1422" y="766"/>
                  </a:lnTo>
                  <a:lnTo>
                    <a:pt x="1420" y="773"/>
                  </a:lnTo>
                  <a:lnTo>
                    <a:pt x="1418" y="777"/>
                  </a:lnTo>
                  <a:lnTo>
                    <a:pt x="1414" y="779"/>
                  </a:lnTo>
                  <a:lnTo>
                    <a:pt x="1413" y="814"/>
                  </a:lnTo>
                  <a:lnTo>
                    <a:pt x="1410" y="849"/>
                  </a:lnTo>
                  <a:lnTo>
                    <a:pt x="1406" y="882"/>
                  </a:lnTo>
                  <a:lnTo>
                    <a:pt x="1405" y="913"/>
                  </a:lnTo>
                  <a:lnTo>
                    <a:pt x="1404" y="913"/>
                  </a:lnTo>
                  <a:lnTo>
                    <a:pt x="1403" y="914"/>
                  </a:lnTo>
                  <a:lnTo>
                    <a:pt x="1402" y="917"/>
                  </a:lnTo>
                  <a:lnTo>
                    <a:pt x="1401" y="919"/>
                  </a:lnTo>
                  <a:lnTo>
                    <a:pt x="1401" y="924"/>
                  </a:lnTo>
                  <a:lnTo>
                    <a:pt x="1401" y="931"/>
                  </a:lnTo>
                  <a:lnTo>
                    <a:pt x="1401" y="938"/>
                  </a:lnTo>
                  <a:lnTo>
                    <a:pt x="1400" y="943"/>
                  </a:lnTo>
                  <a:lnTo>
                    <a:pt x="1400" y="946"/>
                  </a:lnTo>
                  <a:lnTo>
                    <a:pt x="1399" y="948"/>
                  </a:lnTo>
                  <a:lnTo>
                    <a:pt x="1397" y="949"/>
                  </a:lnTo>
                  <a:lnTo>
                    <a:pt x="1396" y="949"/>
                  </a:lnTo>
                  <a:lnTo>
                    <a:pt x="1396" y="1119"/>
                  </a:lnTo>
                  <a:lnTo>
                    <a:pt x="1394" y="1124"/>
                  </a:lnTo>
                  <a:lnTo>
                    <a:pt x="1392" y="1131"/>
                  </a:lnTo>
                  <a:lnTo>
                    <a:pt x="1391" y="1140"/>
                  </a:lnTo>
                  <a:lnTo>
                    <a:pt x="1390" y="1149"/>
                  </a:lnTo>
                  <a:lnTo>
                    <a:pt x="1389" y="1169"/>
                  </a:lnTo>
                  <a:lnTo>
                    <a:pt x="1389" y="1191"/>
                  </a:lnTo>
                  <a:lnTo>
                    <a:pt x="1391" y="1235"/>
                  </a:lnTo>
                  <a:lnTo>
                    <a:pt x="1392" y="1270"/>
                  </a:lnTo>
                  <a:lnTo>
                    <a:pt x="1394" y="1270"/>
                  </a:lnTo>
                  <a:lnTo>
                    <a:pt x="1395" y="1273"/>
                  </a:lnTo>
                  <a:lnTo>
                    <a:pt x="1396" y="1276"/>
                  </a:lnTo>
                  <a:lnTo>
                    <a:pt x="1396" y="1279"/>
                  </a:lnTo>
                  <a:lnTo>
                    <a:pt x="1399" y="1284"/>
                  </a:lnTo>
                  <a:lnTo>
                    <a:pt x="1405" y="1295"/>
                  </a:lnTo>
                  <a:lnTo>
                    <a:pt x="1411" y="1307"/>
                  </a:lnTo>
                  <a:lnTo>
                    <a:pt x="1414" y="1315"/>
                  </a:lnTo>
                  <a:lnTo>
                    <a:pt x="1418" y="1316"/>
                  </a:lnTo>
                  <a:lnTo>
                    <a:pt x="1423" y="1318"/>
                  </a:lnTo>
                  <a:lnTo>
                    <a:pt x="1428" y="1322"/>
                  </a:lnTo>
                  <a:lnTo>
                    <a:pt x="1433" y="1327"/>
                  </a:lnTo>
                  <a:lnTo>
                    <a:pt x="1443" y="1337"/>
                  </a:lnTo>
                  <a:lnTo>
                    <a:pt x="1450" y="1346"/>
                  </a:lnTo>
                  <a:lnTo>
                    <a:pt x="1466" y="1355"/>
                  </a:lnTo>
                  <a:lnTo>
                    <a:pt x="1481" y="1364"/>
                  </a:lnTo>
                  <a:lnTo>
                    <a:pt x="1482" y="1368"/>
                  </a:lnTo>
                  <a:lnTo>
                    <a:pt x="1487" y="1371"/>
                  </a:lnTo>
                  <a:lnTo>
                    <a:pt x="1492" y="1374"/>
                  </a:lnTo>
                  <a:lnTo>
                    <a:pt x="1500" y="1378"/>
                  </a:lnTo>
                  <a:lnTo>
                    <a:pt x="1515" y="1384"/>
                  </a:lnTo>
                  <a:lnTo>
                    <a:pt x="1526" y="1391"/>
                  </a:lnTo>
                  <a:lnTo>
                    <a:pt x="1538" y="1391"/>
                  </a:lnTo>
                  <a:lnTo>
                    <a:pt x="1556" y="1392"/>
                  </a:lnTo>
                  <a:lnTo>
                    <a:pt x="1565" y="1393"/>
                  </a:lnTo>
                  <a:lnTo>
                    <a:pt x="1572" y="1394"/>
                  </a:lnTo>
                  <a:lnTo>
                    <a:pt x="1575" y="1395"/>
                  </a:lnTo>
                  <a:lnTo>
                    <a:pt x="1577" y="1397"/>
                  </a:lnTo>
                  <a:lnTo>
                    <a:pt x="1578" y="1398"/>
                  </a:lnTo>
                  <a:lnTo>
                    <a:pt x="1579" y="1400"/>
                  </a:lnTo>
                  <a:lnTo>
                    <a:pt x="1595" y="1402"/>
                  </a:lnTo>
                  <a:lnTo>
                    <a:pt x="1611" y="1404"/>
                  </a:lnTo>
                  <a:lnTo>
                    <a:pt x="1620" y="1413"/>
                  </a:lnTo>
                  <a:lnTo>
                    <a:pt x="1626" y="1416"/>
                  </a:lnTo>
                  <a:lnTo>
                    <a:pt x="1633" y="1418"/>
                  </a:lnTo>
                  <a:lnTo>
                    <a:pt x="1641" y="1420"/>
                  </a:lnTo>
                  <a:lnTo>
                    <a:pt x="1646" y="1422"/>
                  </a:lnTo>
                  <a:lnTo>
                    <a:pt x="1660" y="1422"/>
                  </a:lnTo>
                  <a:lnTo>
                    <a:pt x="1661" y="1426"/>
                  </a:lnTo>
                  <a:lnTo>
                    <a:pt x="1664" y="1430"/>
                  </a:lnTo>
                  <a:lnTo>
                    <a:pt x="1669" y="1433"/>
                  </a:lnTo>
                  <a:lnTo>
                    <a:pt x="1673" y="1436"/>
                  </a:lnTo>
                  <a:lnTo>
                    <a:pt x="1674" y="1439"/>
                  </a:lnTo>
                  <a:lnTo>
                    <a:pt x="1679" y="1443"/>
                  </a:lnTo>
                  <a:lnTo>
                    <a:pt x="1681" y="1446"/>
                  </a:lnTo>
                  <a:lnTo>
                    <a:pt x="1684" y="1447"/>
                  </a:lnTo>
                  <a:lnTo>
                    <a:pt x="1688" y="1448"/>
                  </a:lnTo>
                  <a:lnTo>
                    <a:pt x="1691" y="1449"/>
                  </a:lnTo>
                  <a:lnTo>
                    <a:pt x="1696" y="1458"/>
                  </a:lnTo>
                  <a:lnTo>
                    <a:pt x="1702" y="1460"/>
                  </a:lnTo>
                  <a:lnTo>
                    <a:pt x="1709" y="1462"/>
                  </a:lnTo>
                  <a:lnTo>
                    <a:pt x="1713" y="1467"/>
                  </a:lnTo>
                  <a:lnTo>
                    <a:pt x="1718" y="1476"/>
                  </a:lnTo>
                  <a:lnTo>
                    <a:pt x="1722" y="1478"/>
                  </a:lnTo>
                  <a:lnTo>
                    <a:pt x="1727" y="1480"/>
                  </a:lnTo>
                  <a:lnTo>
                    <a:pt x="1729" y="1487"/>
                  </a:lnTo>
                  <a:lnTo>
                    <a:pt x="1731" y="1493"/>
                  </a:lnTo>
                  <a:lnTo>
                    <a:pt x="1735" y="1495"/>
                  </a:lnTo>
                  <a:lnTo>
                    <a:pt x="1738" y="1499"/>
                  </a:lnTo>
                  <a:lnTo>
                    <a:pt x="1741" y="1506"/>
                  </a:lnTo>
                  <a:lnTo>
                    <a:pt x="1745" y="1514"/>
                  </a:lnTo>
                  <a:lnTo>
                    <a:pt x="1751" y="1530"/>
                  </a:lnTo>
                  <a:lnTo>
                    <a:pt x="1758" y="1542"/>
                  </a:lnTo>
                  <a:lnTo>
                    <a:pt x="1758" y="1555"/>
                  </a:lnTo>
                  <a:lnTo>
                    <a:pt x="1767" y="1564"/>
                  </a:lnTo>
                  <a:lnTo>
                    <a:pt x="1768" y="1584"/>
                  </a:lnTo>
                  <a:lnTo>
                    <a:pt x="1770" y="1606"/>
                  </a:lnTo>
                  <a:lnTo>
                    <a:pt x="1774" y="1631"/>
                  </a:lnTo>
                  <a:lnTo>
                    <a:pt x="1775" y="1657"/>
                  </a:lnTo>
                  <a:lnTo>
                    <a:pt x="1777" y="1657"/>
                  </a:lnTo>
                  <a:lnTo>
                    <a:pt x="1761" y="1659"/>
                  </a:lnTo>
                  <a:lnTo>
                    <a:pt x="1742" y="1664"/>
                  </a:lnTo>
                  <a:lnTo>
                    <a:pt x="1732" y="1667"/>
                  </a:lnTo>
                  <a:lnTo>
                    <a:pt x="1722" y="1669"/>
                  </a:lnTo>
                  <a:lnTo>
                    <a:pt x="1711" y="1671"/>
                  </a:lnTo>
                  <a:lnTo>
                    <a:pt x="1701" y="1671"/>
                  </a:lnTo>
                  <a:lnTo>
                    <a:pt x="1700" y="1673"/>
                  </a:lnTo>
                  <a:lnTo>
                    <a:pt x="1697" y="1674"/>
                  </a:lnTo>
                  <a:lnTo>
                    <a:pt x="1692" y="1674"/>
                  </a:lnTo>
                  <a:lnTo>
                    <a:pt x="1688" y="1676"/>
                  </a:lnTo>
                  <a:lnTo>
                    <a:pt x="1678" y="1676"/>
                  </a:lnTo>
                  <a:lnTo>
                    <a:pt x="1671" y="1676"/>
                  </a:lnTo>
                  <a:lnTo>
                    <a:pt x="1670" y="1678"/>
                  </a:lnTo>
                  <a:lnTo>
                    <a:pt x="1668" y="1680"/>
                  </a:lnTo>
                  <a:lnTo>
                    <a:pt x="1664" y="1681"/>
                  </a:lnTo>
                  <a:lnTo>
                    <a:pt x="1660" y="1682"/>
                  </a:lnTo>
                  <a:lnTo>
                    <a:pt x="1649" y="1686"/>
                  </a:lnTo>
                  <a:lnTo>
                    <a:pt x="1634" y="1687"/>
                  </a:lnTo>
                  <a:lnTo>
                    <a:pt x="1606" y="1690"/>
                  </a:lnTo>
                  <a:lnTo>
                    <a:pt x="1587" y="1691"/>
                  </a:lnTo>
                  <a:lnTo>
                    <a:pt x="1586" y="1693"/>
                  </a:lnTo>
                  <a:lnTo>
                    <a:pt x="1585" y="1696"/>
                  </a:lnTo>
                  <a:lnTo>
                    <a:pt x="1583" y="1696"/>
                  </a:lnTo>
                  <a:lnTo>
                    <a:pt x="1579" y="1697"/>
                  </a:lnTo>
                  <a:lnTo>
                    <a:pt x="1577" y="1697"/>
                  </a:lnTo>
                  <a:lnTo>
                    <a:pt x="1575" y="1699"/>
                  </a:lnTo>
                  <a:lnTo>
                    <a:pt x="1573" y="1701"/>
                  </a:lnTo>
                  <a:lnTo>
                    <a:pt x="1573" y="1706"/>
                  </a:lnTo>
                  <a:lnTo>
                    <a:pt x="1567" y="1706"/>
                  </a:lnTo>
                  <a:lnTo>
                    <a:pt x="1562" y="1708"/>
                  </a:lnTo>
                  <a:lnTo>
                    <a:pt x="1556" y="1709"/>
                  </a:lnTo>
                  <a:lnTo>
                    <a:pt x="1550" y="1712"/>
                  </a:lnTo>
                  <a:lnTo>
                    <a:pt x="1540" y="1718"/>
                  </a:lnTo>
                  <a:lnTo>
                    <a:pt x="1530" y="1726"/>
                  </a:lnTo>
                  <a:lnTo>
                    <a:pt x="1521" y="1732"/>
                  </a:lnTo>
                  <a:lnTo>
                    <a:pt x="1514" y="1739"/>
                  </a:lnTo>
                  <a:lnTo>
                    <a:pt x="1508" y="1744"/>
                  </a:lnTo>
                  <a:lnTo>
                    <a:pt x="1504" y="1745"/>
                  </a:lnTo>
                  <a:lnTo>
                    <a:pt x="1502" y="1756"/>
                  </a:lnTo>
                  <a:lnTo>
                    <a:pt x="1500" y="1765"/>
                  </a:lnTo>
                  <a:lnTo>
                    <a:pt x="1499" y="1775"/>
                  </a:lnTo>
                  <a:lnTo>
                    <a:pt x="1498" y="1785"/>
                  </a:lnTo>
                  <a:lnTo>
                    <a:pt x="1500" y="1785"/>
                  </a:lnTo>
                  <a:lnTo>
                    <a:pt x="1501" y="1787"/>
                  </a:lnTo>
                  <a:lnTo>
                    <a:pt x="1502" y="1789"/>
                  </a:lnTo>
                  <a:lnTo>
                    <a:pt x="1502" y="1793"/>
                  </a:lnTo>
                  <a:lnTo>
                    <a:pt x="1504" y="1799"/>
                  </a:lnTo>
                  <a:lnTo>
                    <a:pt x="1504" y="1804"/>
                  </a:lnTo>
                  <a:lnTo>
                    <a:pt x="1424" y="1804"/>
                  </a:lnTo>
                  <a:lnTo>
                    <a:pt x="1424" y="1803"/>
                  </a:lnTo>
                  <a:lnTo>
                    <a:pt x="1422" y="1802"/>
                  </a:lnTo>
                  <a:lnTo>
                    <a:pt x="1421" y="1801"/>
                  </a:lnTo>
                  <a:lnTo>
                    <a:pt x="1419" y="1801"/>
                  </a:lnTo>
                  <a:lnTo>
                    <a:pt x="1414" y="1799"/>
                  </a:lnTo>
                  <a:lnTo>
                    <a:pt x="1410" y="1799"/>
                  </a:lnTo>
                  <a:lnTo>
                    <a:pt x="1409" y="1798"/>
                  </a:lnTo>
                  <a:lnTo>
                    <a:pt x="1404" y="1796"/>
                  </a:lnTo>
                  <a:lnTo>
                    <a:pt x="1400" y="1796"/>
                  </a:lnTo>
                  <a:lnTo>
                    <a:pt x="1394" y="1795"/>
                  </a:lnTo>
                  <a:lnTo>
                    <a:pt x="1382" y="1795"/>
                  </a:lnTo>
                  <a:lnTo>
                    <a:pt x="1375" y="1795"/>
                  </a:lnTo>
                  <a:lnTo>
                    <a:pt x="1372" y="1793"/>
                  </a:lnTo>
                  <a:lnTo>
                    <a:pt x="1363" y="1789"/>
                  </a:lnTo>
                  <a:lnTo>
                    <a:pt x="1349" y="1786"/>
                  </a:lnTo>
                  <a:lnTo>
                    <a:pt x="1335" y="1783"/>
                  </a:lnTo>
                  <a:lnTo>
                    <a:pt x="1306" y="1777"/>
                  </a:lnTo>
                  <a:lnTo>
                    <a:pt x="1291" y="1775"/>
                  </a:lnTo>
                  <a:lnTo>
                    <a:pt x="1290" y="1773"/>
                  </a:lnTo>
                  <a:lnTo>
                    <a:pt x="1289" y="1772"/>
                  </a:lnTo>
                  <a:lnTo>
                    <a:pt x="1287" y="1769"/>
                  </a:lnTo>
                  <a:lnTo>
                    <a:pt x="1285" y="1768"/>
                  </a:lnTo>
                  <a:lnTo>
                    <a:pt x="1278" y="1766"/>
                  </a:lnTo>
                  <a:lnTo>
                    <a:pt x="1271" y="1765"/>
                  </a:lnTo>
                  <a:lnTo>
                    <a:pt x="1270" y="1764"/>
                  </a:lnTo>
                  <a:lnTo>
                    <a:pt x="1269" y="1761"/>
                  </a:lnTo>
                  <a:lnTo>
                    <a:pt x="1267" y="1760"/>
                  </a:lnTo>
                  <a:lnTo>
                    <a:pt x="1264" y="1759"/>
                  </a:lnTo>
                  <a:lnTo>
                    <a:pt x="1253" y="1757"/>
                  </a:lnTo>
                  <a:lnTo>
                    <a:pt x="1241" y="1756"/>
                  </a:lnTo>
                  <a:lnTo>
                    <a:pt x="1210" y="1754"/>
                  </a:lnTo>
                  <a:lnTo>
                    <a:pt x="1174" y="1755"/>
                  </a:lnTo>
                  <a:lnTo>
                    <a:pt x="1174" y="1754"/>
                  </a:lnTo>
                  <a:lnTo>
                    <a:pt x="1170" y="1754"/>
                  </a:lnTo>
                  <a:lnTo>
                    <a:pt x="1168" y="1753"/>
                  </a:lnTo>
                  <a:lnTo>
                    <a:pt x="1166" y="1751"/>
                  </a:lnTo>
                  <a:lnTo>
                    <a:pt x="1166" y="1750"/>
                  </a:lnTo>
                  <a:lnTo>
                    <a:pt x="1166" y="1749"/>
                  </a:lnTo>
                  <a:lnTo>
                    <a:pt x="1166" y="1748"/>
                  </a:lnTo>
                  <a:lnTo>
                    <a:pt x="1164" y="1747"/>
                  </a:lnTo>
                  <a:lnTo>
                    <a:pt x="1160" y="1747"/>
                  </a:lnTo>
                  <a:lnTo>
                    <a:pt x="1160" y="1734"/>
                  </a:lnTo>
                  <a:lnTo>
                    <a:pt x="1157" y="1732"/>
                  </a:lnTo>
                  <a:lnTo>
                    <a:pt x="1156" y="1732"/>
                  </a:lnTo>
                  <a:lnTo>
                    <a:pt x="1154" y="1730"/>
                  </a:lnTo>
                  <a:lnTo>
                    <a:pt x="1154" y="1729"/>
                  </a:lnTo>
                  <a:lnTo>
                    <a:pt x="1153" y="1725"/>
                  </a:lnTo>
                  <a:lnTo>
                    <a:pt x="1153" y="1719"/>
                  </a:lnTo>
                  <a:lnTo>
                    <a:pt x="1151" y="1718"/>
                  </a:lnTo>
                  <a:lnTo>
                    <a:pt x="1149" y="1714"/>
                  </a:lnTo>
                  <a:lnTo>
                    <a:pt x="1147" y="1708"/>
                  </a:lnTo>
                  <a:lnTo>
                    <a:pt x="1147" y="1701"/>
                  </a:lnTo>
                  <a:lnTo>
                    <a:pt x="1146" y="1688"/>
                  </a:lnTo>
                  <a:lnTo>
                    <a:pt x="1146" y="1678"/>
                  </a:lnTo>
                  <a:lnTo>
                    <a:pt x="1143" y="1677"/>
                  </a:lnTo>
                  <a:lnTo>
                    <a:pt x="1141" y="1674"/>
                  </a:lnTo>
                  <a:lnTo>
                    <a:pt x="1139" y="1671"/>
                  </a:lnTo>
                  <a:lnTo>
                    <a:pt x="1136" y="1667"/>
                  </a:lnTo>
                  <a:lnTo>
                    <a:pt x="1133" y="1658"/>
                  </a:lnTo>
                  <a:lnTo>
                    <a:pt x="1132" y="1650"/>
                  </a:lnTo>
                  <a:lnTo>
                    <a:pt x="1130" y="1650"/>
                  </a:lnTo>
                  <a:lnTo>
                    <a:pt x="1128" y="1649"/>
                  </a:lnTo>
                  <a:lnTo>
                    <a:pt x="1127" y="1648"/>
                  </a:lnTo>
                  <a:lnTo>
                    <a:pt x="1126" y="1647"/>
                  </a:lnTo>
                  <a:lnTo>
                    <a:pt x="1125" y="1642"/>
                  </a:lnTo>
                  <a:lnTo>
                    <a:pt x="1125" y="1637"/>
                  </a:lnTo>
                  <a:lnTo>
                    <a:pt x="1123" y="1637"/>
                  </a:lnTo>
                  <a:lnTo>
                    <a:pt x="1122" y="1634"/>
                  </a:lnTo>
                  <a:lnTo>
                    <a:pt x="1121" y="1632"/>
                  </a:lnTo>
                  <a:lnTo>
                    <a:pt x="1120" y="1629"/>
                  </a:lnTo>
                  <a:lnTo>
                    <a:pt x="1118" y="1622"/>
                  </a:lnTo>
                  <a:lnTo>
                    <a:pt x="1118" y="1616"/>
                  </a:lnTo>
                  <a:lnTo>
                    <a:pt x="1116" y="1615"/>
                  </a:lnTo>
                  <a:lnTo>
                    <a:pt x="1114" y="1614"/>
                  </a:lnTo>
                  <a:lnTo>
                    <a:pt x="1113" y="1611"/>
                  </a:lnTo>
                  <a:lnTo>
                    <a:pt x="1113" y="1609"/>
                  </a:lnTo>
                  <a:lnTo>
                    <a:pt x="1112" y="1601"/>
                  </a:lnTo>
                  <a:lnTo>
                    <a:pt x="1112" y="1595"/>
                  </a:lnTo>
                  <a:lnTo>
                    <a:pt x="1098" y="1595"/>
                  </a:lnTo>
                  <a:lnTo>
                    <a:pt x="1096" y="1590"/>
                  </a:lnTo>
                  <a:lnTo>
                    <a:pt x="1094" y="1585"/>
                  </a:lnTo>
                  <a:lnTo>
                    <a:pt x="1089" y="1583"/>
                  </a:lnTo>
                  <a:lnTo>
                    <a:pt x="1084" y="1582"/>
                  </a:lnTo>
                  <a:lnTo>
                    <a:pt x="1070" y="1567"/>
                  </a:lnTo>
                  <a:lnTo>
                    <a:pt x="1056" y="1554"/>
                  </a:lnTo>
                  <a:lnTo>
                    <a:pt x="1043" y="1554"/>
                  </a:lnTo>
                  <a:lnTo>
                    <a:pt x="1043" y="1539"/>
                  </a:lnTo>
                  <a:lnTo>
                    <a:pt x="1039" y="1538"/>
                  </a:lnTo>
                  <a:lnTo>
                    <a:pt x="1035" y="1536"/>
                  </a:lnTo>
                  <a:lnTo>
                    <a:pt x="1030" y="1530"/>
                  </a:lnTo>
                  <a:lnTo>
                    <a:pt x="1026" y="1525"/>
                  </a:lnTo>
                  <a:lnTo>
                    <a:pt x="1016" y="1514"/>
                  </a:lnTo>
                  <a:lnTo>
                    <a:pt x="1008" y="1506"/>
                  </a:lnTo>
                  <a:lnTo>
                    <a:pt x="1007" y="1497"/>
                  </a:lnTo>
                  <a:lnTo>
                    <a:pt x="1003" y="1486"/>
                  </a:lnTo>
                  <a:lnTo>
                    <a:pt x="1001" y="1480"/>
                  </a:lnTo>
                  <a:lnTo>
                    <a:pt x="999" y="1476"/>
                  </a:lnTo>
                  <a:lnTo>
                    <a:pt x="997" y="1472"/>
                  </a:lnTo>
                  <a:lnTo>
                    <a:pt x="995" y="1471"/>
                  </a:lnTo>
                  <a:lnTo>
                    <a:pt x="993" y="1466"/>
                  </a:lnTo>
                  <a:lnTo>
                    <a:pt x="992" y="1460"/>
                  </a:lnTo>
                  <a:lnTo>
                    <a:pt x="990" y="1456"/>
                  </a:lnTo>
                  <a:lnTo>
                    <a:pt x="988" y="1450"/>
                  </a:lnTo>
                  <a:lnTo>
                    <a:pt x="984" y="1445"/>
                  </a:lnTo>
                  <a:lnTo>
                    <a:pt x="982" y="1440"/>
                  </a:lnTo>
                  <a:lnTo>
                    <a:pt x="981" y="1434"/>
                  </a:lnTo>
                  <a:lnTo>
                    <a:pt x="980" y="1430"/>
                  </a:lnTo>
                  <a:lnTo>
                    <a:pt x="967" y="1430"/>
                  </a:lnTo>
                  <a:lnTo>
                    <a:pt x="965" y="1426"/>
                  </a:lnTo>
                  <a:lnTo>
                    <a:pt x="961" y="1418"/>
                  </a:lnTo>
                  <a:lnTo>
                    <a:pt x="955" y="1409"/>
                  </a:lnTo>
                  <a:lnTo>
                    <a:pt x="949" y="1399"/>
                  </a:lnTo>
                  <a:lnTo>
                    <a:pt x="941" y="1390"/>
                  </a:lnTo>
                  <a:lnTo>
                    <a:pt x="934" y="1382"/>
                  </a:lnTo>
                  <a:lnTo>
                    <a:pt x="929" y="1376"/>
                  </a:lnTo>
                  <a:lnTo>
                    <a:pt x="925" y="1374"/>
                  </a:lnTo>
                  <a:lnTo>
                    <a:pt x="925" y="1361"/>
                  </a:lnTo>
                  <a:lnTo>
                    <a:pt x="921" y="1359"/>
                  </a:lnTo>
                  <a:lnTo>
                    <a:pt x="915" y="1353"/>
                  </a:lnTo>
                  <a:lnTo>
                    <a:pt x="909" y="1344"/>
                  </a:lnTo>
                  <a:lnTo>
                    <a:pt x="902" y="1334"/>
                  </a:lnTo>
                  <a:lnTo>
                    <a:pt x="895" y="1324"/>
                  </a:lnTo>
                  <a:lnTo>
                    <a:pt x="890" y="1314"/>
                  </a:lnTo>
                  <a:lnTo>
                    <a:pt x="885" y="1305"/>
                  </a:lnTo>
                  <a:lnTo>
                    <a:pt x="884" y="1298"/>
                  </a:lnTo>
                  <a:lnTo>
                    <a:pt x="881" y="1298"/>
                  </a:lnTo>
                  <a:lnTo>
                    <a:pt x="878" y="1297"/>
                  </a:lnTo>
                  <a:lnTo>
                    <a:pt x="876" y="1295"/>
                  </a:lnTo>
                  <a:lnTo>
                    <a:pt x="874" y="1293"/>
                  </a:lnTo>
                  <a:lnTo>
                    <a:pt x="868" y="1287"/>
                  </a:lnTo>
                  <a:lnTo>
                    <a:pt x="865" y="1279"/>
                  </a:lnTo>
                  <a:lnTo>
                    <a:pt x="862" y="1272"/>
                  </a:lnTo>
                  <a:lnTo>
                    <a:pt x="858" y="1264"/>
                  </a:lnTo>
                  <a:lnTo>
                    <a:pt x="857" y="1256"/>
                  </a:lnTo>
                  <a:lnTo>
                    <a:pt x="856" y="1250"/>
                  </a:lnTo>
                  <a:lnTo>
                    <a:pt x="854" y="1248"/>
                  </a:lnTo>
                  <a:lnTo>
                    <a:pt x="851" y="1245"/>
                  </a:lnTo>
                  <a:lnTo>
                    <a:pt x="847" y="1239"/>
                  </a:lnTo>
                  <a:lnTo>
                    <a:pt x="844" y="1232"/>
                  </a:lnTo>
                  <a:lnTo>
                    <a:pt x="839" y="1227"/>
                  </a:lnTo>
                  <a:lnTo>
                    <a:pt x="835" y="1221"/>
                  </a:lnTo>
                  <a:lnTo>
                    <a:pt x="832" y="1219"/>
                  </a:lnTo>
                  <a:lnTo>
                    <a:pt x="828" y="1217"/>
                  </a:lnTo>
                  <a:lnTo>
                    <a:pt x="825" y="1216"/>
                  </a:lnTo>
                  <a:lnTo>
                    <a:pt x="821" y="1216"/>
                  </a:lnTo>
                  <a:lnTo>
                    <a:pt x="821" y="1201"/>
                  </a:lnTo>
                  <a:lnTo>
                    <a:pt x="815" y="1195"/>
                  </a:lnTo>
                  <a:lnTo>
                    <a:pt x="805" y="1191"/>
                  </a:lnTo>
                  <a:lnTo>
                    <a:pt x="794" y="1188"/>
                  </a:lnTo>
                  <a:lnTo>
                    <a:pt x="792" y="1183"/>
                  </a:lnTo>
                  <a:lnTo>
                    <a:pt x="789" y="1179"/>
                  </a:lnTo>
                  <a:lnTo>
                    <a:pt x="786" y="1176"/>
                  </a:lnTo>
                  <a:lnTo>
                    <a:pt x="780" y="1174"/>
                  </a:lnTo>
                  <a:lnTo>
                    <a:pt x="776" y="1170"/>
                  </a:lnTo>
                  <a:lnTo>
                    <a:pt x="766" y="1160"/>
                  </a:lnTo>
                  <a:lnTo>
                    <a:pt x="760" y="1155"/>
                  </a:lnTo>
                  <a:lnTo>
                    <a:pt x="753" y="1151"/>
                  </a:lnTo>
                  <a:lnTo>
                    <a:pt x="749" y="1148"/>
                  </a:lnTo>
                  <a:lnTo>
                    <a:pt x="746" y="1147"/>
                  </a:lnTo>
                  <a:lnTo>
                    <a:pt x="743" y="1139"/>
                  </a:lnTo>
                  <a:lnTo>
                    <a:pt x="739" y="1129"/>
                  </a:lnTo>
                  <a:lnTo>
                    <a:pt x="734" y="1120"/>
                  </a:lnTo>
                  <a:lnTo>
                    <a:pt x="732" y="1112"/>
                  </a:lnTo>
                  <a:lnTo>
                    <a:pt x="729" y="1111"/>
                  </a:lnTo>
                  <a:lnTo>
                    <a:pt x="725" y="1109"/>
                  </a:lnTo>
                  <a:lnTo>
                    <a:pt x="722" y="1105"/>
                  </a:lnTo>
                  <a:lnTo>
                    <a:pt x="719" y="1101"/>
                  </a:lnTo>
                  <a:lnTo>
                    <a:pt x="713" y="1092"/>
                  </a:lnTo>
                  <a:lnTo>
                    <a:pt x="711" y="1084"/>
                  </a:lnTo>
                  <a:lnTo>
                    <a:pt x="706" y="1084"/>
                  </a:lnTo>
                  <a:lnTo>
                    <a:pt x="703" y="1082"/>
                  </a:lnTo>
                  <a:lnTo>
                    <a:pt x="701" y="1080"/>
                  </a:lnTo>
                  <a:lnTo>
                    <a:pt x="699" y="1076"/>
                  </a:lnTo>
                  <a:lnTo>
                    <a:pt x="698" y="1070"/>
                  </a:lnTo>
                  <a:lnTo>
                    <a:pt x="698" y="1064"/>
                  </a:lnTo>
                  <a:lnTo>
                    <a:pt x="691" y="1057"/>
                  </a:lnTo>
                  <a:lnTo>
                    <a:pt x="683" y="1049"/>
                  </a:lnTo>
                  <a:lnTo>
                    <a:pt x="680" y="1049"/>
                  </a:lnTo>
                  <a:lnTo>
                    <a:pt x="677" y="1048"/>
                  </a:lnTo>
                  <a:lnTo>
                    <a:pt x="676" y="1047"/>
                  </a:lnTo>
                  <a:lnTo>
                    <a:pt x="676" y="1046"/>
                  </a:lnTo>
                  <a:lnTo>
                    <a:pt x="676" y="1045"/>
                  </a:lnTo>
                  <a:lnTo>
                    <a:pt x="675" y="1044"/>
                  </a:lnTo>
                  <a:lnTo>
                    <a:pt x="674" y="1043"/>
                  </a:lnTo>
                  <a:lnTo>
                    <a:pt x="670" y="1043"/>
                  </a:lnTo>
                  <a:lnTo>
                    <a:pt x="669" y="1038"/>
                  </a:lnTo>
                  <a:lnTo>
                    <a:pt x="665" y="1033"/>
                  </a:lnTo>
                  <a:lnTo>
                    <a:pt x="661" y="1027"/>
                  </a:lnTo>
                  <a:lnTo>
                    <a:pt x="656" y="1023"/>
                  </a:lnTo>
                  <a:lnTo>
                    <a:pt x="642" y="1023"/>
                  </a:lnTo>
                  <a:lnTo>
                    <a:pt x="642" y="1008"/>
                  </a:lnTo>
                  <a:lnTo>
                    <a:pt x="635" y="1001"/>
                  </a:lnTo>
                  <a:lnTo>
                    <a:pt x="628" y="995"/>
                  </a:lnTo>
                  <a:lnTo>
                    <a:pt x="622" y="988"/>
                  </a:lnTo>
                  <a:lnTo>
                    <a:pt x="615" y="980"/>
                  </a:lnTo>
                  <a:lnTo>
                    <a:pt x="607" y="974"/>
                  </a:lnTo>
                  <a:lnTo>
                    <a:pt x="594" y="974"/>
                  </a:lnTo>
                  <a:lnTo>
                    <a:pt x="580" y="974"/>
                  </a:lnTo>
                  <a:lnTo>
                    <a:pt x="579" y="972"/>
                  </a:lnTo>
                  <a:lnTo>
                    <a:pt x="576" y="971"/>
                  </a:lnTo>
                  <a:lnTo>
                    <a:pt x="571" y="970"/>
                  </a:lnTo>
                  <a:lnTo>
                    <a:pt x="565" y="970"/>
                  </a:lnTo>
                  <a:lnTo>
                    <a:pt x="549" y="969"/>
                  </a:lnTo>
                  <a:lnTo>
                    <a:pt x="530" y="968"/>
                  </a:lnTo>
                  <a:lnTo>
                    <a:pt x="492" y="967"/>
                  </a:lnTo>
                  <a:lnTo>
                    <a:pt x="470" y="967"/>
                  </a:lnTo>
                  <a:lnTo>
                    <a:pt x="462" y="960"/>
                  </a:lnTo>
                  <a:lnTo>
                    <a:pt x="462" y="955"/>
                  </a:lnTo>
                  <a:lnTo>
                    <a:pt x="460" y="949"/>
                  </a:lnTo>
                  <a:lnTo>
                    <a:pt x="456" y="942"/>
                  </a:lnTo>
                  <a:lnTo>
                    <a:pt x="452" y="936"/>
                  </a:lnTo>
                  <a:lnTo>
                    <a:pt x="449" y="928"/>
                  </a:lnTo>
                  <a:lnTo>
                    <a:pt x="445" y="920"/>
                  </a:lnTo>
                  <a:lnTo>
                    <a:pt x="443" y="912"/>
                  </a:lnTo>
                  <a:lnTo>
                    <a:pt x="442" y="904"/>
                  </a:lnTo>
                  <a:lnTo>
                    <a:pt x="440" y="903"/>
                  </a:lnTo>
                  <a:lnTo>
                    <a:pt x="437" y="900"/>
                  </a:lnTo>
                  <a:lnTo>
                    <a:pt x="436" y="893"/>
                  </a:lnTo>
                  <a:lnTo>
                    <a:pt x="436" y="885"/>
                  </a:lnTo>
                  <a:lnTo>
                    <a:pt x="435" y="865"/>
                  </a:lnTo>
                  <a:lnTo>
                    <a:pt x="436" y="841"/>
                  </a:lnTo>
                  <a:lnTo>
                    <a:pt x="440" y="794"/>
                  </a:lnTo>
                  <a:lnTo>
                    <a:pt x="442" y="767"/>
                  </a:lnTo>
                  <a:lnTo>
                    <a:pt x="440" y="766"/>
                  </a:lnTo>
                  <a:lnTo>
                    <a:pt x="437" y="766"/>
                  </a:lnTo>
                  <a:lnTo>
                    <a:pt x="436" y="764"/>
                  </a:lnTo>
                  <a:lnTo>
                    <a:pt x="436" y="763"/>
                  </a:lnTo>
                  <a:lnTo>
                    <a:pt x="435" y="758"/>
                  </a:lnTo>
                  <a:lnTo>
                    <a:pt x="435" y="753"/>
                  </a:lnTo>
                  <a:lnTo>
                    <a:pt x="431" y="753"/>
                  </a:lnTo>
                  <a:lnTo>
                    <a:pt x="429" y="751"/>
                  </a:lnTo>
                  <a:lnTo>
                    <a:pt x="429" y="750"/>
                  </a:lnTo>
                  <a:lnTo>
                    <a:pt x="429" y="749"/>
                  </a:lnTo>
                  <a:lnTo>
                    <a:pt x="427" y="748"/>
                  </a:lnTo>
                  <a:lnTo>
                    <a:pt x="427" y="747"/>
                  </a:lnTo>
                  <a:lnTo>
                    <a:pt x="425" y="746"/>
                  </a:lnTo>
                  <a:lnTo>
                    <a:pt x="421" y="746"/>
                  </a:lnTo>
                  <a:lnTo>
                    <a:pt x="421" y="726"/>
                  </a:lnTo>
                  <a:lnTo>
                    <a:pt x="417" y="725"/>
                  </a:lnTo>
                  <a:lnTo>
                    <a:pt x="415" y="725"/>
                  </a:lnTo>
                  <a:lnTo>
                    <a:pt x="414" y="724"/>
                  </a:lnTo>
                  <a:lnTo>
                    <a:pt x="414" y="722"/>
                  </a:lnTo>
                  <a:lnTo>
                    <a:pt x="414" y="720"/>
                  </a:lnTo>
                  <a:lnTo>
                    <a:pt x="413" y="719"/>
                  </a:lnTo>
                  <a:lnTo>
                    <a:pt x="412" y="719"/>
                  </a:lnTo>
                  <a:lnTo>
                    <a:pt x="407" y="718"/>
                  </a:lnTo>
                  <a:lnTo>
                    <a:pt x="407" y="705"/>
                  </a:lnTo>
                  <a:lnTo>
                    <a:pt x="397" y="698"/>
                  </a:lnTo>
                  <a:lnTo>
                    <a:pt x="386" y="691"/>
                  </a:lnTo>
                  <a:lnTo>
                    <a:pt x="383" y="680"/>
                  </a:lnTo>
                  <a:lnTo>
                    <a:pt x="379" y="670"/>
                  </a:lnTo>
                  <a:lnTo>
                    <a:pt x="373" y="663"/>
                  </a:lnTo>
                  <a:lnTo>
                    <a:pt x="369" y="662"/>
                  </a:lnTo>
                  <a:lnTo>
                    <a:pt x="367" y="661"/>
                  </a:lnTo>
                  <a:lnTo>
                    <a:pt x="363" y="659"/>
                  </a:lnTo>
                  <a:lnTo>
                    <a:pt x="359" y="655"/>
                  </a:lnTo>
                  <a:lnTo>
                    <a:pt x="357" y="652"/>
                  </a:lnTo>
                  <a:lnTo>
                    <a:pt x="355" y="649"/>
                  </a:lnTo>
                  <a:lnTo>
                    <a:pt x="353" y="645"/>
                  </a:lnTo>
                  <a:lnTo>
                    <a:pt x="353" y="642"/>
                  </a:lnTo>
                  <a:lnTo>
                    <a:pt x="297" y="642"/>
                  </a:lnTo>
                  <a:lnTo>
                    <a:pt x="291" y="637"/>
                  </a:lnTo>
                  <a:lnTo>
                    <a:pt x="283" y="629"/>
                  </a:lnTo>
                  <a:lnTo>
                    <a:pt x="278" y="621"/>
                  </a:lnTo>
                  <a:lnTo>
                    <a:pt x="276" y="615"/>
                  </a:lnTo>
                  <a:lnTo>
                    <a:pt x="262" y="615"/>
                  </a:lnTo>
                  <a:lnTo>
                    <a:pt x="262" y="613"/>
                  </a:lnTo>
                  <a:lnTo>
                    <a:pt x="261" y="611"/>
                  </a:lnTo>
                  <a:lnTo>
                    <a:pt x="260" y="610"/>
                  </a:lnTo>
                  <a:lnTo>
                    <a:pt x="258" y="609"/>
                  </a:lnTo>
                  <a:lnTo>
                    <a:pt x="253" y="609"/>
                  </a:lnTo>
                  <a:lnTo>
                    <a:pt x="249" y="607"/>
                  </a:lnTo>
                  <a:lnTo>
                    <a:pt x="248" y="605"/>
                  </a:lnTo>
                  <a:lnTo>
                    <a:pt x="247" y="604"/>
                  </a:lnTo>
                  <a:lnTo>
                    <a:pt x="243" y="603"/>
                  </a:lnTo>
                  <a:lnTo>
                    <a:pt x="241" y="602"/>
                  </a:lnTo>
                  <a:lnTo>
                    <a:pt x="234" y="601"/>
                  </a:lnTo>
                  <a:lnTo>
                    <a:pt x="228" y="601"/>
                  </a:lnTo>
                  <a:lnTo>
                    <a:pt x="226" y="600"/>
                  </a:lnTo>
                  <a:lnTo>
                    <a:pt x="223" y="599"/>
                  </a:lnTo>
                  <a:lnTo>
                    <a:pt x="216" y="597"/>
                  </a:lnTo>
                  <a:lnTo>
                    <a:pt x="210" y="597"/>
                  </a:lnTo>
                  <a:lnTo>
                    <a:pt x="190" y="596"/>
                  </a:lnTo>
                  <a:lnTo>
                    <a:pt x="167" y="595"/>
                  </a:lnTo>
                  <a:lnTo>
                    <a:pt x="123" y="594"/>
                  </a:lnTo>
                  <a:lnTo>
                    <a:pt x="97" y="594"/>
                  </a:lnTo>
                  <a:lnTo>
                    <a:pt x="96" y="592"/>
                  </a:lnTo>
                  <a:lnTo>
                    <a:pt x="96" y="591"/>
                  </a:lnTo>
                  <a:lnTo>
                    <a:pt x="94" y="589"/>
                  </a:lnTo>
                  <a:lnTo>
                    <a:pt x="93" y="589"/>
                  </a:lnTo>
                  <a:lnTo>
                    <a:pt x="88" y="587"/>
                  </a:lnTo>
                  <a:lnTo>
                    <a:pt x="82" y="587"/>
                  </a:lnTo>
                  <a:lnTo>
                    <a:pt x="81" y="585"/>
                  </a:lnTo>
                  <a:lnTo>
                    <a:pt x="76" y="583"/>
                  </a:lnTo>
                  <a:lnTo>
                    <a:pt x="69" y="582"/>
                  </a:lnTo>
                  <a:lnTo>
                    <a:pt x="61" y="582"/>
                  </a:lnTo>
                  <a:lnTo>
                    <a:pt x="45" y="581"/>
                  </a:lnTo>
                  <a:lnTo>
                    <a:pt x="34" y="581"/>
                  </a:lnTo>
                  <a:lnTo>
                    <a:pt x="28" y="574"/>
                  </a:lnTo>
                  <a:lnTo>
                    <a:pt x="28" y="560"/>
                  </a:lnTo>
                  <a:lnTo>
                    <a:pt x="13" y="553"/>
                  </a:lnTo>
                  <a:lnTo>
                    <a:pt x="13" y="543"/>
                  </a:lnTo>
                  <a:lnTo>
                    <a:pt x="13" y="532"/>
                  </a:lnTo>
                  <a:lnTo>
                    <a:pt x="16" y="532"/>
                  </a:lnTo>
                  <a:lnTo>
                    <a:pt x="18" y="530"/>
                  </a:lnTo>
                  <a:lnTo>
                    <a:pt x="19" y="529"/>
                  </a:lnTo>
                  <a:lnTo>
                    <a:pt x="20" y="528"/>
                  </a:lnTo>
                  <a:lnTo>
                    <a:pt x="21" y="524"/>
                  </a:lnTo>
                  <a:lnTo>
                    <a:pt x="21" y="518"/>
                  </a:lnTo>
                  <a:lnTo>
                    <a:pt x="23" y="518"/>
                  </a:lnTo>
                  <a:lnTo>
                    <a:pt x="24" y="516"/>
                  </a:lnTo>
                  <a:lnTo>
                    <a:pt x="26" y="514"/>
                  </a:lnTo>
                  <a:lnTo>
                    <a:pt x="27" y="510"/>
                  </a:lnTo>
                  <a:lnTo>
                    <a:pt x="28" y="504"/>
                  </a:lnTo>
                  <a:lnTo>
                    <a:pt x="28" y="497"/>
                  </a:lnTo>
                  <a:lnTo>
                    <a:pt x="13" y="490"/>
                  </a:lnTo>
                  <a:lnTo>
                    <a:pt x="7" y="484"/>
                  </a:lnTo>
                  <a:lnTo>
                    <a:pt x="0" y="477"/>
                  </a:lnTo>
                  <a:lnTo>
                    <a:pt x="1" y="455"/>
                  </a:lnTo>
                  <a:lnTo>
                    <a:pt x="3" y="429"/>
                  </a:lnTo>
                  <a:lnTo>
                    <a:pt x="5" y="405"/>
                  </a:lnTo>
                  <a:lnTo>
                    <a:pt x="7" y="388"/>
                  </a:lnTo>
                  <a:lnTo>
                    <a:pt x="10" y="385"/>
                  </a:lnTo>
                  <a:lnTo>
                    <a:pt x="16" y="383"/>
                  </a:lnTo>
                  <a:lnTo>
                    <a:pt x="21" y="378"/>
                  </a:lnTo>
                  <a:lnTo>
                    <a:pt x="28" y="372"/>
                  </a:lnTo>
                  <a:lnTo>
                    <a:pt x="40" y="361"/>
                  </a:lnTo>
                  <a:lnTo>
                    <a:pt x="48" y="353"/>
                  </a:lnTo>
                  <a:lnTo>
                    <a:pt x="48" y="332"/>
                  </a:lnTo>
                  <a:lnTo>
                    <a:pt x="50" y="331"/>
                  </a:lnTo>
                  <a:lnTo>
                    <a:pt x="52" y="326"/>
                  </a:lnTo>
                  <a:lnTo>
                    <a:pt x="53" y="321"/>
                  </a:lnTo>
                  <a:lnTo>
                    <a:pt x="55" y="314"/>
                  </a:lnTo>
                  <a:lnTo>
                    <a:pt x="55" y="299"/>
                  </a:lnTo>
                  <a:lnTo>
                    <a:pt x="56" y="291"/>
                  </a:lnTo>
                  <a:lnTo>
                    <a:pt x="58" y="289"/>
                  </a:lnTo>
                  <a:lnTo>
                    <a:pt x="59" y="288"/>
                  </a:lnTo>
                  <a:lnTo>
                    <a:pt x="60" y="286"/>
                  </a:lnTo>
                  <a:lnTo>
                    <a:pt x="61" y="283"/>
                  </a:lnTo>
                  <a:lnTo>
                    <a:pt x="62" y="276"/>
                  </a:lnTo>
                  <a:lnTo>
                    <a:pt x="62" y="269"/>
                  </a:lnTo>
                  <a:lnTo>
                    <a:pt x="66" y="269"/>
                  </a:lnTo>
                  <a:lnTo>
                    <a:pt x="68" y="268"/>
                  </a:lnTo>
                  <a:lnTo>
                    <a:pt x="69" y="267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70" y="264"/>
                  </a:lnTo>
                  <a:lnTo>
                    <a:pt x="72" y="263"/>
                  </a:lnTo>
                  <a:lnTo>
                    <a:pt x="76" y="263"/>
                  </a:lnTo>
                  <a:lnTo>
                    <a:pt x="77" y="259"/>
                  </a:lnTo>
                  <a:lnTo>
                    <a:pt x="78" y="256"/>
                  </a:lnTo>
                  <a:lnTo>
                    <a:pt x="81" y="253"/>
                  </a:lnTo>
                  <a:lnTo>
                    <a:pt x="86" y="248"/>
                  </a:lnTo>
                  <a:lnTo>
                    <a:pt x="98" y="239"/>
                  </a:lnTo>
                  <a:lnTo>
                    <a:pt x="113" y="228"/>
                  </a:lnTo>
                  <a:lnTo>
                    <a:pt x="152" y="203"/>
                  </a:lnTo>
                  <a:lnTo>
                    <a:pt x="197" y="176"/>
                  </a:lnTo>
                  <a:lnTo>
                    <a:pt x="250" y="139"/>
                  </a:lnTo>
                  <a:lnTo>
                    <a:pt x="297" y="105"/>
                  </a:lnTo>
                  <a:lnTo>
                    <a:pt x="330" y="81"/>
                  </a:lnTo>
                  <a:lnTo>
                    <a:pt x="343" y="71"/>
                  </a:lnTo>
                  <a:lnTo>
                    <a:pt x="359" y="72"/>
                  </a:lnTo>
                  <a:lnTo>
                    <a:pt x="372" y="74"/>
                  </a:lnTo>
                  <a:lnTo>
                    <a:pt x="384" y="75"/>
                  </a:lnTo>
                  <a:lnTo>
                    <a:pt x="401" y="76"/>
                  </a:lnTo>
                  <a:lnTo>
                    <a:pt x="407" y="70"/>
                  </a:lnTo>
                  <a:lnTo>
                    <a:pt x="407" y="65"/>
                  </a:lnTo>
                  <a:lnTo>
                    <a:pt x="408" y="64"/>
                  </a:lnTo>
                  <a:lnTo>
                    <a:pt x="410" y="63"/>
                  </a:lnTo>
                  <a:lnTo>
                    <a:pt x="411" y="63"/>
                  </a:lnTo>
                  <a:lnTo>
                    <a:pt x="412" y="63"/>
                  </a:lnTo>
                  <a:lnTo>
                    <a:pt x="413" y="62"/>
                  </a:lnTo>
                  <a:lnTo>
                    <a:pt x="414" y="60"/>
                  </a:lnTo>
                  <a:lnTo>
                    <a:pt x="414" y="56"/>
                  </a:lnTo>
                  <a:lnTo>
                    <a:pt x="429" y="56"/>
                  </a:lnTo>
                  <a:lnTo>
                    <a:pt x="435" y="48"/>
                  </a:lnTo>
                  <a:lnTo>
                    <a:pt x="435" y="46"/>
                  </a:lnTo>
                  <a:lnTo>
                    <a:pt x="439" y="43"/>
                  </a:lnTo>
                  <a:lnTo>
                    <a:pt x="442" y="39"/>
                  </a:lnTo>
                  <a:lnTo>
                    <a:pt x="448" y="36"/>
                  </a:lnTo>
                  <a:lnTo>
                    <a:pt x="460" y="29"/>
                  </a:lnTo>
                  <a:lnTo>
                    <a:pt x="474" y="23"/>
                  </a:lnTo>
                  <a:lnTo>
                    <a:pt x="490" y="17"/>
                  </a:lnTo>
                  <a:lnTo>
                    <a:pt x="504" y="12"/>
                  </a:lnTo>
                  <a:lnTo>
                    <a:pt x="517" y="8"/>
                  </a:lnTo>
                  <a:lnTo>
                    <a:pt x="525" y="7"/>
                  </a:lnTo>
                  <a:lnTo>
                    <a:pt x="526" y="5"/>
                  </a:lnTo>
                  <a:lnTo>
                    <a:pt x="528" y="4"/>
                  </a:lnTo>
                  <a:lnTo>
                    <a:pt x="531" y="3"/>
                  </a:lnTo>
                  <a:lnTo>
                    <a:pt x="536" y="1"/>
                  </a:lnTo>
                  <a:lnTo>
                    <a:pt x="545" y="0"/>
                  </a:lnTo>
                  <a:lnTo>
                    <a:pt x="552" y="0"/>
                  </a:lnTo>
                  <a:lnTo>
                    <a:pt x="554" y="9"/>
                  </a:lnTo>
                  <a:lnTo>
                    <a:pt x="556" y="18"/>
                  </a:lnTo>
                  <a:lnTo>
                    <a:pt x="558" y="26"/>
                  </a:lnTo>
                  <a:lnTo>
                    <a:pt x="559" y="35"/>
                  </a:lnTo>
                  <a:lnTo>
                    <a:pt x="561" y="35"/>
                  </a:lnTo>
                  <a:lnTo>
                    <a:pt x="564" y="36"/>
                  </a:lnTo>
                  <a:lnTo>
                    <a:pt x="565" y="37"/>
                  </a:lnTo>
                  <a:lnTo>
                    <a:pt x="565" y="39"/>
                  </a:lnTo>
                  <a:lnTo>
                    <a:pt x="566" y="44"/>
                  </a:lnTo>
                  <a:lnTo>
                    <a:pt x="566" y="48"/>
                  </a:lnTo>
                  <a:lnTo>
                    <a:pt x="568" y="51"/>
                  </a:lnTo>
                  <a:lnTo>
                    <a:pt x="573" y="53"/>
                  </a:lnTo>
                  <a:lnTo>
                    <a:pt x="576" y="55"/>
                  </a:lnTo>
                  <a:lnTo>
                    <a:pt x="578" y="57"/>
                  </a:lnTo>
                  <a:lnTo>
                    <a:pt x="579" y="61"/>
                  </a:lnTo>
                  <a:lnTo>
                    <a:pt x="580" y="63"/>
                  </a:lnTo>
                  <a:lnTo>
                    <a:pt x="618" y="64"/>
                  </a:lnTo>
                  <a:lnTo>
                    <a:pt x="658" y="66"/>
                  </a:lnTo>
                  <a:lnTo>
                    <a:pt x="698" y="68"/>
                  </a:lnTo>
                  <a:lnTo>
                    <a:pt x="732" y="70"/>
                  </a:lnTo>
                  <a:lnTo>
                    <a:pt x="732" y="72"/>
                  </a:lnTo>
                  <a:lnTo>
                    <a:pt x="736" y="74"/>
                  </a:lnTo>
                  <a:lnTo>
                    <a:pt x="739" y="75"/>
                  </a:lnTo>
                  <a:lnTo>
                    <a:pt x="743" y="75"/>
                  </a:lnTo>
                  <a:lnTo>
                    <a:pt x="752" y="76"/>
                  </a:lnTo>
                  <a:lnTo>
                    <a:pt x="759" y="76"/>
                  </a:lnTo>
                  <a:lnTo>
                    <a:pt x="760" y="81"/>
                  </a:lnTo>
                  <a:lnTo>
                    <a:pt x="760" y="83"/>
                  </a:lnTo>
                  <a:lnTo>
                    <a:pt x="761" y="83"/>
                  </a:lnTo>
                  <a:lnTo>
                    <a:pt x="763" y="83"/>
                  </a:lnTo>
                  <a:lnTo>
                    <a:pt x="765" y="83"/>
                  </a:lnTo>
                  <a:lnTo>
                    <a:pt x="766" y="84"/>
                  </a:lnTo>
                  <a:lnTo>
                    <a:pt x="766" y="86"/>
                  </a:lnTo>
                  <a:lnTo>
                    <a:pt x="767" y="91"/>
                  </a:lnTo>
                  <a:lnTo>
                    <a:pt x="780" y="91"/>
                  </a:lnTo>
                  <a:lnTo>
                    <a:pt x="780" y="104"/>
                  </a:lnTo>
                  <a:lnTo>
                    <a:pt x="785" y="104"/>
                  </a:lnTo>
                  <a:lnTo>
                    <a:pt x="786" y="105"/>
                  </a:lnTo>
                  <a:lnTo>
                    <a:pt x="787" y="106"/>
                  </a:lnTo>
                  <a:lnTo>
                    <a:pt x="787" y="107"/>
                  </a:lnTo>
                  <a:lnTo>
                    <a:pt x="787" y="109"/>
                  </a:lnTo>
                  <a:lnTo>
                    <a:pt x="788" y="110"/>
                  </a:lnTo>
                  <a:lnTo>
                    <a:pt x="790" y="111"/>
                  </a:lnTo>
                  <a:lnTo>
                    <a:pt x="794" y="111"/>
                  </a:lnTo>
                  <a:lnTo>
                    <a:pt x="797" y="121"/>
                  </a:lnTo>
                  <a:lnTo>
                    <a:pt x="801" y="132"/>
                  </a:lnTo>
                  <a:lnTo>
                    <a:pt x="808" y="139"/>
                  </a:lnTo>
                  <a:lnTo>
                    <a:pt x="811" y="139"/>
                  </a:lnTo>
                  <a:lnTo>
                    <a:pt x="814" y="140"/>
                  </a:lnTo>
                  <a:lnTo>
                    <a:pt x="815" y="141"/>
                  </a:lnTo>
                  <a:lnTo>
                    <a:pt x="815" y="142"/>
                  </a:lnTo>
                  <a:lnTo>
                    <a:pt x="815" y="143"/>
                  </a:lnTo>
                  <a:lnTo>
                    <a:pt x="816" y="144"/>
                  </a:lnTo>
                  <a:lnTo>
                    <a:pt x="818" y="145"/>
                  </a:lnTo>
                  <a:lnTo>
                    <a:pt x="821" y="145"/>
                  </a:lnTo>
                  <a:lnTo>
                    <a:pt x="821" y="159"/>
                  </a:lnTo>
                  <a:lnTo>
                    <a:pt x="828" y="160"/>
                  </a:lnTo>
                  <a:lnTo>
                    <a:pt x="835" y="163"/>
                  </a:lnTo>
                  <a:lnTo>
                    <a:pt x="837" y="166"/>
                  </a:lnTo>
                  <a:lnTo>
                    <a:pt x="840" y="168"/>
                  </a:lnTo>
                  <a:lnTo>
                    <a:pt x="842" y="170"/>
                  </a:lnTo>
                  <a:lnTo>
                    <a:pt x="843" y="173"/>
                  </a:lnTo>
                  <a:lnTo>
                    <a:pt x="863" y="173"/>
                  </a:lnTo>
                  <a:lnTo>
                    <a:pt x="863" y="177"/>
                  </a:lnTo>
                  <a:lnTo>
                    <a:pt x="864" y="179"/>
                  </a:lnTo>
                  <a:lnTo>
                    <a:pt x="865" y="180"/>
                  </a:lnTo>
                  <a:lnTo>
                    <a:pt x="866" y="180"/>
                  </a:lnTo>
                  <a:lnTo>
                    <a:pt x="867" y="180"/>
                  </a:lnTo>
                  <a:lnTo>
                    <a:pt x="868" y="181"/>
                  </a:lnTo>
                  <a:lnTo>
                    <a:pt x="869" y="183"/>
                  </a:lnTo>
                  <a:lnTo>
                    <a:pt x="869" y="187"/>
                  </a:lnTo>
                  <a:lnTo>
                    <a:pt x="877" y="189"/>
                  </a:lnTo>
                  <a:lnTo>
                    <a:pt x="887" y="195"/>
                  </a:lnTo>
                  <a:lnTo>
                    <a:pt x="897" y="201"/>
                  </a:lnTo>
                  <a:lnTo>
                    <a:pt x="904" y="208"/>
                  </a:lnTo>
                  <a:lnTo>
                    <a:pt x="904" y="221"/>
                  </a:lnTo>
                  <a:lnTo>
                    <a:pt x="906" y="221"/>
                  </a:lnTo>
                  <a:lnTo>
                    <a:pt x="909" y="222"/>
                  </a:lnTo>
                  <a:lnTo>
                    <a:pt x="910" y="224"/>
                  </a:lnTo>
                  <a:lnTo>
                    <a:pt x="911" y="226"/>
                  </a:lnTo>
                  <a:lnTo>
                    <a:pt x="911" y="230"/>
                  </a:lnTo>
                  <a:lnTo>
                    <a:pt x="912" y="235"/>
                  </a:lnTo>
                  <a:lnTo>
                    <a:pt x="904" y="243"/>
                  </a:lnTo>
                  <a:lnTo>
                    <a:pt x="897" y="249"/>
                  </a:lnTo>
                  <a:lnTo>
                    <a:pt x="884" y="249"/>
                  </a:lnTo>
                  <a:lnTo>
                    <a:pt x="883" y="251"/>
                  </a:lnTo>
                  <a:lnTo>
                    <a:pt x="881" y="255"/>
                  </a:lnTo>
                  <a:lnTo>
                    <a:pt x="877" y="257"/>
                  </a:lnTo>
                  <a:lnTo>
                    <a:pt x="873" y="260"/>
                  </a:lnTo>
                  <a:lnTo>
                    <a:pt x="869" y="264"/>
                  </a:lnTo>
                  <a:lnTo>
                    <a:pt x="866" y="267"/>
                  </a:lnTo>
                  <a:lnTo>
                    <a:pt x="864" y="272"/>
                  </a:lnTo>
                  <a:lnTo>
                    <a:pt x="863" y="277"/>
                  </a:lnTo>
                  <a:lnTo>
                    <a:pt x="859" y="277"/>
                  </a:lnTo>
                  <a:lnTo>
                    <a:pt x="857" y="278"/>
                  </a:lnTo>
                  <a:lnTo>
                    <a:pt x="856" y="279"/>
                  </a:lnTo>
                  <a:lnTo>
                    <a:pt x="856" y="280"/>
                  </a:lnTo>
                  <a:lnTo>
                    <a:pt x="856" y="282"/>
                  </a:lnTo>
                  <a:lnTo>
                    <a:pt x="855" y="283"/>
                  </a:lnTo>
                  <a:lnTo>
                    <a:pt x="853" y="283"/>
                  </a:lnTo>
                  <a:lnTo>
                    <a:pt x="849" y="284"/>
                  </a:lnTo>
                  <a:lnTo>
                    <a:pt x="848" y="291"/>
                  </a:lnTo>
                  <a:lnTo>
                    <a:pt x="844" y="299"/>
                  </a:lnTo>
                  <a:lnTo>
                    <a:pt x="842" y="304"/>
                  </a:lnTo>
                  <a:lnTo>
                    <a:pt x="837" y="308"/>
                  </a:lnTo>
                  <a:lnTo>
                    <a:pt x="834" y="311"/>
                  </a:lnTo>
                  <a:lnTo>
                    <a:pt x="828" y="311"/>
                  </a:lnTo>
                  <a:lnTo>
                    <a:pt x="828" y="325"/>
                  </a:lnTo>
                  <a:lnTo>
                    <a:pt x="821" y="332"/>
                  </a:lnTo>
                  <a:lnTo>
                    <a:pt x="815" y="339"/>
                  </a:lnTo>
                  <a:lnTo>
                    <a:pt x="809" y="341"/>
                  </a:lnTo>
                  <a:lnTo>
                    <a:pt x="805" y="344"/>
                  </a:lnTo>
                  <a:lnTo>
                    <a:pt x="799" y="350"/>
                  </a:lnTo>
                  <a:lnTo>
                    <a:pt x="794" y="356"/>
                  </a:lnTo>
                  <a:lnTo>
                    <a:pt x="787" y="362"/>
                  </a:lnTo>
                  <a:lnTo>
                    <a:pt x="780" y="368"/>
                  </a:lnTo>
                  <a:lnTo>
                    <a:pt x="777" y="370"/>
                  </a:lnTo>
                  <a:lnTo>
                    <a:pt x="773" y="372"/>
                  </a:lnTo>
                  <a:lnTo>
                    <a:pt x="770" y="373"/>
                  </a:lnTo>
                  <a:lnTo>
                    <a:pt x="767" y="373"/>
                  </a:lnTo>
                  <a:lnTo>
                    <a:pt x="767" y="388"/>
                  </a:lnTo>
                  <a:lnTo>
                    <a:pt x="758" y="388"/>
                  </a:lnTo>
                  <a:lnTo>
                    <a:pt x="755" y="389"/>
                  </a:lnTo>
                  <a:lnTo>
                    <a:pt x="752" y="393"/>
                  </a:lnTo>
                  <a:lnTo>
                    <a:pt x="752" y="401"/>
                  </a:lnTo>
                  <a:lnTo>
                    <a:pt x="750" y="401"/>
                  </a:lnTo>
                  <a:lnTo>
                    <a:pt x="749" y="402"/>
                  </a:lnTo>
                  <a:lnTo>
                    <a:pt x="748" y="403"/>
                  </a:lnTo>
                  <a:lnTo>
                    <a:pt x="747" y="405"/>
                  </a:lnTo>
                  <a:lnTo>
                    <a:pt x="746" y="410"/>
                  </a:lnTo>
                  <a:lnTo>
                    <a:pt x="746" y="414"/>
                  </a:lnTo>
                  <a:lnTo>
                    <a:pt x="752" y="421"/>
                  </a:lnTo>
                  <a:lnTo>
                    <a:pt x="767" y="421"/>
                  </a:lnTo>
                  <a:lnTo>
                    <a:pt x="768" y="424"/>
                  </a:lnTo>
                  <a:lnTo>
                    <a:pt x="770" y="426"/>
                  </a:lnTo>
                  <a:lnTo>
                    <a:pt x="775" y="428"/>
                  </a:lnTo>
                  <a:lnTo>
                    <a:pt x="780" y="429"/>
                  </a:lnTo>
                  <a:lnTo>
                    <a:pt x="786" y="431"/>
                  </a:lnTo>
                  <a:lnTo>
                    <a:pt x="789" y="435"/>
                  </a:lnTo>
                  <a:lnTo>
                    <a:pt x="792" y="438"/>
                  </a:lnTo>
                  <a:lnTo>
                    <a:pt x="794" y="442"/>
                  </a:lnTo>
                  <a:lnTo>
                    <a:pt x="808" y="442"/>
                  </a:lnTo>
                  <a:lnTo>
                    <a:pt x="808" y="445"/>
                  </a:lnTo>
                  <a:lnTo>
                    <a:pt x="809" y="447"/>
                  </a:lnTo>
                  <a:lnTo>
                    <a:pt x="810" y="448"/>
                  </a:lnTo>
                  <a:lnTo>
                    <a:pt x="813" y="448"/>
                  </a:lnTo>
                  <a:lnTo>
                    <a:pt x="817" y="449"/>
                  </a:lnTo>
                  <a:lnTo>
                    <a:pt x="821" y="449"/>
                  </a:lnTo>
                  <a:lnTo>
                    <a:pt x="824" y="452"/>
                  </a:lnTo>
                  <a:lnTo>
                    <a:pt x="830" y="458"/>
                  </a:lnTo>
                  <a:lnTo>
                    <a:pt x="839" y="464"/>
                  </a:lnTo>
                  <a:lnTo>
                    <a:pt x="851" y="469"/>
                  </a:lnTo>
                  <a:lnTo>
                    <a:pt x="871" y="479"/>
                  </a:lnTo>
                  <a:lnTo>
                    <a:pt x="884" y="484"/>
                  </a:lnTo>
                  <a:lnTo>
                    <a:pt x="884" y="486"/>
                  </a:lnTo>
                  <a:lnTo>
                    <a:pt x="886" y="488"/>
                  </a:lnTo>
                  <a:lnTo>
                    <a:pt x="888" y="490"/>
                  </a:lnTo>
                  <a:lnTo>
                    <a:pt x="892" y="491"/>
                  </a:lnTo>
                  <a:lnTo>
                    <a:pt x="900" y="494"/>
                  </a:lnTo>
                  <a:lnTo>
                    <a:pt x="910" y="496"/>
                  </a:lnTo>
                  <a:lnTo>
                    <a:pt x="931" y="497"/>
                  </a:lnTo>
                  <a:lnTo>
                    <a:pt x="945" y="497"/>
                  </a:lnTo>
                  <a:lnTo>
                    <a:pt x="954" y="499"/>
                  </a:lnTo>
                  <a:lnTo>
                    <a:pt x="962" y="501"/>
                  </a:lnTo>
                  <a:lnTo>
                    <a:pt x="971" y="506"/>
                  </a:lnTo>
                  <a:lnTo>
                    <a:pt x="980" y="512"/>
                  </a:lnTo>
                  <a:lnTo>
                    <a:pt x="989" y="516"/>
                  </a:lnTo>
                  <a:lnTo>
                    <a:pt x="998" y="520"/>
                  </a:lnTo>
                  <a:lnTo>
                    <a:pt x="1007" y="524"/>
                  </a:lnTo>
                  <a:lnTo>
                    <a:pt x="1015" y="525"/>
                  </a:lnTo>
                  <a:lnTo>
                    <a:pt x="1021" y="536"/>
                  </a:lnTo>
                  <a:lnTo>
                    <a:pt x="1029" y="546"/>
                  </a:lnTo>
                  <a:lnTo>
                    <a:pt x="1032" y="547"/>
                  </a:lnTo>
                  <a:lnTo>
                    <a:pt x="1037" y="549"/>
                  </a:lnTo>
                  <a:lnTo>
                    <a:pt x="1043" y="553"/>
                  </a:lnTo>
                  <a:lnTo>
                    <a:pt x="1048" y="557"/>
                  </a:lnTo>
                  <a:lnTo>
                    <a:pt x="1054" y="562"/>
                  </a:lnTo>
                  <a:lnTo>
                    <a:pt x="1059" y="566"/>
                  </a:lnTo>
                  <a:lnTo>
                    <a:pt x="1061" y="571"/>
                  </a:lnTo>
                  <a:lnTo>
                    <a:pt x="1064" y="574"/>
                  </a:lnTo>
                  <a:lnTo>
                    <a:pt x="1084" y="574"/>
                  </a:lnTo>
                  <a:lnTo>
                    <a:pt x="1085" y="576"/>
                  </a:lnTo>
                  <a:lnTo>
                    <a:pt x="1087" y="577"/>
                  </a:lnTo>
                  <a:lnTo>
                    <a:pt x="1091" y="578"/>
                  </a:lnTo>
                  <a:lnTo>
                    <a:pt x="1095" y="580"/>
                  </a:lnTo>
                  <a:lnTo>
                    <a:pt x="1104" y="581"/>
                  </a:lnTo>
                  <a:lnTo>
                    <a:pt x="1112" y="581"/>
                  </a:lnTo>
                  <a:lnTo>
                    <a:pt x="1114" y="583"/>
                  </a:lnTo>
                  <a:lnTo>
                    <a:pt x="1120" y="584"/>
                  </a:lnTo>
                  <a:lnTo>
                    <a:pt x="1127" y="585"/>
                  </a:lnTo>
                  <a:lnTo>
                    <a:pt x="1136" y="586"/>
                  </a:lnTo>
                  <a:lnTo>
                    <a:pt x="1155" y="587"/>
                  </a:lnTo>
                  <a:lnTo>
                    <a:pt x="1166" y="587"/>
                  </a:lnTo>
                  <a:lnTo>
                    <a:pt x="1174" y="601"/>
                  </a:lnTo>
                  <a:lnTo>
                    <a:pt x="1181" y="615"/>
                  </a:lnTo>
                  <a:lnTo>
                    <a:pt x="1185" y="615"/>
                  </a:lnTo>
                  <a:lnTo>
                    <a:pt x="1190" y="615"/>
                  </a:lnTo>
                  <a:lnTo>
                    <a:pt x="1192" y="616"/>
                  </a:lnTo>
                  <a:lnTo>
                    <a:pt x="1193" y="618"/>
                  </a:lnTo>
                  <a:lnTo>
                    <a:pt x="1194" y="620"/>
                  </a:lnTo>
                  <a:lnTo>
                    <a:pt x="1194" y="622"/>
                  </a:lnTo>
                  <a:lnTo>
                    <a:pt x="1201" y="615"/>
                  </a:lnTo>
                  <a:lnTo>
                    <a:pt x="1222" y="615"/>
                  </a:lnTo>
                  <a:lnTo>
                    <a:pt x="1223" y="612"/>
                  </a:lnTo>
                  <a:lnTo>
                    <a:pt x="1226" y="607"/>
                  </a:lnTo>
                  <a:lnTo>
                    <a:pt x="1229" y="603"/>
                  </a:lnTo>
                  <a:lnTo>
                    <a:pt x="1232" y="599"/>
                  </a:lnTo>
                  <a:lnTo>
                    <a:pt x="1239" y="591"/>
                  </a:lnTo>
                  <a:lnTo>
                    <a:pt x="1242" y="587"/>
                  </a:lnTo>
                  <a:lnTo>
                    <a:pt x="1243" y="577"/>
                  </a:lnTo>
                  <a:lnTo>
                    <a:pt x="1246" y="566"/>
                  </a:lnTo>
                  <a:lnTo>
                    <a:pt x="1249" y="556"/>
                  </a:lnTo>
                  <a:lnTo>
                    <a:pt x="1250" y="546"/>
                  </a:lnTo>
                  <a:lnTo>
                    <a:pt x="1253" y="546"/>
                  </a:lnTo>
                  <a:lnTo>
                    <a:pt x="1256" y="545"/>
                  </a:lnTo>
                  <a:lnTo>
                    <a:pt x="1257" y="544"/>
                  </a:lnTo>
                  <a:lnTo>
                    <a:pt x="1257" y="543"/>
                  </a:lnTo>
                  <a:lnTo>
                    <a:pt x="1257" y="542"/>
                  </a:lnTo>
                  <a:lnTo>
                    <a:pt x="1258" y="541"/>
                  </a:lnTo>
                  <a:lnTo>
                    <a:pt x="1259" y="539"/>
                  </a:lnTo>
                  <a:lnTo>
                    <a:pt x="1264" y="539"/>
                  </a:lnTo>
                  <a:lnTo>
                    <a:pt x="1265" y="534"/>
                  </a:lnTo>
                  <a:lnTo>
                    <a:pt x="1268" y="529"/>
                  </a:lnTo>
                  <a:lnTo>
                    <a:pt x="1272" y="526"/>
                  </a:lnTo>
                  <a:lnTo>
                    <a:pt x="1277" y="525"/>
                  </a:lnTo>
                  <a:lnTo>
                    <a:pt x="1278" y="522"/>
                  </a:lnTo>
                  <a:lnTo>
                    <a:pt x="1278" y="519"/>
                  </a:lnTo>
                  <a:lnTo>
                    <a:pt x="1279" y="518"/>
                  </a:lnTo>
                  <a:lnTo>
                    <a:pt x="1280" y="518"/>
                  </a:lnTo>
                  <a:lnTo>
                    <a:pt x="1283" y="518"/>
                  </a:lnTo>
                  <a:lnTo>
                    <a:pt x="1284" y="517"/>
                  </a:lnTo>
                  <a:lnTo>
                    <a:pt x="1284" y="515"/>
                  </a:lnTo>
                  <a:lnTo>
                    <a:pt x="1285" y="512"/>
                  </a:lnTo>
                  <a:lnTo>
                    <a:pt x="1291" y="510"/>
                  </a:lnTo>
                  <a:lnTo>
                    <a:pt x="1298" y="508"/>
                  </a:lnTo>
                  <a:lnTo>
                    <a:pt x="1305" y="505"/>
                  </a:lnTo>
                  <a:lnTo>
                    <a:pt x="1312" y="501"/>
                  </a:lnTo>
                  <a:lnTo>
                    <a:pt x="1318" y="497"/>
                  </a:lnTo>
                  <a:lnTo>
                    <a:pt x="1325" y="494"/>
                  </a:lnTo>
                  <a:lnTo>
                    <a:pt x="1332" y="491"/>
                  </a:lnTo>
                  <a:lnTo>
                    <a:pt x="1339" y="490"/>
                  </a:lnTo>
                  <a:lnTo>
                    <a:pt x="1343" y="477"/>
                  </a:lnTo>
                  <a:lnTo>
                    <a:pt x="1346" y="464"/>
                  </a:lnTo>
                  <a:lnTo>
                    <a:pt x="1348" y="462"/>
                  </a:lnTo>
                  <a:lnTo>
                    <a:pt x="1351" y="459"/>
                  </a:lnTo>
                  <a:lnTo>
                    <a:pt x="1352" y="453"/>
                  </a:lnTo>
                  <a:lnTo>
                    <a:pt x="1353" y="448"/>
                  </a:lnTo>
                  <a:lnTo>
                    <a:pt x="1353" y="437"/>
                  </a:lnTo>
                  <a:lnTo>
                    <a:pt x="1353" y="429"/>
                  </a:lnTo>
                  <a:lnTo>
                    <a:pt x="1357" y="428"/>
                  </a:lnTo>
                  <a:lnTo>
                    <a:pt x="1360" y="428"/>
                  </a:lnTo>
                  <a:lnTo>
                    <a:pt x="1360" y="427"/>
                  </a:lnTo>
                  <a:lnTo>
                    <a:pt x="1361" y="426"/>
                  </a:lnTo>
                  <a:lnTo>
                    <a:pt x="1361" y="423"/>
                  </a:lnTo>
                  <a:lnTo>
                    <a:pt x="1361" y="422"/>
                  </a:lnTo>
                  <a:lnTo>
                    <a:pt x="1363" y="422"/>
                  </a:lnTo>
                  <a:lnTo>
                    <a:pt x="1367" y="421"/>
                  </a:lnTo>
                  <a:lnTo>
                    <a:pt x="1374" y="408"/>
                  </a:lnTo>
                  <a:lnTo>
                    <a:pt x="1381" y="394"/>
                  </a:lnTo>
                  <a:lnTo>
                    <a:pt x="1394" y="394"/>
                  </a:lnTo>
                  <a:lnTo>
                    <a:pt x="1399" y="380"/>
                  </a:lnTo>
                  <a:lnTo>
                    <a:pt x="1402" y="366"/>
                  </a:lnTo>
                  <a:lnTo>
                    <a:pt x="1409" y="360"/>
                  </a:lnTo>
                  <a:lnTo>
                    <a:pt x="1422" y="360"/>
                  </a:lnTo>
                  <a:lnTo>
                    <a:pt x="1422" y="357"/>
                  </a:lnTo>
                  <a:lnTo>
                    <a:pt x="1423" y="355"/>
                  </a:lnTo>
                  <a:lnTo>
                    <a:pt x="1424" y="354"/>
                  </a:lnTo>
                  <a:lnTo>
                    <a:pt x="1427" y="353"/>
                  </a:lnTo>
                  <a:lnTo>
                    <a:pt x="1431" y="353"/>
                  </a:lnTo>
                  <a:lnTo>
                    <a:pt x="1437" y="353"/>
                  </a:lnTo>
                  <a:lnTo>
                    <a:pt x="1437" y="350"/>
                  </a:lnTo>
                  <a:lnTo>
                    <a:pt x="1439" y="347"/>
                  </a:lnTo>
                  <a:lnTo>
                    <a:pt x="1441" y="345"/>
                  </a:lnTo>
                  <a:lnTo>
                    <a:pt x="1444" y="343"/>
                  </a:lnTo>
                  <a:lnTo>
                    <a:pt x="1451" y="340"/>
                  </a:lnTo>
                  <a:lnTo>
                    <a:pt x="1457" y="339"/>
                  </a:lnTo>
                  <a:lnTo>
                    <a:pt x="1457" y="335"/>
                  </a:lnTo>
                  <a:lnTo>
                    <a:pt x="1458" y="333"/>
                  </a:lnTo>
                  <a:lnTo>
                    <a:pt x="1459" y="332"/>
                  </a:lnTo>
                  <a:lnTo>
                    <a:pt x="1460" y="332"/>
                  </a:lnTo>
                  <a:lnTo>
                    <a:pt x="1461" y="332"/>
                  </a:lnTo>
                  <a:lnTo>
                    <a:pt x="1462" y="331"/>
                  </a:lnTo>
                  <a:lnTo>
                    <a:pt x="1463" y="328"/>
                  </a:lnTo>
                  <a:lnTo>
                    <a:pt x="1463" y="325"/>
                  </a:lnTo>
                  <a:lnTo>
                    <a:pt x="1478" y="325"/>
                  </a:lnTo>
                  <a:lnTo>
                    <a:pt x="1485" y="318"/>
                  </a:lnTo>
                  <a:lnTo>
                    <a:pt x="1479" y="313"/>
                  </a:lnTo>
                  <a:lnTo>
                    <a:pt x="1476" y="310"/>
                  </a:lnTo>
                  <a:lnTo>
                    <a:pt x="1473" y="308"/>
                  </a:lnTo>
                  <a:lnTo>
                    <a:pt x="1473" y="310"/>
                  </a:lnTo>
                  <a:lnTo>
                    <a:pt x="1476" y="316"/>
                  </a:lnTo>
                  <a:lnTo>
                    <a:pt x="1482" y="326"/>
                  </a:lnTo>
                  <a:lnTo>
                    <a:pt x="1489" y="340"/>
                  </a:lnTo>
                  <a:lnTo>
                    <a:pt x="1497" y="354"/>
                  </a:lnTo>
                  <a:lnTo>
                    <a:pt x="1500" y="362"/>
                  </a:lnTo>
                  <a:lnTo>
                    <a:pt x="1502" y="369"/>
                  </a:lnTo>
                  <a:lnTo>
                    <a:pt x="1505" y="375"/>
                  </a:lnTo>
                  <a:lnTo>
                    <a:pt x="1505" y="3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3" name="Freeform 19"/>
            <p:cNvSpPr>
              <a:spLocks noChangeAspect="1"/>
            </p:cNvSpPr>
            <p:nvPr/>
          </p:nvSpPr>
          <p:spPr bwMode="gray">
            <a:xfrm rot="355651">
              <a:off x="5790089" y="3627438"/>
              <a:ext cx="368170" cy="235278"/>
            </a:xfrm>
            <a:custGeom>
              <a:avLst/>
              <a:gdLst/>
              <a:ahLst/>
              <a:cxnLst>
                <a:cxn ang="0">
                  <a:pos x="0" y="556"/>
                </a:cxn>
                <a:cxn ang="0">
                  <a:pos x="65" y="452"/>
                </a:cxn>
                <a:cxn ang="0">
                  <a:pos x="86" y="289"/>
                </a:cxn>
                <a:cxn ang="0">
                  <a:pos x="113" y="241"/>
                </a:cxn>
                <a:cxn ang="0">
                  <a:pos x="235" y="282"/>
                </a:cxn>
                <a:cxn ang="0">
                  <a:pos x="350" y="379"/>
                </a:cxn>
                <a:cxn ang="0">
                  <a:pos x="438" y="411"/>
                </a:cxn>
                <a:cxn ang="0">
                  <a:pos x="551" y="359"/>
                </a:cxn>
                <a:cxn ang="0">
                  <a:pos x="608" y="331"/>
                </a:cxn>
                <a:cxn ang="0">
                  <a:pos x="690" y="287"/>
                </a:cxn>
                <a:cxn ang="0">
                  <a:pos x="725" y="239"/>
                </a:cxn>
                <a:cxn ang="0">
                  <a:pos x="781" y="176"/>
                </a:cxn>
                <a:cxn ang="0">
                  <a:pos x="893" y="44"/>
                </a:cxn>
                <a:cxn ang="0">
                  <a:pos x="953" y="26"/>
                </a:cxn>
                <a:cxn ang="0">
                  <a:pos x="1013" y="3"/>
                </a:cxn>
                <a:cxn ang="0">
                  <a:pos x="1198" y="91"/>
                </a:cxn>
                <a:cxn ang="0">
                  <a:pos x="1275" y="144"/>
                </a:cxn>
                <a:cxn ang="0">
                  <a:pos x="1421" y="219"/>
                </a:cxn>
                <a:cxn ang="0">
                  <a:pos x="1521" y="288"/>
                </a:cxn>
                <a:cxn ang="0">
                  <a:pos x="1594" y="326"/>
                </a:cxn>
                <a:cxn ang="0">
                  <a:pos x="1751" y="388"/>
                </a:cxn>
                <a:cxn ang="0">
                  <a:pos x="1827" y="433"/>
                </a:cxn>
                <a:cxn ang="0">
                  <a:pos x="1905" y="489"/>
                </a:cxn>
                <a:cxn ang="0">
                  <a:pos x="1952" y="511"/>
                </a:cxn>
                <a:cxn ang="0">
                  <a:pos x="1996" y="528"/>
                </a:cxn>
                <a:cxn ang="0">
                  <a:pos x="2023" y="573"/>
                </a:cxn>
                <a:cxn ang="0">
                  <a:pos x="2021" y="681"/>
                </a:cxn>
                <a:cxn ang="0">
                  <a:pos x="1992" y="760"/>
                </a:cxn>
                <a:cxn ang="0">
                  <a:pos x="1975" y="853"/>
                </a:cxn>
                <a:cxn ang="0">
                  <a:pos x="1897" y="911"/>
                </a:cxn>
                <a:cxn ang="0">
                  <a:pos x="1846" y="979"/>
                </a:cxn>
                <a:cxn ang="0">
                  <a:pos x="1765" y="1025"/>
                </a:cxn>
                <a:cxn ang="0">
                  <a:pos x="1725" y="1067"/>
                </a:cxn>
                <a:cxn ang="0">
                  <a:pos x="1671" y="1159"/>
                </a:cxn>
                <a:cxn ang="0">
                  <a:pos x="1665" y="1318"/>
                </a:cxn>
                <a:cxn ang="0">
                  <a:pos x="1610" y="1385"/>
                </a:cxn>
                <a:cxn ang="0">
                  <a:pos x="1472" y="1417"/>
                </a:cxn>
                <a:cxn ang="0">
                  <a:pos x="1328" y="1446"/>
                </a:cxn>
                <a:cxn ang="0">
                  <a:pos x="1228" y="1460"/>
                </a:cxn>
                <a:cxn ang="0">
                  <a:pos x="1112" y="1380"/>
                </a:cxn>
                <a:cxn ang="0">
                  <a:pos x="1039" y="1316"/>
                </a:cxn>
                <a:cxn ang="0">
                  <a:pos x="987" y="1029"/>
                </a:cxn>
                <a:cxn ang="0">
                  <a:pos x="946" y="960"/>
                </a:cxn>
                <a:cxn ang="0">
                  <a:pos x="905" y="985"/>
                </a:cxn>
                <a:cxn ang="0">
                  <a:pos x="835" y="1056"/>
                </a:cxn>
                <a:cxn ang="0">
                  <a:pos x="814" y="1099"/>
                </a:cxn>
                <a:cxn ang="0">
                  <a:pos x="748" y="1153"/>
                </a:cxn>
                <a:cxn ang="0">
                  <a:pos x="724" y="1180"/>
                </a:cxn>
                <a:cxn ang="0">
                  <a:pos x="662" y="1257"/>
                </a:cxn>
                <a:cxn ang="0">
                  <a:pos x="580" y="1216"/>
                </a:cxn>
                <a:cxn ang="0">
                  <a:pos x="500" y="1182"/>
                </a:cxn>
                <a:cxn ang="0">
                  <a:pos x="368" y="1129"/>
                </a:cxn>
                <a:cxn ang="0">
                  <a:pos x="278" y="1083"/>
                </a:cxn>
                <a:cxn ang="0">
                  <a:pos x="214" y="1049"/>
                </a:cxn>
                <a:cxn ang="0">
                  <a:pos x="245" y="1005"/>
                </a:cxn>
                <a:cxn ang="0">
                  <a:pos x="312" y="934"/>
                </a:cxn>
                <a:cxn ang="0">
                  <a:pos x="341" y="895"/>
                </a:cxn>
                <a:cxn ang="0">
                  <a:pos x="372" y="843"/>
                </a:cxn>
                <a:cxn ang="0">
                  <a:pos x="310" y="805"/>
                </a:cxn>
                <a:cxn ang="0">
                  <a:pos x="276" y="774"/>
                </a:cxn>
                <a:cxn ang="0">
                  <a:pos x="234" y="721"/>
                </a:cxn>
                <a:cxn ang="0">
                  <a:pos x="166" y="703"/>
                </a:cxn>
                <a:cxn ang="0">
                  <a:pos x="29" y="670"/>
                </a:cxn>
              </a:cxnLst>
              <a:rect l="0" t="0" r="r" b="b"/>
              <a:pathLst>
                <a:path w="2033" h="1468">
                  <a:moveTo>
                    <a:pt x="10" y="635"/>
                  </a:moveTo>
                  <a:lnTo>
                    <a:pt x="12" y="628"/>
                  </a:lnTo>
                  <a:lnTo>
                    <a:pt x="13" y="619"/>
                  </a:lnTo>
                  <a:lnTo>
                    <a:pt x="13" y="610"/>
                  </a:lnTo>
                  <a:lnTo>
                    <a:pt x="13" y="602"/>
                  </a:lnTo>
                  <a:lnTo>
                    <a:pt x="9" y="602"/>
                  </a:lnTo>
                  <a:lnTo>
                    <a:pt x="7" y="601"/>
                  </a:lnTo>
                  <a:lnTo>
                    <a:pt x="7" y="600"/>
                  </a:lnTo>
                  <a:lnTo>
                    <a:pt x="7" y="599"/>
                  </a:lnTo>
                  <a:lnTo>
                    <a:pt x="7" y="597"/>
                  </a:lnTo>
                  <a:lnTo>
                    <a:pt x="6" y="596"/>
                  </a:lnTo>
                  <a:lnTo>
                    <a:pt x="4" y="595"/>
                  </a:lnTo>
                  <a:lnTo>
                    <a:pt x="0" y="595"/>
                  </a:lnTo>
                  <a:lnTo>
                    <a:pt x="0" y="556"/>
                  </a:lnTo>
                  <a:lnTo>
                    <a:pt x="7" y="549"/>
                  </a:lnTo>
                  <a:lnTo>
                    <a:pt x="23" y="544"/>
                  </a:lnTo>
                  <a:lnTo>
                    <a:pt x="39" y="537"/>
                  </a:lnTo>
                  <a:lnTo>
                    <a:pt x="41" y="533"/>
                  </a:lnTo>
                  <a:lnTo>
                    <a:pt x="43" y="528"/>
                  </a:lnTo>
                  <a:lnTo>
                    <a:pt x="47" y="525"/>
                  </a:lnTo>
                  <a:lnTo>
                    <a:pt x="52" y="524"/>
                  </a:lnTo>
                  <a:lnTo>
                    <a:pt x="58" y="517"/>
                  </a:lnTo>
                  <a:lnTo>
                    <a:pt x="58" y="505"/>
                  </a:lnTo>
                  <a:lnTo>
                    <a:pt x="61" y="503"/>
                  </a:lnTo>
                  <a:lnTo>
                    <a:pt x="62" y="496"/>
                  </a:lnTo>
                  <a:lnTo>
                    <a:pt x="63" y="486"/>
                  </a:lnTo>
                  <a:lnTo>
                    <a:pt x="64" y="475"/>
                  </a:lnTo>
                  <a:lnTo>
                    <a:pt x="65" y="452"/>
                  </a:lnTo>
                  <a:lnTo>
                    <a:pt x="65" y="440"/>
                  </a:lnTo>
                  <a:lnTo>
                    <a:pt x="67" y="436"/>
                  </a:lnTo>
                  <a:lnTo>
                    <a:pt x="70" y="426"/>
                  </a:lnTo>
                  <a:lnTo>
                    <a:pt x="72" y="410"/>
                  </a:lnTo>
                  <a:lnTo>
                    <a:pt x="74" y="393"/>
                  </a:lnTo>
                  <a:lnTo>
                    <a:pt x="76" y="357"/>
                  </a:lnTo>
                  <a:lnTo>
                    <a:pt x="77" y="336"/>
                  </a:lnTo>
                  <a:lnTo>
                    <a:pt x="80" y="334"/>
                  </a:lnTo>
                  <a:lnTo>
                    <a:pt x="82" y="330"/>
                  </a:lnTo>
                  <a:lnTo>
                    <a:pt x="83" y="324"/>
                  </a:lnTo>
                  <a:lnTo>
                    <a:pt x="84" y="316"/>
                  </a:lnTo>
                  <a:lnTo>
                    <a:pt x="84" y="301"/>
                  </a:lnTo>
                  <a:lnTo>
                    <a:pt x="84" y="290"/>
                  </a:lnTo>
                  <a:lnTo>
                    <a:pt x="86" y="289"/>
                  </a:lnTo>
                  <a:lnTo>
                    <a:pt x="89" y="287"/>
                  </a:lnTo>
                  <a:lnTo>
                    <a:pt x="90" y="283"/>
                  </a:lnTo>
                  <a:lnTo>
                    <a:pt x="90" y="277"/>
                  </a:lnTo>
                  <a:lnTo>
                    <a:pt x="91" y="266"/>
                  </a:lnTo>
                  <a:lnTo>
                    <a:pt x="91" y="258"/>
                  </a:lnTo>
                  <a:lnTo>
                    <a:pt x="93" y="258"/>
                  </a:lnTo>
                  <a:lnTo>
                    <a:pt x="94" y="257"/>
                  </a:lnTo>
                  <a:lnTo>
                    <a:pt x="95" y="256"/>
                  </a:lnTo>
                  <a:lnTo>
                    <a:pt x="96" y="255"/>
                  </a:lnTo>
                  <a:lnTo>
                    <a:pt x="97" y="250"/>
                  </a:lnTo>
                  <a:lnTo>
                    <a:pt x="97" y="246"/>
                  </a:lnTo>
                  <a:lnTo>
                    <a:pt x="111" y="246"/>
                  </a:lnTo>
                  <a:lnTo>
                    <a:pt x="111" y="244"/>
                  </a:lnTo>
                  <a:lnTo>
                    <a:pt x="113" y="241"/>
                  </a:lnTo>
                  <a:lnTo>
                    <a:pt x="116" y="239"/>
                  </a:lnTo>
                  <a:lnTo>
                    <a:pt x="122" y="238"/>
                  </a:lnTo>
                  <a:lnTo>
                    <a:pt x="133" y="236"/>
                  </a:lnTo>
                  <a:lnTo>
                    <a:pt x="148" y="235"/>
                  </a:lnTo>
                  <a:lnTo>
                    <a:pt x="176" y="232"/>
                  </a:lnTo>
                  <a:lnTo>
                    <a:pt x="195" y="232"/>
                  </a:lnTo>
                  <a:lnTo>
                    <a:pt x="200" y="238"/>
                  </a:lnTo>
                  <a:lnTo>
                    <a:pt x="207" y="246"/>
                  </a:lnTo>
                  <a:lnTo>
                    <a:pt x="211" y="253"/>
                  </a:lnTo>
                  <a:lnTo>
                    <a:pt x="214" y="258"/>
                  </a:lnTo>
                  <a:lnTo>
                    <a:pt x="227" y="265"/>
                  </a:lnTo>
                  <a:lnTo>
                    <a:pt x="228" y="270"/>
                  </a:lnTo>
                  <a:lnTo>
                    <a:pt x="231" y="276"/>
                  </a:lnTo>
                  <a:lnTo>
                    <a:pt x="235" y="282"/>
                  </a:lnTo>
                  <a:lnTo>
                    <a:pt x="240" y="287"/>
                  </a:lnTo>
                  <a:lnTo>
                    <a:pt x="245" y="294"/>
                  </a:lnTo>
                  <a:lnTo>
                    <a:pt x="249" y="299"/>
                  </a:lnTo>
                  <a:lnTo>
                    <a:pt x="252" y="305"/>
                  </a:lnTo>
                  <a:lnTo>
                    <a:pt x="253" y="311"/>
                  </a:lnTo>
                  <a:lnTo>
                    <a:pt x="266" y="320"/>
                  </a:lnTo>
                  <a:lnTo>
                    <a:pt x="284" y="332"/>
                  </a:lnTo>
                  <a:lnTo>
                    <a:pt x="301" y="344"/>
                  </a:lnTo>
                  <a:lnTo>
                    <a:pt x="311" y="350"/>
                  </a:lnTo>
                  <a:lnTo>
                    <a:pt x="317" y="362"/>
                  </a:lnTo>
                  <a:lnTo>
                    <a:pt x="331" y="362"/>
                  </a:lnTo>
                  <a:lnTo>
                    <a:pt x="334" y="365"/>
                  </a:lnTo>
                  <a:lnTo>
                    <a:pt x="341" y="372"/>
                  </a:lnTo>
                  <a:lnTo>
                    <a:pt x="350" y="379"/>
                  </a:lnTo>
                  <a:lnTo>
                    <a:pt x="356" y="382"/>
                  </a:lnTo>
                  <a:lnTo>
                    <a:pt x="356" y="385"/>
                  </a:lnTo>
                  <a:lnTo>
                    <a:pt x="358" y="388"/>
                  </a:lnTo>
                  <a:lnTo>
                    <a:pt x="359" y="388"/>
                  </a:lnTo>
                  <a:lnTo>
                    <a:pt x="360" y="388"/>
                  </a:lnTo>
                  <a:lnTo>
                    <a:pt x="361" y="388"/>
                  </a:lnTo>
                  <a:lnTo>
                    <a:pt x="362" y="389"/>
                  </a:lnTo>
                  <a:lnTo>
                    <a:pt x="362" y="391"/>
                  </a:lnTo>
                  <a:lnTo>
                    <a:pt x="363" y="394"/>
                  </a:lnTo>
                  <a:lnTo>
                    <a:pt x="377" y="398"/>
                  </a:lnTo>
                  <a:lnTo>
                    <a:pt x="396" y="401"/>
                  </a:lnTo>
                  <a:lnTo>
                    <a:pt x="408" y="414"/>
                  </a:lnTo>
                  <a:lnTo>
                    <a:pt x="423" y="413"/>
                  </a:lnTo>
                  <a:lnTo>
                    <a:pt x="438" y="411"/>
                  </a:lnTo>
                  <a:lnTo>
                    <a:pt x="454" y="408"/>
                  </a:lnTo>
                  <a:lnTo>
                    <a:pt x="468" y="404"/>
                  </a:lnTo>
                  <a:lnTo>
                    <a:pt x="483" y="401"/>
                  </a:lnTo>
                  <a:lnTo>
                    <a:pt x="496" y="398"/>
                  </a:lnTo>
                  <a:lnTo>
                    <a:pt x="508" y="395"/>
                  </a:lnTo>
                  <a:lnTo>
                    <a:pt x="518" y="394"/>
                  </a:lnTo>
                  <a:lnTo>
                    <a:pt x="525" y="388"/>
                  </a:lnTo>
                  <a:lnTo>
                    <a:pt x="532" y="382"/>
                  </a:lnTo>
                  <a:lnTo>
                    <a:pt x="533" y="376"/>
                  </a:lnTo>
                  <a:lnTo>
                    <a:pt x="535" y="373"/>
                  </a:lnTo>
                  <a:lnTo>
                    <a:pt x="540" y="370"/>
                  </a:lnTo>
                  <a:lnTo>
                    <a:pt x="544" y="369"/>
                  </a:lnTo>
                  <a:lnTo>
                    <a:pt x="551" y="362"/>
                  </a:lnTo>
                  <a:lnTo>
                    <a:pt x="551" y="359"/>
                  </a:lnTo>
                  <a:lnTo>
                    <a:pt x="552" y="356"/>
                  </a:lnTo>
                  <a:lnTo>
                    <a:pt x="553" y="355"/>
                  </a:lnTo>
                  <a:lnTo>
                    <a:pt x="554" y="355"/>
                  </a:lnTo>
                  <a:lnTo>
                    <a:pt x="555" y="355"/>
                  </a:lnTo>
                  <a:lnTo>
                    <a:pt x="556" y="355"/>
                  </a:lnTo>
                  <a:lnTo>
                    <a:pt x="557" y="353"/>
                  </a:lnTo>
                  <a:lnTo>
                    <a:pt x="557" y="350"/>
                  </a:lnTo>
                  <a:lnTo>
                    <a:pt x="570" y="346"/>
                  </a:lnTo>
                  <a:lnTo>
                    <a:pt x="583" y="343"/>
                  </a:lnTo>
                  <a:lnTo>
                    <a:pt x="584" y="341"/>
                  </a:lnTo>
                  <a:lnTo>
                    <a:pt x="588" y="338"/>
                  </a:lnTo>
                  <a:lnTo>
                    <a:pt x="592" y="336"/>
                  </a:lnTo>
                  <a:lnTo>
                    <a:pt x="596" y="334"/>
                  </a:lnTo>
                  <a:lnTo>
                    <a:pt x="608" y="331"/>
                  </a:lnTo>
                  <a:lnTo>
                    <a:pt x="615" y="330"/>
                  </a:lnTo>
                  <a:lnTo>
                    <a:pt x="622" y="325"/>
                  </a:lnTo>
                  <a:lnTo>
                    <a:pt x="632" y="321"/>
                  </a:lnTo>
                  <a:lnTo>
                    <a:pt x="643" y="318"/>
                  </a:lnTo>
                  <a:lnTo>
                    <a:pt x="655" y="317"/>
                  </a:lnTo>
                  <a:lnTo>
                    <a:pt x="655" y="315"/>
                  </a:lnTo>
                  <a:lnTo>
                    <a:pt x="656" y="313"/>
                  </a:lnTo>
                  <a:lnTo>
                    <a:pt x="657" y="312"/>
                  </a:lnTo>
                  <a:lnTo>
                    <a:pt x="658" y="311"/>
                  </a:lnTo>
                  <a:lnTo>
                    <a:pt x="662" y="311"/>
                  </a:lnTo>
                  <a:lnTo>
                    <a:pt x="667" y="311"/>
                  </a:lnTo>
                  <a:lnTo>
                    <a:pt x="673" y="297"/>
                  </a:lnTo>
                  <a:lnTo>
                    <a:pt x="680" y="290"/>
                  </a:lnTo>
                  <a:lnTo>
                    <a:pt x="690" y="287"/>
                  </a:lnTo>
                  <a:lnTo>
                    <a:pt x="699" y="285"/>
                  </a:lnTo>
                  <a:lnTo>
                    <a:pt x="700" y="278"/>
                  </a:lnTo>
                  <a:lnTo>
                    <a:pt x="704" y="273"/>
                  </a:lnTo>
                  <a:lnTo>
                    <a:pt x="706" y="269"/>
                  </a:lnTo>
                  <a:lnTo>
                    <a:pt x="708" y="267"/>
                  </a:lnTo>
                  <a:lnTo>
                    <a:pt x="710" y="266"/>
                  </a:lnTo>
                  <a:lnTo>
                    <a:pt x="713" y="265"/>
                  </a:lnTo>
                  <a:lnTo>
                    <a:pt x="714" y="259"/>
                  </a:lnTo>
                  <a:lnTo>
                    <a:pt x="715" y="255"/>
                  </a:lnTo>
                  <a:lnTo>
                    <a:pt x="717" y="251"/>
                  </a:lnTo>
                  <a:lnTo>
                    <a:pt x="719" y="249"/>
                  </a:lnTo>
                  <a:lnTo>
                    <a:pt x="721" y="246"/>
                  </a:lnTo>
                  <a:lnTo>
                    <a:pt x="724" y="244"/>
                  </a:lnTo>
                  <a:lnTo>
                    <a:pt x="725" y="239"/>
                  </a:lnTo>
                  <a:lnTo>
                    <a:pt x="726" y="232"/>
                  </a:lnTo>
                  <a:lnTo>
                    <a:pt x="729" y="232"/>
                  </a:lnTo>
                  <a:lnTo>
                    <a:pt x="733" y="231"/>
                  </a:lnTo>
                  <a:lnTo>
                    <a:pt x="736" y="230"/>
                  </a:lnTo>
                  <a:lnTo>
                    <a:pt x="738" y="229"/>
                  </a:lnTo>
                  <a:lnTo>
                    <a:pt x="740" y="225"/>
                  </a:lnTo>
                  <a:lnTo>
                    <a:pt x="745" y="220"/>
                  </a:lnTo>
                  <a:lnTo>
                    <a:pt x="746" y="216"/>
                  </a:lnTo>
                  <a:lnTo>
                    <a:pt x="751" y="210"/>
                  </a:lnTo>
                  <a:lnTo>
                    <a:pt x="755" y="202"/>
                  </a:lnTo>
                  <a:lnTo>
                    <a:pt x="762" y="195"/>
                  </a:lnTo>
                  <a:lnTo>
                    <a:pt x="768" y="187"/>
                  </a:lnTo>
                  <a:lnTo>
                    <a:pt x="775" y="180"/>
                  </a:lnTo>
                  <a:lnTo>
                    <a:pt x="781" y="176"/>
                  </a:lnTo>
                  <a:lnTo>
                    <a:pt x="784" y="174"/>
                  </a:lnTo>
                  <a:lnTo>
                    <a:pt x="785" y="168"/>
                  </a:lnTo>
                  <a:lnTo>
                    <a:pt x="787" y="161"/>
                  </a:lnTo>
                  <a:lnTo>
                    <a:pt x="791" y="154"/>
                  </a:lnTo>
                  <a:lnTo>
                    <a:pt x="795" y="147"/>
                  </a:lnTo>
                  <a:lnTo>
                    <a:pt x="807" y="130"/>
                  </a:lnTo>
                  <a:lnTo>
                    <a:pt x="821" y="114"/>
                  </a:lnTo>
                  <a:lnTo>
                    <a:pt x="835" y="97"/>
                  </a:lnTo>
                  <a:lnTo>
                    <a:pt x="850" y="83"/>
                  </a:lnTo>
                  <a:lnTo>
                    <a:pt x="861" y="68"/>
                  </a:lnTo>
                  <a:lnTo>
                    <a:pt x="868" y="58"/>
                  </a:lnTo>
                  <a:lnTo>
                    <a:pt x="874" y="56"/>
                  </a:lnTo>
                  <a:lnTo>
                    <a:pt x="884" y="51"/>
                  </a:lnTo>
                  <a:lnTo>
                    <a:pt x="893" y="44"/>
                  </a:lnTo>
                  <a:lnTo>
                    <a:pt x="900" y="38"/>
                  </a:lnTo>
                  <a:lnTo>
                    <a:pt x="906" y="38"/>
                  </a:lnTo>
                  <a:lnTo>
                    <a:pt x="912" y="37"/>
                  </a:lnTo>
                  <a:lnTo>
                    <a:pt x="916" y="37"/>
                  </a:lnTo>
                  <a:lnTo>
                    <a:pt x="918" y="36"/>
                  </a:lnTo>
                  <a:lnTo>
                    <a:pt x="919" y="34"/>
                  </a:lnTo>
                  <a:lnTo>
                    <a:pt x="920" y="32"/>
                  </a:lnTo>
                  <a:lnTo>
                    <a:pt x="939" y="32"/>
                  </a:lnTo>
                  <a:lnTo>
                    <a:pt x="939" y="29"/>
                  </a:lnTo>
                  <a:lnTo>
                    <a:pt x="940" y="28"/>
                  </a:lnTo>
                  <a:lnTo>
                    <a:pt x="941" y="27"/>
                  </a:lnTo>
                  <a:lnTo>
                    <a:pt x="944" y="26"/>
                  </a:lnTo>
                  <a:lnTo>
                    <a:pt x="947" y="26"/>
                  </a:lnTo>
                  <a:lnTo>
                    <a:pt x="953" y="26"/>
                  </a:lnTo>
                  <a:lnTo>
                    <a:pt x="953" y="22"/>
                  </a:lnTo>
                  <a:lnTo>
                    <a:pt x="954" y="19"/>
                  </a:lnTo>
                  <a:lnTo>
                    <a:pt x="954" y="19"/>
                  </a:lnTo>
                  <a:lnTo>
                    <a:pt x="956" y="19"/>
                  </a:lnTo>
                  <a:lnTo>
                    <a:pt x="957" y="19"/>
                  </a:lnTo>
                  <a:lnTo>
                    <a:pt x="958" y="18"/>
                  </a:lnTo>
                  <a:lnTo>
                    <a:pt x="958" y="16"/>
                  </a:lnTo>
                  <a:lnTo>
                    <a:pt x="958" y="13"/>
                  </a:lnTo>
                  <a:lnTo>
                    <a:pt x="973" y="11"/>
                  </a:lnTo>
                  <a:lnTo>
                    <a:pt x="985" y="9"/>
                  </a:lnTo>
                  <a:lnTo>
                    <a:pt x="997" y="7"/>
                  </a:lnTo>
                  <a:lnTo>
                    <a:pt x="1011" y="6"/>
                  </a:lnTo>
                  <a:lnTo>
                    <a:pt x="1011" y="4"/>
                  </a:lnTo>
                  <a:lnTo>
                    <a:pt x="1013" y="3"/>
                  </a:lnTo>
                  <a:lnTo>
                    <a:pt x="1016" y="1"/>
                  </a:lnTo>
                  <a:lnTo>
                    <a:pt x="1020" y="0"/>
                  </a:lnTo>
                  <a:lnTo>
                    <a:pt x="1030" y="0"/>
                  </a:lnTo>
                  <a:lnTo>
                    <a:pt x="1041" y="1"/>
                  </a:lnTo>
                  <a:lnTo>
                    <a:pt x="1062" y="4"/>
                  </a:lnTo>
                  <a:lnTo>
                    <a:pt x="1075" y="6"/>
                  </a:lnTo>
                  <a:lnTo>
                    <a:pt x="1094" y="16"/>
                  </a:lnTo>
                  <a:lnTo>
                    <a:pt x="1137" y="40"/>
                  </a:lnTo>
                  <a:lnTo>
                    <a:pt x="1159" y="55"/>
                  </a:lnTo>
                  <a:lnTo>
                    <a:pt x="1179" y="68"/>
                  </a:lnTo>
                  <a:lnTo>
                    <a:pt x="1187" y="75"/>
                  </a:lnTo>
                  <a:lnTo>
                    <a:pt x="1193" y="81"/>
                  </a:lnTo>
                  <a:lnTo>
                    <a:pt x="1197" y="86"/>
                  </a:lnTo>
                  <a:lnTo>
                    <a:pt x="1198" y="91"/>
                  </a:lnTo>
                  <a:lnTo>
                    <a:pt x="1205" y="92"/>
                  </a:lnTo>
                  <a:lnTo>
                    <a:pt x="1210" y="94"/>
                  </a:lnTo>
                  <a:lnTo>
                    <a:pt x="1214" y="99"/>
                  </a:lnTo>
                  <a:lnTo>
                    <a:pt x="1218" y="103"/>
                  </a:lnTo>
                  <a:lnTo>
                    <a:pt x="1223" y="107"/>
                  </a:lnTo>
                  <a:lnTo>
                    <a:pt x="1228" y="112"/>
                  </a:lnTo>
                  <a:lnTo>
                    <a:pt x="1232" y="114"/>
                  </a:lnTo>
                  <a:lnTo>
                    <a:pt x="1235" y="115"/>
                  </a:lnTo>
                  <a:lnTo>
                    <a:pt x="1239" y="115"/>
                  </a:lnTo>
                  <a:lnTo>
                    <a:pt x="1244" y="116"/>
                  </a:lnTo>
                  <a:lnTo>
                    <a:pt x="1263" y="129"/>
                  </a:lnTo>
                  <a:lnTo>
                    <a:pt x="1266" y="134"/>
                  </a:lnTo>
                  <a:lnTo>
                    <a:pt x="1271" y="139"/>
                  </a:lnTo>
                  <a:lnTo>
                    <a:pt x="1275" y="144"/>
                  </a:lnTo>
                  <a:lnTo>
                    <a:pt x="1281" y="150"/>
                  </a:lnTo>
                  <a:lnTo>
                    <a:pt x="1295" y="161"/>
                  </a:lnTo>
                  <a:lnTo>
                    <a:pt x="1312" y="171"/>
                  </a:lnTo>
                  <a:lnTo>
                    <a:pt x="1329" y="180"/>
                  </a:lnTo>
                  <a:lnTo>
                    <a:pt x="1347" y="188"/>
                  </a:lnTo>
                  <a:lnTo>
                    <a:pt x="1356" y="190"/>
                  </a:lnTo>
                  <a:lnTo>
                    <a:pt x="1364" y="192"/>
                  </a:lnTo>
                  <a:lnTo>
                    <a:pt x="1372" y="193"/>
                  </a:lnTo>
                  <a:lnTo>
                    <a:pt x="1380" y="193"/>
                  </a:lnTo>
                  <a:lnTo>
                    <a:pt x="1386" y="199"/>
                  </a:lnTo>
                  <a:lnTo>
                    <a:pt x="1394" y="205"/>
                  </a:lnTo>
                  <a:lnTo>
                    <a:pt x="1402" y="210"/>
                  </a:lnTo>
                  <a:lnTo>
                    <a:pt x="1412" y="215"/>
                  </a:lnTo>
                  <a:lnTo>
                    <a:pt x="1421" y="219"/>
                  </a:lnTo>
                  <a:lnTo>
                    <a:pt x="1430" y="222"/>
                  </a:lnTo>
                  <a:lnTo>
                    <a:pt x="1438" y="226"/>
                  </a:lnTo>
                  <a:lnTo>
                    <a:pt x="1445" y="226"/>
                  </a:lnTo>
                  <a:lnTo>
                    <a:pt x="1450" y="239"/>
                  </a:lnTo>
                  <a:lnTo>
                    <a:pt x="1455" y="239"/>
                  </a:lnTo>
                  <a:lnTo>
                    <a:pt x="1459" y="241"/>
                  </a:lnTo>
                  <a:lnTo>
                    <a:pt x="1464" y="244"/>
                  </a:lnTo>
                  <a:lnTo>
                    <a:pt x="1468" y="247"/>
                  </a:lnTo>
                  <a:lnTo>
                    <a:pt x="1478" y="256"/>
                  </a:lnTo>
                  <a:lnTo>
                    <a:pt x="1490" y="265"/>
                  </a:lnTo>
                  <a:lnTo>
                    <a:pt x="1501" y="275"/>
                  </a:lnTo>
                  <a:lnTo>
                    <a:pt x="1511" y="283"/>
                  </a:lnTo>
                  <a:lnTo>
                    <a:pt x="1516" y="286"/>
                  </a:lnTo>
                  <a:lnTo>
                    <a:pt x="1521" y="288"/>
                  </a:lnTo>
                  <a:lnTo>
                    <a:pt x="1525" y="290"/>
                  </a:lnTo>
                  <a:lnTo>
                    <a:pt x="1529" y="290"/>
                  </a:lnTo>
                  <a:lnTo>
                    <a:pt x="1529" y="294"/>
                  </a:lnTo>
                  <a:lnTo>
                    <a:pt x="1531" y="296"/>
                  </a:lnTo>
                  <a:lnTo>
                    <a:pt x="1533" y="298"/>
                  </a:lnTo>
                  <a:lnTo>
                    <a:pt x="1536" y="301"/>
                  </a:lnTo>
                  <a:lnTo>
                    <a:pt x="1542" y="305"/>
                  </a:lnTo>
                  <a:lnTo>
                    <a:pt x="1548" y="311"/>
                  </a:lnTo>
                  <a:lnTo>
                    <a:pt x="1568" y="311"/>
                  </a:lnTo>
                  <a:lnTo>
                    <a:pt x="1571" y="315"/>
                  </a:lnTo>
                  <a:lnTo>
                    <a:pt x="1575" y="318"/>
                  </a:lnTo>
                  <a:lnTo>
                    <a:pt x="1581" y="321"/>
                  </a:lnTo>
                  <a:lnTo>
                    <a:pt x="1588" y="323"/>
                  </a:lnTo>
                  <a:lnTo>
                    <a:pt x="1594" y="326"/>
                  </a:lnTo>
                  <a:lnTo>
                    <a:pt x="1601" y="328"/>
                  </a:lnTo>
                  <a:lnTo>
                    <a:pt x="1608" y="332"/>
                  </a:lnTo>
                  <a:lnTo>
                    <a:pt x="1612" y="336"/>
                  </a:lnTo>
                  <a:lnTo>
                    <a:pt x="1626" y="337"/>
                  </a:lnTo>
                  <a:lnTo>
                    <a:pt x="1638" y="342"/>
                  </a:lnTo>
                  <a:lnTo>
                    <a:pt x="1651" y="346"/>
                  </a:lnTo>
                  <a:lnTo>
                    <a:pt x="1664" y="352"/>
                  </a:lnTo>
                  <a:lnTo>
                    <a:pt x="1676" y="359"/>
                  </a:lnTo>
                  <a:lnTo>
                    <a:pt x="1688" y="363"/>
                  </a:lnTo>
                  <a:lnTo>
                    <a:pt x="1699" y="367"/>
                  </a:lnTo>
                  <a:lnTo>
                    <a:pt x="1709" y="369"/>
                  </a:lnTo>
                  <a:lnTo>
                    <a:pt x="1723" y="382"/>
                  </a:lnTo>
                  <a:lnTo>
                    <a:pt x="1742" y="382"/>
                  </a:lnTo>
                  <a:lnTo>
                    <a:pt x="1751" y="388"/>
                  </a:lnTo>
                  <a:lnTo>
                    <a:pt x="1763" y="393"/>
                  </a:lnTo>
                  <a:lnTo>
                    <a:pt x="1770" y="397"/>
                  </a:lnTo>
                  <a:lnTo>
                    <a:pt x="1776" y="399"/>
                  </a:lnTo>
                  <a:lnTo>
                    <a:pt x="1782" y="400"/>
                  </a:lnTo>
                  <a:lnTo>
                    <a:pt x="1788" y="401"/>
                  </a:lnTo>
                  <a:lnTo>
                    <a:pt x="1788" y="403"/>
                  </a:lnTo>
                  <a:lnTo>
                    <a:pt x="1789" y="404"/>
                  </a:lnTo>
                  <a:lnTo>
                    <a:pt x="1790" y="405"/>
                  </a:lnTo>
                  <a:lnTo>
                    <a:pt x="1792" y="407"/>
                  </a:lnTo>
                  <a:lnTo>
                    <a:pt x="1795" y="408"/>
                  </a:lnTo>
                  <a:lnTo>
                    <a:pt x="1801" y="408"/>
                  </a:lnTo>
                  <a:lnTo>
                    <a:pt x="1807" y="414"/>
                  </a:lnTo>
                  <a:lnTo>
                    <a:pt x="1813" y="427"/>
                  </a:lnTo>
                  <a:lnTo>
                    <a:pt x="1827" y="433"/>
                  </a:lnTo>
                  <a:lnTo>
                    <a:pt x="1839" y="440"/>
                  </a:lnTo>
                  <a:lnTo>
                    <a:pt x="1841" y="443"/>
                  </a:lnTo>
                  <a:lnTo>
                    <a:pt x="1846" y="448"/>
                  </a:lnTo>
                  <a:lnTo>
                    <a:pt x="1852" y="453"/>
                  </a:lnTo>
                  <a:lnTo>
                    <a:pt x="1860" y="458"/>
                  </a:lnTo>
                  <a:lnTo>
                    <a:pt x="1875" y="468"/>
                  </a:lnTo>
                  <a:lnTo>
                    <a:pt x="1885" y="472"/>
                  </a:lnTo>
                  <a:lnTo>
                    <a:pt x="1886" y="475"/>
                  </a:lnTo>
                  <a:lnTo>
                    <a:pt x="1887" y="477"/>
                  </a:lnTo>
                  <a:lnTo>
                    <a:pt x="1889" y="479"/>
                  </a:lnTo>
                  <a:lnTo>
                    <a:pt x="1893" y="481"/>
                  </a:lnTo>
                  <a:lnTo>
                    <a:pt x="1898" y="484"/>
                  </a:lnTo>
                  <a:lnTo>
                    <a:pt x="1904" y="485"/>
                  </a:lnTo>
                  <a:lnTo>
                    <a:pt x="1905" y="489"/>
                  </a:lnTo>
                  <a:lnTo>
                    <a:pt x="1905" y="490"/>
                  </a:lnTo>
                  <a:lnTo>
                    <a:pt x="1906" y="491"/>
                  </a:lnTo>
                  <a:lnTo>
                    <a:pt x="1907" y="491"/>
                  </a:lnTo>
                  <a:lnTo>
                    <a:pt x="1908" y="491"/>
                  </a:lnTo>
                  <a:lnTo>
                    <a:pt x="1909" y="492"/>
                  </a:lnTo>
                  <a:lnTo>
                    <a:pt x="1910" y="495"/>
                  </a:lnTo>
                  <a:lnTo>
                    <a:pt x="1910" y="498"/>
                  </a:lnTo>
                  <a:lnTo>
                    <a:pt x="1920" y="499"/>
                  </a:lnTo>
                  <a:lnTo>
                    <a:pt x="1930" y="501"/>
                  </a:lnTo>
                  <a:lnTo>
                    <a:pt x="1939" y="504"/>
                  </a:lnTo>
                  <a:lnTo>
                    <a:pt x="1949" y="505"/>
                  </a:lnTo>
                  <a:lnTo>
                    <a:pt x="1949" y="508"/>
                  </a:lnTo>
                  <a:lnTo>
                    <a:pt x="1951" y="510"/>
                  </a:lnTo>
                  <a:lnTo>
                    <a:pt x="1952" y="511"/>
                  </a:lnTo>
                  <a:lnTo>
                    <a:pt x="1953" y="511"/>
                  </a:lnTo>
                  <a:lnTo>
                    <a:pt x="1954" y="511"/>
                  </a:lnTo>
                  <a:lnTo>
                    <a:pt x="1955" y="511"/>
                  </a:lnTo>
                  <a:lnTo>
                    <a:pt x="1956" y="514"/>
                  </a:lnTo>
                  <a:lnTo>
                    <a:pt x="1956" y="517"/>
                  </a:lnTo>
                  <a:lnTo>
                    <a:pt x="1975" y="517"/>
                  </a:lnTo>
                  <a:lnTo>
                    <a:pt x="1976" y="519"/>
                  </a:lnTo>
                  <a:lnTo>
                    <a:pt x="1977" y="522"/>
                  </a:lnTo>
                  <a:lnTo>
                    <a:pt x="1980" y="523"/>
                  </a:lnTo>
                  <a:lnTo>
                    <a:pt x="1983" y="523"/>
                  </a:lnTo>
                  <a:lnTo>
                    <a:pt x="1990" y="524"/>
                  </a:lnTo>
                  <a:lnTo>
                    <a:pt x="1995" y="524"/>
                  </a:lnTo>
                  <a:lnTo>
                    <a:pt x="1995" y="526"/>
                  </a:lnTo>
                  <a:lnTo>
                    <a:pt x="1996" y="528"/>
                  </a:lnTo>
                  <a:lnTo>
                    <a:pt x="1997" y="529"/>
                  </a:lnTo>
                  <a:lnTo>
                    <a:pt x="1999" y="529"/>
                  </a:lnTo>
                  <a:lnTo>
                    <a:pt x="2003" y="530"/>
                  </a:lnTo>
                  <a:lnTo>
                    <a:pt x="2007" y="530"/>
                  </a:lnTo>
                  <a:lnTo>
                    <a:pt x="2007" y="544"/>
                  </a:lnTo>
                  <a:lnTo>
                    <a:pt x="2012" y="544"/>
                  </a:lnTo>
                  <a:lnTo>
                    <a:pt x="2013" y="545"/>
                  </a:lnTo>
                  <a:lnTo>
                    <a:pt x="2014" y="545"/>
                  </a:lnTo>
                  <a:lnTo>
                    <a:pt x="2014" y="547"/>
                  </a:lnTo>
                  <a:lnTo>
                    <a:pt x="2014" y="548"/>
                  </a:lnTo>
                  <a:lnTo>
                    <a:pt x="2015" y="549"/>
                  </a:lnTo>
                  <a:lnTo>
                    <a:pt x="2018" y="549"/>
                  </a:lnTo>
                  <a:lnTo>
                    <a:pt x="2021" y="549"/>
                  </a:lnTo>
                  <a:lnTo>
                    <a:pt x="2023" y="573"/>
                  </a:lnTo>
                  <a:lnTo>
                    <a:pt x="2028" y="600"/>
                  </a:lnTo>
                  <a:lnTo>
                    <a:pt x="2032" y="628"/>
                  </a:lnTo>
                  <a:lnTo>
                    <a:pt x="2033" y="653"/>
                  </a:lnTo>
                  <a:lnTo>
                    <a:pt x="2032" y="654"/>
                  </a:lnTo>
                  <a:lnTo>
                    <a:pt x="2030" y="655"/>
                  </a:lnTo>
                  <a:lnTo>
                    <a:pt x="2029" y="658"/>
                  </a:lnTo>
                  <a:lnTo>
                    <a:pt x="2028" y="661"/>
                  </a:lnTo>
                  <a:lnTo>
                    <a:pt x="2028" y="667"/>
                  </a:lnTo>
                  <a:lnTo>
                    <a:pt x="2028" y="673"/>
                  </a:lnTo>
                  <a:lnTo>
                    <a:pt x="2025" y="673"/>
                  </a:lnTo>
                  <a:lnTo>
                    <a:pt x="2023" y="674"/>
                  </a:lnTo>
                  <a:lnTo>
                    <a:pt x="2022" y="676"/>
                  </a:lnTo>
                  <a:lnTo>
                    <a:pt x="2022" y="677"/>
                  </a:lnTo>
                  <a:lnTo>
                    <a:pt x="2021" y="681"/>
                  </a:lnTo>
                  <a:lnTo>
                    <a:pt x="2021" y="686"/>
                  </a:lnTo>
                  <a:lnTo>
                    <a:pt x="2007" y="686"/>
                  </a:lnTo>
                  <a:lnTo>
                    <a:pt x="2001" y="692"/>
                  </a:lnTo>
                  <a:lnTo>
                    <a:pt x="1995" y="699"/>
                  </a:lnTo>
                  <a:lnTo>
                    <a:pt x="1995" y="709"/>
                  </a:lnTo>
                  <a:lnTo>
                    <a:pt x="1995" y="718"/>
                  </a:lnTo>
                  <a:lnTo>
                    <a:pt x="1993" y="720"/>
                  </a:lnTo>
                  <a:lnTo>
                    <a:pt x="1991" y="724"/>
                  </a:lnTo>
                  <a:lnTo>
                    <a:pt x="1990" y="729"/>
                  </a:lnTo>
                  <a:lnTo>
                    <a:pt x="1990" y="735"/>
                  </a:lnTo>
                  <a:lnTo>
                    <a:pt x="1989" y="748"/>
                  </a:lnTo>
                  <a:lnTo>
                    <a:pt x="1989" y="757"/>
                  </a:lnTo>
                  <a:lnTo>
                    <a:pt x="1991" y="758"/>
                  </a:lnTo>
                  <a:lnTo>
                    <a:pt x="1992" y="760"/>
                  </a:lnTo>
                  <a:lnTo>
                    <a:pt x="1993" y="764"/>
                  </a:lnTo>
                  <a:lnTo>
                    <a:pt x="1994" y="767"/>
                  </a:lnTo>
                  <a:lnTo>
                    <a:pt x="1994" y="778"/>
                  </a:lnTo>
                  <a:lnTo>
                    <a:pt x="1993" y="792"/>
                  </a:lnTo>
                  <a:lnTo>
                    <a:pt x="1990" y="817"/>
                  </a:lnTo>
                  <a:lnTo>
                    <a:pt x="1989" y="835"/>
                  </a:lnTo>
                  <a:lnTo>
                    <a:pt x="1986" y="835"/>
                  </a:lnTo>
                  <a:lnTo>
                    <a:pt x="1985" y="836"/>
                  </a:lnTo>
                  <a:lnTo>
                    <a:pt x="1983" y="837"/>
                  </a:lnTo>
                  <a:lnTo>
                    <a:pt x="1983" y="838"/>
                  </a:lnTo>
                  <a:lnTo>
                    <a:pt x="1982" y="843"/>
                  </a:lnTo>
                  <a:lnTo>
                    <a:pt x="1982" y="847"/>
                  </a:lnTo>
                  <a:lnTo>
                    <a:pt x="1978" y="850"/>
                  </a:lnTo>
                  <a:lnTo>
                    <a:pt x="1975" y="853"/>
                  </a:lnTo>
                  <a:lnTo>
                    <a:pt x="1971" y="857"/>
                  </a:lnTo>
                  <a:lnTo>
                    <a:pt x="1965" y="864"/>
                  </a:lnTo>
                  <a:lnTo>
                    <a:pt x="1959" y="870"/>
                  </a:lnTo>
                  <a:lnTo>
                    <a:pt x="1954" y="875"/>
                  </a:lnTo>
                  <a:lnTo>
                    <a:pt x="1948" y="879"/>
                  </a:lnTo>
                  <a:lnTo>
                    <a:pt x="1943" y="880"/>
                  </a:lnTo>
                  <a:lnTo>
                    <a:pt x="1934" y="890"/>
                  </a:lnTo>
                  <a:lnTo>
                    <a:pt x="1924" y="900"/>
                  </a:lnTo>
                  <a:lnTo>
                    <a:pt x="1910" y="900"/>
                  </a:lnTo>
                  <a:lnTo>
                    <a:pt x="1910" y="902"/>
                  </a:lnTo>
                  <a:lnTo>
                    <a:pt x="1908" y="904"/>
                  </a:lnTo>
                  <a:lnTo>
                    <a:pt x="1906" y="907"/>
                  </a:lnTo>
                  <a:lnTo>
                    <a:pt x="1904" y="909"/>
                  </a:lnTo>
                  <a:lnTo>
                    <a:pt x="1897" y="911"/>
                  </a:lnTo>
                  <a:lnTo>
                    <a:pt x="1891" y="912"/>
                  </a:lnTo>
                  <a:lnTo>
                    <a:pt x="1871" y="932"/>
                  </a:lnTo>
                  <a:lnTo>
                    <a:pt x="1871" y="945"/>
                  </a:lnTo>
                  <a:lnTo>
                    <a:pt x="1870" y="946"/>
                  </a:lnTo>
                  <a:lnTo>
                    <a:pt x="1868" y="947"/>
                  </a:lnTo>
                  <a:lnTo>
                    <a:pt x="1867" y="949"/>
                  </a:lnTo>
                  <a:lnTo>
                    <a:pt x="1866" y="952"/>
                  </a:lnTo>
                  <a:lnTo>
                    <a:pt x="1866" y="959"/>
                  </a:lnTo>
                  <a:lnTo>
                    <a:pt x="1866" y="965"/>
                  </a:lnTo>
                  <a:lnTo>
                    <a:pt x="1852" y="965"/>
                  </a:lnTo>
                  <a:lnTo>
                    <a:pt x="1852" y="969"/>
                  </a:lnTo>
                  <a:lnTo>
                    <a:pt x="1850" y="972"/>
                  </a:lnTo>
                  <a:lnTo>
                    <a:pt x="1848" y="977"/>
                  </a:lnTo>
                  <a:lnTo>
                    <a:pt x="1846" y="979"/>
                  </a:lnTo>
                  <a:lnTo>
                    <a:pt x="1839" y="985"/>
                  </a:lnTo>
                  <a:lnTo>
                    <a:pt x="1833" y="990"/>
                  </a:lnTo>
                  <a:lnTo>
                    <a:pt x="1820" y="990"/>
                  </a:lnTo>
                  <a:lnTo>
                    <a:pt x="1819" y="992"/>
                  </a:lnTo>
                  <a:lnTo>
                    <a:pt x="1815" y="994"/>
                  </a:lnTo>
                  <a:lnTo>
                    <a:pt x="1812" y="996"/>
                  </a:lnTo>
                  <a:lnTo>
                    <a:pt x="1807" y="997"/>
                  </a:lnTo>
                  <a:lnTo>
                    <a:pt x="1802" y="999"/>
                  </a:lnTo>
                  <a:lnTo>
                    <a:pt x="1798" y="1003"/>
                  </a:lnTo>
                  <a:lnTo>
                    <a:pt x="1795" y="1005"/>
                  </a:lnTo>
                  <a:lnTo>
                    <a:pt x="1794" y="1009"/>
                  </a:lnTo>
                  <a:lnTo>
                    <a:pt x="1781" y="1009"/>
                  </a:lnTo>
                  <a:lnTo>
                    <a:pt x="1774" y="1016"/>
                  </a:lnTo>
                  <a:lnTo>
                    <a:pt x="1765" y="1025"/>
                  </a:lnTo>
                  <a:lnTo>
                    <a:pt x="1760" y="1029"/>
                  </a:lnTo>
                  <a:lnTo>
                    <a:pt x="1755" y="1033"/>
                  </a:lnTo>
                  <a:lnTo>
                    <a:pt x="1752" y="1035"/>
                  </a:lnTo>
                  <a:lnTo>
                    <a:pt x="1748" y="1036"/>
                  </a:lnTo>
                  <a:lnTo>
                    <a:pt x="1748" y="1038"/>
                  </a:lnTo>
                  <a:lnTo>
                    <a:pt x="1746" y="1042"/>
                  </a:lnTo>
                  <a:lnTo>
                    <a:pt x="1744" y="1045"/>
                  </a:lnTo>
                  <a:lnTo>
                    <a:pt x="1742" y="1047"/>
                  </a:lnTo>
                  <a:lnTo>
                    <a:pt x="1738" y="1051"/>
                  </a:lnTo>
                  <a:lnTo>
                    <a:pt x="1735" y="1053"/>
                  </a:lnTo>
                  <a:lnTo>
                    <a:pt x="1732" y="1054"/>
                  </a:lnTo>
                  <a:lnTo>
                    <a:pt x="1730" y="1055"/>
                  </a:lnTo>
                  <a:lnTo>
                    <a:pt x="1728" y="1061"/>
                  </a:lnTo>
                  <a:lnTo>
                    <a:pt x="1725" y="1067"/>
                  </a:lnTo>
                  <a:lnTo>
                    <a:pt x="1721" y="1075"/>
                  </a:lnTo>
                  <a:lnTo>
                    <a:pt x="1715" y="1083"/>
                  </a:lnTo>
                  <a:lnTo>
                    <a:pt x="1711" y="1090"/>
                  </a:lnTo>
                  <a:lnTo>
                    <a:pt x="1705" y="1095"/>
                  </a:lnTo>
                  <a:lnTo>
                    <a:pt x="1700" y="1099"/>
                  </a:lnTo>
                  <a:lnTo>
                    <a:pt x="1697" y="1101"/>
                  </a:lnTo>
                  <a:lnTo>
                    <a:pt x="1696" y="1106"/>
                  </a:lnTo>
                  <a:lnTo>
                    <a:pt x="1694" y="1115"/>
                  </a:lnTo>
                  <a:lnTo>
                    <a:pt x="1690" y="1124"/>
                  </a:lnTo>
                  <a:lnTo>
                    <a:pt x="1686" y="1134"/>
                  </a:lnTo>
                  <a:lnTo>
                    <a:pt x="1682" y="1143"/>
                  </a:lnTo>
                  <a:lnTo>
                    <a:pt x="1678" y="1151"/>
                  </a:lnTo>
                  <a:lnTo>
                    <a:pt x="1674" y="1157"/>
                  </a:lnTo>
                  <a:lnTo>
                    <a:pt x="1671" y="1159"/>
                  </a:lnTo>
                  <a:lnTo>
                    <a:pt x="1679" y="1195"/>
                  </a:lnTo>
                  <a:lnTo>
                    <a:pt x="1688" y="1230"/>
                  </a:lnTo>
                  <a:lnTo>
                    <a:pt x="1695" y="1265"/>
                  </a:lnTo>
                  <a:lnTo>
                    <a:pt x="1703" y="1298"/>
                  </a:lnTo>
                  <a:lnTo>
                    <a:pt x="1693" y="1299"/>
                  </a:lnTo>
                  <a:lnTo>
                    <a:pt x="1688" y="1299"/>
                  </a:lnTo>
                  <a:lnTo>
                    <a:pt x="1686" y="1301"/>
                  </a:lnTo>
                  <a:lnTo>
                    <a:pt x="1685" y="1301"/>
                  </a:lnTo>
                  <a:lnTo>
                    <a:pt x="1685" y="1302"/>
                  </a:lnTo>
                  <a:lnTo>
                    <a:pt x="1685" y="1303"/>
                  </a:lnTo>
                  <a:lnTo>
                    <a:pt x="1684" y="1303"/>
                  </a:lnTo>
                  <a:lnTo>
                    <a:pt x="1680" y="1303"/>
                  </a:lnTo>
                  <a:lnTo>
                    <a:pt x="1676" y="1312"/>
                  </a:lnTo>
                  <a:lnTo>
                    <a:pt x="1665" y="1318"/>
                  </a:lnTo>
                  <a:lnTo>
                    <a:pt x="1654" y="1325"/>
                  </a:lnTo>
                  <a:lnTo>
                    <a:pt x="1649" y="1330"/>
                  </a:lnTo>
                  <a:lnTo>
                    <a:pt x="1645" y="1334"/>
                  </a:lnTo>
                  <a:lnTo>
                    <a:pt x="1645" y="1343"/>
                  </a:lnTo>
                  <a:lnTo>
                    <a:pt x="1640" y="1347"/>
                  </a:lnTo>
                  <a:lnTo>
                    <a:pt x="1636" y="1352"/>
                  </a:lnTo>
                  <a:lnTo>
                    <a:pt x="1636" y="1365"/>
                  </a:lnTo>
                  <a:lnTo>
                    <a:pt x="1631" y="1371"/>
                  </a:lnTo>
                  <a:lnTo>
                    <a:pt x="1627" y="1379"/>
                  </a:lnTo>
                  <a:lnTo>
                    <a:pt x="1623" y="1379"/>
                  </a:lnTo>
                  <a:lnTo>
                    <a:pt x="1621" y="1380"/>
                  </a:lnTo>
                  <a:lnTo>
                    <a:pt x="1619" y="1381"/>
                  </a:lnTo>
                  <a:lnTo>
                    <a:pt x="1618" y="1383"/>
                  </a:lnTo>
                  <a:lnTo>
                    <a:pt x="1610" y="1385"/>
                  </a:lnTo>
                  <a:lnTo>
                    <a:pt x="1604" y="1388"/>
                  </a:lnTo>
                  <a:lnTo>
                    <a:pt x="1497" y="1383"/>
                  </a:lnTo>
                  <a:lnTo>
                    <a:pt x="1496" y="1386"/>
                  </a:lnTo>
                  <a:lnTo>
                    <a:pt x="1493" y="1390"/>
                  </a:lnTo>
                  <a:lnTo>
                    <a:pt x="1491" y="1392"/>
                  </a:lnTo>
                  <a:lnTo>
                    <a:pt x="1488" y="1392"/>
                  </a:lnTo>
                  <a:lnTo>
                    <a:pt x="1488" y="1397"/>
                  </a:lnTo>
                  <a:lnTo>
                    <a:pt x="1486" y="1401"/>
                  </a:lnTo>
                  <a:lnTo>
                    <a:pt x="1483" y="1404"/>
                  </a:lnTo>
                  <a:lnTo>
                    <a:pt x="1479" y="1405"/>
                  </a:lnTo>
                  <a:lnTo>
                    <a:pt x="1479" y="1414"/>
                  </a:lnTo>
                  <a:lnTo>
                    <a:pt x="1476" y="1414"/>
                  </a:lnTo>
                  <a:lnTo>
                    <a:pt x="1474" y="1415"/>
                  </a:lnTo>
                  <a:lnTo>
                    <a:pt x="1472" y="1417"/>
                  </a:lnTo>
                  <a:lnTo>
                    <a:pt x="1471" y="1419"/>
                  </a:lnTo>
                  <a:lnTo>
                    <a:pt x="1381" y="1419"/>
                  </a:lnTo>
                  <a:lnTo>
                    <a:pt x="1376" y="1417"/>
                  </a:lnTo>
                  <a:lnTo>
                    <a:pt x="1368" y="1415"/>
                  </a:lnTo>
                  <a:lnTo>
                    <a:pt x="1359" y="1414"/>
                  </a:lnTo>
                  <a:lnTo>
                    <a:pt x="1350" y="1414"/>
                  </a:lnTo>
                  <a:lnTo>
                    <a:pt x="1350" y="1417"/>
                  </a:lnTo>
                  <a:lnTo>
                    <a:pt x="1349" y="1418"/>
                  </a:lnTo>
                  <a:lnTo>
                    <a:pt x="1348" y="1418"/>
                  </a:lnTo>
                  <a:lnTo>
                    <a:pt x="1346" y="1419"/>
                  </a:lnTo>
                  <a:lnTo>
                    <a:pt x="1341" y="1419"/>
                  </a:lnTo>
                  <a:lnTo>
                    <a:pt x="1337" y="1419"/>
                  </a:lnTo>
                  <a:lnTo>
                    <a:pt x="1332" y="1434"/>
                  </a:lnTo>
                  <a:lnTo>
                    <a:pt x="1328" y="1446"/>
                  </a:lnTo>
                  <a:lnTo>
                    <a:pt x="1325" y="1447"/>
                  </a:lnTo>
                  <a:lnTo>
                    <a:pt x="1322" y="1449"/>
                  </a:lnTo>
                  <a:lnTo>
                    <a:pt x="1320" y="1451"/>
                  </a:lnTo>
                  <a:lnTo>
                    <a:pt x="1319" y="1455"/>
                  </a:lnTo>
                  <a:lnTo>
                    <a:pt x="1314" y="1459"/>
                  </a:lnTo>
                  <a:lnTo>
                    <a:pt x="1301" y="1459"/>
                  </a:lnTo>
                  <a:lnTo>
                    <a:pt x="1296" y="1462"/>
                  </a:lnTo>
                  <a:lnTo>
                    <a:pt x="1291" y="1465"/>
                  </a:lnTo>
                  <a:lnTo>
                    <a:pt x="1282" y="1466"/>
                  </a:lnTo>
                  <a:lnTo>
                    <a:pt x="1273" y="1467"/>
                  </a:lnTo>
                  <a:lnTo>
                    <a:pt x="1253" y="1468"/>
                  </a:lnTo>
                  <a:lnTo>
                    <a:pt x="1235" y="1468"/>
                  </a:lnTo>
                  <a:lnTo>
                    <a:pt x="1232" y="1465"/>
                  </a:lnTo>
                  <a:lnTo>
                    <a:pt x="1228" y="1460"/>
                  </a:lnTo>
                  <a:lnTo>
                    <a:pt x="1223" y="1457"/>
                  </a:lnTo>
                  <a:lnTo>
                    <a:pt x="1216" y="1452"/>
                  </a:lnTo>
                  <a:lnTo>
                    <a:pt x="1202" y="1442"/>
                  </a:lnTo>
                  <a:lnTo>
                    <a:pt x="1185" y="1431"/>
                  </a:lnTo>
                  <a:lnTo>
                    <a:pt x="1167" y="1420"/>
                  </a:lnTo>
                  <a:lnTo>
                    <a:pt x="1150" y="1409"/>
                  </a:lnTo>
                  <a:lnTo>
                    <a:pt x="1143" y="1403"/>
                  </a:lnTo>
                  <a:lnTo>
                    <a:pt x="1137" y="1399"/>
                  </a:lnTo>
                  <a:lnTo>
                    <a:pt x="1131" y="1393"/>
                  </a:lnTo>
                  <a:lnTo>
                    <a:pt x="1128" y="1388"/>
                  </a:lnTo>
                  <a:lnTo>
                    <a:pt x="1124" y="1388"/>
                  </a:lnTo>
                  <a:lnTo>
                    <a:pt x="1120" y="1385"/>
                  </a:lnTo>
                  <a:lnTo>
                    <a:pt x="1117" y="1383"/>
                  </a:lnTo>
                  <a:lnTo>
                    <a:pt x="1112" y="1380"/>
                  </a:lnTo>
                  <a:lnTo>
                    <a:pt x="1103" y="1371"/>
                  </a:lnTo>
                  <a:lnTo>
                    <a:pt x="1093" y="1361"/>
                  </a:lnTo>
                  <a:lnTo>
                    <a:pt x="1084" y="1351"/>
                  </a:lnTo>
                  <a:lnTo>
                    <a:pt x="1074" y="1343"/>
                  </a:lnTo>
                  <a:lnTo>
                    <a:pt x="1070" y="1340"/>
                  </a:lnTo>
                  <a:lnTo>
                    <a:pt x="1065" y="1336"/>
                  </a:lnTo>
                  <a:lnTo>
                    <a:pt x="1061" y="1335"/>
                  </a:lnTo>
                  <a:lnTo>
                    <a:pt x="1056" y="1334"/>
                  </a:lnTo>
                  <a:lnTo>
                    <a:pt x="1054" y="1331"/>
                  </a:lnTo>
                  <a:lnTo>
                    <a:pt x="1051" y="1328"/>
                  </a:lnTo>
                  <a:lnTo>
                    <a:pt x="1046" y="1326"/>
                  </a:lnTo>
                  <a:lnTo>
                    <a:pt x="1043" y="1325"/>
                  </a:lnTo>
                  <a:lnTo>
                    <a:pt x="1041" y="1321"/>
                  </a:lnTo>
                  <a:lnTo>
                    <a:pt x="1039" y="1316"/>
                  </a:lnTo>
                  <a:lnTo>
                    <a:pt x="1028" y="1315"/>
                  </a:lnTo>
                  <a:lnTo>
                    <a:pt x="1011" y="1312"/>
                  </a:lnTo>
                  <a:lnTo>
                    <a:pt x="1002" y="1284"/>
                  </a:lnTo>
                  <a:lnTo>
                    <a:pt x="993" y="1259"/>
                  </a:lnTo>
                  <a:lnTo>
                    <a:pt x="985" y="1238"/>
                  </a:lnTo>
                  <a:lnTo>
                    <a:pt x="980" y="1222"/>
                  </a:lnTo>
                  <a:lnTo>
                    <a:pt x="978" y="1208"/>
                  </a:lnTo>
                  <a:lnTo>
                    <a:pt x="978" y="1187"/>
                  </a:lnTo>
                  <a:lnTo>
                    <a:pt x="979" y="1160"/>
                  </a:lnTo>
                  <a:lnTo>
                    <a:pt x="980" y="1131"/>
                  </a:lnTo>
                  <a:lnTo>
                    <a:pt x="983" y="1101"/>
                  </a:lnTo>
                  <a:lnTo>
                    <a:pt x="985" y="1073"/>
                  </a:lnTo>
                  <a:lnTo>
                    <a:pt x="986" y="1048"/>
                  </a:lnTo>
                  <a:lnTo>
                    <a:pt x="987" y="1029"/>
                  </a:lnTo>
                  <a:lnTo>
                    <a:pt x="973" y="1015"/>
                  </a:lnTo>
                  <a:lnTo>
                    <a:pt x="973" y="1010"/>
                  </a:lnTo>
                  <a:lnTo>
                    <a:pt x="970" y="1004"/>
                  </a:lnTo>
                  <a:lnTo>
                    <a:pt x="968" y="997"/>
                  </a:lnTo>
                  <a:lnTo>
                    <a:pt x="965" y="989"/>
                  </a:lnTo>
                  <a:lnTo>
                    <a:pt x="957" y="975"/>
                  </a:lnTo>
                  <a:lnTo>
                    <a:pt x="950" y="961"/>
                  </a:lnTo>
                  <a:lnTo>
                    <a:pt x="944" y="951"/>
                  </a:lnTo>
                  <a:lnTo>
                    <a:pt x="941" y="945"/>
                  </a:lnTo>
                  <a:lnTo>
                    <a:pt x="941" y="943"/>
                  </a:lnTo>
                  <a:lnTo>
                    <a:pt x="944" y="945"/>
                  </a:lnTo>
                  <a:lnTo>
                    <a:pt x="947" y="948"/>
                  </a:lnTo>
                  <a:lnTo>
                    <a:pt x="953" y="953"/>
                  </a:lnTo>
                  <a:lnTo>
                    <a:pt x="946" y="960"/>
                  </a:lnTo>
                  <a:lnTo>
                    <a:pt x="931" y="960"/>
                  </a:lnTo>
                  <a:lnTo>
                    <a:pt x="931" y="963"/>
                  </a:lnTo>
                  <a:lnTo>
                    <a:pt x="930" y="966"/>
                  </a:lnTo>
                  <a:lnTo>
                    <a:pt x="929" y="967"/>
                  </a:lnTo>
                  <a:lnTo>
                    <a:pt x="928" y="967"/>
                  </a:lnTo>
                  <a:lnTo>
                    <a:pt x="927" y="967"/>
                  </a:lnTo>
                  <a:lnTo>
                    <a:pt x="926" y="968"/>
                  </a:lnTo>
                  <a:lnTo>
                    <a:pt x="925" y="970"/>
                  </a:lnTo>
                  <a:lnTo>
                    <a:pt x="925" y="974"/>
                  </a:lnTo>
                  <a:lnTo>
                    <a:pt x="919" y="975"/>
                  </a:lnTo>
                  <a:lnTo>
                    <a:pt x="912" y="978"/>
                  </a:lnTo>
                  <a:lnTo>
                    <a:pt x="909" y="980"/>
                  </a:lnTo>
                  <a:lnTo>
                    <a:pt x="907" y="982"/>
                  </a:lnTo>
                  <a:lnTo>
                    <a:pt x="905" y="985"/>
                  </a:lnTo>
                  <a:lnTo>
                    <a:pt x="905" y="988"/>
                  </a:lnTo>
                  <a:lnTo>
                    <a:pt x="899" y="988"/>
                  </a:lnTo>
                  <a:lnTo>
                    <a:pt x="895" y="988"/>
                  </a:lnTo>
                  <a:lnTo>
                    <a:pt x="892" y="989"/>
                  </a:lnTo>
                  <a:lnTo>
                    <a:pt x="891" y="990"/>
                  </a:lnTo>
                  <a:lnTo>
                    <a:pt x="890" y="992"/>
                  </a:lnTo>
                  <a:lnTo>
                    <a:pt x="890" y="995"/>
                  </a:lnTo>
                  <a:lnTo>
                    <a:pt x="877" y="995"/>
                  </a:lnTo>
                  <a:lnTo>
                    <a:pt x="870" y="1001"/>
                  </a:lnTo>
                  <a:lnTo>
                    <a:pt x="867" y="1015"/>
                  </a:lnTo>
                  <a:lnTo>
                    <a:pt x="862" y="1029"/>
                  </a:lnTo>
                  <a:lnTo>
                    <a:pt x="849" y="1029"/>
                  </a:lnTo>
                  <a:lnTo>
                    <a:pt x="842" y="1043"/>
                  </a:lnTo>
                  <a:lnTo>
                    <a:pt x="835" y="1056"/>
                  </a:lnTo>
                  <a:lnTo>
                    <a:pt x="831" y="1057"/>
                  </a:lnTo>
                  <a:lnTo>
                    <a:pt x="829" y="1057"/>
                  </a:lnTo>
                  <a:lnTo>
                    <a:pt x="829" y="1058"/>
                  </a:lnTo>
                  <a:lnTo>
                    <a:pt x="829" y="1061"/>
                  </a:lnTo>
                  <a:lnTo>
                    <a:pt x="828" y="1062"/>
                  </a:lnTo>
                  <a:lnTo>
                    <a:pt x="828" y="1063"/>
                  </a:lnTo>
                  <a:lnTo>
                    <a:pt x="825" y="1063"/>
                  </a:lnTo>
                  <a:lnTo>
                    <a:pt x="821" y="1064"/>
                  </a:lnTo>
                  <a:lnTo>
                    <a:pt x="821" y="1072"/>
                  </a:lnTo>
                  <a:lnTo>
                    <a:pt x="821" y="1083"/>
                  </a:lnTo>
                  <a:lnTo>
                    <a:pt x="820" y="1088"/>
                  </a:lnTo>
                  <a:lnTo>
                    <a:pt x="819" y="1094"/>
                  </a:lnTo>
                  <a:lnTo>
                    <a:pt x="816" y="1097"/>
                  </a:lnTo>
                  <a:lnTo>
                    <a:pt x="814" y="1099"/>
                  </a:lnTo>
                  <a:lnTo>
                    <a:pt x="811" y="1112"/>
                  </a:lnTo>
                  <a:lnTo>
                    <a:pt x="807" y="1125"/>
                  </a:lnTo>
                  <a:lnTo>
                    <a:pt x="800" y="1126"/>
                  </a:lnTo>
                  <a:lnTo>
                    <a:pt x="793" y="1129"/>
                  </a:lnTo>
                  <a:lnTo>
                    <a:pt x="786" y="1132"/>
                  </a:lnTo>
                  <a:lnTo>
                    <a:pt x="780" y="1136"/>
                  </a:lnTo>
                  <a:lnTo>
                    <a:pt x="773" y="1140"/>
                  </a:lnTo>
                  <a:lnTo>
                    <a:pt x="766" y="1143"/>
                  </a:lnTo>
                  <a:lnTo>
                    <a:pt x="759" y="1145"/>
                  </a:lnTo>
                  <a:lnTo>
                    <a:pt x="753" y="1147"/>
                  </a:lnTo>
                  <a:lnTo>
                    <a:pt x="752" y="1150"/>
                  </a:lnTo>
                  <a:lnTo>
                    <a:pt x="752" y="1152"/>
                  </a:lnTo>
                  <a:lnTo>
                    <a:pt x="751" y="1153"/>
                  </a:lnTo>
                  <a:lnTo>
                    <a:pt x="748" y="1153"/>
                  </a:lnTo>
                  <a:lnTo>
                    <a:pt x="747" y="1153"/>
                  </a:lnTo>
                  <a:lnTo>
                    <a:pt x="746" y="1154"/>
                  </a:lnTo>
                  <a:lnTo>
                    <a:pt x="746" y="1157"/>
                  </a:lnTo>
                  <a:lnTo>
                    <a:pt x="745" y="1160"/>
                  </a:lnTo>
                  <a:lnTo>
                    <a:pt x="740" y="1161"/>
                  </a:lnTo>
                  <a:lnTo>
                    <a:pt x="736" y="1164"/>
                  </a:lnTo>
                  <a:lnTo>
                    <a:pt x="733" y="1169"/>
                  </a:lnTo>
                  <a:lnTo>
                    <a:pt x="732" y="1174"/>
                  </a:lnTo>
                  <a:lnTo>
                    <a:pt x="727" y="1174"/>
                  </a:lnTo>
                  <a:lnTo>
                    <a:pt x="726" y="1176"/>
                  </a:lnTo>
                  <a:lnTo>
                    <a:pt x="725" y="1177"/>
                  </a:lnTo>
                  <a:lnTo>
                    <a:pt x="725" y="1178"/>
                  </a:lnTo>
                  <a:lnTo>
                    <a:pt x="725" y="1179"/>
                  </a:lnTo>
                  <a:lnTo>
                    <a:pt x="724" y="1180"/>
                  </a:lnTo>
                  <a:lnTo>
                    <a:pt x="721" y="1181"/>
                  </a:lnTo>
                  <a:lnTo>
                    <a:pt x="718" y="1181"/>
                  </a:lnTo>
                  <a:lnTo>
                    <a:pt x="717" y="1191"/>
                  </a:lnTo>
                  <a:lnTo>
                    <a:pt x="714" y="1201"/>
                  </a:lnTo>
                  <a:lnTo>
                    <a:pt x="711" y="1212"/>
                  </a:lnTo>
                  <a:lnTo>
                    <a:pt x="710" y="1222"/>
                  </a:lnTo>
                  <a:lnTo>
                    <a:pt x="707" y="1226"/>
                  </a:lnTo>
                  <a:lnTo>
                    <a:pt x="700" y="1234"/>
                  </a:lnTo>
                  <a:lnTo>
                    <a:pt x="697" y="1238"/>
                  </a:lnTo>
                  <a:lnTo>
                    <a:pt x="694" y="1242"/>
                  </a:lnTo>
                  <a:lnTo>
                    <a:pt x="691" y="1247"/>
                  </a:lnTo>
                  <a:lnTo>
                    <a:pt x="690" y="1250"/>
                  </a:lnTo>
                  <a:lnTo>
                    <a:pt x="669" y="1250"/>
                  </a:lnTo>
                  <a:lnTo>
                    <a:pt x="662" y="1257"/>
                  </a:lnTo>
                  <a:lnTo>
                    <a:pt x="662" y="1255"/>
                  </a:lnTo>
                  <a:lnTo>
                    <a:pt x="661" y="1253"/>
                  </a:lnTo>
                  <a:lnTo>
                    <a:pt x="660" y="1251"/>
                  </a:lnTo>
                  <a:lnTo>
                    <a:pt x="658" y="1250"/>
                  </a:lnTo>
                  <a:lnTo>
                    <a:pt x="653" y="1250"/>
                  </a:lnTo>
                  <a:lnTo>
                    <a:pt x="649" y="1250"/>
                  </a:lnTo>
                  <a:lnTo>
                    <a:pt x="642" y="1236"/>
                  </a:lnTo>
                  <a:lnTo>
                    <a:pt x="634" y="1222"/>
                  </a:lnTo>
                  <a:lnTo>
                    <a:pt x="623" y="1222"/>
                  </a:lnTo>
                  <a:lnTo>
                    <a:pt x="604" y="1221"/>
                  </a:lnTo>
                  <a:lnTo>
                    <a:pt x="595" y="1220"/>
                  </a:lnTo>
                  <a:lnTo>
                    <a:pt x="588" y="1219"/>
                  </a:lnTo>
                  <a:lnTo>
                    <a:pt x="582" y="1218"/>
                  </a:lnTo>
                  <a:lnTo>
                    <a:pt x="580" y="1216"/>
                  </a:lnTo>
                  <a:lnTo>
                    <a:pt x="572" y="1216"/>
                  </a:lnTo>
                  <a:lnTo>
                    <a:pt x="563" y="1215"/>
                  </a:lnTo>
                  <a:lnTo>
                    <a:pt x="559" y="1213"/>
                  </a:lnTo>
                  <a:lnTo>
                    <a:pt x="555" y="1212"/>
                  </a:lnTo>
                  <a:lnTo>
                    <a:pt x="553" y="1211"/>
                  </a:lnTo>
                  <a:lnTo>
                    <a:pt x="552" y="1209"/>
                  </a:lnTo>
                  <a:lnTo>
                    <a:pt x="532" y="1209"/>
                  </a:lnTo>
                  <a:lnTo>
                    <a:pt x="529" y="1206"/>
                  </a:lnTo>
                  <a:lnTo>
                    <a:pt x="527" y="1201"/>
                  </a:lnTo>
                  <a:lnTo>
                    <a:pt x="522" y="1197"/>
                  </a:lnTo>
                  <a:lnTo>
                    <a:pt x="516" y="1192"/>
                  </a:lnTo>
                  <a:lnTo>
                    <a:pt x="511" y="1188"/>
                  </a:lnTo>
                  <a:lnTo>
                    <a:pt x="505" y="1184"/>
                  </a:lnTo>
                  <a:lnTo>
                    <a:pt x="500" y="1182"/>
                  </a:lnTo>
                  <a:lnTo>
                    <a:pt x="497" y="1181"/>
                  </a:lnTo>
                  <a:lnTo>
                    <a:pt x="489" y="1171"/>
                  </a:lnTo>
                  <a:lnTo>
                    <a:pt x="483" y="1160"/>
                  </a:lnTo>
                  <a:lnTo>
                    <a:pt x="475" y="1159"/>
                  </a:lnTo>
                  <a:lnTo>
                    <a:pt x="466" y="1155"/>
                  </a:lnTo>
                  <a:lnTo>
                    <a:pt x="457" y="1151"/>
                  </a:lnTo>
                  <a:lnTo>
                    <a:pt x="448" y="1147"/>
                  </a:lnTo>
                  <a:lnTo>
                    <a:pt x="439" y="1141"/>
                  </a:lnTo>
                  <a:lnTo>
                    <a:pt x="430" y="1136"/>
                  </a:lnTo>
                  <a:lnTo>
                    <a:pt x="422" y="1134"/>
                  </a:lnTo>
                  <a:lnTo>
                    <a:pt x="413" y="1132"/>
                  </a:lnTo>
                  <a:lnTo>
                    <a:pt x="399" y="1132"/>
                  </a:lnTo>
                  <a:lnTo>
                    <a:pt x="378" y="1131"/>
                  </a:lnTo>
                  <a:lnTo>
                    <a:pt x="368" y="1129"/>
                  </a:lnTo>
                  <a:lnTo>
                    <a:pt x="360" y="1126"/>
                  </a:lnTo>
                  <a:lnTo>
                    <a:pt x="356" y="1125"/>
                  </a:lnTo>
                  <a:lnTo>
                    <a:pt x="354" y="1123"/>
                  </a:lnTo>
                  <a:lnTo>
                    <a:pt x="352" y="1121"/>
                  </a:lnTo>
                  <a:lnTo>
                    <a:pt x="352" y="1119"/>
                  </a:lnTo>
                  <a:lnTo>
                    <a:pt x="339" y="1114"/>
                  </a:lnTo>
                  <a:lnTo>
                    <a:pt x="319" y="1104"/>
                  </a:lnTo>
                  <a:lnTo>
                    <a:pt x="307" y="1099"/>
                  </a:lnTo>
                  <a:lnTo>
                    <a:pt x="298" y="1093"/>
                  </a:lnTo>
                  <a:lnTo>
                    <a:pt x="292" y="1087"/>
                  </a:lnTo>
                  <a:lnTo>
                    <a:pt x="289" y="1084"/>
                  </a:lnTo>
                  <a:lnTo>
                    <a:pt x="285" y="1084"/>
                  </a:lnTo>
                  <a:lnTo>
                    <a:pt x="281" y="1083"/>
                  </a:lnTo>
                  <a:lnTo>
                    <a:pt x="278" y="1083"/>
                  </a:lnTo>
                  <a:lnTo>
                    <a:pt x="277" y="1082"/>
                  </a:lnTo>
                  <a:lnTo>
                    <a:pt x="276" y="1080"/>
                  </a:lnTo>
                  <a:lnTo>
                    <a:pt x="276" y="1077"/>
                  </a:lnTo>
                  <a:lnTo>
                    <a:pt x="262" y="1077"/>
                  </a:lnTo>
                  <a:lnTo>
                    <a:pt x="260" y="1073"/>
                  </a:lnTo>
                  <a:lnTo>
                    <a:pt x="257" y="1070"/>
                  </a:lnTo>
                  <a:lnTo>
                    <a:pt x="254" y="1066"/>
                  </a:lnTo>
                  <a:lnTo>
                    <a:pt x="248" y="1064"/>
                  </a:lnTo>
                  <a:lnTo>
                    <a:pt x="243" y="1063"/>
                  </a:lnTo>
                  <a:lnTo>
                    <a:pt x="238" y="1061"/>
                  </a:lnTo>
                  <a:lnTo>
                    <a:pt x="236" y="1059"/>
                  </a:lnTo>
                  <a:lnTo>
                    <a:pt x="235" y="1056"/>
                  </a:lnTo>
                  <a:lnTo>
                    <a:pt x="220" y="1056"/>
                  </a:lnTo>
                  <a:lnTo>
                    <a:pt x="214" y="1049"/>
                  </a:lnTo>
                  <a:lnTo>
                    <a:pt x="214" y="1045"/>
                  </a:lnTo>
                  <a:lnTo>
                    <a:pt x="215" y="1040"/>
                  </a:lnTo>
                  <a:lnTo>
                    <a:pt x="216" y="1038"/>
                  </a:lnTo>
                  <a:lnTo>
                    <a:pt x="217" y="1037"/>
                  </a:lnTo>
                  <a:lnTo>
                    <a:pt x="218" y="1036"/>
                  </a:lnTo>
                  <a:lnTo>
                    <a:pt x="220" y="1036"/>
                  </a:lnTo>
                  <a:lnTo>
                    <a:pt x="220" y="1028"/>
                  </a:lnTo>
                  <a:lnTo>
                    <a:pt x="223" y="1024"/>
                  </a:lnTo>
                  <a:lnTo>
                    <a:pt x="226" y="1023"/>
                  </a:lnTo>
                  <a:lnTo>
                    <a:pt x="235" y="1023"/>
                  </a:lnTo>
                  <a:lnTo>
                    <a:pt x="235" y="1008"/>
                  </a:lnTo>
                  <a:lnTo>
                    <a:pt x="238" y="1008"/>
                  </a:lnTo>
                  <a:lnTo>
                    <a:pt x="241" y="1007"/>
                  </a:lnTo>
                  <a:lnTo>
                    <a:pt x="245" y="1005"/>
                  </a:lnTo>
                  <a:lnTo>
                    <a:pt x="248" y="1003"/>
                  </a:lnTo>
                  <a:lnTo>
                    <a:pt x="255" y="997"/>
                  </a:lnTo>
                  <a:lnTo>
                    <a:pt x="262" y="991"/>
                  </a:lnTo>
                  <a:lnTo>
                    <a:pt x="267" y="985"/>
                  </a:lnTo>
                  <a:lnTo>
                    <a:pt x="273" y="979"/>
                  </a:lnTo>
                  <a:lnTo>
                    <a:pt x="277" y="976"/>
                  </a:lnTo>
                  <a:lnTo>
                    <a:pt x="283" y="974"/>
                  </a:lnTo>
                  <a:lnTo>
                    <a:pt x="289" y="967"/>
                  </a:lnTo>
                  <a:lnTo>
                    <a:pt x="296" y="960"/>
                  </a:lnTo>
                  <a:lnTo>
                    <a:pt x="296" y="946"/>
                  </a:lnTo>
                  <a:lnTo>
                    <a:pt x="302" y="946"/>
                  </a:lnTo>
                  <a:lnTo>
                    <a:pt x="305" y="943"/>
                  </a:lnTo>
                  <a:lnTo>
                    <a:pt x="310" y="939"/>
                  </a:lnTo>
                  <a:lnTo>
                    <a:pt x="312" y="934"/>
                  </a:lnTo>
                  <a:lnTo>
                    <a:pt x="316" y="926"/>
                  </a:lnTo>
                  <a:lnTo>
                    <a:pt x="317" y="919"/>
                  </a:lnTo>
                  <a:lnTo>
                    <a:pt x="321" y="918"/>
                  </a:lnTo>
                  <a:lnTo>
                    <a:pt x="323" y="918"/>
                  </a:lnTo>
                  <a:lnTo>
                    <a:pt x="324" y="917"/>
                  </a:lnTo>
                  <a:lnTo>
                    <a:pt x="324" y="915"/>
                  </a:lnTo>
                  <a:lnTo>
                    <a:pt x="324" y="914"/>
                  </a:lnTo>
                  <a:lnTo>
                    <a:pt x="325" y="913"/>
                  </a:lnTo>
                  <a:lnTo>
                    <a:pt x="327" y="912"/>
                  </a:lnTo>
                  <a:lnTo>
                    <a:pt x="331" y="912"/>
                  </a:lnTo>
                  <a:lnTo>
                    <a:pt x="332" y="907"/>
                  </a:lnTo>
                  <a:lnTo>
                    <a:pt x="334" y="902"/>
                  </a:lnTo>
                  <a:lnTo>
                    <a:pt x="337" y="899"/>
                  </a:lnTo>
                  <a:lnTo>
                    <a:pt x="341" y="895"/>
                  </a:lnTo>
                  <a:lnTo>
                    <a:pt x="345" y="892"/>
                  </a:lnTo>
                  <a:lnTo>
                    <a:pt x="349" y="890"/>
                  </a:lnTo>
                  <a:lnTo>
                    <a:pt x="351" y="886"/>
                  </a:lnTo>
                  <a:lnTo>
                    <a:pt x="352" y="884"/>
                  </a:lnTo>
                  <a:lnTo>
                    <a:pt x="365" y="884"/>
                  </a:lnTo>
                  <a:lnTo>
                    <a:pt x="372" y="878"/>
                  </a:lnTo>
                  <a:lnTo>
                    <a:pt x="380" y="870"/>
                  </a:lnTo>
                  <a:lnTo>
                    <a:pt x="379" y="865"/>
                  </a:lnTo>
                  <a:lnTo>
                    <a:pt x="379" y="861"/>
                  </a:lnTo>
                  <a:lnTo>
                    <a:pt x="378" y="859"/>
                  </a:lnTo>
                  <a:lnTo>
                    <a:pt x="377" y="857"/>
                  </a:lnTo>
                  <a:lnTo>
                    <a:pt x="374" y="856"/>
                  </a:lnTo>
                  <a:lnTo>
                    <a:pt x="372" y="856"/>
                  </a:lnTo>
                  <a:lnTo>
                    <a:pt x="372" y="843"/>
                  </a:lnTo>
                  <a:lnTo>
                    <a:pt x="365" y="836"/>
                  </a:lnTo>
                  <a:lnTo>
                    <a:pt x="355" y="830"/>
                  </a:lnTo>
                  <a:lnTo>
                    <a:pt x="345" y="824"/>
                  </a:lnTo>
                  <a:lnTo>
                    <a:pt x="337" y="822"/>
                  </a:lnTo>
                  <a:lnTo>
                    <a:pt x="337" y="818"/>
                  </a:lnTo>
                  <a:lnTo>
                    <a:pt x="336" y="816"/>
                  </a:lnTo>
                  <a:lnTo>
                    <a:pt x="335" y="815"/>
                  </a:lnTo>
                  <a:lnTo>
                    <a:pt x="334" y="815"/>
                  </a:lnTo>
                  <a:lnTo>
                    <a:pt x="333" y="815"/>
                  </a:lnTo>
                  <a:lnTo>
                    <a:pt x="332" y="814"/>
                  </a:lnTo>
                  <a:lnTo>
                    <a:pt x="331" y="812"/>
                  </a:lnTo>
                  <a:lnTo>
                    <a:pt x="331" y="808"/>
                  </a:lnTo>
                  <a:lnTo>
                    <a:pt x="311" y="808"/>
                  </a:lnTo>
                  <a:lnTo>
                    <a:pt x="310" y="805"/>
                  </a:lnTo>
                  <a:lnTo>
                    <a:pt x="308" y="803"/>
                  </a:lnTo>
                  <a:lnTo>
                    <a:pt x="305" y="801"/>
                  </a:lnTo>
                  <a:lnTo>
                    <a:pt x="303" y="798"/>
                  </a:lnTo>
                  <a:lnTo>
                    <a:pt x="296" y="795"/>
                  </a:lnTo>
                  <a:lnTo>
                    <a:pt x="289" y="794"/>
                  </a:lnTo>
                  <a:lnTo>
                    <a:pt x="289" y="780"/>
                  </a:lnTo>
                  <a:lnTo>
                    <a:pt x="286" y="780"/>
                  </a:lnTo>
                  <a:lnTo>
                    <a:pt x="284" y="779"/>
                  </a:lnTo>
                  <a:lnTo>
                    <a:pt x="283" y="778"/>
                  </a:lnTo>
                  <a:lnTo>
                    <a:pt x="283" y="777"/>
                  </a:lnTo>
                  <a:lnTo>
                    <a:pt x="283" y="776"/>
                  </a:lnTo>
                  <a:lnTo>
                    <a:pt x="282" y="775"/>
                  </a:lnTo>
                  <a:lnTo>
                    <a:pt x="279" y="774"/>
                  </a:lnTo>
                  <a:lnTo>
                    <a:pt x="276" y="774"/>
                  </a:lnTo>
                  <a:lnTo>
                    <a:pt x="269" y="767"/>
                  </a:lnTo>
                  <a:lnTo>
                    <a:pt x="265" y="756"/>
                  </a:lnTo>
                  <a:lnTo>
                    <a:pt x="262" y="746"/>
                  </a:lnTo>
                  <a:lnTo>
                    <a:pt x="258" y="746"/>
                  </a:lnTo>
                  <a:lnTo>
                    <a:pt x="256" y="745"/>
                  </a:lnTo>
                  <a:lnTo>
                    <a:pt x="255" y="744"/>
                  </a:lnTo>
                  <a:lnTo>
                    <a:pt x="255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48" y="739"/>
                  </a:lnTo>
                  <a:lnTo>
                    <a:pt x="248" y="726"/>
                  </a:lnTo>
                  <a:lnTo>
                    <a:pt x="235" y="726"/>
                  </a:lnTo>
                  <a:lnTo>
                    <a:pt x="234" y="721"/>
                  </a:lnTo>
                  <a:lnTo>
                    <a:pt x="234" y="719"/>
                  </a:lnTo>
                  <a:lnTo>
                    <a:pt x="233" y="718"/>
                  </a:lnTo>
                  <a:lnTo>
                    <a:pt x="231" y="718"/>
                  </a:lnTo>
                  <a:lnTo>
                    <a:pt x="229" y="718"/>
                  </a:lnTo>
                  <a:lnTo>
                    <a:pt x="228" y="718"/>
                  </a:lnTo>
                  <a:lnTo>
                    <a:pt x="228" y="716"/>
                  </a:lnTo>
                  <a:lnTo>
                    <a:pt x="227" y="711"/>
                  </a:lnTo>
                  <a:lnTo>
                    <a:pt x="220" y="711"/>
                  </a:lnTo>
                  <a:lnTo>
                    <a:pt x="211" y="710"/>
                  </a:lnTo>
                  <a:lnTo>
                    <a:pt x="207" y="710"/>
                  </a:lnTo>
                  <a:lnTo>
                    <a:pt x="204" y="709"/>
                  </a:lnTo>
                  <a:lnTo>
                    <a:pt x="200" y="707"/>
                  </a:lnTo>
                  <a:lnTo>
                    <a:pt x="200" y="705"/>
                  </a:lnTo>
                  <a:lnTo>
                    <a:pt x="166" y="703"/>
                  </a:lnTo>
                  <a:lnTo>
                    <a:pt x="126" y="701"/>
                  </a:lnTo>
                  <a:lnTo>
                    <a:pt x="86" y="699"/>
                  </a:lnTo>
                  <a:lnTo>
                    <a:pt x="48" y="698"/>
                  </a:lnTo>
                  <a:lnTo>
                    <a:pt x="47" y="696"/>
                  </a:lnTo>
                  <a:lnTo>
                    <a:pt x="46" y="692"/>
                  </a:lnTo>
                  <a:lnTo>
                    <a:pt x="44" y="690"/>
                  </a:lnTo>
                  <a:lnTo>
                    <a:pt x="41" y="688"/>
                  </a:lnTo>
                  <a:lnTo>
                    <a:pt x="36" y="686"/>
                  </a:lnTo>
                  <a:lnTo>
                    <a:pt x="34" y="683"/>
                  </a:lnTo>
                  <a:lnTo>
                    <a:pt x="34" y="679"/>
                  </a:lnTo>
                  <a:lnTo>
                    <a:pt x="33" y="674"/>
                  </a:lnTo>
                  <a:lnTo>
                    <a:pt x="33" y="672"/>
                  </a:lnTo>
                  <a:lnTo>
                    <a:pt x="32" y="671"/>
                  </a:lnTo>
                  <a:lnTo>
                    <a:pt x="29" y="670"/>
                  </a:lnTo>
                  <a:lnTo>
                    <a:pt x="27" y="670"/>
                  </a:lnTo>
                  <a:lnTo>
                    <a:pt x="26" y="661"/>
                  </a:lnTo>
                  <a:lnTo>
                    <a:pt x="24" y="653"/>
                  </a:lnTo>
                  <a:lnTo>
                    <a:pt x="22" y="644"/>
                  </a:lnTo>
                  <a:lnTo>
                    <a:pt x="20" y="635"/>
                  </a:lnTo>
                  <a:lnTo>
                    <a:pt x="16" y="635"/>
                  </a:lnTo>
                  <a:lnTo>
                    <a:pt x="10" y="635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4" name="Freeform 20"/>
            <p:cNvSpPr>
              <a:spLocks noChangeAspect="1"/>
            </p:cNvSpPr>
            <p:nvPr/>
          </p:nvSpPr>
          <p:spPr bwMode="gray">
            <a:xfrm rot="355651">
              <a:off x="6085258" y="3744913"/>
              <a:ext cx="348068" cy="195889"/>
            </a:xfrm>
            <a:custGeom>
              <a:avLst/>
              <a:gdLst/>
              <a:ahLst/>
              <a:cxnLst>
                <a:cxn ang="0">
                  <a:pos x="362" y="4"/>
                </a:cxn>
                <a:cxn ang="0">
                  <a:pos x="403" y="15"/>
                </a:cxn>
                <a:cxn ang="0">
                  <a:pos x="583" y="40"/>
                </a:cxn>
                <a:cxn ang="0">
                  <a:pos x="743" y="81"/>
                </a:cxn>
                <a:cxn ang="0">
                  <a:pos x="1217" y="119"/>
                </a:cxn>
                <a:cxn ang="0">
                  <a:pos x="1214" y="260"/>
                </a:cxn>
                <a:cxn ang="0">
                  <a:pos x="1231" y="375"/>
                </a:cxn>
                <a:cxn ang="0">
                  <a:pos x="1367" y="428"/>
                </a:cxn>
                <a:cxn ang="0">
                  <a:pos x="1416" y="447"/>
                </a:cxn>
                <a:cxn ang="0">
                  <a:pos x="1463" y="476"/>
                </a:cxn>
                <a:cxn ang="0">
                  <a:pos x="1515" y="502"/>
                </a:cxn>
                <a:cxn ang="0">
                  <a:pos x="1558" y="520"/>
                </a:cxn>
                <a:cxn ang="0">
                  <a:pos x="1601" y="552"/>
                </a:cxn>
                <a:cxn ang="0">
                  <a:pos x="1624" y="621"/>
                </a:cxn>
                <a:cxn ang="0">
                  <a:pos x="1659" y="684"/>
                </a:cxn>
                <a:cxn ang="0">
                  <a:pos x="1723" y="737"/>
                </a:cxn>
                <a:cxn ang="0">
                  <a:pos x="1756" y="761"/>
                </a:cxn>
                <a:cxn ang="0">
                  <a:pos x="1813" y="796"/>
                </a:cxn>
                <a:cxn ang="0">
                  <a:pos x="1896" y="848"/>
                </a:cxn>
                <a:cxn ang="0">
                  <a:pos x="1910" y="886"/>
                </a:cxn>
                <a:cxn ang="0">
                  <a:pos x="1839" y="1077"/>
                </a:cxn>
                <a:cxn ang="0">
                  <a:pos x="1681" y="1099"/>
                </a:cxn>
                <a:cxn ang="0">
                  <a:pos x="1654" y="1112"/>
                </a:cxn>
                <a:cxn ang="0">
                  <a:pos x="1607" y="1144"/>
                </a:cxn>
                <a:cxn ang="0">
                  <a:pos x="1551" y="1174"/>
                </a:cxn>
                <a:cxn ang="0">
                  <a:pos x="1523" y="1214"/>
                </a:cxn>
                <a:cxn ang="0">
                  <a:pos x="1489" y="1148"/>
                </a:cxn>
                <a:cxn ang="0">
                  <a:pos x="1457" y="1093"/>
                </a:cxn>
                <a:cxn ang="0">
                  <a:pos x="1437" y="1076"/>
                </a:cxn>
                <a:cxn ang="0">
                  <a:pos x="1409" y="1076"/>
                </a:cxn>
                <a:cxn ang="0">
                  <a:pos x="1371" y="1107"/>
                </a:cxn>
                <a:cxn ang="0">
                  <a:pos x="1331" y="1127"/>
                </a:cxn>
                <a:cxn ang="0">
                  <a:pos x="1197" y="1100"/>
                </a:cxn>
                <a:cxn ang="0">
                  <a:pos x="1150" y="1028"/>
                </a:cxn>
                <a:cxn ang="0">
                  <a:pos x="1103" y="969"/>
                </a:cxn>
                <a:cxn ang="0">
                  <a:pos x="891" y="957"/>
                </a:cxn>
                <a:cxn ang="0">
                  <a:pos x="853" y="938"/>
                </a:cxn>
                <a:cxn ang="0">
                  <a:pos x="713" y="954"/>
                </a:cxn>
                <a:cxn ang="0">
                  <a:pos x="621" y="934"/>
                </a:cxn>
                <a:cxn ang="0">
                  <a:pos x="589" y="870"/>
                </a:cxn>
                <a:cxn ang="0">
                  <a:pos x="533" y="858"/>
                </a:cxn>
                <a:cxn ang="0">
                  <a:pos x="359" y="886"/>
                </a:cxn>
                <a:cxn ang="0">
                  <a:pos x="313" y="879"/>
                </a:cxn>
                <a:cxn ang="0">
                  <a:pos x="271" y="871"/>
                </a:cxn>
                <a:cxn ang="0">
                  <a:pos x="194" y="874"/>
                </a:cxn>
                <a:cxn ang="0">
                  <a:pos x="131" y="852"/>
                </a:cxn>
                <a:cxn ang="0">
                  <a:pos x="108" y="838"/>
                </a:cxn>
                <a:cxn ang="0">
                  <a:pos x="76" y="820"/>
                </a:cxn>
                <a:cxn ang="0">
                  <a:pos x="45" y="784"/>
                </a:cxn>
                <a:cxn ang="0">
                  <a:pos x="11" y="620"/>
                </a:cxn>
                <a:cxn ang="0">
                  <a:pos x="44" y="560"/>
                </a:cxn>
                <a:cxn ang="0">
                  <a:pos x="73" y="522"/>
                </a:cxn>
                <a:cxn ang="0">
                  <a:pos x="110" y="486"/>
                </a:cxn>
                <a:cxn ang="0">
                  <a:pos x="149" y="467"/>
                </a:cxn>
                <a:cxn ang="0">
                  <a:pos x="195" y="436"/>
                </a:cxn>
                <a:cxn ang="0">
                  <a:pos x="233" y="386"/>
                </a:cxn>
                <a:cxn ang="0">
                  <a:pos x="283" y="352"/>
                </a:cxn>
                <a:cxn ang="0">
                  <a:pos x="312" y="314"/>
                </a:cxn>
                <a:cxn ang="0">
                  <a:pos x="321" y="237"/>
                </a:cxn>
                <a:cxn ang="0">
                  <a:pos x="324" y="186"/>
                </a:cxn>
                <a:cxn ang="0">
                  <a:pos x="354" y="150"/>
                </a:cxn>
                <a:cxn ang="0">
                  <a:pos x="357" y="77"/>
                </a:cxn>
                <a:cxn ang="0">
                  <a:pos x="341" y="21"/>
                </a:cxn>
              </a:cxnLst>
              <a:rect l="0" t="0" r="r" b="b"/>
              <a:pathLst>
                <a:path w="1910" h="1217">
                  <a:moveTo>
                    <a:pt x="325" y="5"/>
                  </a:moveTo>
                  <a:lnTo>
                    <a:pt x="332" y="2"/>
                  </a:lnTo>
                  <a:lnTo>
                    <a:pt x="340" y="1"/>
                  </a:lnTo>
                  <a:lnTo>
                    <a:pt x="348" y="0"/>
                  </a:lnTo>
                  <a:lnTo>
                    <a:pt x="357" y="0"/>
                  </a:lnTo>
                  <a:lnTo>
                    <a:pt x="357" y="1"/>
                  </a:lnTo>
                  <a:lnTo>
                    <a:pt x="358" y="2"/>
                  </a:lnTo>
                  <a:lnTo>
                    <a:pt x="360" y="3"/>
                  </a:lnTo>
                  <a:lnTo>
                    <a:pt x="362" y="4"/>
                  </a:lnTo>
                  <a:lnTo>
                    <a:pt x="368" y="4"/>
                  </a:lnTo>
                  <a:lnTo>
                    <a:pt x="374" y="5"/>
                  </a:lnTo>
                  <a:lnTo>
                    <a:pt x="381" y="5"/>
                  </a:lnTo>
                  <a:lnTo>
                    <a:pt x="387" y="7"/>
                  </a:lnTo>
                  <a:lnTo>
                    <a:pt x="389" y="9"/>
                  </a:lnTo>
                  <a:lnTo>
                    <a:pt x="391" y="10"/>
                  </a:lnTo>
                  <a:lnTo>
                    <a:pt x="392" y="12"/>
                  </a:lnTo>
                  <a:lnTo>
                    <a:pt x="392" y="14"/>
                  </a:lnTo>
                  <a:lnTo>
                    <a:pt x="403" y="15"/>
                  </a:lnTo>
                  <a:lnTo>
                    <a:pt x="417" y="19"/>
                  </a:lnTo>
                  <a:lnTo>
                    <a:pt x="424" y="21"/>
                  </a:lnTo>
                  <a:lnTo>
                    <a:pt x="429" y="23"/>
                  </a:lnTo>
                  <a:lnTo>
                    <a:pt x="432" y="26"/>
                  </a:lnTo>
                  <a:lnTo>
                    <a:pt x="434" y="30"/>
                  </a:lnTo>
                  <a:lnTo>
                    <a:pt x="467" y="32"/>
                  </a:lnTo>
                  <a:lnTo>
                    <a:pt x="504" y="35"/>
                  </a:lnTo>
                  <a:lnTo>
                    <a:pt x="544" y="39"/>
                  </a:lnTo>
                  <a:lnTo>
                    <a:pt x="583" y="40"/>
                  </a:lnTo>
                  <a:lnTo>
                    <a:pt x="593" y="43"/>
                  </a:lnTo>
                  <a:lnTo>
                    <a:pt x="618" y="48"/>
                  </a:lnTo>
                  <a:lnTo>
                    <a:pt x="643" y="53"/>
                  </a:lnTo>
                  <a:lnTo>
                    <a:pt x="660" y="55"/>
                  </a:lnTo>
                  <a:lnTo>
                    <a:pt x="676" y="60"/>
                  </a:lnTo>
                  <a:lnTo>
                    <a:pt x="700" y="69"/>
                  </a:lnTo>
                  <a:lnTo>
                    <a:pt x="723" y="78"/>
                  </a:lnTo>
                  <a:lnTo>
                    <a:pt x="732" y="81"/>
                  </a:lnTo>
                  <a:lnTo>
                    <a:pt x="743" y="81"/>
                  </a:lnTo>
                  <a:lnTo>
                    <a:pt x="745" y="86"/>
                  </a:lnTo>
                  <a:lnTo>
                    <a:pt x="753" y="90"/>
                  </a:lnTo>
                  <a:lnTo>
                    <a:pt x="756" y="92"/>
                  </a:lnTo>
                  <a:lnTo>
                    <a:pt x="760" y="96"/>
                  </a:lnTo>
                  <a:lnTo>
                    <a:pt x="762" y="98"/>
                  </a:lnTo>
                  <a:lnTo>
                    <a:pt x="763" y="102"/>
                  </a:lnTo>
                  <a:lnTo>
                    <a:pt x="1215" y="107"/>
                  </a:lnTo>
                  <a:lnTo>
                    <a:pt x="1215" y="117"/>
                  </a:lnTo>
                  <a:lnTo>
                    <a:pt x="1217" y="119"/>
                  </a:lnTo>
                  <a:lnTo>
                    <a:pt x="1218" y="122"/>
                  </a:lnTo>
                  <a:lnTo>
                    <a:pt x="1219" y="128"/>
                  </a:lnTo>
                  <a:lnTo>
                    <a:pt x="1219" y="135"/>
                  </a:lnTo>
                  <a:lnTo>
                    <a:pt x="1219" y="154"/>
                  </a:lnTo>
                  <a:lnTo>
                    <a:pt x="1219" y="175"/>
                  </a:lnTo>
                  <a:lnTo>
                    <a:pt x="1217" y="215"/>
                  </a:lnTo>
                  <a:lnTo>
                    <a:pt x="1215" y="235"/>
                  </a:lnTo>
                  <a:lnTo>
                    <a:pt x="1214" y="244"/>
                  </a:lnTo>
                  <a:lnTo>
                    <a:pt x="1214" y="260"/>
                  </a:lnTo>
                  <a:lnTo>
                    <a:pt x="1214" y="281"/>
                  </a:lnTo>
                  <a:lnTo>
                    <a:pt x="1215" y="303"/>
                  </a:lnTo>
                  <a:lnTo>
                    <a:pt x="1218" y="327"/>
                  </a:lnTo>
                  <a:lnTo>
                    <a:pt x="1222" y="346"/>
                  </a:lnTo>
                  <a:lnTo>
                    <a:pt x="1223" y="353"/>
                  </a:lnTo>
                  <a:lnTo>
                    <a:pt x="1225" y="359"/>
                  </a:lnTo>
                  <a:lnTo>
                    <a:pt x="1228" y="362"/>
                  </a:lnTo>
                  <a:lnTo>
                    <a:pt x="1231" y="365"/>
                  </a:lnTo>
                  <a:lnTo>
                    <a:pt x="1231" y="375"/>
                  </a:lnTo>
                  <a:lnTo>
                    <a:pt x="1241" y="381"/>
                  </a:lnTo>
                  <a:lnTo>
                    <a:pt x="1259" y="396"/>
                  </a:lnTo>
                  <a:lnTo>
                    <a:pt x="1267" y="404"/>
                  </a:lnTo>
                  <a:lnTo>
                    <a:pt x="1275" y="411"/>
                  </a:lnTo>
                  <a:lnTo>
                    <a:pt x="1280" y="417"/>
                  </a:lnTo>
                  <a:lnTo>
                    <a:pt x="1282" y="420"/>
                  </a:lnTo>
                  <a:lnTo>
                    <a:pt x="1308" y="422"/>
                  </a:lnTo>
                  <a:lnTo>
                    <a:pt x="1347" y="425"/>
                  </a:lnTo>
                  <a:lnTo>
                    <a:pt x="1367" y="428"/>
                  </a:lnTo>
                  <a:lnTo>
                    <a:pt x="1385" y="432"/>
                  </a:lnTo>
                  <a:lnTo>
                    <a:pt x="1391" y="434"/>
                  </a:lnTo>
                  <a:lnTo>
                    <a:pt x="1396" y="436"/>
                  </a:lnTo>
                  <a:lnTo>
                    <a:pt x="1399" y="438"/>
                  </a:lnTo>
                  <a:lnTo>
                    <a:pt x="1400" y="442"/>
                  </a:lnTo>
                  <a:lnTo>
                    <a:pt x="1410" y="442"/>
                  </a:lnTo>
                  <a:lnTo>
                    <a:pt x="1411" y="443"/>
                  </a:lnTo>
                  <a:lnTo>
                    <a:pt x="1414" y="445"/>
                  </a:lnTo>
                  <a:lnTo>
                    <a:pt x="1416" y="447"/>
                  </a:lnTo>
                  <a:lnTo>
                    <a:pt x="1419" y="448"/>
                  </a:lnTo>
                  <a:lnTo>
                    <a:pt x="1426" y="451"/>
                  </a:lnTo>
                  <a:lnTo>
                    <a:pt x="1432" y="452"/>
                  </a:lnTo>
                  <a:lnTo>
                    <a:pt x="1432" y="455"/>
                  </a:lnTo>
                  <a:lnTo>
                    <a:pt x="1434" y="458"/>
                  </a:lnTo>
                  <a:lnTo>
                    <a:pt x="1437" y="462"/>
                  </a:lnTo>
                  <a:lnTo>
                    <a:pt x="1442" y="465"/>
                  </a:lnTo>
                  <a:lnTo>
                    <a:pt x="1451" y="472"/>
                  </a:lnTo>
                  <a:lnTo>
                    <a:pt x="1463" y="476"/>
                  </a:lnTo>
                  <a:lnTo>
                    <a:pt x="1474" y="482"/>
                  </a:lnTo>
                  <a:lnTo>
                    <a:pt x="1484" y="487"/>
                  </a:lnTo>
                  <a:lnTo>
                    <a:pt x="1487" y="490"/>
                  </a:lnTo>
                  <a:lnTo>
                    <a:pt x="1491" y="492"/>
                  </a:lnTo>
                  <a:lnTo>
                    <a:pt x="1493" y="495"/>
                  </a:lnTo>
                  <a:lnTo>
                    <a:pt x="1493" y="497"/>
                  </a:lnTo>
                  <a:lnTo>
                    <a:pt x="1509" y="497"/>
                  </a:lnTo>
                  <a:lnTo>
                    <a:pt x="1511" y="500"/>
                  </a:lnTo>
                  <a:lnTo>
                    <a:pt x="1515" y="502"/>
                  </a:lnTo>
                  <a:lnTo>
                    <a:pt x="1522" y="504"/>
                  </a:lnTo>
                  <a:lnTo>
                    <a:pt x="1529" y="506"/>
                  </a:lnTo>
                  <a:lnTo>
                    <a:pt x="1537" y="509"/>
                  </a:lnTo>
                  <a:lnTo>
                    <a:pt x="1543" y="512"/>
                  </a:lnTo>
                  <a:lnTo>
                    <a:pt x="1545" y="513"/>
                  </a:lnTo>
                  <a:lnTo>
                    <a:pt x="1548" y="515"/>
                  </a:lnTo>
                  <a:lnTo>
                    <a:pt x="1549" y="516"/>
                  </a:lnTo>
                  <a:lnTo>
                    <a:pt x="1550" y="519"/>
                  </a:lnTo>
                  <a:lnTo>
                    <a:pt x="1558" y="520"/>
                  </a:lnTo>
                  <a:lnTo>
                    <a:pt x="1567" y="522"/>
                  </a:lnTo>
                  <a:lnTo>
                    <a:pt x="1570" y="524"/>
                  </a:lnTo>
                  <a:lnTo>
                    <a:pt x="1573" y="528"/>
                  </a:lnTo>
                  <a:lnTo>
                    <a:pt x="1574" y="530"/>
                  </a:lnTo>
                  <a:lnTo>
                    <a:pt x="1576" y="534"/>
                  </a:lnTo>
                  <a:lnTo>
                    <a:pt x="1586" y="534"/>
                  </a:lnTo>
                  <a:lnTo>
                    <a:pt x="1588" y="539"/>
                  </a:lnTo>
                  <a:lnTo>
                    <a:pt x="1595" y="547"/>
                  </a:lnTo>
                  <a:lnTo>
                    <a:pt x="1601" y="552"/>
                  </a:lnTo>
                  <a:lnTo>
                    <a:pt x="1607" y="554"/>
                  </a:lnTo>
                  <a:lnTo>
                    <a:pt x="1607" y="564"/>
                  </a:lnTo>
                  <a:lnTo>
                    <a:pt x="1608" y="565"/>
                  </a:lnTo>
                  <a:lnTo>
                    <a:pt x="1610" y="568"/>
                  </a:lnTo>
                  <a:lnTo>
                    <a:pt x="1611" y="572"/>
                  </a:lnTo>
                  <a:lnTo>
                    <a:pt x="1614" y="578"/>
                  </a:lnTo>
                  <a:lnTo>
                    <a:pt x="1617" y="591"/>
                  </a:lnTo>
                  <a:lnTo>
                    <a:pt x="1620" y="606"/>
                  </a:lnTo>
                  <a:lnTo>
                    <a:pt x="1624" y="621"/>
                  </a:lnTo>
                  <a:lnTo>
                    <a:pt x="1627" y="634"/>
                  </a:lnTo>
                  <a:lnTo>
                    <a:pt x="1629" y="639"/>
                  </a:lnTo>
                  <a:lnTo>
                    <a:pt x="1631" y="644"/>
                  </a:lnTo>
                  <a:lnTo>
                    <a:pt x="1635" y="646"/>
                  </a:lnTo>
                  <a:lnTo>
                    <a:pt x="1637" y="647"/>
                  </a:lnTo>
                  <a:lnTo>
                    <a:pt x="1637" y="663"/>
                  </a:lnTo>
                  <a:lnTo>
                    <a:pt x="1643" y="665"/>
                  </a:lnTo>
                  <a:lnTo>
                    <a:pt x="1650" y="673"/>
                  </a:lnTo>
                  <a:lnTo>
                    <a:pt x="1659" y="684"/>
                  </a:lnTo>
                  <a:lnTo>
                    <a:pt x="1670" y="696"/>
                  </a:lnTo>
                  <a:lnTo>
                    <a:pt x="1683" y="708"/>
                  </a:lnTo>
                  <a:lnTo>
                    <a:pt x="1695" y="718"/>
                  </a:lnTo>
                  <a:lnTo>
                    <a:pt x="1702" y="723"/>
                  </a:lnTo>
                  <a:lnTo>
                    <a:pt x="1707" y="726"/>
                  </a:lnTo>
                  <a:lnTo>
                    <a:pt x="1714" y="728"/>
                  </a:lnTo>
                  <a:lnTo>
                    <a:pt x="1720" y="730"/>
                  </a:lnTo>
                  <a:lnTo>
                    <a:pt x="1721" y="734"/>
                  </a:lnTo>
                  <a:lnTo>
                    <a:pt x="1723" y="737"/>
                  </a:lnTo>
                  <a:lnTo>
                    <a:pt x="1726" y="740"/>
                  </a:lnTo>
                  <a:lnTo>
                    <a:pt x="1730" y="742"/>
                  </a:lnTo>
                  <a:lnTo>
                    <a:pt x="1733" y="744"/>
                  </a:lnTo>
                  <a:lnTo>
                    <a:pt x="1736" y="746"/>
                  </a:lnTo>
                  <a:lnTo>
                    <a:pt x="1739" y="750"/>
                  </a:lnTo>
                  <a:lnTo>
                    <a:pt x="1740" y="755"/>
                  </a:lnTo>
                  <a:lnTo>
                    <a:pt x="1751" y="755"/>
                  </a:lnTo>
                  <a:lnTo>
                    <a:pt x="1752" y="757"/>
                  </a:lnTo>
                  <a:lnTo>
                    <a:pt x="1756" y="761"/>
                  </a:lnTo>
                  <a:lnTo>
                    <a:pt x="1763" y="765"/>
                  </a:lnTo>
                  <a:lnTo>
                    <a:pt x="1771" y="771"/>
                  </a:lnTo>
                  <a:lnTo>
                    <a:pt x="1779" y="775"/>
                  </a:lnTo>
                  <a:lnTo>
                    <a:pt x="1785" y="780"/>
                  </a:lnTo>
                  <a:lnTo>
                    <a:pt x="1790" y="783"/>
                  </a:lnTo>
                  <a:lnTo>
                    <a:pt x="1791" y="785"/>
                  </a:lnTo>
                  <a:lnTo>
                    <a:pt x="1802" y="785"/>
                  </a:lnTo>
                  <a:lnTo>
                    <a:pt x="1804" y="790"/>
                  </a:lnTo>
                  <a:lnTo>
                    <a:pt x="1813" y="796"/>
                  </a:lnTo>
                  <a:lnTo>
                    <a:pt x="1826" y="805"/>
                  </a:lnTo>
                  <a:lnTo>
                    <a:pt x="1840" y="815"/>
                  </a:lnTo>
                  <a:lnTo>
                    <a:pt x="1855" y="826"/>
                  </a:lnTo>
                  <a:lnTo>
                    <a:pt x="1869" y="834"/>
                  </a:lnTo>
                  <a:lnTo>
                    <a:pt x="1881" y="840"/>
                  </a:lnTo>
                  <a:lnTo>
                    <a:pt x="1889" y="842"/>
                  </a:lnTo>
                  <a:lnTo>
                    <a:pt x="1890" y="846"/>
                  </a:lnTo>
                  <a:lnTo>
                    <a:pt x="1893" y="847"/>
                  </a:lnTo>
                  <a:lnTo>
                    <a:pt x="1896" y="848"/>
                  </a:lnTo>
                  <a:lnTo>
                    <a:pt x="1899" y="848"/>
                  </a:lnTo>
                  <a:lnTo>
                    <a:pt x="1902" y="858"/>
                  </a:lnTo>
                  <a:lnTo>
                    <a:pt x="1905" y="868"/>
                  </a:lnTo>
                  <a:lnTo>
                    <a:pt x="1906" y="868"/>
                  </a:lnTo>
                  <a:lnTo>
                    <a:pt x="1908" y="869"/>
                  </a:lnTo>
                  <a:lnTo>
                    <a:pt x="1909" y="871"/>
                  </a:lnTo>
                  <a:lnTo>
                    <a:pt x="1909" y="872"/>
                  </a:lnTo>
                  <a:lnTo>
                    <a:pt x="1910" y="878"/>
                  </a:lnTo>
                  <a:lnTo>
                    <a:pt x="1910" y="886"/>
                  </a:lnTo>
                  <a:lnTo>
                    <a:pt x="1908" y="904"/>
                  </a:lnTo>
                  <a:lnTo>
                    <a:pt x="1905" y="925"/>
                  </a:lnTo>
                  <a:lnTo>
                    <a:pt x="1895" y="966"/>
                  </a:lnTo>
                  <a:lnTo>
                    <a:pt x="1889" y="986"/>
                  </a:lnTo>
                  <a:lnTo>
                    <a:pt x="1881" y="1005"/>
                  </a:lnTo>
                  <a:lnTo>
                    <a:pt x="1875" y="1026"/>
                  </a:lnTo>
                  <a:lnTo>
                    <a:pt x="1868" y="1050"/>
                  </a:lnTo>
                  <a:lnTo>
                    <a:pt x="1861" y="1076"/>
                  </a:lnTo>
                  <a:lnTo>
                    <a:pt x="1839" y="1077"/>
                  </a:lnTo>
                  <a:lnTo>
                    <a:pt x="1814" y="1079"/>
                  </a:lnTo>
                  <a:lnTo>
                    <a:pt x="1791" y="1081"/>
                  </a:lnTo>
                  <a:lnTo>
                    <a:pt x="1766" y="1084"/>
                  </a:lnTo>
                  <a:lnTo>
                    <a:pt x="1743" y="1088"/>
                  </a:lnTo>
                  <a:lnTo>
                    <a:pt x="1721" y="1091"/>
                  </a:lnTo>
                  <a:lnTo>
                    <a:pt x="1701" y="1093"/>
                  </a:lnTo>
                  <a:lnTo>
                    <a:pt x="1682" y="1093"/>
                  </a:lnTo>
                  <a:lnTo>
                    <a:pt x="1681" y="1097"/>
                  </a:lnTo>
                  <a:lnTo>
                    <a:pt x="1681" y="1099"/>
                  </a:lnTo>
                  <a:lnTo>
                    <a:pt x="1679" y="1100"/>
                  </a:lnTo>
                  <a:lnTo>
                    <a:pt x="1678" y="1100"/>
                  </a:lnTo>
                  <a:lnTo>
                    <a:pt x="1677" y="1100"/>
                  </a:lnTo>
                  <a:lnTo>
                    <a:pt x="1676" y="1100"/>
                  </a:lnTo>
                  <a:lnTo>
                    <a:pt x="1675" y="1102"/>
                  </a:lnTo>
                  <a:lnTo>
                    <a:pt x="1675" y="1106"/>
                  </a:lnTo>
                  <a:lnTo>
                    <a:pt x="1669" y="1107"/>
                  </a:lnTo>
                  <a:lnTo>
                    <a:pt x="1662" y="1109"/>
                  </a:lnTo>
                  <a:lnTo>
                    <a:pt x="1654" y="1112"/>
                  </a:lnTo>
                  <a:lnTo>
                    <a:pt x="1646" y="1117"/>
                  </a:lnTo>
                  <a:lnTo>
                    <a:pt x="1638" y="1121"/>
                  </a:lnTo>
                  <a:lnTo>
                    <a:pt x="1631" y="1127"/>
                  </a:lnTo>
                  <a:lnTo>
                    <a:pt x="1629" y="1129"/>
                  </a:lnTo>
                  <a:lnTo>
                    <a:pt x="1627" y="1132"/>
                  </a:lnTo>
                  <a:lnTo>
                    <a:pt x="1626" y="1135"/>
                  </a:lnTo>
                  <a:lnTo>
                    <a:pt x="1625" y="1137"/>
                  </a:lnTo>
                  <a:lnTo>
                    <a:pt x="1612" y="1137"/>
                  </a:lnTo>
                  <a:lnTo>
                    <a:pt x="1607" y="1144"/>
                  </a:lnTo>
                  <a:lnTo>
                    <a:pt x="1607" y="1156"/>
                  </a:lnTo>
                  <a:lnTo>
                    <a:pt x="1595" y="1156"/>
                  </a:lnTo>
                  <a:lnTo>
                    <a:pt x="1592" y="1158"/>
                  </a:lnTo>
                  <a:lnTo>
                    <a:pt x="1588" y="1159"/>
                  </a:lnTo>
                  <a:lnTo>
                    <a:pt x="1582" y="1160"/>
                  </a:lnTo>
                  <a:lnTo>
                    <a:pt x="1574" y="1161"/>
                  </a:lnTo>
                  <a:lnTo>
                    <a:pt x="1560" y="1161"/>
                  </a:lnTo>
                  <a:lnTo>
                    <a:pt x="1551" y="1161"/>
                  </a:lnTo>
                  <a:lnTo>
                    <a:pt x="1551" y="1174"/>
                  </a:lnTo>
                  <a:lnTo>
                    <a:pt x="1549" y="1176"/>
                  </a:lnTo>
                  <a:lnTo>
                    <a:pt x="1548" y="1180"/>
                  </a:lnTo>
                  <a:lnTo>
                    <a:pt x="1547" y="1186"/>
                  </a:lnTo>
                  <a:lnTo>
                    <a:pt x="1545" y="1194"/>
                  </a:lnTo>
                  <a:lnTo>
                    <a:pt x="1544" y="1208"/>
                  </a:lnTo>
                  <a:lnTo>
                    <a:pt x="1544" y="1217"/>
                  </a:lnTo>
                  <a:lnTo>
                    <a:pt x="1537" y="1217"/>
                  </a:lnTo>
                  <a:lnTo>
                    <a:pt x="1529" y="1216"/>
                  </a:lnTo>
                  <a:lnTo>
                    <a:pt x="1523" y="1214"/>
                  </a:lnTo>
                  <a:lnTo>
                    <a:pt x="1518" y="1211"/>
                  </a:lnTo>
                  <a:lnTo>
                    <a:pt x="1507" y="1205"/>
                  </a:lnTo>
                  <a:lnTo>
                    <a:pt x="1495" y="1199"/>
                  </a:lnTo>
                  <a:lnTo>
                    <a:pt x="1495" y="1156"/>
                  </a:lnTo>
                  <a:lnTo>
                    <a:pt x="1493" y="1156"/>
                  </a:lnTo>
                  <a:lnTo>
                    <a:pt x="1492" y="1155"/>
                  </a:lnTo>
                  <a:lnTo>
                    <a:pt x="1491" y="1154"/>
                  </a:lnTo>
                  <a:lnTo>
                    <a:pt x="1490" y="1151"/>
                  </a:lnTo>
                  <a:lnTo>
                    <a:pt x="1489" y="1148"/>
                  </a:lnTo>
                  <a:lnTo>
                    <a:pt x="1489" y="1144"/>
                  </a:lnTo>
                  <a:lnTo>
                    <a:pt x="1483" y="1134"/>
                  </a:lnTo>
                  <a:lnTo>
                    <a:pt x="1476" y="1118"/>
                  </a:lnTo>
                  <a:lnTo>
                    <a:pt x="1474" y="1118"/>
                  </a:lnTo>
                  <a:lnTo>
                    <a:pt x="1471" y="1116"/>
                  </a:lnTo>
                  <a:lnTo>
                    <a:pt x="1467" y="1112"/>
                  </a:lnTo>
                  <a:lnTo>
                    <a:pt x="1465" y="1108"/>
                  </a:lnTo>
                  <a:lnTo>
                    <a:pt x="1459" y="1100"/>
                  </a:lnTo>
                  <a:lnTo>
                    <a:pt x="1457" y="1093"/>
                  </a:lnTo>
                  <a:lnTo>
                    <a:pt x="1454" y="1091"/>
                  </a:lnTo>
                  <a:lnTo>
                    <a:pt x="1451" y="1088"/>
                  </a:lnTo>
                  <a:lnTo>
                    <a:pt x="1448" y="1086"/>
                  </a:lnTo>
                  <a:lnTo>
                    <a:pt x="1446" y="1083"/>
                  </a:lnTo>
                  <a:lnTo>
                    <a:pt x="1443" y="1082"/>
                  </a:lnTo>
                  <a:lnTo>
                    <a:pt x="1439" y="1081"/>
                  </a:lnTo>
                  <a:lnTo>
                    <a:pt x="1438" y="1078"/>
                  </a:lnTo>
                  <a:lnTo>
                    <a:pt x="1438" y="1076"/>
                  </a:lnTo>
                  <a:lnTo>
                    <a:pt x="1437" y="1076"/>
                  </a:lnTo>
                  <a:lnTo>
                    <a:pt x="1436" y="1076"/>
                  </a:lnTo>
                  <a:lnTo>
                    <a:pt x="1435" y="1074"/>
                  </a:lnTo>
                  <a:lnTo>
                    <a:pt x="1434" y="1074"/>
                  </a:lnTo>
                  <a:lnTo>
                    <a:pt x="1433" y="1072"/>
                  </a:lnTo>
                  <a:lnTo>
                    <a:pt x="1433" y="1069"/>
                  </a:lnTo>
                  <a:lnTo>
                    <a:pt x="1426" y="1069"/>
                  </a:lnTo>
                  <a:lnTo>
                    <a:pt x="1420" y="1071"/>
                  </a:lnTo>
                  <a:lnTo>
                    <a:pt x="1414" y="1073"/>
                  </a:lnTo>
                  <a:lnTo>
                    <a:pt x="1409" y="1076"/>
                  </a:lnTo>
                  <a:lnTo>
                    <a:pt x="1399" y="1082"/>
                  </a:lnTo>
                  <a:lnTo>
                    <a:pt x="1389" y="1088"/>
                  </a:lnTo>
                  <a:lnTo>
                    <a:pt x="1388" y="1092"/>
                  </a:lnTo>
                  <a:lnTo>
                    <a:pt x="1386" y="1096"/>
                  </a:lnTo>
                  <a:lnTo>
                    <a:pt x="1381" y="1099"/>
                  </a:lnTo>
                  <a:lnTo>
                    <a:pt x="1377" y="1100"/>
                  </a:lnTo>
                  <a:lnTo>
                    <a:pt x="1376" y="1102"/>
                  </a:lnTo>
                  <a:lnTo>
                    <a:pt x="1374" y="1105"/>
                  </a:lnTo>
                  <a:lnTo>
                    <a:pt x="1371" y="1107"/>
                  </a:lnTo>
                  <a:lnTo>
                    <a:pt x="1367" y="1108"/>
                  </a:lnTo>
                  <a:lnTo>
                    <a:pt x="1359" y="1111"/>
                  </a:lnTo>
                  <a:lnTo>
                    <a:pt x="1352" y="1112"/>
                  </a:lnTo>
                  <a:lnTo>
                    <a:pt x="1352" y="1115"/>
                  </a:lnTo>
                  <a:lnTo>
                    <a:pt x="1351" y="1118"/>
                  </a:lnTo>
                  <a:lnTo>
                    <a:pt x="1349" y="1120"/>
                  </a:lnTo>
                  <a:lnTo>
                    <a:pt x="1347" y="1121"/>
                  </a:lnTo>
                  <a:lnTo>
                    <a:pt x="1340" y="1125"/>
                  </a:lnTo>
                  <a:lnTo>
                    <a:pt x="1331" y="1127"/>
                  </a:lnTo>
                  <a:lnTo>
                    <a:pt x="1321" y="1129"/>
                  </a:lnTo>
                  <a:lnTo>
                    <a:pt x="1310" y="1130"/>
                  </a:lnTo>
                  <a:lnTo>
                    <a:pt x="1298" y="1130"/>
                  </a:lnTo>
                  <a:lnTo>
                    <a:pt x="1285" y="1130"/>
                  </a:lnTo>
                  <a:lnTo>
                    <a:pt x="1237" y="1127"/>
                  </a:lnTo>
                  <a:lnTo>
                    <a:pt x="1209" y="1125"/>
                  </a:lnTo>
                  <a:lnTo>
                    <a:pt x="1203" y="1118"/>
                  </a:lnTo>
                  <a:lnTo>
                    <a:pt x="1201" y="1109"/>
                  </a:lnTo>
                  <a:lnTo>
                    <a:pt x="1197" y="1100"/>
                  </a:lnTo>
                  <a:lnTo>
                    <a:pt x="1185" y="1088"/>
                  </a:lnTo>
                  <a:lnTo>
                    <a:pt x="1173" y="1076"/>
                  </a:lnTo>
                  <a:lnTo>
                    <a:pt x="1173" y="1062"/>
                  </a:lnTo>
                  <a:lnTo>
                    <a:pt x="1160" y="1057"/>
                  </a:lnTo>
                  <a:lnTo>
                    <a:pt x="1154" y="1050"/>
                  </a:lnTo>
                  <a:lnTo>
                    <a:pt x="1154" y="1041"/>
                  </a:lnTo>
                  <a:lnTo>
                    <a:pt x="1154" y="1032"/>
                  </a:lnTo>
                  <a:lnTo>
                    <a:pt x="1151" y="1031"/>
                  </a:lnTo>
                  <a:lnTo>
                    <a:pt x="1150" y="1028"/>
                  </a:lnTo>
                  <a:lnTo>
                    <a:pt x="1148" y="1024"/>
                  </a:lnTo>
                  <a:lnTo>
                    <a:pt x="1147" y="1019"/>
                  </a:lnTo>
                  <a:lnTo>
                    <a:pt x="1145" y="1014"/>
                  </a:lnTo>
                  <a:lnTo>
                    <a:pt x="1142" y="1011"/>
                  </a:lnTo>
                  <a:lnTo>
                    <a:pt x="1139" y="1007"/>
                  </a:lnTo>
                  <a:lnTo>
                    <a:pt x="1135" y="1006"/>
                  </a:lnTo>
                  <a:lnTo>
                    <a:pt x="1135" y="994"/>
                  </a:lnTo>
                  <a:lnTo>
                    <a:pt x="1119" y="982"/>
                  </a:lnTo>
                  <a:lnTo>
                    <a:pt x="1103" y="969"/>
                  </a:lnTo>
                  <a:lnTo>
                    <a:pt x="1088" y="969"/>
                  </a:lnTo>
                  <a:lnTo>
                    <a:pt x="1060" y="971"/>
                  </a:lnTo>
                  <a:lnTo>
                    <a:pt x="1024" y="971"/>
                  </a:lnTo>
                  <a:lnTo>
                    <a:pt x="986" y="969"/>
                  </a:lnTo>
                  <a:lnTo>
                    <a:pt x="949" y="967"/>
                  </a:lnTo>
                  <a:lnTo>
                    <a:pt x="917" y="964"/>
                  </a:lnTo>
                  <a:lnTo>
                    <a:pt x="905" y="962"/>
                  </a:lnTo>
                  <a:lnTo>
                    <a:pt x="895" y="958"/>
                  </a:lnTo>
                  <a:lnTo>
                    <a:pt x="891" y="957"/>
                  </a:lnTo>
                  <a:lnTo>
                    <a:pt x="889" y="955"/>
                  </a:lnTo>
                  <a:lnTo>
                    <a:pt x="887" y="953"/>
                  </a:lnTo>
                  <a:lnTo>
                    <a:pt x="887" y="951"/>
                  </a:lnTo>
                  <a:lnTo>
                    <a:pt x="881" y="951"/>
                  </a:lnTo>
                  <a:lnTo>
                    <a:pt x="876" y="949"/>
                  </a:lnTo>
                  <a:lnTo>
                    <a:pt x="869" y="947"/>
                  </a:lnTo>
                  <a:lnTo>
                    <a:pt x="863" y="944"/>
                  </a:lnTo>
                  <a:lnTo>
                    <a:pt x="858" y="940"/>
                  </a:lnTo>
                  <a:lnTo>
                    <a:pt x="853" y="938"/>
                  </a:lnTo>
                  <a:lnTo>
                    <a:pt x="851" y="935"/>
                  </a:lnTo>
                  <a:lnTo>
                    <a:pt x="850" y="933"/>
                  </a:lnTo>
                  <a:lnTo>
                    <a:pt x="834" y="933"/>
                  </a:lnTo>
                  <a:lnTo>
                    <a:pt x="820" y="934"/>
                  </a:lnTo>
                  <a:lnTo>
                    <a:pt x="805" y="935"/>
                  </a:lnTo>
                  <a:lnTo>
                    <a:pt x="792" y="937"/>
                  </a:lnTo>
                  <a:lnTo>
                    <a:pt x="765" y="942"/>
                  </a:lnTo>
                  <a:lnTo>
                    <a:pt x="738" y="948"/>
                  </a:lnTo>
                  <a:lnTo>
                    <a:pt x="713" y="954"/>
                  </a:lnTo>
                  <a:lnTo>
                    <a:pt x="686" y="958"/>
                  </a:lnTo>
                  <a:lnTo>
                    <a:pt x="672" y="961"/>
                  </a:lnTo>
                  <a:lnTo>
                    <a:pt x="660" y="962"/>
                  </a:lnTo>
                  <a:lnTo>
                    <a:pt x="646" y="963"/>
                  </a:lnTo>
                  <a:lnTo>
                    <a:pt x="632" y="963"/>
                  </a:lnTo>
                  <a:lnTo>
                    <a:pt x="629" y="951"/>
                  </a:lnTo>
                  <a:lnTo>
                    <a:pt x="626" y="938"/>
                  </a:lnTo>
                  <a:lnTo>
                    <a:pt x="623" y="937"/>
                  </a:lnTo>
                  <a:lnTo>
                    <a:pt x="621" y="934"/>
                  </a:lnTo>
                  <a:lnTo>
                    <a:pt x="619" y="928"/>
                  </a:lnTo>
                  <a:lnTo>
                    <a:pt x="618" y="923"/>
                  </a:lnTo>
                  <a:lnTo>
                    <a:pt x="614" y="909"/>
                  </a:lnTo>
                  <a:lnTo>
                    <a:pt x="613" y="901"/>
                  </a:lnTo>
                  <a:lnTo>
                    <a:pt x="608" y="896"/>
                  </a:lnTo>
                  <a:lnTo>
                    <a:pt x="601" y="889"/>
                  </a:lnTo>
                  <a:lnTo>
                    <a:pt x="594" y="885"/>
                  </a:lnTo>
                  <a:lnTo>
                    <a:pt x="589" y="882"/>
                  </a:lnTo>
                  <a:lnTo>
                    <a:pt x="589" y="870"/>
                  </a:lnTo>
                  <a:lnTo>
                    <a:pt x="582" y="863"/>
                  </a:lnTo>
                  <a:lnTo>
                    <a:pt x="570" y="863"/>
                  </a:lnTo>
                  <a:lnTo>
                    <a:pt x="558" y="863"/>
                  </a:lnTo>
                  <a:lnTo>
                    <a:pt x="558" y="862"/>
                  </a:lnTo>
                  <a:lnTo>
                    <a:pt x="556" y="861"/>
                  </a:lnTo>
                  <a:lnTo>
                    <a:pt x="554" y="860"/>
                  </a:lnTo>
                  <a:lnTo>
                    <a:pt x="551" y="859"/>
                  </a:lnTo>
                  <a:lnTo>
                    <a:pt x="543" y="858"/>
                  </a:lnTo>
                  <a:lnTo>
                    <a:pt x="533" y="858"/>
                  </a:lnTo>
                  <a:lnTo>
                    <a:pt x="506" y="860"/>
                  </a:lnTo>
                  <a:lnTo>
                    <a:pt x="477" y="865"/>
                  </a:lnTo>
                  <a:lnTo>
                    <a:pt x="447" y="869"/>
                  </a:lnTo>
                  <a:lnTo>
                    <a:pt x="421" y="875"/>
                  </a:lnTo>
                  <a:lnTo>
                    <a:pt x="403" y="879"/>
                  </a:lnTo>
                  <a:lnTo>
                    <a:pt x="397" y="882"/>
                  </a:lnTo>
                  <a:lnTo>
                    <a:pt x="384" y="884"/>
                  </a:lnTo>
                  <a:lnTo>
                    <a:pt x="372" y="885"/>
                  </a:lnTo>
                  <a:lnTo>
                    <a:pt x="359" y="886"/>
                  </a:lnTo>
                  <a:lnTo>
                    <a:pt x="344" y="889"/>
                  </a:lnTo>
                  <a:lnTo>
                    <a:pt x="344" y="889"/>
                  </a:lnTo>
                  <a:lnTo>
                    <a:pt x="345" y="890"/>
                  </a:lnTo>
                  <a:lnTo>
                    <a:pt x="344" y="887"/>
                  </a:lnTo>
                  <a:lnTo>
                    <a:pt x="344" y="882"/>
                  </a:lnTo>
                  <a:lnTo>
                    <a:pt x="322" y="882"/>
                  </a:lnTo>
                  <a:lnTo>
                    <a:pt x="321" y="881"/>
                  </a:lnTo>
                  <a:lnTo>
                    <a:pt x="318" y="880"/>
                  </a:lnTo>
                  <a:lnTo>
                    <a:pt x="313" y="879"/>
                  </a:lnTo>
                  <a:lnTo>
                    <a:pt x="307" y="879"/>
                  </a:lnTo>
                  <a:lnTo>
                    <a:pt x="297" y="878"/>
                  </a:lnTo>
                  <a:lnTo>
                    <a:pt x="291" y="878"/>
                  </a:lnTo>
                  <a:lnTo>
                    <a:pt x="290" y="876"/>
                  </a:lnTo>
                  <a:lnTo>
                    <a:pt x="287" y="875"/>
                  </a:lnTo>
                  <a:lnTo>
                    <a:pt x="285" y="874"/>
                  </a:lnTo>
                  <a:lnTo>
                    <a:pt x="282" y="874"/>
                  </a:lnTo>
                  <a:lnTo>
                    <a:pt x="278" y="872"/>
                  </a:lnTo>
                  <a:lnTo>
                    <a:pt x="271" y="871"/>
                  </a:lnTo>
                  <a:lnTo>
                    <a:pt x="259" y="870"/>
                  </a:lnTo>
                  <a:lnTo>
                    <a:pt x="247" y="870"/>
                  </a:lnTo>
                  <a:lnTo>
                    <a:pt x="222" y="869"/>
                  </a:lnTo>
                  <a:lnTo>
                    <a:pt x="206" y="869"/>
                  </a:lnTo>
                  <a:lnTo>
                    <a:pt x="205" y="871"/>
                  </a:lnTo>
                  <a:lnTo>
                    <a:pt x="204" y="872"/>
                  </a:lnTo>
                  <a:lnTo>
                    <a:pt x="203" y="872"/>
                  </a:lnTo>
                  <a:lnTo>
                    <a:pt x="199" y="874"/>
                  </a:lnTo>
                  <a:lnTo>
                    <a:pt x="194" y="874"/>
                  </a:lnTo>
                  <a:lnTo>
                    <a:pt x="186" y="872"/>
                  </a:lnTo>
                  <a:lnTo>
                    <a:pt x="172" y="870"/>
                  </a:lnTo>
                  <a:lnTo>
                    <a:pt x="166" y="869"/>
                  </a:lnTo>
                  <a:lnTo>
                    <a:pt x="158" y="862"/>
                  </a:lnTo>
                  <a:lnTo>
                    <a:pt x="148" y="856"/>
                  </a:lnTo>
                  <a:lnTo>
                    <a:pt x="134" y="856"/>
                  </a:lnTo>
                  <a:lnTo>
                    <a:pt x="134" y="855"/>
                  </a:lnTo>
                  <a:lnTo>
                    <a:pt x="133" y="853"/>
                  </a:lnTo>
                  <a:lnTo>
                    <a:pt x="131" y="852"/>
                  </a:lnTo>
                  <a:lnTo>
                    <a:pt x="129" y="852"/>
                  </a:lnTo>
                  <a:lnTo>
                    <a:pt x="125" y="851"/>
                  </a:lnTo>
                  <a:lnTo>
                    <a:pt x="121" y="851"/>
                  </a:lnTo>
                  <a:lnTo>
                    <a:pt x="120" y="849"/>
                  </a:lnTo>
                  <a:lnTo>
                    <a:pt x="118" y="848"/>
                  </a:lnTo>
                  <a:lnTo>
                    <a:pt x="115" y="847"/>
                  </a:lnTo>
                  <a:lnTo>
                    <a:pt x="112" y="847"/>
                  </a:lnTo>
                  <a:lnTo>
                    <a:pt x="110" y="842"/>
                  </a:lnTo>
                  <a:lnTo>
                    <a:pt x="108" y="838"/>
                  </a:lnTo>
                  <a:lnTo>
                    <a:pt x="103" y="838"/>
                  </a:lnTo>
                  <a:lnTo>
                    <a:pt x="99" y="836"/>
                  </a:lnTo>
                  <a:lnTo>
                    <a:pt x="95" y="832"/>
                  </a:lnTo>
                  <a:lnTo>
                    <a:pt x="94" y="829"/>
                  </a:lnTo>
                  <a:lnTo>
                    <a:pt x="85" y="829"/>
                  </a:lnTo>
                  <a:lnTo>
                    <a:pt x="84" y="826"/>
                  </a:lnTo>
                  <a:lnTo>
                    <a:pt x="83" y="823"/>
                  </a:lnTo>
                  <a:lnTo>
                    <a:pt x="80" y="821"/>
                  </a:lnTo>
                  <a:lnTo>
                    <a:pt x="76" y="820"/>
                  </a:lnTo>
                  <a:lnTo>
                    <a:pt x="75" y="817"/>
                  </a:lnTo>
                  <a:lnTo>
                    <a:pt x="72" y="814"/>
                  </a:lnTo>
                  <a:lnTo>
                    <a:pt x="67" y="812"/>
                  </a:lnTo>
                  <a:lnTo>
                    <a:pt x="63" y="811"/>
                  </a:lnTo>
                  <a:lnTo>
                    <a:pt x="63" y="798"/>
                  </a:lnTo>
                  <a:lnTo>
                    <a:pt x="59" y="795"/>
                  </a:lnTo>
                  <a:lnTo>
                    <a:pt x="54" y="793"/>
                  </a:lnTo>
                  <a:lnTo>
                    <a:pt x="54" y="784"/>
                  </a:lnTo>
                  <a:lnTo>
                    <a:pt x="45" y="784"/>
                  </a:lnTo>
                  <a:lnTo>
                    <a:pt x="32" y="775"/>
                  </a:lnTo>
                  <a:lnTo>
                    <a:pt x="32" y="775"/>
                  </a:lnTo>
                  <a:lnTo>
                    <a:pt x="24" y="742"/>
                  </a:lnTo>
                  <a:lnTo>
                    <a:pt x="17" y="707"/>
                  </a:lnTo>
                  <a:lnTo>
                    <a:pt x="8" y="672"/>
                  </a:lnTo>
                  <a:lnTo>
                    <a:pt x="0" y="636"/>
                  </a:lnTo>
                  <a:lnTo>
                    <a:pt x="3" y="634"/>
                  </a:lnTo>
                  <a:lnTo>
                    <a:pt x="7" y="628"/>
                  </a:lnTo>
                  <a:lnTo>
                    <a:pt x="11" y="620"/>
                  </a:lnTo>
                  <a:lnTo>
                    <a:pt x="15" y="611"/>
                  </a:lnTo>
                  <a:lnTo>
                    <a:pt x="19" y="601"/>
                  </a:lnTo>
                  <a:lnTo>
                    <a:pt x="23" y="592"/>
                  </a:lnTo>
                  <a:lnTo>
                    <a:pt x="25" y="583"/>
                  </a:lnTo>
                  <a:lnTo>
                    <a:pt x="26" y="578"/>
                  </a:lnTo>
                  <a:lnTo>
                    <a:pt x="29" y="576"/>
                  </a:lnTo>
                  <a:lnTo>
                    <a:pt x="34" y="572"/>
                  </a:lnTo>
                  <a:lnTo>
                    <a:pt x="40" y="567"/>
                  </a:lnTo>
                  <a:lnTo>
                    <a:pt x="44" y="560"/>
                  </a:lnTo>
                  <a:lnTo>
                    <a:pt x="50" y="552"/>
                  </a:lnTo>
                  <a:lnTo>
                    <a:pt x="54" y="544"/>
                  </a:lnTo>
                  <a:lnTo>
                    <a:pt x="57" y="538"/>
                  </a:lnTo>
                  <a:lnTo>
                    <a:pt x="59" y="532"/>
                  </a:lnTo>
                  <a:lnTo>
                    <a:pt x="61" y="531"/>
                  </a:lnTo>
                  <a:lnTo>
                    <a:pt x="64" y="530"/>
                  </a:lnTo>
                  <a:lnTo>
                    <a:pt x="67" y="528"/>
                  </a:lnTo>
                  <a:lnTo>
                    <a:pt x="71" y="524"/>
                  </a:lnTo>
                  <a:lnTo>
                    <a:pt x="73" y="522"/>
                  </a:lnTo>
                  <a:lnTo>
                    <a:pt x="75" y="519"/>
                  </a:lnTo>
                  <a:lnTo>
                    <a:pt x="77" y="515"/>
                  </a:lnTo>
                  <a:lnTo>
                    <a:pt x="77" y="513"/>
                  </a:lnTo>
                  <a:lnTo>
                    <a:pt x="81" y="512"/>
                  </a:lnTo>
                  <a:lnTo>
                    <a:pt x="84" y="510"/>
                  </a:lnTo>
                  <a:lnTo>
                    <a:pt x="89" y="506"/>
                  </a:lnTo>
                  <a:lnTo>
                    <a:pt x="94" y="502"/>
                  </a:lnTo>
                  <a:lnTo>
                    <a:pt x="103" y="493"/>
                  </a:lnTo>
                  <a:lnTo>
                    <a:pt x="110" y="486"/>
                  </a:lnTo>
                  <a:lnTo>
                    <a:pt x="123" y="486"/>
                  </a:lnTo>
                  <a:lnTo>
                    <a:pt x="124" y="482"/>
                  </a:lnTo>
                  <a:lnTo>
                    <a:pt x="127" y="480"/>
                  </a:lnTo>
                  <a:lnTo>
                    <a:pt x="131" y="476"/>
                  </a:lnTo>
                  <a:lnTo>
                    <a:pt x="136" y="474"/>
                  </a:lnTo>
                  <a:lnTo>
                    <a:pt x="141" y="473"/>
                  </a:lnTo>
                  <a:lnTo>
                    <a:pt x="144" y="471"/>
                  </a:lnTo>
                  <a:lnTo>
                    <a:pt x="148" y="469"/>
                  </a:lnTo>
                  <a:lnTo>
                    <a:pt x="149" y="467"/>
                  </a:lnTo>
                  <a:lnTo>
                    <a:pt x="162" y="467"/>
                  </a:lnTo>
                  <a:lnTo>
                    <a:pt x="168" y="462"/>
                  </a:lnTo>
                  <a:lnTo>
                    <a:pt x="175" y="456"/>
                  </a:lnTo>
                  <a:lnTo>
                    <a:pt x="177" y="454"/>
                  </a:lnTo>
                  <a:lnTo>
                    <a:pt x="179" y="449"/>
                  </a:lnTo>
                  <a:lnTo>
                    <a:pt x="181" y="446"/>
                  </a:lnTo>
                  <a:lnTo>
                    <a:pt x="181" y="442"/>
                  </a:lnTo>
                  <a:lnTo>
                    <a:pt x="195" y="442"/>
                  </a:lnTo>
                  <a:lnTo>
                    <a:pt x="195" y="436"/>
                  </a:lnTo>
                  <a:lnTo>
                    <a:pt x="195" y="429"/>
                  </a:lnTo>
                  <a:lnTo>
                    <a:pt x="196" y="426"/>
                  </a:lnTo>
                  <a:lnTo>
                    <a:pt x="197" y="424"/>
                  </a:lnTo>
                  <a:lnTo>
                    <a:pt x="199" y="423"/>
                  </a:lnTo>
                  <a:lnTo>
                    <a:pt x="200" y="422"/>
                  </a:lnTo>
                  <a:lnTo>
                    <a:pt x="200" y="409"/>
                  </a:lnTo>
                  <a:lnTo>
                    <a:pt x="220" y="389"/>
                  </a:lnTo>
                  <a:lnTo>
                    <a:pt x="226" y="388"/>
                  </a:lnTo>
                  <a:lnTo>
                    <a:pt x="233" y="386"/>
                  </a:lnTo>
                  <a:lnTo>
                    <a:pt x="235" y="384"/>
                  </a:lnTo>
                  <a:lnTo>
                    <a:pt x="237" y="381"/>
                  </a:lnTo>
                  <a:lnTo>
                    <a:pt x="239" y="379"/>
                  </a:lnTo>
                  <a:lnTo>
                    <a:pt x="239" y="377"/>
                  </a:lnTo>
                  <a:lnTo>
                    <a:pt x="253" y="377"/>
                  </a:lnTo>
                  <a:lnTo>
                    <a:pt x="263" y="367"/>
                  </a:lnTo>
                  <a:lnTo>
                    <a:pt x="272" y="357"/>
                  </a:lnTo>
                  <a:lnTo>
                    <a:pt x="277" y="356"/>
                  </a:lnTo>
                  <a:lnTo>
                    <a:pt x="283" y="352"/>
                  </a:lnTo>
                  <a:lnTo>
                    <a:pt x="288" y="347"/>
                  </a:lnTo>
                  <a:lnTo>
                    <a:pt x="294" y="341"/>
                  </a:lnTo>
                  <a:lnTo>
                    <a:pt x="300" y="334"/>
                  </a:lnTo>
                  <a:lnTo>
                    <a:pt x="304" y="330"/>
                  </a:lnTo>
                  <a:lnTo>
                    <a:pt x="307" y="327"/>
                  </a:lnTo>
                  <a:lnTo>
                    <a:pt x="311" y="324"/>
                  </a:lnTo>
                  <a:lnTo>
                    <a:pt x="311" y="320"/>
                  </a:lnTo>
                  <a:lnTo>
                    <a:pt x="312" y="315"/>
                  </a:lnTo>
                  <a:lnTo>
                    <a:pt x="312" y="314"/>
                  </a:lnTo>
                  <a:lnTo>
                    <a:pt x="314" y="313"/>
                  </a:lnTo>
                  <a:lnTo>
                    <a:pt x="315" y="312"/>
                  </a:lnTo>
                  <a:lnTo>
                    <a:pt x="318" y="312"/>
                  </a:lnTo>
                  <a:lnTo>
                    <a:pt x="319" y="294"/>
                  </a:lnTo>
                  <a:lnTo>
                    <a:pt x="322" y="269"/>
                  </a:lnTo>
                  <a:lnTo>
                    <a:pt x="323" y="255"/>
                  </a:lnTo>
                  <a:lnTo>
                    <a:pt x="323" y="244"/>
                  </a:lnTo>
                  <a:lnTo>
                    <a:pt x="322" y="241"/>
                  </a:lnTo>
                  <a:lnTo>
                    <a:pt x="321" y="237"/>
                  </a:lnTo>
                  <a:lnTo>
                    <a:pt x="320" y="235"/>
                  </a:lnTo>
                  <a:lnTo>
                    <a:pt x="318" y="234"/>
                  </a:lnTo>
                  <a:lnTo>
                    <a:pt x="318" y="225"/>
                  </a:lnTo>
                  <a:lnTo>
                    <a:pt x="319" y="212"/>
                  </a:lnTo>
                  <a:lnTo>
                    <a:pt x="319" y="206"/>
                  </a:lnTo>
                  <a:lnTo>
                    <a:pt x="320" y="201"/>
                  </a:lnTo>
                  <a:lnTo>
                    <a:pt x="322" y="197"/>
                  </a:lnTo>
                  <a:lnTo>
                    <a:pt x="324" y="195"/>
                  </a:lnTo>
                  <a:lnTo>
                    <a:pt x="324" y="186"/>
                  </a:lnTo>
                  <a:lnTo>
                    <a:pt x="324" y="176"/>
                  </a:lnTo>
                  <a:lnTo>
                    <a:pt x="330" y="169"/>
                  </a:lnTo>
                  <a:lnTo>
                    <a:pt x="336" y="163"/>
                  </a:lnTo>
                  <a:lnTo>
                    <a:pt x="350" y="163"/>
                  </a:lnTo>
                  <a:lnTo>
                    <a:pt x="350" y="158"/>
                  </a:lnTo>
                  <a:lnTo>
                    <a:pt x="351" y="154"/>
                  </a:lnTo>
                  <a:lnTo>
                    <a:pt x="351" y="153"/>
                  </a:lnTo>
                  <a:lnTo>
                    <a:pt x="352" y="151"/>
                  </a:lnTo>
                  <a:lnTo>
                    <a:pt x="354" y="150"/>
                  </a:lnTo>
                  <a:lnTo>
                    <a:pt x="357" y="150"/>
                  </a:lnTo>
                  <a:lnTo>
                    <a:pt x="357" y="144"/>
                  </a:lnTo>
                  <a:lnTo>
                    <a:pt x="357" y="138"/>
                  </a:lnTo>
                  <a:lnTo>
                    <a:pt x="358" y="135"/>
                  </a:lnTo>
                  <a:lnTo>
                    <a:pt x="359" y="132"/>
                  </a:lnTo>
                  <a:lnTo>
                    <a:pt x="361" y="131"/>
                  </a:lnTo>
                  <a:lnTo>
                    <a:pt x="362" y="130"/>
                  </a:lnTo>
                  <a:lnTo>
                    <a:pt x="361" y="105"/>
                  </a:lnTo>
                  <a:lnTo>
                    <a:pt x="357" y="77"/>
                  </a:lnTo>
                  <a:lnTo>
                    <a:pt x="352" y="50"/>
                  </a:lnTo>
                  <a:lnTo>
                    <a:pt x="350" y="26"/>
                  </a:lnTo>
                  <a:lnTo>
                    <a:pt x="347" y="26"/>
                  </a:lnTo>
                  <a:lnTo>
                    <a:pt x="344" y="26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3" y="22"/>
                  </a:lnTo>
                  <a:lnTo>
                    <a:pt x="342" y="22"/>
                  </a:lnTo>
                  <a:lnTo>
                    <a:pt x="341" y="21"/>
                  </a:lnTo>
                  <a:lnTo>
                    <a:pt x="336" y="21"/>
                  </a:lnTo>
                  <a:lnTo>
                    <a:pt x="336" y="7"/>
                  </a:lnTo>
                  <a:lnTo>
                    <a:pt x="333" y="7"/>
                  </a:lnTo>
                  <a:lnTo>
                    <a:pt x="330" y="7"/>
                  </a:lnTo>
                  <a:lnTo>
                    <a:pt x="326" y="6"/>
                  </a:lnTo>
                  <a:lnTo>
                    <a:pt x="325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5" name="Freeform 21"/>
            <p:cNvSpPr>
              <a:spLocks noChangeAspect="1"/>
            </p:cNvSpPr>
            <p:nvPr/>
          </p:nvSpPr>
          <p:spPr bwMode="gray">
            <a:xfrm rot="355651">
              <a:off x="6324356" y="3679825"/>
              <a:ext cx="424241" cy="297026"/>
            </a:xfrm>
            <a:custGeom>
              <a:avLst/>
              <a:gdLst/>
              <a:ahLst/>
              <a:cxnLst>
                <a:cxn ang="0">
                  <a:pos x="1559" y="152"/>
                </a:cxn>
                <a:cxn ang="0">
                  <a:pos x="1479" y="175"/>
                </a:cxn>
                <a:cxn ang="0">
                  <a:pos x="1464" y="231"/>
                </a:cxn>
                <a:cxn ang="0">
                  <a:pos x="1405" y="655"/>
                </a:cxn>
                <a:cxn ang="0">
                  <a:pos x="1287" y="654"/>
                </a:cxn>
                <a:cxn ang="0">
                  <a:pos x="1104" y="600"/>
                </a:cxn>
                <a:cxn ang="0">
                  <a:pos x="1072" y="526"/>
                </a:cxn>
                <a:cxn ang="0">
                  <a:pos x="1004" y="494"/>
                </a:cxn>
                <a:cxn ang="0">
                  <a:pos x="947" y="453"/>
                </a:cxn>
                <a:cxn ang="0">
                  <a:pos x="887" y="244"/>
                </a:cxn>
                <a:cxn ang="0">
                  <a:pos x="837" y="336"/>
                </a:cxn>
                <a:cxn ang="0">
                  <a:pos x="778" y="534"/>
                </a:cxn>
                <a:cxn ang="0">
                  <a:pos x="657" y="579"/>
                </a:cxn>
                <a:cxn ang="0">
                  <a:pos x="535" y="538"/>
                </a:cxn>
                <a:cxn ang="0">
                  <a:pos x="528" y="674"/>
                </a:cxn>
                <a:cxn ang="0">
                  <a:pos x="2" y="767"/>
                </a:cxn>
                <a:cxn ang="0">
                  <a:pos x="62" y="814"/>
                </a:cxn>
                <a:cxn ang="0">
                  <a:pos x="107" y="891"/>
                </a:cxn>
                <a:cxn ang="0">
                  <a:pos x="147" y="977"/>
                </a:cxn>
                <a:cxn ang="0">
                  <a:pos x="219" y="1022"/>
                </a:cxn>
                <a:cxn ang="0">
                  <a:pos x="264" y="1055"/>
                </a:cxn>
                <a:cxn ang="0">
                  <a:pos x="318" y="1093"/>
                </a:cxn>
                <a:cxn ang="0">
                  <a:pos x="381" y="1122"/>
                </a:cxn>
                <a:cxn ang="0">
                  <a:pos x="534" y="1100"/>
                </a:cxn>
                <a:cxn ang="0">
                  <a:pos x="569" y="1075"/>
                </a:cxn>
                <a:cxn ang="0">
                  <a:pos x="743" y="1040"/>
                </a:cxn>
                <a:cxn ang="0">
                  <a:pos x="832" y="988"/>
                </a:cxn>
                <a:cxn ang="0">
                  <a:pos x="1019" y="875"/>
                </a:cxn>
                <a:cxn ang="0">
                  <a:pos x="1183" y="757"/>
                </a:cxn>
                <a:cxn ang="0">
                  <a:pos x="1260" y="843"/>
                </a:cxn>
                <a:cxn ang="0">
                  <a:pos x="1310" y="899"/>
                </a:cxn>
                <a:cxn ang="0">
                  <a:pos x="1360" y="939"/>
                </a:cxn>
                <a:cxn ang="0">
                  <a:pos x="1462" y="1024"/>
                </a:cxn>
                <a:cxn ang="0">
                  <a:pos x="1500" y="1058"/>
                </a:cxn>
                <a:cxn ang="0">
                  <a:pos x="1578" y="1132"/>
                </a:cxn>
                <a:cxn ang="0">
                  <a:pos x="1599" y="1361"/>
                </a:cxn>
                <a:cxn ang="0">
                  <a:pos x="1801" y="1383"/>
                </a:cxn>
                <a:cxn ang="0">
                  <a:pos x="1897" y="1506"/>
                </a:cxn>
                <a:cxn ang="0">
                  <a:pos x="1941" y="1560"/>
                </a:cxn>
                <a:cxn ang="0">
                  <a:pos x="1987" y="1625"/>
                </a:cxn>
                <a:cxn ang="0">
                  <a:pos x="2025" y="1771"/>
                </a:cxn>
                <a:cxn ang="0">
                  <a:pos x="2099" y="1829"/>
                </a:cxn>
                <a:cxn ang="0">
                  <a:pos x="2163" y="1841"/>
                </a:cxn>
                <a:cxn ang="0">
                  <a:pos x="2198" y="1809"/>
                </a:cxn>
                <a:cxn ang="0">
                  <a:pos x="2223" y="1745"/>
                </a:cxn>
                <a:cxn ang="0">
                  <a:pos x="2275" y="1664"/>
                </a:cxn>
                <a:cxn ang="0">
                  <a:pos x="2309" y="1475"/>
                </a:cxn>
                <a:cxn ang="0">
                  <a:pos x="2262" y="1420"/>
                </a:cxn>
                <a:cxn ang="0">
                  <a:pos x="2231" y="1397"/>
                </a:cxn>
                <a:cxn ang="0">
                  <a:pos x="2208" y="1366"/>
                </a:cxn>
                <a:cxn ang="0">
                  <a:pos x="2118" y="1273"/>
                </a:cxn>
                <a:cxn ang="0">
                  <a:pos x="2148" y="744"/>
                </a:cxn>
                <a:cxn ang="0">
                  <a:pos x="2170" y="603"/>
                </a:cxn>
                <a:cxn ang="0">
                  <a:pos x="2268" y="471"/>
                </a:cxn>
                <a:cxn ang="0">
                  <a:pos x="2207" y="332"/>
                </a:cxn>
                <a:cxn ang="0">
                  <a:pos x="2170" y="277"/>
                </a:cxn>
                <a:cxn ang="0">
                  <a:pos x="2013" y="199"/>
                </a:cxn>
                <a:cxn ang="0">
                  <a:pos x="1893" y="107"/>
                </a:cxn>
                <a:cxn ang="0">
                  <a:pos x="1718" y="29"/>
                </a:cxn>
                <a:cxn ang="0">
                  <a:pos x="1465" y="13"/>
                </a:cxn>
              </a:cxnLst>
              <a:rect l="0" t="0" r="r" b="b"/>
              <a:pathLst>
                <a:path w="2316" h="1848">
                  <a:moveTo>
                    <a:pt x="1558" y="74"/>
                  </a:moveTo>
                  <a:lnTo>
                    <a:pt x="1574" y="74"/>
                  </a:lnTo>
                  <a:lnTo>
                    <a:pt x="1574" y="90"/>
                  </a:lnTo>
                  <a:lnTo>
                    <a:pt x="1577" y="92"/>
                  </a:lnTo>
                  <a:lnTo>
                    <a:pt x="1582" y="98"/>
                  </a:lnTo>
                  <a:lnTo>
                    <a:pt x="1587" y="107"/>
                  </a:lnTo>
                  <a:lnTo>
                    <a:pt x="1591" y="117"/>
                  </a:lnTo>
                  <a:lnTo>
                    <a:pt x="1593" y="122"/>
                  </a:lnTo>
                  <a:lnTo>
                    <a:pt x="1593" y="127"/>
                  </a:lnTo>
                  <a:lnTo>
                    <a:pt x="1593" y="132"/>
                  </a:lnTo>
                  <a:lnTo>
                    <a:pt x="1591" y="137"/>
                  </a:lnTo>
                  <a:lnTo>
                    <a:pt x="1588" y="141"/>
                  </a:lnTo>
                  <a:lnTo>
                    <a:pt x="1585" y="145"/>
                  </a:lnTo>
                  <a:lnTo>
                    <a:pt x="1579" y="147"/>
                  </a:lnTo>
                  <a:lnTo>
                    <a:pt x="1571" y="149"/>
                  </a:lnTo>
                  <a:lnTo>
                    <a:pt x="1559" y="152"/>
                  </a:lnTo>
                  <a:lnTo>
                    <a:pt x="1539" y="159"/>
                  </a:lnTo>
                  <a:lnTo>
                    <a:pt x="1529" y="163"/>
                  </a:lnTo>
                  <a:lnTo>
                    <a:pt x="1519" y="164"/>
                  </a:lnTo>
                  <a:lnTo>
                    <a:pt x="1510" y="165"/>
                  </a:lnTo>
                  <a:lnTo>
                    <a:pt x="1502" y="163"/>
                  </a:lnTo>
                  <a:lnTo>
                    <a:pt x="1494" y="148"/>
                  </a:lnTo>
                  <a:lnTo>
                    <a:pt x="1489" y="140"/>
                  </a:lnTo>
                  <a:lnTo>
                    <a:pt x="1486" y="138"/>
                  </a:lnTo>
                  <a:lnTo>
                    <a:pt x="1485" y="138"/>
                  </a:lnTo>
                  <a:lnTo>
                    <a:pt x="1483" y="139"/>
                  </a:lnTo>
                  <a:lnTo>
                    <a:pt x="1482" y="140"/>
                  </a:lnTo>
                  <a:lnTo>
                    <a:pt x="1480" y="146"/>
                  </a:lnTo>
                  <a:lnTo>
                    <a:pt x="1480" y="154"/>
                  </a:lnTo>
                  <a:lnTo>
                    <a:pt x="1479" y="163"/>
                  </a:lnTo>
                  <a:lnTo>
                    <a:pt x="1479" y="170"/>
                  </a:lnTo>
                  <a:lnTo>
                    <a:pt x="1479" y="175"/>
                  </a:lnTo>
                  <a:lnTo>
                    <a:pt x="1478" y="177"/>
                  </a:lnTo>
                  <a:lnTo>
                    <a:pt x="1476" y="178"/>
                  </a:lnTo>
                  <a:lnTo>
                    <a:pt x="1475" y="178"/>
                  </a:lnTo>
                  <a:lnTo>
                    <a:pt x="1474" y="178"/>
                  </a:lnTo>
                  <a:lnTo>
                    <a:pt x="1472" y="179"/>
                  </a:lnTo>
                  <a:lnTo>
                    <a:pt x="1472" y="181"/>
                  </a:lnTo>
                  <a:lnTo>
                    <a:pt x="1471" y="186"/>
                  </a:lnTo>
                  <a:lnTo>
                    <a:pt x="1455" y="186"/>
                  </a:lnTo>
                  <a:lnTo>
                    <a:pt x="1457" y="192"/>
                  </a:lnTo>
                  <a:lnTo>
                    <a:pt x="1463" y="205"/>
                  </a:lnTo>
                  <a:lnTo>
                    <a:pt x="1468" y="217"/>
                  </a:lnTo>
                  <a:lnTo>
                    <a:pt x="1470" y="223"/>
                  </a:lnTo>
                  <a:lnTo>
                    <a:pt x="1468" y="223"/>
                  </a:lnTo>
                  <a:lnTo>
                    <a:pt x="1466" y="225"/>
                  </a:lnTo>
                  <a:lnTo>
                    <a:pt x="1465" y="227"/>
                  </a:lnTo>
                  <a:lnTo>
                    <a:pt x="1464" y="231"/>
                  </a:lnTo>
                  <a:lnTo>
                    <a:pt x="1462" y="238"/>
                  </a:lnTo>
                  <a:lnTo>
                    <a:pt x="1461" y="250"/>
                  </a:lnTo>
                  <a:lnTo>
                    <a:pt x="1457" y="279"/>
                  </a:lnTo>
                  <a:lnTo>
                    <a:pt x="1455" y="311"/>
                  </a:lnTo>
                  <a:lnTo>
                    <a:pt x="1454" y="346"/>
                  </a:lnTo>
                  <a:lnTo>
                    <a:pt x="1454" y="377"/>
                  </a:lnTo>
                  <a:lnTo>
                    <a:pt x="1454" y="402"/>
                  </a:lnTo>
                  <a:lnTo>
                    <a:pt x="1454" y="417"/>
                  </a:lnTo>
                  <a:lnTo>
                    <a:pt x="1454" y="635"/>
                  </a:lnTo>
                  <a:lnTo>
                    <a:pt x="1446" y="642"/>
                  </a:lnTo>
                  <a:lnTo>
                    <a:pt x="1438" y="644"/>
                  </a:lnTo>
                  <a:lnTo>
                    <a:pt x="1430" y="647"/>
                  </a:lnTo>
                  <a:lnTo>
                    <a:pt x="1418" y="649"/>
                  </a:lnTo>
                  <a:lnTo>
                    <a:pt x="1407" y="650"/>
                  </a:lnTo>
                  <a:lnTo>
                    <a:pt x="1406" y="654"/>
                  </a:lnTo>
                  <a:lnTo>
                    <a:pt x="1405" y="655"/>
                  </a:lnTo>
                  <a:lnTo>
                    <a:pt x="1402" y="657"/>
                  </a:lnTo>
                  <a:lnTo>
                    <a:pt x="1398" y="657"/>
                  </a:lnTo>
                  <a:lnTo>
                    <a:pt x="1389" y="658"/>
                  </a:lnTo>
                  <a:lnTo>
                    <a:pt x="1379" y="658"/>
                  </a:lnTo>
                  <a:lnTo>
                    <a:pt x="1369" y="658"/>
                  </a:lnTo>
                  <a:lnTo>
                    <a:pt x="1361" y="659"/>
                  </a:lnTo>
                  <a:lnTo>
                    <a:pt x="1358" y="660"/>
                  </a:lnTo>
                  <a:lnTo>
                    <a:pt x="1355" y="661"/>
                  </a:lnTo>
                  <a:lnTo>
                    <a:pt x="1354" y="664"/>
                  </a:lnTo>
                  <a:lnTo>
                    <a:pt x="1353" y="666"/>
                  </a:lnTo>
                  <a:lnTo>
                    <a:pt x="1336" y="665"/>
                  </a:lnTo>
                  <a:lnTo>
                    <a:pt x="1319" y="663"/>
                  </a:lnTo>
                  <a:lnTo>
                    <a:pt x="1303" y="659"/>
                  </a:lnTo>
                  <a:lnTo>
                    <a:pt x="1290" y="658"/>
                  </a:lnTo>
                  <a:lnTo>
                    <a:pt x="1289" y="656"/>
                  </a:lnTo>
                  <a:lnTo>
                    <a:pt x="1287" y="654"/>
                  </a:lnTo>
                  <a:lnTo>
                    <a:pt x="1282" y="652"/>
                  </a:lnTo>
                  <a:lnTo>
                    <a:pt x="1278" y="651"/>
                  </a:lnTo>
                  <a:lnTo>
                    <a:pt x="1268" y="650"/>
                  </a:lnTo>
                  <a:lnTo>
                    <a:pt x="1259" y="650"/>
                  </a:lnTo>
                  <a:lnTo>
                    <a:pt x="1127" y="635"/>
                  </a:lnTo>
                  <a:lnTo>
                    <a:pt x="1127" y="630"/>
                  </a:lnTo>
                  <a:lnTo>
                    <a:pt x="1126" y="628"/>
                  </a:lnTo>
                  <a:lnTo>
                    <a:pt x="1125" y="627"/>
                  </a:lnTo>
                  <a:lnTo>
                    <a:pt x="1124" y="627"/>
                  </a:lnTo>
                  <a:lnTo>
                    <a:pt x="1121" y="627"/>
                  </a:lnTo>
                  <a:lnTo>
                    <a:pt x="1120" y="626"/>
                  </a:lnTo>
                  <a:lnTo>
                    <a:pt x="1119" y="623"/>
                  </a:lnTo>
                  <a:lnTo>
                    <a:pt x="1119" y="619"/>
                  </a:lnTo>
                  <a:lnTo>
                    <a:pt x="1104" y="619"/>
                  </a:lnTo>
                  <a:lnTo>
                    <a:pt x="1104" y="611"/>
                  </a:lnTo>
                  <a:lnTo>
                    <a:pt x="1104" y="600"/>
                  </a:lnTo>
                  <a:lnTo>
                    <a:pt x="1104" y="589"/>
                  </a:lnTo>
                  <a:lnTo>
                    <a:pt x="1104" y="581"/>
                  </a:lnTo>
                  <a:lnTo>
                    <a:pt x="1101" y="579"/>
                  </a:lnTo>
                  <a:lnTo>
                    <a:pt x="1098" y="575"/>
                  </a:lnTo>
                  <a:lnTo>
                    <a:pt x="1096" y="570"/>
                  </a:lnTo>
                  <a:lnTo>
                    <a:pt x="1094" y="564"/>
                  </a:lnTo>
                  <a:lnTo>
                    <a:pt x="1089" y="551"/>
                  </a:lnTo>
                  <a:lnTo>
                    <a:pt x="1088" y="542"/>
                  </a:lnTo>
                  <a:lnTo>
                    <a:pt x="1086" y="541"/>
                  </a:lnTo>
                  <a:lnTo>
                    <a:pt x="1082" y="541"/>
                  </a:lnTo>
                  <a:lnTo>
                    <a:pt x="1080" y="539"/>
                  </a:lnTo>
                  <a:lnTo>
                    <a:pt x="1078" y="536"/>
                  </a:lnTo>
                  <a:lnTo>
                    <a:pt x="1076" y="534"/>
                  </a:lnTo>
                  <a:lnTo>
                    <a:pt x="1073" y="532"/>
                  </a:lnTo>
                  <a:lnTo>
                    <a:pt x="1073" y="529"/>
                  </a:lnTo>
                  <a:lnTo>
                    <a:pt x="1072" y="526"/>
                  </a:lnTo>
                  <a:lnTo>
                    <a:pt x="1066" y="525"/>
                  </a:lnTo>
                  <a:lnTo>
                    <a:pt x="1056" y="522"/>
                  </a:lnTo>
                  <a:lnTo>
                    <a:pt x="1046" y="520"/>
                  </a:lnTo>
                  <a:lnTo>
                    <a:pt x="1033" y="519"/>
                  </a:lnTo>
                  <a:lnTo>
                    <a:pt x="1033" y="515"/>
                  </a:lnTo>
                  <a:lnTo>
                    <a:pt x="1031" y="513"/>
                  </a:lnTo>
                  <a:lnTo>
                    <a:pt x="1029" y="510"/>
                  </a:lnTo>
                  <a:lnTo>
                    <a:pt x="1025" y="507"/>
                  </a:lnTo>
                  <a:lnTo>
                    <a:pt x="1018" y="504"/>
                  </a:lnTo>
                  <a:lnTo>
                    <a:pt x="1011" y="503"/>
                  </a:lnTo>
                  <a:lnTo>
                    <a:pt x="1010" y="498"/>
                  </a:lnTo>
                  <a:lnTo>
                    <a:pt x="1009" y="496"/>
                  </a:lnTo>
                  <a:lnTo>
                    <a:pt x="1008" y="495"/>
                  </a:lnTo>
                  <a:lnTo>
                    <a:pt x="1006" y="495"/>
                  </a:lnTo>
                  <a:lnTo>
                    <a:pt x="1005" y="495"/>
                  </a:lnTo>
                  <a:lnTo>
                    <a:pt x="1004" y="494"/>
                  </a:lnTo>
                  <a:lnTo>
                    <a:pt x="1003" y="492"/>
                  </a:lnTo>
                  <a:lnTo>
                    <a:pt x="1003" y="487"/>
                  </a:lnTo>
                  <a:lnTo>
                    <a:pt x="991" y="483"/>
                  </a:lnTo>
                  <a:lnTo>
                    <a:pt x="980" y="479"/>
                  </a:lnTo>
                  <a:lnTo>
                    <a:pt x="979" y="474"/>
                  </a:lnTo>
                  <a:lnTo>
                    <a:pt x="976" y="471"/>
                  </a:lnTo>
                  <a:lnTo>
                    <a:pt x="974" y="467"/>
                  </a:lnTo>
                  <a:lnTo>
                    <a:pt x="972" y="465"/>
                  </a:lnTo>
                  <a:lnTo>
                    <a:pt x="969" y="463"/>
                  </a:lnTo>
                  <a:lnTo>
                    <a:pt x="966" y="461"/>
                  </a:lnTo>
                  <a:lnTo>
                    <a:pt x="964" y="458"/>
                  </a:lnTo>
                  <a:lnTo>
                    <a:pt x="964" y="456"/>
                  </a:lnTo>
                  <a:lnTo>
                    <a:pt x="958" y="456"/>
                  </a:lnTo>
                  <a:lnTo>
                    <a:pt x="954" y="455"/>
                  </a:lnTo>
                  <a:lnTo>
                    <a:pt x="950" y="454"/>
                  </a:lnTo>
                  <a:lnTo>
                    <a:pt x="947" y="453"/>
                  </a:lnTo>
                  <a:lnTo>
                    <a:pt x="943" y="448"/>
                  </a:lnTo>
                  <a:lnTo>
                    <a:pt x="939" y="444"/>
                  </a:lnTo>
                  <a:lnTo>
                    <a:pt x="936" y="431"/>
                  </a:lnTo>
                  <a:lnTo>
                    <a:pt x="932" y="418"/>
                  </a:lnTo>
                  <a:lnTo>
                    <a:pt x="927" y="410"/>
                  </a:lnTo>
                  <a:lnTo>
                    <a:pt x="924" y="402"/>
                  </a:lnTo>
                  <a:lnTo>
                    <a:pt x="921" y="394"/>
                  </a:lnTo>
                  <a:lnTo>
                    <a:pt x="918" y="385"/>
                  </a:lnTo>
                  <a:lnTo>
                    <a:pt x="914" y="366"/>
                  </a:lnTo>
                  <a:lnTo>
                    <a:pt x="912" y="347"/>
                  </a:lnTo>
                  <a:lnTo>
                    <a:pt x="907" y="309"/>
                  </a:lnTo>
                  <a:lnTo>
                    <a:pt x="903" y="276"/>
                  </a:lnTo>
                  <a:lnTo>
                    <a:pt x="898" y="263"/>
                  </a:lnTo>
                  <a:lnTo>
                    <a:pt x="894" y="253"/>
                  </a:lnTo>
                  <a:lnTo>
                    <a:pt x="890" y="248"/>
                  </a:lnTo>
                  <a:lnTo>
                    <a:pt x="887" y="244"/>
                  </a:lnTo>
                  <a:lnTo>
                    <a:pt x="884" y="242"/>
                  </a:lnTo>
                  <a:lnTo>
                    <a:pt x="880" y="240"/>
                  </a:lnTo>
                  <a:lnTo>
                    <a:pt x="877" y="240"/>
                  </a:lnTo>
                  <a:lnTo>
                    <a:pt x="873" y="240"/>
                  </a:lnTo>
                  <a:lnTo>
                    <a:pt x="868" y="241"/>
                  </a:lnTo>
                  <a:lnTo>
                    <a:pt x="865" y="243"/>
                  </a:lnTo>
                  <a:lnTo>
                    <a:pt x="860" y="247"/>
                  </a:lnTo>
                  <a:lnTo>
                    <a:pt x="856" y="252"/>
                  </a:lnTo>
                  <a:lnTo>
                    <a:pt x="851" y="258"/>
                  </a:lnTo>
                  <a:lnTo>
                    <a:pt x="847" y="266"/>
                  </a:lnTo>
                  <a:lnTo>
                    <a:pt x="843" y="275"/>
                  </a:lnTo>
                  <a:lnTo>
                    <a:pt x="841" y="283"/>
                  </a:lnTo>
                  <a:lnTo>
                    <a:pt x="839" y="291"/>
                  </a:lnTo>
                  <a:lnTo>
                    <a:pt x="839" y="299"/>
                  </a:lnTo>
                  <a:lnTo>
                    <a:pt x="838" y="317"/>
                  </a:lnTo>
                  <a:lnTo>
                    <a:pt x="837" y="336"/>
                  </a:lnTo>
                  <a:lnTo>
                    <a:pt x="836" y="357"/>
                  </a:lnTo>
                  <a:lnTo>
                    <a:pt x="832" y="381"/>
                  </a:lnTo>
                  <a:lnTo>
                    <a:pt x="829" y="396"/>
                  </a:lnTo>
                  <a:lnTo>
                    <a:pt x="825" y="411"/>
                  </a:lnTo>
                  <a:lnTo>
                    <a:pt x="820" y="427"/>
                  </a:lnTo>
                  <a:lnTo>
                    <a:pt x="812" y="446"/>
                  </a:lnTo>
                  <a:lnTo>
                    <a:pt x="812" y="454"/>
                  </a:lnTo>
                  <a:lnTo>
                    <a:pt x="809" y="466"/>
                  </a:lnTo>
                  <a:lnTo>
                    <a:pt x="806" y="481"/>
                  </a:lnTo>
                  <a:lnTo>
                    <a:pt x="801" y="495"/>
                  </a:lnTo>
                  <a:lnTo>
                    <a:pt x="795" y="510"/>
                  </a:lnTo>
                  <a:lnTo>
                    <a:pt x="789" y="522"/>
                  </a:lnTo>
                  <a:lnTo>
                    <a:pt x="787" y="527"/>
                  </a:lnTo>
                  <a:lnTo>
                    <a:pt x="783" y="531"/>
                  </a:lnTo>
                  <a:lnTo>
                    <a:pt x="780" y="533"/>
                  </a:lnTo>
                  <a:lnTo>
                    <a:pt x="778" y="534"/>
                  </a:lnTo>
                  <a:lnTo>
                    <a:pt x="778" y="558"/>
                  </a:lnTo>
                  <a:lnTo>
                    <a:pt x="770" y="565"/>
                  </a:lnTo>
                  <a:lnTo>
                    <a:pt x="754" y="565"/>
                  </a:lnTo>
                  <a:lnTo>
                    <a:pt x="753" y="567"/>
                  </a:lnTo>
                  <a:lnTo>
                    <a:pt x="751" y="568"/>
                  </a:lnTo>
                  <a:lnTo>
                    <a:pt x="749" y="569"/>
                  </a:lnTo>
                  <a:lnTo>
                    <a:pt x="745" y="570"/>
                  </a:lnTo>
                  <a:lnTo>
                    <a:pt x="735" y="571"/>
                  </a:lnTo>
                  <a:lnTo>
                    <a:pt x="724" y="572"/>
                  </a:lnTo>
                  <a:lnTo>
                    <a:pt x="702" y="572"/>
                  </a:lnTo>
                  <a:lnTo>
                    <a:pt x="684" y="573"/>
                  </a:lnTo>
                  <a:lnTo>
                    <a:pt x="683" y="575"/>
                  </a:lnTo>
                  <a:lnTo>
                    <a:pt x="681" y="578"/>
                  </a:lnTo>
                  <a:lnTo>
                    <a:pt x="676" y="579"/>
                  </a:lnTo>
                  <a:lnTo>
                    <a:pt x="670" y="579"/>
                  </a:lnTo>
                  <a:lnTo>
                    <a:pt x="657" y="579"/>
                  </a:lnTo>
                  <a:lnTo>
                    <a:pt x="641" y="577"/>
                  </a:lnTo>
                  <a:lnTo>
                    <a:pt x="626" y="573"/>
                  </a:lnTo>
                  <a:lnTo>
                    <a:pt x="611" y="569"/>
                  </a:lnTo>
                  <a:lnTo>
                    <a:pt x="606" y="565"/>
                  </a:lnTo>
                  <a:lnTo>
                    <a:pt x="602" y="563"/>
                  </a:lnTo>
                  <a:lnTo>
                    <a:pt x="599" y="560"/>
                  </a:lnTo>
                  <a:lnTo>
                    <a:pt x="598" y="558"/>
                  </a:lnTo>
                  <a:lnTo>
                    <a:pt x="582" y="558"/>
                  </a:lnTo>
                  <a:lnTo>
                    <a:pt x="581" y="554"/>
                  </a:lnTo>
                  <a:lnTo>
                    <a:pt x="577" y="552"/>
                  </a:lnTo>
                  <a:lnTo>
                    <a:pt x="570" y="549"/>
                  </a:lnTo>
                  <a:lnTo>
                    <a:pt x="562" y="546"/>
                  </a:lnTo>
                  <a:lnTo>
                    <a:pt x="547" y="543"/>
                  </a:lnTo>
                  <a:lnTo>
                    <a:pt x="537" y="542"/>
                  </a:lnTo>
                  <a:lnTo>
                    <a:pt x="535" y="539"/>
                  </a:lnTo>
                  <a:lnTo>
                    <a:pt x="535" y="538"/>
                  </a:lnTo>
                  <a:lnTo>
                    <a:pt x="534" y="536"/>
                  </a:lnTo>
                  <a:lnTo>
                    <a:pt x="532" y="535"/>
                  </a:lnTo>
                  <a:lnTo>
                    <a:pt x="529" y="535"/>
                  </a:lnTo>
                  <a:lnTo>
                    <a:pt x="523" y="535"/>
                  </a:lnTo>
                  <a:lnTo>
                    <a:pt x="513" y="540"/>
                  </a:lnTo>
                  <a:lnTo>
                    <a:pt x="505" y="542"/>
                  </a:lnTo>
                  <a:lnTo>
                    <a:pt x="505" y="627"/>
                  </a:lnTo>
                  <a:lnTo>
                    <a:pt x="507" y="629"/>
                  </a:lnTo>
                  <a:lnTo>
                    <a:pt x="511" y="632"/>
                  </a:lnTo>
                  <a:lnTo>
                    <a:pt x="513" y="638"/>
                  </a:lnTo>
                  <a:lnTo>
                    <a:pt x="515" y="644"/>
                  </a:lnTo>
                  <a:lnTo>
                    <a:pt x="519" y="657"/>
                  </a:lnTo>
                  <a:lnTo>
                    <a:pt x="521" y="666"/>
                  </a:lnTo>
                  <a:lnTo>
                    <a:pt x="524" y="667"/>
                  </a:lnTo>
                  <a:lnTo>
                    <a:pt x="526" y="669"/>
                  </a:lnTo>
                  <a:lnTo>
                    <a:pt x="528" y="674"/>
                  </a:lnTo>
                  <a:lnTo>
                    <a:pt x="528" y="678"/>
                  </a:lnTo>
                  <a:lnTo>
                    <a:pt x="525" y="690"/>
                  </a:lnTo>
                  <a:lnTo>
                    <a:pt x="521" y="705"/>
                  </a:lnTo>
                  <a:lnTo>
                    <a:pt x="511" y="732"/>
                  </a:lnTo>
                  <a:lnTo>
                    <a:pt x="505" y="744"/>
                  </a:lnTo>
                  <a:lnTo>
                    <a:pt x="497" y="752"/>
                  </a:lnTo>
                  <a:lnTo>
                    <a:pt x="434" y="751"/>
                  </a:lnTo>
                  <a:lnTo>
                    <a:pt x="371" y="750"/>
                  </a:lnTo>
                  <a:lnTo>
                    <a:pt x="310" y="746"/>
                  </a:lnTo>
                  <a:lnTo>
                    <a:pt x="248" y="744"/>
                  </a:lnTo>
                  <a:lnTo>
                    <a:pt x="187" y="741"/>
                  </a:lnTo>
                  <a:lnTo>
                    <a:pt x="126" y="738"/>
                  </a:lnTo>
                  <a:lnTo>
                    <a:pt x="63" y="736"/>
                  </a:lnTo>
                  <a:lnTo>
                    <a:pt x="0" y="736"/>
                  </a:lnTo>
                  <a:lnTo>
                    <a:pt x="0" y="767"/>
                  </a:lnTo>
                  <a:lnTo>
                    <a:pt x="2" y="767"/>
                  </a:lnTo>
                  <a:lnTo>
                    <a:pt x="5" y="770"/>
                  </a:lnTo>
                  <a:lnTo>
                    <a:pt x="7" y="773"/>
                  </a:lnTo>
                  <a:lnTo>
                    <a:pt x="10" y="776"/>
                  </a:lnTo>
                  <a:lnTo>
                    <a:pt x="14" y="783"/>
                  </a:lnTo>
                  <a:lnTo>
                    <a:pt x="15" y="791"/>
                  </a:lnTo>
                  <a:lnTo>
                    <a:pt x="26" y="794"/>
                  </a:lnTo>
                  <a:lnTo>
                    <a:pt x="39" y="799"/>
                  </a:lnTo>
                  <a:lnTo>
                    <a:pt x="39" y="803"/>
                  </a:lnTo>
                  <a:lnTo>
                    <a:pt x="40" y="805"/>
                  </a:lnTo>
                  <a:lnTo>
                    <a:pt x="41" y="805"/>
                  </a:lnTo>
                  <a:lnTo>
                    <a:pt x="42" y="806"/>
                  </a:lnTo>
                  <a:lnTo>
                    <a:pt x="43" y="806"/>
                  </a:lnTo>
                  <a:lnTo>
                    <a:pt x="44" y="806"/>
                  </a:lnTo>
                  <a:lnTo>
                    <a:pt x="45" y="810"/>
                  </a:lnTo>
                  <a:lnTo>
                    <a:pt x="46" y="814"/>
                  </a:lnTo>
                  <a:lnTo>
                    <a:pt x="62" y="814"/>
                  </a:lnTo>
                  <a:lnTo>
                    <a:pt x="70" y="822"/>
                  </a:lnTo>
                  <a:lnTo>
                    <a:pt x="77" y="829"/>
                  </a:lnTo>
                  <a:lnTo>
                    <a:pt x="77" y="844"/>
                  </a:lnTo>
                  <a:lnTo>
                    <a:pt x="84" y="852"/>
                  </a:lnTo>
                  <a:lnTo>
                    <a:pt x="89" y="853"/>
                  </a:lnTo>
                  <a:lnTo>
                    <a:pt x="92" y="853"/>
                  </a:lnTo>
                  <a:lnTo>
                    <a:pt x="92" y="856"/>
                  </a:lnTo>
                  <a:lnTo>
                    <a:pt x="92" y="857"/>
                  </a:lnTo>
                  <a:lnTo>
                    <a:pt x="93" y="858"/>
                  </a:lnTo>
                  <a:lnTo>
                    <a:pt x="93" y="859"/>
                  </a:lnTo>
                  <a:lnTo>
                    <a:pt x="96" y="860"/>
                  </a:lnTo>
                  <a:lnTo>
                    <a:pt x="100" y="860"/>
                  </a:lnTo>
                  <a:lnTo>
                    <a:pt x="100" y="883"/>
                  </a:lnTo>
                  <a:lnTo>
                    <a:pt x="103" y="885"/>
                  </a:lnTo>
                  <a:lnTo>
                    <a:pt x="104" y="888"/>
                  </a:lnTo>
                  <a:lnTo>
                    <a:pt x="107" y="891"/>
                  </a:lnTo>
                  <a:lnTo>
                    <a:pt x="107" y="897"/>
                  </a:lnTo>
                  <a:lnTo>
                    <a:pt x="108" y="907"/>
                  </a:lnTo>
                  <a:lnTo>
                    <a:pt x="108" y="915"/>
                  </a:lnTo>
                  <a:lnTo>
                    <a:pt x="111" y="916"/>
                  </a:lnTo>
                  <a:lnTo>
                    <a:pt x="113" y="919"/>
                  </a:lnTo>
                  <a:lnTo>
                    <a:pt x="117" y="923"/>
                  </a:lnTo>
                  <a:lnTo>
                    <a:pt x="119" y="927"/>
                  </a:lnTo>
                  <a:lnTo>
                    <a:pt x="122" y="938"/>
                  </a:lnTo>
                  <a:lnTo>
                    <a:pt x="123" y="946"/>
                  </a:lnTo>
                  <a:lnTo>
                    <a:pt x="127" y="947"/>
                  </a:lnTo>
                  <a:lnTo>
                    <a:pt x="129" y="948"/>
                  </a:lnTo>
                  <a:lnTo>
                    <a:pt x="132" y="952"/>
                  </a:lnTo>
                  <a:lnTo>
                    <a:pt x="135" y="955"/>
                  </a:lnTo>
                  <a:lnTo>
                    <a:pt x="138" y="963"/>
                  </a:lnTo>
                  <a:lnTo>
                    <a:pt x="139" y="969"/>
                  </a:lnTo>
                  <a:lnTo>
                    <a:pt x="147" y="977"/>
                  </a:lnTo>
                  <a:lnTo>
                    <a:pt x="163" y="977"/>
                  </a:lnTo>
                  <a:lnTo>
                    <a:pt x="164" y="979"/>
                  </a:lnTo>
                  <a:lnTo>
                    <a:pt x="165" y="982"/>
                  </a:lnTo>
                  <a:lnTo>
                    <a:pt x="168" y="983"/>
                  </a:lnTo>
                  <a:lnTo>
                    <a:pt x="171" y="984"/>
                  </a:lnTo>
                  <a:lnTo>
                    <a:pt x="179" y="985"/>
                  </a:lnTo>
                  <a:lnTo>
                    <a:pt x="186" y="985"/>
                  </a:lnTo>
                  <a:lnTo>
                    <a:pt x="194" y="993"/>
                  </a:lnTo>
                  <a:lnTo>
                    <a:pt x="202" y="1001"/>
                  </a:lnTo>
                  <a:lnTo>
                    <a:pt x="209" y="1008"/>
                  </a:lnTo>
                  <a:lnTo>
                    <a:pt x="209" y="1011"/>
                  </a:lnTo>
                  <a:lnTo>
                    <a:pt x="211" y="1014"/>
                  </a:lnTo>
                  <a:lnTo>
                    <a:pt x="212" y="1016"/>
                  </a:lnTo>
                  <a:lnTo>
                    <a:pt x="214" y="1019"/>
                  </a:lnTo>
                  <a:lnTo>
                    <a:pt x="216" y="1021"/>
                  </a:lnTo>
                  <a:lnTo>
                    <a:pt x="219" y="1022"/>
                  </a:lnTo>
                  <a:lnTo>
                    <a:pt x="222" y="1023"/>
                  </a:lnTo>
                  <a:lnTo>
                    <a:pt x="225" y="1024"/>
                  </a:lnTo>
                  <a:lnTo>
                    <a:pt x="225" y="1026"/>
                  </a:lnTo>
                  <a:lnTo>
                    <a:pt x="226" y="1030"/>
                  </a:lnTo>
                  <a:lnTo>
                    <a:pt x="227" y="1032"/>
                  </a:lnTo>
                  <a:lnTo>
                    <a:pt x="230" y="1034"/>
                  </a:lnTo>
                  <a:lnTo>
                    <a:pt x="232" y="1036"/>
                  </a:lnTo>
                  <a:lnTo>
                    <a:pt x="235" y="1038"/>
                  </a:lnTo>
                  <a:lnTo>
                    <a:pt x="237" y="1039"/>
                  </a:lnTo>
                  <a:lnTo>
                    <a:pt x="241" y="1040"/>
                  </a:lnTo>
                  <a:lnTo>
                    <a:pt x="241" y="1042"/>
                  </a:lnTo>
                  <a:lnTo>
                    <a:pt x="243" y="1045"/>
                  </a:lnTo>
                  <a:lnTo>
                    <a:pt x="246" y="1048"/>
                  </a:lnTo>
                  <a:lnTo>
                    <a:pt x="250" y="1050"/>
                  </a:lnTo>
                  <a:lnTo>
                    <a:pt x="256" y="1053"/>
                  </a:lnTo>
                  <a:lnTo>
                    <a:pt x="264" y="1055"/>
                  </a:lnTo>
                  <a:lnTo>
                    <a:pt x="264" y="1060"/>
                  </a:lnTo>
                  <a:lnTo>
                    <a:pt x="265" y="1062"/>
                  </a:lnTo>
                  <a:lnTo>
                    <a:pt x="266" y="1062"/>
                  </a:lnTo>
                  <a:lnTo>
                    <a:pt x="267" y="1063"/>
                  </a:lnTo>
                  <a:lnTo>
                    <a:pt x="269" y="1063"/>
                  </a:lnTo>
                  <a:lnTo>
                    <a:pt x="271" y="1063"/>
                  </a:lnTo>
                  <a:lnTo>
                    <a:pt x="271" y="1065"/>
                  </a:lnTo>
                  <a:lnTo>
                    <a:pt x="272" y="1070"/>
                  </a:lnTo>
                  <a:lnTo>
                    <a:pt x="288" y="1070"/>
                  </a:lnTo>
                  <a:lnTo>
                    <a:pt x="288" y="1073"/>
                  </a:lnTo>
                  <a:lnTo>
                    <a:pt x="290" y="1077"/>
                  </a:lnTo>
                  <a:lnTo>
                    <a:pt x="292" y="1079"/>
                  </a:lnTo>
                  <a:lnTo>
                    <a:pt x="295" y="1081"/>
                  </a:lnTo>
                  <a:lnTo>
                    <a:pt x="303" y="1084"/>
                  </a:lnTo>
                  <a:lnTo>
                    <a:pt x="310" y="1086"/>
                  </a:lnTo>
                  <a:lnTo>
                    <a:pt x="318" y="1093"/>
                  </a:lnTo>
                  <a:lnTo>
                    <a:pt x="319" y="1098"/>
                  </a:lnTo>
                  <a:lnTo>
                    <a:pt x="320" y="1100"/>
                  </a:lnTo>
                  <a:lnTo>
                    <a:pt x="321" y="1101"/>
                  </a:lnTo>
                  <a:lnTo>
                    <a:pt x="322" y="1101"/>
                  </a:lnTo>
                  <a:lnTo>
                    <a:pt x="323" y="1101"/>
                  </a:lnTo>
                  <a:lnTo>
                    <a:pt x="324" y="1102"/>
                  </a:lnTo>
                  <a:lnTo>
                    <a:pt x="326" y="1104"/>
                  </a:lnTo>
                  <a:lnTo>
                    <a:pt x="326" y="1109"/>
                  </a:lnTo>
                  <a:lnTo>
                    <a:pt x="341" y="1109"/>
                  </a:lnTo>
                  <a:lnTo>
                    <a:pt x="342" y="1111"/>
                  </a:lnTo>
                  <a:lnTo>
                    <a:pt x="343" y="1113"/>
                  </a:lnTo>
                  <a:lnTo>
                    <a:pt x="344" y="1115"/>
                  </a:lnTo>
                  <a:lnTo>
                    <a:pt x="347" y="1117"/>
                  </a:lnTo>
                  <a:lnTo>
                    <a:pt x="353" y="1119"/>
                  </a:lnTo>
                  <a:lnTo>
                    <a:pt x="361" y="1120"/>
                  </a:lnTo>
                  <a:lnTo>
                    <a:pt x="381" y="1122"/>
                  </a:lnTo>
                  <a:lnTo>
                    <a:pt x="406" y="1122"/>
                  </a:lnTo>
                  <a:lnTo>
                    <a:pt x="453" y="1119"/>
                  </a:lnTo>
                  <a:lnTo>
                    <a:pt x="482" y="1117"/>
                  </a:lnTo>
                  <a:lnTo>
                    <a:pt x="482" y="1115"/>
                  </a:lnTo>
                  <a:lnTo>
                    <a:pt x="483" y="1112"/>
                  </a:lnTo>
                  <a:lnTo>
                    <a:pt x="484" y="1111"/>
                  </a:lnTo>
                  <a:lnTo>
                    <a:pt x="486" y="1110"/>
                  </a:lnTo>
                  <a:lnTo>
                    <a:pt x="492" y="1109"/>
                  </a:lnTo>
                  <a:lnTo>
                    <a:pt x="497" y="1109"/>
                  </a:lnTo>
                  <a:lnTo>
                    <a:pt x="524" y="1115"/>
                  </a:lnTo>
                  <a:lnTo>
                    <a:pt x="525" y="1111"/>
                  </a:lnTo>
                  <a:lnTo>
                    <a:pt x="526" y="1108"/>
                  </a:lnTo>
                  <a:lnTo>
                    <a:pt x="528" y="1106"/>
                  </a:lnTo>
                  <a:lnTo>
                    <a:pt x="530" y="1103"/>
                  </a:lnTo>
                  <a:lnTo>
                    <a:pt x="532" y="1101"/>
                  </a:lnTo>
                  <a:lnTo>
                    <a:pt x="534" y="1100"/>
                  </a:lnTo>
                  <a:lnTo>
                    <a:pt x="538" y="1099"/>
                  </a:lnTo>
                  <a:lnTo>
                    <a:pt x="540" y="1099"/>
                  </a:lnTo>
                  <a:lnTo>
                    <a:pt x="541" y="1094"/>
                  </a:lnTo>
                  <a:lnTo>
                    <a:pt x="541" y="1092"/>
                  </a:lnTo>
                  <a:lnTo>
                    <a:pt x="542" y="1091"/>
                  </a:lnTo>
                  <a:lnTo>
                    <a:pt x="544" y="1091"/>
                  </a:lnTo>
                  <a:lnTo>
                    <a:pt x="545" y="1091"/>
                  </a:lnTo>
                  <a:lnTo>
                    <a:pt x="547" y="1090"/>
                  </a:lnTo>
                  <a:lnTo>
                    <a:pt x="548" y="1088"/>
                  </a:lnTo>
                  <a:lnTo>
                    <a:pt x="548" y="1083"/>
                  </a:lnTo>
                  <a:lnTo>
                    <a:pt x="563" y="1083"/>
                  </a:lnTo>
                  <a:lnTo>
                    <a:pt x="563" y="1079"/>
                  </a:lnTo>
                  <a:lnTo>
                    <a:pt x="564" y="1077"/>
                  </a:lnTo>
                  <a:lnTo>
                    <a:pt x="566" y="1075"/>
                  </a:lnTo>
                  <a:lnTo>
                    <a:pt x="568" y="1075"/>
                  </a:lnTo>
                  <a:lnTo>
                    <a:pt x="569" y="1075"/>
                  </a:lnTo>
                  <a:lnTo>
                    <a:pt x="570" y="1074"/>
                  </a:lnTo>
                  <a:lnTo>
                    <a:pt x="571" y="1072"/>
                  </a:lnTo>
                  <a:lnTo>
                    <a:pt x="571" y="1068"/>
                  </a:lnTo>
                  <a:lnTo>
                    <a:pt x="647" y="1053"/>
                  </a:lnTo>
                  <a:lnTo>
                    <a:pt x="648" y="1052"/>
                  </a:lnTo>
                  <a:lnTo>
                    <a:pt x="650" y="1051"/>
                  </a:lnTo>
                  <a:lnTo>
                    <a:pt x="655" y="1050"/>
                  </a:lnTo>
                  <a:lnTo>
                    <a:pt x="659" y="1049"/>
                  </a:lnTo>
                  <a:lnTo>
                    <a:pt x="672" y="1048"/>
                  </a:lnTo>
                  <a:lnTo>
                    <a:pt x="687" y="1048"/>
                  </a:lnTo>
                  <a:lnTo>
                    <a:pt x="717" y="1046"/>
                  </a:lnTo>
                  <a:lnTo>
                    <a:pt x="739" y="1048"/>
                  </a:lnTo>
                  <a:lnTo>
                    <a:pt x="739" y="1044"/>
                  </a:lnTo>
                  <a:lnTo>
                    <a:pt x="740" y="1043"/>
                  </a:lnTo>
                  <a:lnTo>
                    <a:pt x="741" y="1041"/>
                  </a:lnTo>
                  <a:lnTo>
                    <a:pt x="743" y="1040"/>
                  </a:lnTo>
                  <a:lnTo>
                    <a:pt x="747" y="1040"/>
                  </a:lnTo>
                  <a:lnTo>
                    <a:pt x="754" y="1040"/>
                  </a:lnTo>
                  <a:lnTo>
                    <a:pt x="778" y="1016"/>
                  </a:lnTo>
                  <a:lnTo>
                    <a:pt x="792" y="1016"/>
                  </a:lnTo>
                  <a:lnTo>
                    <a:pt x="793" y="1012"/>
                  </a:lnTo>
                  <a:lnTo>
                    <a:pt x="794" y="1010"/>
                  </a:lnTo>
                  <a:lnTo>
                    <a:pt x="795" y="1008"/>
                  </a:lnTo>
                  <a:lnTo>
                    <a:pt x="797" y="1008"/>
                  </a:lnTo>
                  <a:lnTo>
                    <a:pt x="798" y="1008"/>
                  </a:lnTo>
                  <a:lnTo>
                    <a:pt x="799" y="1007"/>
                  </a:lnTo>
                  <a:lnTo>
                    <a:pt x="800" y="1005"/>
                  </a:lnTo>
                  <a:lnTo>
                    <a:pt x="800" y="1001"/>
                  </a:lnTo>
                  <a:lnTo>
                    <a:pt x="816" y="996"/>
                  </a:lnTo>
                  <a:lnTo>
                    <a:pt x="831" y="993"/>
                  </a:lnTo>
                  <a:lnTo>
                    <a:pt x="832" y="991"/>
                  </a:lnTo>
                  <a:lnTo>
                    <a:pt x="832" y="988"/>
                  </a:lnTo>
                  <a:lnTo>
                    <a:pt x="835" y="987"/>
                  </a:lnTo>
                  <a:lnTo>
                    <a:pt x="837" y="986"/>
                  </a:lnTo>
                  <a:lnTo>
                    <a:pt x="841" y="985"/>
                  </a:lnTo>
                  <a:lnTo>
                    <a:pt x="847" y="985"/>
                  </a:lnTo>
                  <a:lnTo>
                    <a:pt x="848" y="983"/>
                  </a:lnTo>
                  <a:lnTo>
                    <a:pt x="848" y="981"/>
                  </a:lnTo>
                  <a:lnTo>
                    <a:pt x="850" y="979"/>
                  </a:lnTo>
                  <a:lnTo>
                    <a:pt x="852" y="978"/>
                  </a:lnTo>
                  <a:lnTo>
                    <a:pt x="857" y="977"/>
                  </a:lnTo>
                  <a:lnTo>
                    <a:pt x="862" y="977"/>
                  </a:lnTo>
                  <a:lnTo>
                    <a:pt x="869" y="972"/>
                  </a:lnTo>
                  <a:lnTo>
                    <a:pt x="886" y="961"/>
                  </a:lnTo>
                  <a:lnTo>
                    <a:pt x="913" y="944"/>
                  </a:lnTo>
                  <a:lnTo>
                    <a:pt x="945" y="924"/>
                  </a:lnTo>
                  <a:lnTo>
                    <a:pt x="981" y="900"/>
                  </a:lnTo>
                  <a:lnTo>
                    <a:pt x="1019" y="875"/>
                  </a:lnTo>
                  <a:lnTo>
                    <a:pt x="1056" y="849"/>
                  </a:lnTo>
                  <a:lnTo>
                    <a:pt x="1090" y="823"/>
                  </a:lnTo>
                  <a:lnTo>
                    <a:pt x="1097" y="817"/>
                  </a:lnTo>
                  <a:lnTo>
                    <a:pt x="1105" y="810"/>
                  </a:lnTo>
                  <a:lnTo>
                    <a:pt x="1110" y="803"/>
                  </a:lnTo>
                  <a:lnTo>
                    <a:pt x="1116" y="795"/>
                  </a:lnTo>
                  <a:lnTo>
                    <a:pt x="1125" y="782"/>
                  </a:lnTo>
                  <a:lnTo>
                    <a:pt x="1131" y="770"/>
                  </a:lnTo>
                  <a:lnTo>
                    <a:pt x="1140" y="751"/>
                  </a:lnTo>
                  <a:lnTo>
                    <a:pt x="1145" y="743"/>
                  </a:lnTo>
                  <a:lnTo>
                    <a:pt x="1146" y="741"/>
                  </a:lnTo>
                  <a:lnTo>
                    <a:pt x="1148" y="741"/>
                  </a:lnTo>
                  <a:lnTo>
                    <a:pt x="1152" y="741"/>
                  </a:lnTo>
                  <a:lnTo>
                    <a:pt x="1157" y="743"/>
                  </a:lnTo>
                  <a:lnTo>
                    <a:pt x="1168" y="748"/>
                  </a:lnTo>
                  <a:lnTo>
                    <a:pt x="1183" y="757"/>
                  </a:lnTo>
                  <a:lnTo>
                    <a:pt x="1209" y="774"/>
                  </a:lnTo>
                  <a:lnTo>
                    <a:pt x="1221" y="783"/>
                  </a:lnTo>
                  <a:lnTo>
                    <a:pt x="1222" y="790"/>
                  </a:lnTo>
                  <a:lnTo>
                    <a:pt x="1225" y="798"/>
                  </a:lnTo>
                  <a:lnTo>
                    <a:pt x="1227" y="801"/>
                  </a:lnTo>
                  <a:lnTo>
                    <a:pt x="1230" y="803"/>
                  </a:lnTo>
                  <a:lnTo>
                    <a:pt x="1233" y="805"/>
                  </a:lnTo>
                  <a:lnTo>
                    <a:pt x="1236" y="806"/>
                  </a:lnTo>
                  <a:lnTo>
                    <a:pt x="1244" y="822"/>
                  </a:lnTo>
                  <a:lnTo>
                    <a:pt x="1252" y="837"/>
                  </a:lnTo>
                  <a:lnTo>
                    <a:pt x="1257" y="838"/>
                  </a:lnTo>
                  <a:lnTo>
                    <a:pt x="1259" y="839"/>
                  </a:lnTo>
                  <a:lnTo>
                    <a:pt x="1259" y="840"/>
                  </a:lnTo>
                  <a:lnTo>
                    <a:pt x="1259" y="841"/>
                  </a:lnTo>
                  <a:lnTo>
                    <a:pt x="1260" y="842"/>
                  </a:lnTo>
                  <a:lnTo>
                    <a:pt x="1260" y="843"/>
                  </a:lnTo>
                  <a:lnTo>
                    <a:pt x="1262" y="844"/>
                  </a:lnTo>
                  <a:lnTo>
                    <a:pt x="1267" y="844"/>
                  </a:lnTo>
                  <a:lnTo>
                    <a:pt x="1268" y="848"/>
                  </a:lnTo>
                  <a:lnTo>
                    <a:pt x="1270" y="852"/>
                  </a:lnTo>
                  <a:lnTo>
                    <a:pt x="1272" y="856"/>
                  </a:lnTo>
                  <a:lnTo>
                    <a:pt x="1275" y="859"/>
                  </a:lnTo>
                  <a:lnTo>
                    <a:pt x="1280" y="863"/>
                  </a:lnTo>
                  <a:lnTo>
                    <a:pt x="1283" y="866"/>
                  </a:lnTo>
                  <a:lnTo>
                    <a:pt x="1287" y="868"/>
                  </a:lnTo>
                  <a:lnTo>
                    <a:pt x="1290" y="868"/>
                  </a:lnTo>
                  <a:lnTo>
                    <a:pt x="1291" y="872"/>
                  </a:lnTo>
                  <a:lnTo>
                    <a:pt x="1294" y="877"/>
                  </a:lnTo>
                  <a:lnTo>
                    <a:pt x="1298" y="882"/>
                  </a:lnTo>
                  <a:lnTo>
                    <a:pt x="1302" y="888"/>
                  </a:lnTo>
                  <a:lnTo>
                    <a:pt x="1307" y="894"/>
                  </a:lnTo>
                  <a:lnTo>
                    <a:pt x="1310" y="899"/>
                  </a:lnTo>
                  <a:lnTo>
                    <a:pt x="1312" y="904"/>
                  </a:lnTo>
                  <a:lnTo>
                    <a:pt x="1313" y="907"/>
                  </a:lnTo>
                  <a:lnTo>
                    <a:pt x="1326" y="911"/>
                  </a:lnTo>
                  <a:lnTo>
                    <a:pt x="1337" y="915"/>
                  </a:lnTo>
                  <a:lnTo>
                    <a:pt x="1337" y="918"/>
                  </a:lnTo>
                  <a:lnTo>
                    <a:pt x="1338" y="920"/>
                  </a:lnTo>
                  <a:lnTo>
                    <a:pt x="1340" y="924"/>
                  </a:lnTo>
                  <a:lnTo>
                    <a:pt x="1342" y="926"/>
                  </a:lnTo>
                  <a:lnTo>
                    <a:pt x="1345" y="928"/>
                  </a:lnTo>
                  <a:lnTo>
                    <a:pt x="1347" y="929"/>
                  </a:lnTo>
                  <a:lnTo>
                    <a:pt x="1349" y="930"/>
                  </a:lnTo>
                  <a:lnTo>
                    <a:pt x="1353" y="930"/>
                  </a:lnTo>
                  <a:lnTo>
                    <a:pt x="1354" y="933"/>
                  </a:lnTo>
                  <a:lnTo>
                    <a:pt x="1355" y="935"/>
                  </a:lnTo>
                  <a:lnTo>
                    <a:pt x="1357" y="937"/>
                  </a:lnTo>
                  <a:lnTo>
                    <a:pt x="1360" y="939"/>
                  </a:lnTo>
                  <a:lnTo>
                    <a:pt x="1364" y="942"/>
                  </a:lnTo>
                  <a:lnTo>
                    <a:pt x="1366" y="945"/>
                  </a:lnTo>
                  <a:lnTo>
                    <a:pt x="1367" y="948"/>
                  </a:lnTo>
                  <a:lnTo>
                    <a:pt x="1368" y="954"/>
                  </a:lnTo>
                  <a:lnTo>
                    <a:pt x="1384" y="954"/>
                  </a:lnTo>
                  <a:lnTo>
                    <a:pt x="1395" y="969"/>
                  </a:lnTo>
                  <a:lnTo>
                    <a:pt x="1407" y="985"/>
                  </a:lnTo>
                  <a:lnTo>
                    <a:pt x="1415" y="993"/>
                  </a:lnTo>
                  <a:lnTo>
                    <a:pt x="1421" y="994"/>
                  </a:lnTo>
                  <a:lnTo>
                    <a:pt x="1426" y="997"/>
                  </a:lnTo>
                  <a:lnTo>
                    <a:pt x="1432" y="1003"/>
                  </a:lnTo>
                  <a:lnTo>
                    <a:pt x="1438" y="1008"/>
                  </a:lnTo>
                  <a:lnTo>
                    <a:pt x="1444" y="1014"/>
                  </a:lnTo>
                  <a:lnTo>
                    <a:pt x="1450" y="1019"/>
                  </a:lnTo>
                  <a:lnTo>
                    <a:pt x="1455" y="1022"/>
                  </a:lnTo>
                  <a:lnTo>
                    <a:pt x="1462" y="1024"/>
                  </a:lnTo>
                  <a:lnTo>
                    <a:pt x="1462" y="1026"/>
                  </a:lnTo>
                  <a:lnTo>
                    <a:pt x="1464" y="1030"/>
                  </a:lnTo>
                  <a:lnTo>
                    <a:pt x="1466" y="1032"/>
                  </a:lnTo>
                  <a:lnTo>
                    <a:pt x="1470" y="1034"/>
                  </a:lnTo>
                  <a:lnTo>
                    <a:pt x="1478" y="1038"/>
                  </a:lnTo>
                  <a:lnTo>
                    <a:pt x="1485" y="1040"/>
                  </a:lnTo>
                  <a:lnTo>
                    <a:pt x="1485" y="1044"/>
                  </a:lnTo>
                  <a:lnTo>
                    <a:pt x="1486" y="1046"/>
                  </a:lnTo>
                  <a:lnTo>
                    <a:pt x="1488" y="1046"/>
                  </a:lnTo>
                  <a:lnTo>
                    <a:pt x="1489" y="1048"/>
                  </a:lnTo>
                  <a:lnTo>
                    <a:pt x="1490" y="1048"/>
                  </a:lnTo>
                  <a:lnTo>
                    <a:pt x="1491" y="1048"/>
                  </a:lnTo>
                  <a:lnTo>
                    <a:pt x="1492" y="1051"/>
                  </a:lnTo>
                  <a:lnTo>
                    <a:pt x="1493" y="1055"/>
                  </a:lnTo>
                  <a:lnTo>
                    <a:pt x="1495" y="1055"/>
                  </a:lnTo>
                  <a:lnTo>
                    <a:pt x="1500" y="1058"/>
                  </a:lnTo>
                  <a:lnTo>
                    <a:pt x="1504" y="1060"/>
                  </a:lnTo>
                  <a:lnTo>
                    <a:pt x="1508" y="1063"/>
                  </a:lnTo>
                  <a:lnTo>
                    <a:pt x="1517" y="1071"/>
                  </a:lnTo>
                  <a:lnTo>
                    <a:pt x="1523" y="1078"/>
                  </a:lnTo>
                  <a:lnTo>
                    <a:pt x="1523" y="1093"/>
                  </a:lnTo>
                  <a:lnTo>
                    <a:pt x="1527" y="1094"/>
                  </a:lnTo>
                  <a:lnTo>
                    <a:pt x="1529" y="1096"/>
                  </a:lnTo>
                  <a:lnTo>
                    <a:pt x="1532" y="1097"/>
                  </a:lnTo>
                  <a:lnTo>
                    <a:pt x="1534" y="1099"/>
                  </a:lnTo>
                  <a:lnTo>
                    <a:pt x="1537" y="1101"/>
                  </a:lnTo>
                  <a:lnTo>
                    <a:pt x="1538" y="1103"/>
                  </a:lnTo>
                  <a:lnTo>
                    <a:pt x="1539" y="1107"/>
                  </a:lnTo>
                  <a:lnTo>
                    <a:pt x="1539" y="1109"/>
                  </a:lnTo>
                  <a:lnTo>
                    <a:pt x="1547" y="1117"/>
                  </a:lnTo>
                  <a:lnTo>
                    <a:pt x="1562" y="1117"/>
                  </a:lnTo>
                  <a:lnTo>
                    <a:pt x="1578" y="1132"/>
                  </a:lnTo>
                  <a:lnTo>
                    <a:pt x="1590" y="1132"/>
                  </a:lnTo>
                  <a:lnTo>
                    <a:pt x="1601" y="1132"/>
                  </a:lnTo>
                  <a:lnTo>
                    <a:pt x="1601" y="1157"/>
                  </a:lnTo>
                  <a:lnTo>
                    <a:pt x="1601" y="1181"/>
                  </a:lnTo>
                  <a:lnTo>
                    <a:pt x="1603" y="1207"/>
                  </a:lnTo>
                  <a:lnTo>
                    <a:pt x="1603" y="1232"/>
                  </a:lnTo>
                  <a:lnTo>
                    <a:pt x="1604" y="1257"/>
                  </a:lnTo>
                  <a:lnTo>
                    <a:pt x="1604" y="1281"/>
                  </a:lnTo>
                  <a:lnTo>
                    <a:pt x="1605" y="1304"/>
                  </a:lnTo>
                  <a:lnTo>
                    <a:pt x="1605" y="1325"/>
                  </a:lnTo>
                  <a:lnTo>
                    <a:pt x="1603" y="1327"/>
                  </a:lnTo>
                  <a:lnTo>
                    <a:pt x="1600" y="1329"/>
                  </a:lnTo>
                  <a:lnTo>
                    <a:pt x="1599" y="1332"/>
                  </a:lnTo>
                  <a:lnTo>
                    <a:pt x="1598" y="1337"/>
                  </a:lnTo>
                  <a:lnTo>
                    <a:pt x="1598" y="1348"/>
                  </a:lnTo>
                  <a:lnTo>
                    <a:pt x="1599" y="1361"/>
                  </a:lnTo>
                  <a:lnTo>
                    <a:pt x="1603" y="1385"/>
                  </a:lnTo>
                  <a:lnTo>
                    <a:pt x="1605" y="1396"/>
                  </a:lnTo>
                  <a:lnTo>
                    <a:pt x="1623" y="1396"/>
                  </a:lnTo>
                  <a:lnTo>
                    <a:pt x="1642" y="1395"/>
                  </a:lnTo>
                  <a:lnTo>
                    <a:pt x="1662" y="1394"/>
                  </a:lnTo>
                  <a:lnTo>
                    <a:pt x="1683" y="1394"/>
                  </a:lnTo>
                  <a:lnTo>
                    <a:pt x="1704" y="1392"/>
                  </a:lnTo>
                  <a:lnTo>
                    <a:pt x="1726" y="1391"/>
                  </a:lnTo>
                  <a:lnTo>
                    <a:pt x="1750" y="1390"/>
                  </a:lnTo>
                  <a:lnTo>
                    <a:pt x="1772" y="1390"/>
                  </a:lnTo>
                  <a:lnTo>
                    <a:pt x="1773" y="1389"/>
                  </a:lnTo>
                  <a:lnTo>
                    <a:pt x="1774" y="1388"/>
                  </a:lnTo>
                  <a:lnTo>
                    <a:pt x="1778" y="1387"/>
                  </a:lnTo>
                  <a:lnTo>
                    <a:pt x="1781" y="1386"/>
                  </a:lnTo>
                  <a:lnTo>
                    <a:pt x="1790" y="1385"/>
                  </a:lnTo>
                  <a:lnTo>
                    <a:pt x="1801" y="1383"/>
                  </a:lnTo>
                  <a:lnTo>
                    <a:pt x="1821" y="1382"/>
                  </a:lnTo>
                  <a:lnTo>
                    <a:pt x="1835" y="1382"/>
                  </a:lnTo>
                  <a:lnTo>
                    <a:pt x="1843" y="1398"/>
                  </a:lnTo>
                  <a:lnTo>
                    <a:pt x="1848" y="1399"/>
                  </a:lnTo>
                  <a:lnTo>
                    <a:pt x="1854" y="1402"/>
                  </a:lnTo>
                  <a:lnTo>
                    <a:pt x="1859" y="1408"/>
                  </a:lnTo>
                  <a:lnTo>
                    <a:pt x="1865" y="1414"/>
                  </a:lnTo>
                  <a:lnTo>
                    <a:pt x="1869" y="1419"/>
                  </a:lnTo>
                  <a:lnTo>
                    <a:pt x="1874" y="1425"/>
                  </a:lnTo>
                  <a:lnTo>
                    <a:pt x="1878" y="1428"/>
                  </a:lnTo>
                  <a:lnTo>
                    <a:pt x="1882" y="1429"/>
                  </a:lnTo>
                  <a:lnTo>
                    <a:pt x="1882" y="1445"/>
                  </a:lnTo>
                  <a:lnTo>
                    <a:pt x="1884" y="1454"/>
                  </a:lnTo>
                  <a:lnTo>
                    <a:pt x="1889" y="1475"/>
                  </a:lnTo>
                  <a:lnTo>
                    <a:pt x="1895" y="1496"/>
                  </a:lnTo>
                  <a:lnTo>
                    <a:pt x="1897" y="1506"/>
                  </a:lnTo>
                  <a:lnTo>
                    <a:pt x="1902" y="1506"/>
                  </a:lnTo>
                  <a:lnTo>
                    <a:pt x="1904" y="1507"/>
                  </a:lnTo>
                  <a:lnTo>
                    <a:pt x="1905" y="1508"/>
                  </a:lnTo>
                  <a:lnTo>
                    <a:pt x="1905" y="1510"/>
                  </a:lnTo>
                  <a:lnTo>
                    <a:pt x="1905" y="1511"/>
                  </a:lnTo>
                  <a:lnTo>
                    <a:pt x="1906" y="1513"/>
                  </a:lnTo>
                  <a:lnTo>
                    <a:pt x="1908" y="1513"/>
                  </a:lnTo>
                  <a:lnTo>
                    <a:pt x="1913" y="1514"/>
                  </a:lnTo>
                  <a:lnTo>
                    <a:pt x="1916" y="1530"/>
                  </a:lnTo>
                  <a:lnTo>
                    <a:pt x="1921" y="1544"/>
                  </a:lnTo>
                  <a:lnTo>
                    <a:pt x="1929" y="1552"/>
                  </a:lnTo>
                  <a:lnTo>
                    <a:pt x="1931" y="1553"/>
                  </a:lnTo>
                  <a:lnTo>
                    <a:pt x="1934" y="1554"/>
                  </a:lnTo>
                  <a:lnTo>
                    <a:pt x="1936" y="1555"/>
                  </a:lnTo>
                  <a:lnTo>
                    <a:pt x="1939" y="1558"/>
                  </a:lnTo>
                  <a:lnTo>
                    <a:pt x="1941" y="1560"/>
                  </a:lnTo>
                  <a:lnTo>
                    <a:pt x="1942" y="1562"/>
                  </a:lnTo>
                  <a:lnTo>
                    <a:pt x="1943" y="1565"/>
                  </a:lnTo>
                  <a:lnTo>
                    <a:pt x="1944" y="1568"/>
                  </a:lnTo>
                  <a:lnTo>
                    <a:pt x="1952" y="1575"/>
                  </a:lnTo>
                  <a:lnTo>
                    <a:pt x="1960" y="1583"/>
                  </a:lnTo>
                  <a:lnTo>
                    <a:pt x="1974" y="1583"/>
                  </a:lnTo>
                  <a:lnTo>
                    <a:pt x="1974" y="1599"/>
                  </a:lnTo>
                  <a:lnTo>
                    <a:pt x="1978" y="1600"/>
                  </a:lnTo>
                  <a:lnTo>
                    <a:pt x="1979" y="1600"/>
                  </a:lnTo>
                  <a:lnTo>
                    <a:pt x="1981" y="1602"/>
                  </a:lnTo>
                  <a:lnTo>
                    <a:pt x="1982" y="1604"/>
                  </a:lnTo>
                  <a:lnTo>
                    <a:pt x="1982" y="1609"/>
                  </a:lnTo>
                  <a:lnTo>
                    <a:pt x="1982" y="1615"/>
                  </a:lnTo>
                  <a:lnTo>
                    <a:pt x="1984" y="1616"/>
                  </a:lnTo>
                  <a:lnTo>
                    <a:pt x="1985" y="1619"/>
                  </a:lnTo>
                  <a:lnTo>
                    <a:pt x="1987" y="1625"/>
                  </a:lnTo>
                  <a:lnTo>
                    <a:pt x="1987" y="1632"/>
                  </a:lnTo>
                  <a:lnTo>
                    <a:pt x="1989" y="1650"/>
                  </a:lnTo>
                  <a:lnTo>
                    <a:pt x="1990" y="1671"/>
                  </a:lnTo>
                  <a:lnTo>
                    <a:pt x="1990" y="1713"/>
                  </a:lnTo>
                  <a:lnTo>
                    <a:pt x="1990" y="1740"/>
                  </a:lnTo>
                  <a:lnTo>
                    <a:pt x="1993" y="1740"/>
                  </a:lnTo>
                  <a:lnTo>
                    <a:pt x="1997" y="1741"/>
                  </a:lnTo>
                  <a:lnTo>
                    <a:pt x="1999" y="1742"/>
                  </a:lnTo>
                  <a:lnTo>
                    <a:pt x="2001" y="1744"/>
                  </a:lnTo>
                  <a:lnTo>
                    <a:pt x="2003" y="1746"/>
                  </a:lnTo>
                  <a:lnTo>
                    <a:pt x="2004" y="1748"/>
                  </a:lnTo>
                  <a:lnTo>
                    <a:pt x="2006" y="1752"/>
                  </a:lnTo>
                  <a:lnTo>
                    <a:pt x="2006" y="1755"/>
                  </a:lnTo>
                  <a:lnTo>
                    <a:pt x="2013" y="1763"/>
                  </a:lnTo>
                  <a:lnTo>
                    <a:pt x="2021" y="1771"/>
                  </a:lnTo>
                  <a:lnTo>
                    <a:pt x="2025" y="1771"/>
                  </a:lnTo>
                  <a:lnTo>
                    <a:pt x="2028" y="1773"/>
                  </a:lnTo>
                  <a:lnTo>
                    <a:pt x="2032" y="1775"/>
                  </a:lnTo>
                  <a:lnTo>
                    <a:pt x="2036" y="1779"/>
                  </a:lnTo>
                  <a:lnTo>
                    <a:pt x="2039" y="1783"/>
                  </a:lnTo>
                  <a:lnTo>
                    <a:pt x="2042" y="1786"/>
                  </a:lnTo>
                  <a:lnTo>
                    <a:pt x="2045" y="1791"/>
                  </a:lnTo>
                  <a:lnTo>
                    <a:pt x="2045" y="1793"/>
                  </a:lnTo>
                  <a:lnTo>
                    <a:pt x="2051" y="1795"/>
                  </a:lnTo>
                  <a:lnTo>
                    <a:pt x="2058" y="1799"/>
                  </a:lnTo>
                  <a:lnTo>
                    <a:pt x="2065" y="1803"/>
                  </a:lnTo>
                  <a:lnTo>
                    <a:pt x="2073" y="1809"/>
                  </a:lnTo>
                  <a:lnTo>
                    <a:pt x="2079" y="1815"/>
                  </a:lnTo>
                  <a:lnTo>
                    <a:pt x="2086" y="1820"/>
                  </a:lnTo>
                  <a:lnTo>
                    <a:pt x="2093" y="1823"/>
                  </a:lnTo>
                  <a:lnTo>
                    <a:pt x="2099" y="1824"/>
                  </a:lnTo>
                  <a:lnTo>
                    <a:pt x="2099" y="1829"/>
                  </a:lnTo>
                  <a:lnTo>
                    <a:pt x="2100" y="1831"/>
                  </a:lnTo>
                  <a:lnTo>
                    <a:pt x="2102" y="1832"/>
                  </a:lnTo>
                  <a:lnTo>
                    <a:pt x="2103" y="1832"/>
                  </a:lnTo>
                  <a:lnTo>
                    <a:pt x="2105" y="1832"/>
                  </a:lnTo>
                  <a:lnTo>
                    <a:pt x="2106" y="1833"/>
                  </a:lnTo>
                  <a:lnTo>
                    <a:pt x="2107" y="1835"/>
                  </a:lnTo>
                  <a:lnTo>
                    <a:pt x="2107" y="1840"/>
                  </a:lnTo>
                  <a:lnTo>
                    <a:pt x="2123" y="1840"/>
                  </a:lnTo>
                  <a:lnTo>
                    <a:pt x="2124" y="1843"/>
                  </a:lnTo>
                  <a:lnTo>
                    <a:pt x="2127" y="1844"/>
                  </a:lnTo>
                  <a:lnTo>
                    <a:pt x="2133" y="1847"/>
                  </a:lnTo>
                  <a:lnTo>
                    <a:pt x="2140" y="1847"/>
                  </a:lnTo>
                  <a:lnTo>
                    <a:pt x="2152" y="1848"/>
                  </a:lnTo>
                  <a:lnTo>
                    <a:pt x="2162" y="1848"/>
                  </a:lnTo>
                  <a:lnTo>
                    <a:pt x="2162" y="1843"/>
                  </a:lnTo>
                  <a:lnTo>
                    <a:pt x="2163" y="1841"/>
                  </a:lnTo>
                  <a:lnTo>
                    <a:pt x="2164" y="1840"/>
                  </a:lnTo>
                  <a:lnTo>
                    <a:pt x="2165" y="1840"/>
                  </a:lnTo>
                  <a:lnTo>
                    <a:pt x="2166" y="1840"/>
                  </a:lnTo>
                  <a:lnTo>
                    <a:pt x="2169" y="1839"/>
                  </a:lnTo>
                  <a:lnTo>
                    <a:pt x="2169" y="1837"/>
                  </a:lnTo>
                  <a:lnTo>
                    <a:pt x="2170" y="1832"/>
                  </a:lnTo>
                  <a:lnTo>
                    <a:pt x="2172" y="1832"/>
                  </a:lnTo>
                  <a:lnTo>
                    <a:pt x="2175" y="1831"/>
                  </a:lnTo>
                  <a:lnTo>
                    <a:pt x="2177" y="1830"/>
                  </a:lnTo>
                  <a:lnTo>
                    <a:pt x="2180" y="1828"/>
                  </a:lnTo>
                  <a:lnTo>
                    <a:pt x="2182" y="1825"/>
                  </a:lnTo>
                  <a:lnTo>
                    <a:pt x="2183" y="1822"/>
                  </a:lnTo>
                  <a:lnTo>
                    <a:pt x="2184" y="1820"/>
                  </a:lnTo>
                  <a:lnTo>
                    <a:pt x="2185" y="1817"/>
                  </a:lnTo>
                  <a:lnTo>
                    <a:pt x="2193" y="1809"/>
                  </a:lnTo>
                  <a:lnTo>
                    <a:pt x="2198" y="1809"/>
                  </a:lnTo>
                  <a:lnTo>
                    <a:pt x="2200" y="1808"/>
                  </a:lnTo>
                  <a:lnTo>
                    <a:pt x="2200" y="1806"/>
                  </a:lnTo>
                  <a:lnTo>
                    <a:pt x="2201" y="1805"/>
                  </a:lnTo>
                  <a:lnTo>
                    <a:pt x="2201" y="1804"/>
                  </a:lnTo>
                  <a:lnTo>
                    <a:pt x="2201" y="1803"/>
                  </a:lnTo>
                  <a:lnTo>
                    <a:pt x="2203" y="1802"/>
                  </a:lnTo>
                  <a:lnTo>
                    <a:pt x="2208" y="1801"/>
                  </a:lnTo>
                  <a:lnTo>
                    <a:pt x="2210" y="1790"/>
                  </a:lnTo>
                  <a:lnTo>
                    <a:pt x="2212" y="1779"/>
                  </a:lnTo>
                  <a:lnTo>
                    <a:pt x="2214" y="1766"/>
                  </a:lnTo>
                  <a:lnTo>
                    <a:pt x="2215" y="1755"/>
                  </a:lnTo>
                  <a:lnTo>
                    <a:pt x="2219" y="1754"/>
                  </a:lnTo>
                  <a:lnTo>
                    <a:pt x="2220" y="1753"/>
                  </a:lnTo>
                  <a:lnTo>
                    <a:pt x="2222" y="1752"/>
                  </a:lnTo>
                  <a:lnTo>
                    <a:pt x="2223" y="1750"/>
                  </a:lnTo>
                  <a:lnTo>
                    <a:pt x="2223" y="1745"/>
                  </a:lnTo>
                  <a:lnTo>
                    <a:pt x="2223" y="1740"/>
                  </a:lnTo>
                  <a:lnTo>
                    <a:pt x="2227" y="1738"/>
                  </a:lnTo>
                  <a:lnTo>
                    <a:pt x="2228" y="1737"/>
                  </a:lnTo>
                  <a:lnTo>
                    <a:pt x="2230" y="1736"/>
                  </a:lnTo>
                  <a:lnTo>
                    <a:pt x="2231" y="1734"/>
                  </a:lnTo>
                  <a:lnTo>
                    <a:pt x="2231" y="1729"/>
                  </a:lnTo>
                  <a:lnTo>
                    <a:pt x="2231" y="1724"/>
                  </a:lnTo>
                  <a:lnTo>
                    <a:pt x="2234" y="1723"/>
                  </a:lnTo>
                  <a:lnTo>
                    <a:pt x="2236" y="1723"/>
                  </a:lnTo>
                  <a:lnTo>
                    <a:pt x="2238" y="1721"/>
                  </a:lnTo>
                  <a:lnTo>
                    <a:pt x="2238" y="1718"/>
                  </a:lnTo>
                  <a:lnTo>
                    <a:pt x="2239" y="1714"/>
                  </a:lnTo>
                  <a:lnTo>
                    <a:pt x="2239" y="1708"/>
                  </a:lnTo>
                  <a:lnTo>
                    <a:pt x="2250" y="1695"/>
                  </a:lnTo>
                  <a:lnTo>
                    <a:pt x="2267" y="1674"/>
                  </a:lnTo>
                  <a:lnTo>
                    <a:pt x="2275" y="1664"/>
                  </a:lnTo>
                  <a:lnTo>
                    <a:pt x="2284" y="1655"/>
                  </a:lnTo>
                  <a:lnTo>
                    <a:pt x="2289" y="1648"/>
                  </a:lnTo>
                  <a:lnTo>
                    <a:pt x="2294" y="1646"/>
                  </a:lnTo>
                  <a:lnTo>
                    <a:pt x="2294" y="1630"/>
                  </a:lnTo>
                  <a:lnTo>
                    <a:pt x="2297" y="1630"/>
                  </a:lnTo>
                  <a:lnTo>
                    <a:pt x="2300" y="1629"/>
                  </a:lnTo>
                  <a:lnTo>
                    <a:pt x="2303" y="1627"/>
                  </a:lnTo>
                  <a:lnTo>
                    <a:pt x="2306" y="1625"/>
                  </a:lnTo>
                  <a:lnTo>
                    <a:pt x="2309" y="1617"/>
                  </a:lnTo>
                  <a:lnTo>
                    <a:pt x="2313" y="1608"/>
                  </a:lnTo>
                  <a:lnTo>
                    <a:pt x="2315" y="1598"/>
                  </a:lnTo>
                  <a:lnTo>
                    <a:pt x="2316" y="1585"/>
                  </a:lnTo>
                  <a:lnTo>
                    <a:pt x="2316" y="1572"/>
                  </a:lnTo>
                  <a:lnTo>
                    <a:pt x="2316" y="1559"/>
                  </a:lnTo>
                  <a:lnTo>
                    <a:pt x="2313" y="1505"/>
                  </a:lnTo>
                  <a:lnTo>
                    <a:pt x="2309" y="1475"/>
                  </a:lnTo>
                  <a:lnTo>
                    <a:pt x="2305" y="1474"/>
                  </a:lnTo>
                  <a:lnTo>
                    <a:pt x="2303" y="1474"/>
                  </a:lnTo>
                  <a:lnTo>
                    <a:pt x="2301" y="1473"/>
                  </a:lnTo>
                  <a:lnTo>
                    <a:pt x="2301" y="1471"/>
                  </a:lnTo>
                  <a:lnTo>
                    <a:pt x="2301" y="1469"/>
                  </a:lnTo>
                  <a:lnTo>
                    <a:pt x="2300" y="1468"/>
                  </a:lnTo>
                  <a:lnTo>
                    <a:pt x="2298" y="1467"/>
                  </a:lnTo>
                  <a:lnTo>
                    <a:pt x="2294" y="1467"/>
                  </a:lnTo>
                  <a:lnTo>
                    <a:pt x="2292" y="1462"/>
                  </a:lnTo>
                  <a:lnTo>
                    <a:pt x="2289" y="1455"/>
                  </a:lnTo>
                  <a:lnTo>
                    <a:pt x="2284" y="1449"/>
                  </a:lnTo>
                  <a:lnTo>
                    <a:pt x="2278" y="1444"/>
                  </a:lnTo>
                  <a:lnTo>
                    <a:pt x="2272" y="1438"/>
                  </a:lnTo>
                  <a:lnTo>
                    <a:pt x="2268" y="1431"/>
                  </a:lnTo>
                  <a:lnTo>
                    <a:pt x="2263" y="1426"/>
                  </a:lnTo>
                  <a:lnTo>
                    <a:pt x="2262" y="1420"/>
                  </a:lnTo>
                  <a:lnTo>
                    <a:pt x="2260" y="1420"/>
                  </a:lnTo>
                  <a:lnTo>
                    <a:pt x="2257" y="1419"/>
                  </a:lnTo>
                  <a:lnTo>
                    <a:pt x="2255" y="1417"/>
                  </a:lnTo>
                  <a:lnTo>
                    <a:pt x="2252" y="1416"/>
                  </a:lnTo>
                  <a:lnTo>
                    <a:pt x="2250" y="1414"/>
                  </a:lnTo>
                  <a:lnTo>
                    <a:pt x="2249" y="1410"/>
                  </a:lnTo>
                  <a:lnTo>
                    <a:pt x="2248" y="1408"/>
                  </a:lnTo>
                  <a:lnTo>
                    <a:pt x="2247" y="1405"/>
                  </a:lnTo>
                  <a:lnTo>
                    <a:pt x="2242" y="1405"/>
                  </a:lnTo>
                  <a:lnTo>
                    <a:pt x="2240" y="1404"/>
                  </a:lnTo>
                  <a:lnTo>
                    <a:pt x="2239" y="1402"/>
                  </a:lnTo>
                  <a:lnTo>
                    <a:pt x="2239" y="1401"/>
                  </a:lnTo>
                  <a:lnTo>
                    <a:pt x="2239" y="1399"/>
                  </a:lnTo>
                  <a:lnTo>
                    <a:pt x="2238" y="1398"/>
                  </a:lnTo>
                  <a:lnTo>
                    <a:pt x="2236" y="1397"/>
                  </a:lnTo>
                  <a:lnTo>
                    <a:pt x="2231" y="1397"/>
                  </a:lnTo>
                  <a:lnTo>
                    <a:pt x="2231" y="1395"/>
                  </a:lnTo>
                  <a:lnTo>
                    <a:pt x="2230" y="1391"/>
                  </a:lnTo>
                  <a:lnTo>
                    <a:pt x="2229" y="1389"/>
                  </a:lnTo>
                  <a:lnTo>
                    <a:pt x="2227" y="1387"/>
                  </a:lnTo>
                  <a:lnTo>
                    <a:pt x="2224" y="1385"/>
                  </a:lnTo>
                  <a:lnTo>
                    <a:pt x="2222" y="1382"/>
                  </a:lnTo>
                  <a:lnTo>
                    <a:pt x="2219" y="1381"/>
                  </a:lnTo>
                  <a:lnTo>
                    <a:pt x="2215" y="1381"/>
                  </a:lnTo>
                  <a:lnTo>
                    <a:pt x="2215" y="1377"/>
                  </a:lnTo>
                  <a:lnTo>
                    <a:pt x="2214" y="1375"/>
                  </a:lnTo>
                  <a:lnTo>
                    <a:pt x="2213" y="1373"/>
                  </a:lnTo>
                  <a:lnTo>
                    <a:pt x="2212" y="1373"/>
                  </a:lnTo>
                  <a:lnTo>
                    <a:pt x="2211" y="1373"/>
                  </a:lnTo>
                  <a:lnTo>
                    <a:pt x="2210" y="1372"/>
                  </a:lnTo>
                  <a:lnTo>
                    <a:pt x="2209" y="1370"/>
                  </a:lnTo>
                  <a:lnTo>
                    <a:pt x="2208" y="1366"/>
                  </a:lnTo>
                  <a:lnTo>
                    <a:pt x="2203" y="1365"/>
                  </a:lnTo>
                  <a:lnTo>
                    <a:pt x="2195" y="1360"/>
                  </a:lnTo>
                  <a:lnTo>
                    <a:pt x="2185" y="1353"/>
                  </a:lnTo>
                  <a:lnTo>
                    <a:pt x="2174" y="1346"/>
                  </a:lnTo>
                  <a:lnTo>
                    <a:pt x="2164" y="1338"/>
                  </a:lnTo>
                  <a:lnTo>
                    <a:pt x="2154" y="1330"/>
                  </a:lnTo>
                  <a:lnTo>
                    <a:pt x="2148" y="1323"/>
                  </a:lnTo>
                  <a:lnTo>
                    <a:pt x="2146" y="1319"/>
                  </a:lnTo>
                  <a:lnTo>
                    <a:pt x="2138" y="1319"/>
                  </a:lnTo>
                  <a:lnTo>
                    <a:pt x="2133" y="1317"/>
                  </a:lnTo>
                  <a:lnTo>
                    <a:pt x="2128" y="1312"/>
                  </a:lnTo>
                  <a:lnTo>
                    <a:pt x="2125" y="1306"/>
                  </a:lnTo>
                  <a:lnTo>
                    <a:pt x="2122" y="1300"/>
                  </a:lnTo>
                  <a:lnTo>
                    <a:pt x="2121" y="1292"/>
                  </a:lnTo>
                  <a:lnTo>
                    <a:pt x="2119" y="1283"/>
                  </a:lnTo>
                  <a:lnTo>
                    <a:pt x="2118" y="1273"/>
                  </a:lnTo>
                  <a:lnTo>
                    <a:pt x="2121" y="1224"/>
                  </a:lnTo>
                  <a:lnTo>
                    <a:pt x="2122" y="1165"/>
                  </a:lnTo>
                  <a:lnTo>
                    <a:pt x="2121" y="1118"/>
                  </a:lnTo>
                  <a:lnTo>
                    <a:pt x="2118" y="1070"/>
                  </a:lnTo>
                  <a:lnTo>
                    <a:pt x="2117" y="1023"/>
                  </a:lnTo>
                  <a:lnTo>
                    <a:pt x="2115" y="978"/>
                  </a:lnTo>
                  <a:lnTo>
                    <a:pt x="2114" y="939"/>
                  </a:lnTo>
                  <a:lnTo>
                    <a:pt x="2113" y="906"/>
                  </a:lnTo>
                  <a:lnTo>
                    <a:pt x="2113" y="881"/>
                  </a:lnTo>
                  <a:lnTo>
                    <a:pt x="2114" y="867"/>
                  </a:lnTo>
                  <a:lnTo>
                    <a:pt x="2118" y="846"/>
                  </a:lnTo>
                  <a:lnTo>
                    <a:pt x="2124" y="825"/>
                  </a:lnTo>
                  <a:lnTo>
                    <a:pt x="2131" y="805"/>
                  </a:lnTo>
                  <a:lnTo>
                    <a:pt x="2137" y="784"/>
                  </a:lnTo>
                  <a:lnTo>
                    <a:pt x="2144" y="764"/>
                  </a:lnTo>
                  <a:lnTo>
                    <a:pt x="2148" y="744"/>
                  </a:lnTo>
                  <a:lnTo>
                    <a:pt x="2153" y="725"/>
                  </a:lnTo>
                  <a:lnTo>
                    <a:pt x="2154" y="705"/>
                  </a:lnTo>
                  <a:lnTo>
                    <a:pt x="2156" y="704"/>
                  </a:lnTo>
                  <a:lnTo>
                    <a:pt x="2158" y="698"/>
                  </a:lnTo>
                  <a:lnTo>
                    <a:pt x="2160" y="693"/>
                  </a:lnTo>
                  <a:lnTo>
                    <a:pt x="2161" y="685"/>
                  </a:lnTo>
                  <a:lnTo>
                    <a:pt x="2162" y="669"/>
                  </a:lnTo>
                  <a:lnTo>
                    <a:pt x="2162" y="658"/>
                  </a:lnTo>
                  <a:lnTo>
                    <a:pt x="2163" y="658"/>
                  </a:lnTo>
                  <a:lnTo>
                    <a:pt x="2164" y="656"/>
                  </a:lnTo>
                  <a:lnTo>
                    <a:pt x="2165" y="654"/>
                  </a:lnTo>
                  <a:lnTo>
                    <a:pt x="2166" y="651"/>
                  </a:lnTo>
                  <a:lnTo>
                    <a:pt x="2167" y="644"/>
                  </a:lnTo>
                  <a:lnTo>
                    <a:pt x="2169" y="633"/>
                  </a:lnTo>
                  <a:lnTo>
                    <a:pt x="2170" y="616"/>
                  </a:lnTo>
                  <a:lnTo>
                    <a:pt x="2170" y="603"/>
                  </a:lnTo>
                  <a:lnTo>
                    <a:pt x="2171" y="603"/>
                  </a:lnTo>
                  <a:lnTo>
                    <a:pt x="2173" y="602"/>
                  </a:lnTo>
                  <a:lnTo>
                    <a:pt x="2175" y="600"/>
                  </a:lnTo>
                  <a:lnTo>
                    <a:pt x="2176" y="597"/>
                  </a:lnTo>
                  <a:lnTo>
                    <a:pt x="2181" y="589"/>
                  </a:lnTo>
                  <a:lnTo>
                    <a:pt x="2184" y="579"/>
                  </a:lnTo>
                  <a:lnTo>
                    <a:pt x="2189" y="569"/>
                  </a:lnTo>
                  <a:lnTo>
                    <a:pt x="2193" y="558"/>
                  </a:lnTo>
                  <a:lnTo>
                    <a:pt x="2200" y="548"/>
                  </a:lnTo>
                  <a:lnTo>
                    <a:pt x="2207" y="539"/>
                  </a:lnTo>
                  <a:lnTo>
                    <a:pt x="2228" y="516"/>
                  </a:lnTo>
                  <a:lnTo>
                    <a:pt x="2244" y="500"/>
                  </a:lnTo>
                  <a:lnTo>
                    <a:pt x="2252" y="493"/>
                  </a:lnTo>
                  <a:lnTo>
                    <a:pt x="2258" y="485"/>
                  </a:lnTo>
                  <a:lnTo>
                    <a:pt x="2263" y="478"/>
                  </a:lnTo>
                  <a:lnTo>
                    <a:pt x="2268" y="471"/>
                  </a:lnTo>
                  <a:lnTo>
                    <a:pt x="2272" y="463"/>
                  </a:lnTo>
                  <a:lnTo>
                    <a:pt x="2275" y="453"/>
                  </a:lnTo>
                  <a:lnTo>
                    <a:pt x="2276" y="447"/>
                  </a:lnTo>
                  <a:lnTo>
                    <a:pt x="2276" y="442"/>
                  </a:lnTo>
                  <a:lnTo>
                    <a:pt x="2275" y="435"/>
                  </a:lnTo>
                  <a:lnTo>
                    <a:pt x="2273" y="427"/>
                  </a:lnTo>
                  <a:lnTo>
                    <a:pt x="2270" y="420"/>
                  </a:lnTo>
                  <a:lnTo>
                    <a:pt x="2267" y="411"/>
                  </a:lnTo>
                  <a:lnTo>
                    <a:pt x="2262" y="402"/>
                  </a:lnTo>
                  <a:lnTo>
                    <a:pt x="2256" y="394"/>
                  </a:lnTo>
                  <a:lnTo>
                    <a:pt x="2248" y="382"/>
                  </a:lnTo>
                  <a:lnTo>
                    <a:pt x="2239" y="371"/>
                  </a:lnTo>
                  <a:lnTo>
                    <a:pt x="2229" y="359"/>
                  </a:lnTo>
                  <a:lnTo>
                    <a:pt x="2217" y="347"/>
                  </a:lnTo>
                  <a:lnTo>
                    <a:pt x="2212" y="340"/>
                  </a:lnTo>
                  <a:lnTo>
                    <a:pt x="2207" y="332"/>
                  </a:lnTo>
                  <a:lnTo>
                    <a:pt x="2202" y="323"/>
                  </a:lnTo>
                  <a:lnTo>
                    <a:pt x="2198" y="314"/>
                  </a:lnTo>
                  <a:lnTo>
                    <a:pt x="2193" y="306"/>
                  </a:lnTo>
                  <a:lnTo>
                    <a:pt x="2189" y="299"/>
                  </a:lnTo>
                  <a:lnTo>
                    <a:pt x="2185" y="296"/>
                  </a:lnTo>
                  <a:lnTo>
                    <a:pt x="2183" y="294"/>
                  </a:lnTo>
                  <a:lnTo>
                    <a:pt x="2180" y="293"/>
                  </a:lnTo>
                  <a:lnTo>
                    <a:pt x="2177" y="293"/>
                  </a:lnTo>
                  <a:lnTo>
                    <a:pt x="2176" y="289"/>
                  </a:lnTo>
                  <a:lnTo>
                    <a:pt x="2176" y="286"/>
                  </a:lnTo>
                  <a:lnTo>
                    <a:pt x="2174" y="285"/>
                  </a:lnTo>
                  <a:lnTo>
                    <a:pt x="2173" y="285"/>
                  </a:lnTo>
                  <a:lnTo>
                    <a:pt x="2172" y="285"/>
                  </a:lnTo>
                  <a:lnTo>
                    <a:pt x="2171" y="284"/>
                  </a:lnTo>
                  <a:lnTo>
                    <a:pt x="2170" y="282"/>
                  </a:lnTo>
                  <a:lnTo>
                    <a:pt x="2170" y="277"/>
                  </a:lnTo>
                  <a:lnTo>
                    <a:pt x="2154" y="277"/>
                  </a:lnTo>
                  <a:lnTo>
                    <a:pt x="2152" y="274"/>
                  </a:lnTo>
                  <a:lnTo>
                    <a:pt x="2147" y="269"/>
                  </a:lnTo>
                  <a:lnTo>
                    <a:pt x="2142" y="264"/>
                  </a:lnTo>
                  <a:lnTo>
                    <a:pt x="2134" y="257"/>
                  </a:lnTo>
                  <a:lnTo>
                    <a:pt x="2127" y="252"/>
                  </a:lnTo>
                  <a:lnTo>
                    <a:pt x="2121" y="246"/>
                  </a:lnTo>
                  <a:lnTo>
                    <a:pt x="2116" y="242"/>
                  </a:lnTo>
                  <a:lnTo>
                    <a:pt x="2115" y="238"/>
                  </a:lnTo>
                  <a:lnTo>
                    <a:pt x="2099" y="238"/>
                  </a:lnTo>
                  <a:lnTo>
                    <a:pt x="2084" y="223"/>
                  </a:lnTo>
                  <a:lnTo>
                    <a:pt x="2068" y="207"/>
                  </a:lnTo>
                  <a:lnTo>
                    <a:pt x="2056" y="206"/>
                  </a:lnTo>
                  <a:lnTo>
                    <a:pt x="2041" y="204"/>
                  </a:lnTo>
                  <a:lnTo>
                    <a:pt x="2027" y="200"/>
                  </a:lnTo>
                  <a:lnTo>
                    <a:pt x="2013" y="199"/>
                  </a:lnTo>
                  <a:lnTo>
                    <a:pt x="1998" y="184"/>
                  </a:lnTo>
                  <a:lnTo>
                    <a:pt x="1982" y="184"/>
                  </a:lnTo>
                  <a:lnTo>
                    <a:pt x="1974" y="177"/>
                  </a:lnTo>
                  <a:lnTo>
                    <a:pt x="1954" y="160"/>
                  </a:lnTo>
                  <a:lnTo>
                    <a:pt x="1943" y="152"/>
                  </a:lnTo>
                  <a:lnTo>
                    <a:pt x="1933" y="145"/>
                  </a:lnTo>
                  <a:lnTo>
                    <a:pt x="1925" y="139"/>
                  </a:lnTo>
                  <a:lnTo>
                    <a:pt x="1921" y="137"/>
                  </a:lnTo>
                  <a:lnTo>
                    <a:pt x="1913" y="129"/>
                  </a:lnTo>
                  <a:lnTo>
                    <a:pt x="1912" y="127"/>
                  </a:lnTo>
                  <a:lnTo>
                    <a:pt x="1910" y="122"/>
                  </a:lnTo>
                  <a:lnTo>
                    <a:pt x="1907" y="119"/>
                  </a:lnTo>
                  <a:lnTo>
                    <a:pt x="1904" y="115"/>
                  </a:lnTo>
                  <a:lnTo>
                    <a:pt x="1900" y="111"/>
                  </a:lnTo>
                  <a:lnTo>
                    <a:pt x="1896" y="109"/>
                  </a:lnTo>
                  <a:lnTo>
                    <a:pt x="1893" y="107"/>
                  </a:lnTo>
                  <a:lnTo>
                    <a:pt x="1889" y="107"/>
                  </a:lnTo>
                  <a:lnTo>
                    <a:pt x="1885" y="94"/>
                  </a:lnTo>
                  <a:lnTo>
                    <a:pt x="1882" y="83"/>
                  </a:lnTo>
                  <a:lnTo>
                    <a:pt x="1875" y="82"/>
                  </a:lnTo>
                  <a:lnTo>
                    <a:pt x="1866" y="80"/>
                  </a:lnTo>
                  <a:lnTo>
                    <a:pt x="1856" y="78"/>
                  </a:lnTo>
                  <a:lnTo>
                    <a:pt x="1845" y="74"/>
                  </a:lnTo>
                  <a:lnTo>
                    <a:pt x="1825" y="67"/>
                  </a:lnTo>
                  <a:lnTo>
                    <a:pt x="1809" y="60"/>
                  </a:lnTo>
                  <a:lnTo>
                    <a:pt x="1798" y="56"/>
                  </a:lnTo>
                  <a:lnTo>
                    <a:pt x="1773" y="48"/>
                  </a:lnTo>
                  <a:lnTo>
                    <a:pt x="1761" y="42"/>
                  </a:lnTo>
                  <a:lnTo>
                    <a:pt x="1750" y="38"/>
                  </a:lnTo>
                  <a:lnTo>
                    <a:pt x="1742" y="33"/>
                  </a:lnTo>
                  <a:lnTo>
                    <a:pt x="1739" y="29"/>
                  </a:lnTo>
                  <a:lnTo>
                    <a:pt x="1718" y="29"/>
                  </a:lnTo>
                  <a:lnTo>
                    <a:pt x="1697" y="26"/>
                  </a:lnTo>
                  <a:lnTo>
                    <a:pt x="1678" y="24"/>
                  </a:lnTo>
                  <a:lnTo>
                    <a:pt x="1661" y="21"/>
                  </a:lnTo>
                  <a:lnTo>
                    <a:pt x="1627" y="14"/>
                  </a:lnTo>
                  <a:lnTo>
                    <a:pt x="1598" y="10"/>
                  </a:lnTo>
                  <a:lnTo>
                    <a:pt x="1532" y="6"/>
                  </a:lnTo>
                  <a:lnTo>
                    <a:pt x="1488" y="3"/>
                  </a:lnTo>
                  <a:lnTo>
                    <a:pt x="1461" y="1"/>
                  </a:lnTo>
                  <a:lnTo>
                    <a:pt x="1450" y="0"/>
                  </a:lnTo>
                  <a:lnTo>
                    <a:pt x="1449" y="1"/>
                  </a:lnTo>
                  <a:lnTo>
                    <a:pt x="1449" y="1"/>
                  </a:lnTo>
                  <a:lnTo>
                    <a:pt x="1449" y="2"/>
                  </a:lnTo>
                  <a:lnTo>
                    <a:pt x="1450" y="2"/>
                  </a:lnTo>
                  <a:lnTo>
                    <a:pt x="1453" y="5"/>
                  </a:lnTo>
                  <a:lnTo>
                    <a:pt x="1459" y="9"/>
                  </a:lnTo>
                  <a:lnTo>
                    <a:pt x="1465" y="13"/>
                  </a:lnTo>
                  <a:lnTo>
                    <a:pt x="1473" y="20"/>
                  </a:lnTo>
                  <a:lnTo>
                    <a:pt x="1481" y="26"/>
                  </a:lnTo>
                  <a:lnTo>
                    <a:pt x="1490" y="35"/>
                  </a:lnTo>
                  <a:lnTo>
                    <a:pt x="1492" y="38"/>
                  </a:lnTo>
                  <a:lnTo>
                    <a:pt x="1497" y="40"/>
                  </a:lnTo>
                  <a:lnTo>
                    <a:pt x="1501" y="42"/>
                  </a:lnTo>
                  <a:lnTo>
                    <a:pt x="1505" y="43"/>
                  </a:lnTo>
                  <a:lnTo>
                    <a:pt x="1517" y="46"/>
                  </a:lnTo>
                  <a:lnTo>
                    <a:pt x="1529" y="50"/>
                  </a:lnTo>
                  <a:lnTo>
                    <a:pt x="1540" y="53"/>
                  </a:lnTo>
                  <a:lnTo>
                    <a:pt x="1549" y="59"/>
                  </a:lnTo>
                  <a:lnTo>
                    <a:pt x="1553" y="61"/>
                  </a:lnTo>
                  <a:lnTo>
                    <a:pt x="1556" y="65"/>
                  </a:lnTo>
                  <a:lnTo>
                    <a:pt x="1558" y="70"/>
                  </a:lnTo>
                  <a:lnTo>
                    <a:pt x="1558" y="74"/>
                  </a:lnTo>
                  <a:close/>
                </a:path>
              </a:pathLst>
            </a:custGeom>
            <a:solidFill>
              <a:srgbClr val="D9D9D9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6" name="Freeform 22"/>
            <p:cNvSpPr>
              <a:spLocks noChangeAspect="1"/>
            </p:cNvSpPr>
            <p:nvPr/>
          </p:nvSpPr>
          <p:spPr bwMode="gray">
            <a:xfrm rot="355651">
              <a:off x="6199188" y="3581400"/>
              <a:ext cx="434820" cy="192695"/>
            </a:xfrm>
            <a:custGeom>
              <a:avLst/>
              <a:gdLst/>
              <a:ahLst/>
              <a:cxnLst>
                <a:cxn ang="0">
                  <a:pos x="615" y="23"/>
                </a:cxn>
                <a:cxn ang="0">
                  <a:pos x="573" y="67"/>
                </a:cxn>
                <a:cxn ang="0">
                  <a:pos x="413" y="99"/>
                </a:cxn>
                <a:cxn ang="0">
                  <a:pos x="322" y="94"/>
                </a:cxn>
                <a:cxn ang="0">
                  <a:pos x="41" y="95"/>
                </a:cxn>
                <a:cxn ang="0">
                  <a:pos x="22" y="139"/>
                </a:cxn>
                <a:cxn ang="0">
                  <a:pos x="83" y="199"/>
                </a:cxn>
                <a:cxn ang="0">
                  <a:pos x="125" y="301"/>
                </a:cxn>
                <a:cxn ang="0">
                  <a:pos x="149" y="334"/>
                </a:cxn>
                <a:cxn ang="0">
                  <a:pos x="205" y="399"/>
                </a:cxn>
                <a:cxn ang="0">
                  <a:pos x="260" y="493"/>
                </a:cxn>
                <a:cxn ang="0">
                  <a:pos x="325" y="489"/>
                </a:cxn>
                <a:cxn ang="0">
                  <a:pos x="404" y="576"/>
                </a:cxn>
                <a:cxn ang="0">
                  <a:pos x="462" y="665"/>
                </a:cxn>
                <a:cxn ang="0">
                  <a:pos x="502" y="733"/>
                </a:cxn>
                <a:cxn ang="0">
                  <a:pos x="568" y="794"/>
                </a:cxn>
                <a:cxn ang="0">
                  <a:pos x="639" y="798"/>
                </a:cxn>
                <a:cxn ang="0">
                  <a:pos x="720" y="875"/>
                </a:cxn>
                <a:cxn ang="0">
                  <a:pos x="778" y="911"/>
                </a:cxn>
                <a:cxn ang="0">
                  <a:pos x="853" y="964"/>
                </a:cxn>
                <a:cxn ang="0">
                  <a:pos x="913" y="901"/>
                </a:cxn>
                <a:cxn ang="0">
                  <a:pos x="1062" y="926"/>
                </a:cxn>
                <a:cxn ang="0">
                  <a:pos x="1169" y="973"/>
                </a:cxn>
                <a:cxn ang="0">
                  <a:pos x="1231" y="897"/>
                </a:cxn>
                <a:cxn ang="0">
                  <a:pos x="1290" y="918"/>
                </a:cxn>
                <a:cxn ang="0">
                  <a:pos x="1322" y="975"/>
                </a:cxn>
                <a:cxn ang="0">
                  <a:pos x="1384" y="1089"/>
                </a:cxn>
                <a:cxn ang="0">
                  <a:pos x="1486" y="1104"/>
                </a:cxn>
                <a:cxn ang="0">
                  <a:pos x="1585" y="1062"/>
                </a:cxn>
                <a:cxn ang="0">
                  <a:pos x="1638" y="888"/>
                </a:cxn>
                <a:cxn ang="0">
                  <a:pos x="1675" y="771"/>
                </a:cxn>
                <a:cxn ang="0">
                  <a:pos x="1723" y="925"/>
                </a:cxn>
                <a:cxn ang="0">
                  <a:pos x="1768" y="992"/>
                </a:cxn>
                <a:cxn ang="0">
                  <a:pos x="1810" y="1026"/>
                </a:cxn>
                <a:cxn ang="0">
                  <a:pos x="1874" y="1057"/>
                </a:cxn>
                <a:cxn ang="0">
                  <a:pos x="1903" y="1110"/>
                </a:cxn>
                <a:cxn ang="0">
                  <a:pos x="1929" y="1161"/>
                </a:cxn>
                <a:cxn ang="0">
                  <a:pos x="2156" y="1195"/>
                </a:cxn>
                <a:cxn ang="0">
                  <a:pos x="2232" y="1178"/>
                </a:cxn>
                <a:cxn ang="0">
                  <a:pos x="2267" y="758"/>
                </a:cxn>
                <a:cxn ang="0">
                  <a:pos x="2278" y="709"/>
                </a:cxn>
                <a:cxn ang="0">
                  <a:pos x="2304" y="694"/>
                </a:cxn>
                <a:cxn ang="0">
                  <a:pos x="2395" y="653"/>
                </a:cxn>
                <a:cxn ang="0">
                  <a:pos x="2331" y="581"/>
                </a:cxn>
                <a:cxn ang="0">
                  <a:pos x="2251" y="532"/>
                </a:cxn>
                <a:cxn ang="0">
                  <a:pos x="2227" y="515"/>
                </a:cxn>
                <a:cxn ang="0">
                  <a:pos x="2186" y="425"/>
                </a:cxn>
                <a:cxn ang="0">
                  <a:pos x="2166" y="294"/>
                </a:cxn>
                <a:cxn ang="0">
                  <a:pos x="2111" y="244"/>
                </a:cxn>
                <a:cxn ang="0">
                  <a:pos x="2022" y="226"/>
                </a:cxn>
                <a:cxn ang="0">
                  <a:pos x="1980" y="266"/>
                </a:cxn>
                <a:cxn ang="0">
                  <a:pos x="1928" y="233"/>
                </a:cxn>
                <a:cxn ang="0">
                  <a:pos x="1867" y="206"/>
                </a:cxn>
                <a:cxn ang="0">
                  <a:pos x="1784" y="189"/>
                </a:cxn>
                <a:cxn ang="0">
                  <a:pos x="1615" y="217"/>
                </a:cxn>
                <a:cxn ang="0">
                  <a:pos x="1573" y="255"/>
                </a:cxn>
                <a:cxn ang="0">
                  <a:pos x="1418" y="214"/>
                </a:cxn>
                <a:cxn ang="0">
                  <a:pos x="1170" y="141"/>
                </a:cxn>
                <a:cxn ang="0">
                  <a:pos x="869" y="122"/>
                </a:cxn>
                <a:cxn ang="0">
                  <a:pos x="831" y="94"/>
                </a:cxn>
                <a:cxn ang="0">
                  <a:pos x="783" y="37"/>
                </a:cxn>
                <a:cxn ang="0">
                  <a:pos x="709" y="6"/>
                </a:cxn>
              </a:cxnLst>
              <a:rect l="0" t="0" r="r" b="b"/>
              <a:pathLst>
                <a:path w="2395" h="1197">
                  <a:moveTo>
                    <a:pt x="681" y="0"/>
                  </a:moveTo>
                  <a:lnTo>
                    <a:pt x="677" y="2"/>
                  </a:lnTo>
                  <a:lnTo>
                    <a:pt x="670" y="4"/>
                  </a:lnTo>
                  <a:lnTo>
                    <a:pt x="664" y="7"/>
                  </a:lnTo>
                  <a:lnTo>
                    <a:pt x="659" y="12"/>
                  </a:lnTo>
                  <a:lnTo>
                    <a:pt x="653" y="12"/>
                  </a:lnTo>
                  <a:lnTo>
                    <a:pt x="648" y="13"/>
                  </a:lnTo>
                  <a:lnTo>
                    <a:pt x="642" y="15"/>
                  </a:lnTo>
                  <a:lnTo>
                    <a:pt x="637" y="17"/>
                  </a:lnTo>
                  <a:lnTo>
                    <a:pt x="632" y="19"/>
                  </a:lnTo>
                  <a:lnTo>
                    <a:pt x="626" y="21"/>
                  </a:lnTo>
                  <a:lnTo>
                    <a:pt x="621" y="22"/>
                  </a:lnTo>
                  <a:lnTo>
                    <a:pt x="615" y="23"/>
                  </a:lnTo>
                  <a:lnTo>
                    <a:pt x="610" y="28"/>
                  </a:lnTo>
                  <a:lnTo>
                    <a:pt x="610" y="40"/>
                  </a:lnTo>
                  <a:lnTo>
                    <a:pt x="606" y="40"/>
                  </a:lnTo>
                  <a:lnTo>
                    <a:pt x="604" y="43"/>
                  </a:lnTo>
                  <a:lnTo>
                    <a:pt x="604" y="46"/>
                  </a:lnTo>
                  <a:lnTo>
                    <a:pt x="604" y="50"/>
                  </a:lnTo>
                  <a:lnTo>
                    <a:pt x="600" y="51"/>
                  </a:lnTo>
                  <a:lnTo>
                    <a:pt x="596" y="54"/>
                  </a:lnTo>
                  <a:lnTo>
                    <a:pt x="594" y="57"/>
                  </a:lnTo>
                  <a:lnTo>
                    <a:pt x="593" y="61"/>
                  </a:lnTo>
                  <a:lnTo>
                    <a:pt x="586" y="62"/>
                  </a:lnTo>
                  <a:lnTo>
                    <a:pt x="577" y="65"/>
                  </a:lnTo>
                  <a:lnTo>
                    <a:pt x="573" y="67"/>
                  </a:lnTo>
                  <a:lnTo>
                    <a:pt x="568" y="71"/>
                  </a:lnTo>
                  <a:lnTo>
                    <a:pt x="566" y="74"/>
                  </a:lnTo>
                  <a:lnTo>
                    <a:pt x="565" y="77"/>
                  </a:lnTo>
                  <a:lnTo>
                    <a:pt x="557" y="80"/>
                  </a:lnTo>
                  <a:lnTo>
                    <a:pt x="546" y="84"/>
                  </a:lnTo>
                  <a:lnTo>
                    <a:pt x="540" y="86"/>
                  </a:lnTo>
                  <a:lnTo>
                    <a:pt x="536" y="90"/>
                  </a:lnTo>
                  <a:lnTo>
                    <a:pt x="533" y="92"/>
                  </a:lnTo>
                  <a:lnTo>
                    <a:pt x="531" y="94"/>
                  </a:lnTo>
                  <a:lnTo>
                    <a:pt x="504" y="96"/>
                  </a:lnTo>
                  <a:lnTo>
                    <a:pt x="457" y="100"/>
                  </a:lnTo>
                  <a:lnTo>
                    <a:pt x="433" y="101"/>
                  </a:lnTo>
                  <a:lnTo>
                    <a:pt x="413" y="99"/>
                  </a:lnTo>
                  <a:lnTo>
                    <a:pt x="404" y="98"/>
                  </a:lnTo>
                  <a:lnTo>
                    <a:pt x="399" y="95"/>
                  </a:lnTo>
                  <a:lnTo>
                    <a:pt x="396" y="94"/>
                  </a:lnTo>
                  <a:lnTo>
                    <a:pt x="394" y="93"/>
                  </a:lnTo>
                  <a:lnTo>
                    <a:pt x="394" y="91"/>
                  </a:lnTo>
                  <a:lnTo>
                    <a:pt x="393" y="89"/>
                  </a:lnTo>
                  <a:lnTo>
                    <a:pt x="376" y="87"/>
                  </a:lnTo>
                  <a:lnTo>
                    <a:pt x="359" y="86"/>
                  </a:lnTo>
                  <a:lnTo>
                    <a:pt x="344" y="84"/>
                  </a:lnTo>
                  <a:lnTo>
                    <a:pt x="327" y="83"/>
                  </a:lnTo>
                  <a:lnTo>
                    <a:pt x="326" y="89"/>
                  </a:lnTo>
                  <a:lnTo>
                    <a:pt x="325" y="92"/>
                  </a:lnTo>
                  <a:lnTo>
                    <a:pt x="322" y="94"/>
                  </a:lnTo>
                  <a:lnTo>
                    <a:pt x="319" y="96"/>
                  </a:lnTo>
                  <a:lnTo>
                    <a:pt x="315" y="99"/>
                  </a:lnTo>
                  <a:lnTo>
                    <a:pt x="310" y="99"/>
                  </a:lnTo>
                  <a:lnTo>
                    <a:pt x="306" y="100"/>
                  </a:lnTo>
                  <a:lnTo>
                    <a:pt x="300" y="100"/>
                  </a:lnTo>
                  <a:lnTo>
                    <a:pt x="280" y="96"/>
                  </a:lnTo>
                  <a:lnTo>
                    <a:pt x="266" y="94"/>
                  </a:lnTo>
                  <a:lnTo>
                    <a:pt x="258" y="86"/>
                  </a:lnTo>
                  <a:lnTo>
                    <a:pt x="249" y="77"/>
                  </a:lnTo>
                  <a:lnTo>
                    <a:pt x="45" y="77"/>
                  </a:lnTo>
                  <a:lnTo>
                    <a:pt x="45" y="86"/>
                  </a:lnTo>
                  <a:lnTo>
                    <a:pt x="45" y="94"/>
                  </a:lnTo>
                  <a:lnTo>
                    <a:pt x="41" y="95"/>
                  </a:lnTo>
                  <a:lnTo>
                    <a:pt x="39" y="98"/>
                  </a:lnTo>
                  <a:lnTo>
                    <a:pt x="39" y="101"/>
                  </a:lnTo>
                  <a:lnTo>
                    <a:pt x="39" y="105"/>
                  </a:lnTo>
                  <a:lnTo>
                    <a:pt x="37" y="106"/>
                  </a:lnTo>
                  <a:lnTo>
                    <a:pt x="34" y="109"/>
                  </a:lnTo>
                  <a:lnTo>
                    <a:pt x="29" y="112"/>
                  </a:lnTo>
                  <a:lnTo>
                    <a:pt x="28" y="117"/>
                  </a:lnTo>
                  <a:lnTo>
                    <a:pt x="19" y="119"/>
                  </a:lnTo>
                  <a:lnTo>
                    <a:pt x="10" y="122"/>
                  </a:lnTo>
                  <a:lnTo>
                    <a:pt x="2" y="125"/>
                  </a:lnTo>
                  <a:lnTo>
                    <a:pt x="0" y="128"/>
                  </a:lnTo>
                  <a:lnTo>
                    <a:pt x="9" y="133"/>
                  </a:lnTo>
                  <a:lnTo>
                    <a:pt x="22" y="139"/>
                  </a:lnTo>
                  <a:lnTo>
                    <a:pt x="25" y="144"/>
                  </a:lnTo>
                  <a:lnTo>
                    <a:pt x="28" y="150"/>
                  </a:lnTo>
                  <a:lnTo>
                    <a:pt x="31" y="151"/>
                  </a:lnTo>
                  <a:lnTo>
                    <a:pt x="36" y="153"/>
                  </a:lnTo>
                  <a:lnTo>
                    <a:pt x="38" y="157"/>
                  </a:lnTo>
                  <a:lnTo>
                    <a:pt x="39" y="161"/>
                  </a:lnTo>
                  <a:lnTo>
                    <a:pt x="50" y="161"/>
                  </a:lnTo>
                  <a:lnTo>
                    <a:pt x="56" y="167"/>
                  </a:lnTo>
                  <a:lnTo>
                    <a:pt x="61" y="178"/>
                  </a:lnTo>
                  <a:lnTo>
                    <a:pt x="71" y="178"/>
                  </a:lnTo>
                  <a:lnTo>
                    <a:pt x="77" y="183"/>
                  </a:lnTo>
                  <a:lnTo>
                    <a:pt x="83" y="189"/>
                  </a:lnTo>
                  <a:lnTo>
                    <a:pt x="83" y="199"/>
                  </a:lnTo>
                  <a:lnTo>
                    <a:pt x="88" y="205"/>
                  </a:lnTo>
                  <a:lnTo>
                    <a:pt x="94" y="210"/>
                  </a:lnTo>
                  <a:lnTo>
                    <a:pt x="99" y="214"/>
                  </a:lnTo>
                  <a:lnTo>
                    <a:pt x="105" y="216"/>
                  </a:lnTo>
                  <a:lnTo>
                    <a:pt x="106" y="227"/>
                  </a:lnTo>
                  <a:lnTo>
                    <a:pt x="108" y="237"/>
                  </a:lnTo>
                  <a:lnTo>
                    <a:pt x="111" y="247"/>
                  </a:lnTo>
                  <a:lnTo>
                    <a:pt x="114" y="258"/>
                  </a:lnTo>
                  <a:lnTo>
                    <a:pt x="116" y="268"/>
                  </a:lnTo>
                  <a:lnTo>
                    <a:pt x="119" y="278"/>
                  </a:lnTo>
                  <a:lnTo>
                    <a:pt x="121" y="290"/>
                  </a:lnTo>
                  <a:lnTo>
                    <a:pt x="122" y="300"/>
                  </a:lnTo>
                  <a:lnTo>
                    <a:pt x="125" y="301"/>
                  </a:lnTo>
                  <a:lnTo>
                    <a:pt x="126" y="303"/>
                  </a:lnTo>
                  <a:lnTo>
                    <a:pt x="127" y="306"/>
                  </a:lnTo>
                  <a:lnTo>
                    <a:pt x="127" y="311"/>
                  </a:lnTo>
                  <a:lnTo>
                    <a:pt x="138" y="316"/>
                  </a:lnTo>
                  <a:lnTo>
                    <a:pt x="138" y="319"/>
                  </a:lnTo>
                  <a:lnTo>
                    <a:pt x="140" y="320"/>
                  </a:lnTo>
                  <a:lnTo>
                    <a:pt x="141" y="321"/>
                  </a:lnTo>
                  <a:lnTo>
                    <a:pt x="141" y="320"/>
                  </a:lnTo>
                  <a:lnTo>
                    <a:pt x="142" y="321"/>
                  </a:lnTo>
                  <a:lnTo>
                    <a:pt x="143" y="322"/>
                  </a:lnTo>
                  <a:lnTo>
                    <a:pt x="144" y="326"/>
                  </a:lnTo>
                  <a:lnTo>
                    <a:pt x="144" y="333"/>
                  </a:lnTo>
                  <a:lnTo>
                    <a:pt x="149" y="334"/>
                  </a:lnTo>
                  <a:lnTo>
                    <a:pt x="154" y="339"/>
                  </a:lnTo>
                  <a:lnTo>
                    <a:pt x="159" y="344"/>
                  </a:lnTo>
                  <a:lnTo>
                    <a:pt x="161" y="349"/>
                  </a:lnTo>
                  <a:lnTo>
                    <a:pt x="165" y="353"/>
                  </a:lnTo>
                  <a:lnTo>
                    <a:pt x="172" y="363"/>
                  </a:lnTo>
                  <a:lnTo>
                    <a:pt x="176" y="368"/>
                  </a:lnTo>
                  <a:lnTo>
                    <a:pt x="180" y="372"/>
                  </a:lnTo>
                  <a:lnTo>
                    <a:pt x="184" y="375"/>
                  </a:lnTo>
                  <a:lnTo>
                    <a:pt x="189" y="377"/>
                  </a:lnTo>
                  <a:lnTo>
                    <a:pt x="194" y="382"/>
                  </a:lnTo>
                  <a:lnTo>
                    <a:pt x="194" y="393"/>
                  </a:lnTo>
                  <a:lnTo>
                    <a:pt x="200" y="397"/>
                  </a:lnTo>
                  <a:lnTo>
                    <a:pt x="205" y="399"/>
                  </a:lnTo>
                  <a:lnTo>
                    <a:pt x="205" y="410"/>
                  </a:lnTo>
                  <a:lnTo>
                    <a:pt x="207" y="411"/>
                  </a:lnTo>
                  <a:lnTo>
                    <a:pt x="210" y="413"/>
                  </a:lnTo>
                  <a:lnTo>
                    <a:pt x="212" y="418"/>
                  </a:lnTo>
                  <a:lnTo>
                    <a:pt x="215" y="423"/>
                  </a:lnTo>
                  <a:lnTo>
                    <a:pt x="221" y="437"/>
                  </a:lnTo>
                  <a:lnTo>
                    <a:pt x="229" y="451"/>
                  </a:lnTo>
                  <a:lnTo>
                    <a:pt x="236" y="467"/>
                  </a:lnTo>
                  <a:lnTo>
                    <a:pt x="243" y="480"/>
                  </a:lnTo>
                  <a:lnTo>
                    <a:pt x="248" y="486"/>
                  </a:lnTo>
                  <a:lnTo>
                    <a:pt x="252" y="489"/>
                  </a:lnTo>
                  <a:lnTo>
                    <a:pt x="256" y="493"/>
                  </a:lnTo>
                  <a:lnTo>
                    <a:pt x="260" y="493"/>
                  </a:lnTo>
                  <a:lnTo>
                    <a:pt x="266" y="504"/>
                  </a:lnTo>
                  <a:lnTo>
                    <a:pt x="275" y="504"/>
                  </a:lnTo>
                  <a:lnTo>
                    <a:pt x="285" y="504"/>
                  </a:lnTo>
                  <a:lnTo>
                    <a:pt x="296" y="504"/>
                  </a:lnTo>
                  <a:lnTo>
                    <a:pt x="305" y="504"/>
                  </a:lnTo>
                  <a:lnTo>
                    <a:pt x="306" y="502"/>
                  </a:lnTo>
                  <a:lnTo>
                    <a:pt x="308" y="499"/>
                  </a:lnTo>
                  <a:lnTo>
                    <a:pt x="311" y="499"/>
                  </a:lnTo>
                  <a:lnTo>
                    <a:pt x="316" y="498"/>
                  </a:lnTo>
                  <a:lnTo>
                    <a:pt x="316" y="495"/>
                  </a:lnTo>
                  <a:lnTo>
                    <a:pt x="318" y="493"/>
                  </a:lnTo>
                  <a:lnTo>
                    <a:pt x="322" y="490"/>
                  </a:lnTo>
                  <a:lnTo>
                    <a:pt x="325" y="489"/>
                  </a:lnTo>
                  <a:lnTo>
                    <a:pt x="335" y="489"/>
                  </a:lnTo>
                  <a:lnTo>
                    <a:pt x="346" y="490"/>
                  </a:lnTo>
                  <a:lnTo>
                    <a:pt x="367" y="496"/>
                  </a:lnTo>
                  <a:lnTo>
                    <a:pt x="376" y="498"/>
                  </a:lnTo>
                  <a:lnTo>
                    <a:pt x="382" y="504"/>
                  </a:lnTo>
                  <a:lnTo>
                    <a:pt x="385" y="518"/>
                  </a:lnTo>
                  <a:lnTo>
                    <a:pt x="387" y="532"/>
                  </a:lnTo>
                  <a:lnTo>
                    <a:pt x="390" y="534"/>
                  </a:lnTo>
                  <a:lnTo>
                    <a:pt x="393" y="538"/>
                  </a:lnTo>
                  <a:lnTo>
                    <a:pt x="395" y="545"/>
                  </a:lnTo>
                  <a:lnTo>
                    <a:pt x="399" y="552"/>
                  </a:lnTo>
                  <a:lnTo>
                    <a:pt x="403" y="567"/>
                  </a:lnTo>
                  <a:lnTo>
                    <a:pt x="404" y="576"/>
                  </a:lnTo>
                  <a:lnTo>
                    <a:pt x="406" y="576"/>
                  </a:lnTo>
                  <a:lnTo>
                    <a:pt x="409" y="579"/>
                  </a:lnTo>
                  <a:lnTo>
                    <a:pt x="412" y="581"/>
                  </a:lnTo>
                  <a:lnTo>
                    <a:pt x="414" y="584"/>
                  </a:lnTo>
                  <a:lnTo>
                    <a:pt x="420" y="593"/>
                  </a:lnTo>
                  <a:lnTo>
                    <a:pt x="425" y="603"/>
                  </a:lnTo>
                  <a:lnTo>
                    <a:pt x="430" y="614"/>
                  </a:lnTo>
                  <a:lnTo>
                    <a:pt x="434" y="625"/>
                  </a:lnTo>
                  <a:lnTo>
                    <a:pt x="437" y="635"/>
                  </a:lnTo>
                  <a:lnTo>
                    <a:pt x="438" y="642"/>
                  </a:lnTo>
                  <a:lnTo>
                    <a:pt x="449" y="648"/>
                  </a:lnTo>
                  <a:lnTo>
                    <a:pt x="449" y="659"/>
                  </a:lnTo>
                  <a:lnTo>
                    <a:pt x="462" y="665"/>
                  </a:lnTo>
                  <a:lnTo>
                    <a:pt x="477" y="670"/>
                  </a:lnTo>
                  <a:lnTo>
                    <a:pt x="482" y="676"/>
                  </a:lnTo>
                  <a:lnTo>
                    <a:pt x="488" y="687"/>
                  </a:lnTo>
                  <a:lnTo>
                    <a:pt x="488" y="692"/>
                  </a:lnTo>
                  <a:lnTo>
                    <a:pt x="491" y="700"/>
                  </a:lnTo>
                  <a:lnTo>
                    <a:pt x="492" y="704"/>
                  </a:lnTo>
                  <a:lnTo>
                    <a:pt x="495" y="707"/>
                  </a:lnTo>
                  <a:lnTo>
                    <a:pt x="497" y="708"/>
                  </a:lnTo>
                  <a:lnTo>
                    <a:pt x="499" y="709"/>
                  </a:lnTo>
                  <a:lnTo>
                    <a:pt x="499" y="726"/>
                  </a:lnTo>
                  <a:lnTo>
                    <a:pt x="500" y="727"/>
                  </a:lnTo>
                  <a:lnTo>
                    <a:pt x="501" y="729"/>
                  </a:lnTo>
                  <a:lnTo>
                    <a:pt x="502" y="733"/>
                  </a:lnTo>
                  <a:lnTo>
                    <a:pt x="504" y="737"/>
                  </a:lnTo>
                  <a:lnTo>
                    <a:pt x="504" y="747"/>
                  </a:lnTo>
                  <a:lnTo>
                    <a:pt x="504" y="754"/>
                  </a:lnTo>
                  <a:lnTo>
                    <a:pt x="512" y="765"/>
                  </a:lnTo>
                  <a:lnTo>
                    <a:pt x="520" y="782"/>
                  </a:lnTo>
                  <a:lnTo>
                    <a:pt x="526" y="783"/>
                  </a:lnTo>
                  <a:lnTo>
                    <a:pt x="531" y="787"/>
                  </a:lnTo>
                  <a:lnTo>
                    <a:pt x="536" y="793"/>
                  </a:lnTo>
                  <a:lnTo>
                    <a:pt x="537" y="797"/>
                  </a:lnTo>
                  <a:lnTo>
                    <a:pt x="565" y="797"/>
                  </a:lnTo>
                  <a:lnTo>
                    <a:pt x="565" y="796"/>
                  </a:lnTo>
                  <a:lnTo>
                    <a:pt x="567" y="795"/>
                  </a:lnTo>
                  <a:lnTo>
                    <a:pt x="568" y="794"/>
                  </a:lnTo>
                  <a:lnTo>
                    <a:pt x="572" y="793"/>
                  </a:lnTo>
                  <a:lnTo>
                    <a:pt x="577" y="793"/>
                  </a:lnTo>
                  <a:lnTo>
                    <a:pt x="582" y="792"/>
                  </a:lnTo>
                  <a:lnTo>
                    <a:pt x="583" y="791"/>
                  </a:lnTo>
                  <a:lnTo>
                    <a:pt x="587" y="789"/>
                  </a:lnTo>
                  <a:lnTo>
                    <a:pt x="593" y="788"/>
                  </a:lnTo>
                  <a:lnTo>
                    <a:pt x="598" y="787"/>
                  </a:lnTo>
                  <a:lnTo>
                    <a:pt x="612" y="787"/>
                  </a:lnTo>
                  <a:lnTo>
                    <a:pt x="621" y="787"/>
                  </a:lnTo>
                  <a:lnTo>
                    <a:pt x="624" y="788"/>
                  </a:lnTo>
                  <a:lnTo>
                    <a:pt x="632" y="793"/>
                  </a:lnTo>
                  <a:lnTo>
                    <a:pt x="635" y="796"/>
                  </a:lnTo>
                  <a:lnTo>
                    <a:pt x="639" y="798"/>
                  </a:lnTo>
                  <a:lnTo>
                    <a:pt x="642" y="801"/>
                  </a:lnTo>
                  <a:lnTo>
                    <a:pt x="643" y="803"/>
                  </a:lnTo>
                  <a:lnTo>
                    <a:pt x="653" y="803"/>
                  </a:lnTo>
                  <a:lnTo>
                    <a:pt x="659" y="814"/>
                  </a:lnTo>
                  <a:lnTo>
                    <a:pt x="675" y="823"/>
                  </a:lnTo>
                  <a:lnTo>
                    <a:pt x="692" y="831"/>
                  </a:lnTo>
                  <a:lnTo>
                    <a:pt x="698" y="836"/>
                  </a:lnTo>
                  <a:lnTo>
                    <a:pt x="703" y="842"/>
                  </a:lnTo>
                  <a:lnTo>
                    <a:pt x="703" y="853"/>
                  </a:lnTo>
                  <a:lnTo>
                    <a:pt x="706" y="855"/>
                  </a:lnTo>
                  <a:lnTo>
                    <a:pt x="712" y="862"/>
                  </a:lnTo>
                  <a:lnTo>
                    <a:pt x="718" y="870"/>
                  </a:lnTo>
                  <a:lnTo>
                    <a:pt x="720" y="875"/>
                  </a:lnTo>
                  <a:lnTo>
                    <a:pt x="726" y="881"/>
                  </a:lnTo>
                  <a:lnTo>
                    <a:pt x="731" y="883"/>
                  </a:lnTo>
                  <a:lnTo>
                    <a:pt x="737" y="887"/>
                  </a:lnTo>
                  <a:lnTo>
                    <a:pt x="737" y="898"/>
                  </a:lnTo>
                  <a:lnTo>
                    <a:pt x="742" y="903"/>
                  </a:lnTo>
                  <a:lnTo>
                    <a:pt x="747" y="904"/>
                  </a:lnTo>
                  <a:lnTo>
                    <a:pt x="752" y="907"/>
                  </a:lnTo>
                  <a:lnTo>
                    <a:pt x="755" y="908"/>
                  </a:lnTo>
                  <a:lnTo>
                    <a:pt x="757" y="910"/>
                  </a:lnTo>
                  <a:lnTo>
                    <a:pt x="758" y="912"/>
                  </a:lnTo>
                  <a:lnTo>
                    <a:pt x="759" y="914"/>
                  </a:lnTo>
                  <a:lnTo>
                    <a:pt x="768" y="913"/>
                  </a:lnTo>
                  <a:lnTo>
                    <a:pt x="778" y="911"/>
                  </a:lnTo>
                  <a:lnTo>
                    <a:pt x="788" y="909"/>
                  </a:lnTo>
                  <a:lnTo>
                    <a:pt x="797" y="909"/>
                  </a:lnTo>
                  <a:lnTo>
                    <a:pt x="799" y="913"/>
                  </a:lnTo>
                  <a:lnTo>
                    <a:pt x="802" y="918"/>
                  </a:lnTo>
                  <a:lnTo>
                    <a:pt x="806" y="923"/>
                  </a:lnTo>
                  <a:lnTo>
                    <a:pt x="812" y="929"/>
                  </a:lnTo>
                  <a:lnTo>
                    <a:pt x="816" y="935"/>
                  </a:lnTo>
                  <a:lnTo>
                    <a:pt x="821" y="940"/>
                  </a:lnTo>
                  <a:lnTo>
                    <a:pt x="824" y="947"/>
                  </a:lnTo>
                  <a:lnTo>
                    <a:pt x="825" y="952"/>
                  </a:lnTo>
                  <a:lnTo>
                    <a:pt x="831" y="958"/>
                  </a:lnTo>
                  <a:lnTo>
                    <a:pt x="842" y="961"/>
                  </a:lnTo>
                  <a:lnTo>
                    <a:pt x="853" y="964"/>
                  </a:lnTo>
                  <a:lnTo>
                    <a:pt x="853" y="952"/>
                  </a:lnTo>
                  <a:lnTo>
                    <a:pt x="858" y="947"/>
                  </a:lnTo>
                  <a:lnTo>
                    <a:pt x="864" y="945"/>
                  </a:lnTo>
                  <a:lnTo>
                    <a:pt x="870" y="941"/>
                  </a:lnTo>
                  <a:lnTo>
                    <a:pt x="870" y="931"/>
                  </a:lnTo>
                  <a:lnTo>
                    <a:pt x="875" y="926"/>
                  </a:lnTo>
                  <a:lnTo>
                    <a:pt x="881" y="920"/>
                  </a:lnTo>
                  <a:lnTo>
                    <a:pt x="886" y="914"/>
                  </a:lnTo>
                  <a:lnTo>
                    <a:pt x="898" y="914"/>
                  </a:lnTo>
                  <a:lnTo>
                    <a:pt x="903" y="903"/>
                  </a:lnTo>
                  <a:lnTo>
                    <a:pt x="906" y="903"/>
                  </a:lnTo>
                  <a:lnTo>
                    <a:pt x="911" y="902"/>
                  </a:lnTo>
                  <a:lnTo>
                    <a:pt x="913" y="901"/>
                  </a:lnTo>
                  <a:lnTo>
                    <a:pt x="914" y="898"/>
                  </a:lnTo>
                  <a:lnTo>
                    <a:pt x="1030" y="898"/>
                  </a:lnTo>
                  <a:lnTo>
                    <a:pt x="1032" y="901"/>
                  </a:lnTo>
                  <a:lnTo>
                    <a:pt x="1036" y="903"/>
                  </a:lnTo>
                  <a:lnTo>
                    <a:pt x="1038" y="906"/>
                  </a:lnTo>
                  <a:lnTo>
                    <a:pt x="1039" y="908"/>
                  </a:lnTo>
                  <a:lnTo>
                    <a:pt x="1040" y="910"/>
                  </a:lnTo>
                  <a:lnTo>
                    <a:pt x="1042" y="914"/>
                  </a:lnTo>
                  <a:lnTo>
                    <a:pt x="1053" y="914"/>
                  </a:lnTo>
                  <a:lnTo>
                    <a:pt x="1058" y="920"/>
                  </a:lnTo>
                  <a:lnTo>
                    <a:pt x="1058" y="921"/>
                  </a:lnTo>
                  <a:lnTo>
                    <a:pt x="1059" y="923"/>
                  </a:lnTo>
                  <a:lnTo>
                    <a:pt x="1062" y="926"/>
                  </a:lnTo>
                  <a:lnTo>
                    <a:pt x="1064" y="927"/>
                  </a:lnTo>
                  <a:lnTo>
                    <a:pt x="1069" y="930"/>
                  </a:lnTo>
                  <a:lnTo>
                    <a:pt x="1075" y="931"/>
                  </a:lnTo>
                  <a:lnTo>
                    <a:pt x="1081" y="936"/>
                  </a:lnTo>
                  <a:lnTo>
                    <a:pt x="1086" y="941"/>
                  </a:lnTo>
                  <a:lnTo>
                    <a:pt x="1091" y="952"/>
                  </a:lnTo>
                  <a:lnTo>
                    <a:pt x="1096" y="964"/>
                  </a:lnTo>
                  <a:lnTo>
                    <a:pt x="1107" y="964"/>
                  </a:lnTo>
                  <a:lnTo>
                    <a:pt x="1111" y="969"/>
                  </a:lnTo>
                  <a:lnTo>
                    <a:pt x="1113" y="975"/>
                  </a:lnTo>
                  <a:lnTo>
                    <a:pt x="1135" y="975"/>
                  </a:lnTo>
                  <a:lnTo>
                    <a:pt x="1158" y="974"/>
                  </a:lnTo>
                  <a:lnTo>
                    <a:pt x="1169" y="973"/>
                  </a:lnTo>
                  <a:lnTo>
                    <a:pt x="1180" y="970"/>
                  </a:lnTo>
                  <a:lnTo>
                    <a:pt x="1191" y="968"/>
                  </a:lnTo>
                  <a:lnTo>
                    <a:pt x="1202" y="964"/>
                  </a:lnTo>
                  <a:lnTo>
                    <a:pt x="1202" y="952"/>
                  </a:lnTo>
                  <a:lnTo>
                    <a:pt x="1206" y="947"/>
                  </a:lnTo>
                  <a:lnTo>
                    <a:pt x="1213" y="932"/>
                  </a:lnTo>
                  <a:lnTo>
                    <a:pt x="1220" y="918"/>
                  </a:lnTo>
                  <a:lnTo>
                    <a:pt x="1225" y="909"/>
                  </a:lnTo>
                  <a:lnTo>
                    <a:pt x="1227" y="908"/>
                  </a:lnTo>
                  <a:lnTo>
                    <a:pt x="1229" y="906"/>
                  </a:lnTo>
                  <a:lnTo>
                    <a:pt x="1229" y="901"/>
                  </a:lnTo>
                  <a:lnTo>
                    <a:pt x="1230" y="898"/>
                  </a:lnTo>
                  <a:lnTo>
                    <a:pt x="1231" y="897"/>
                  </a:lnTo>
                  <a:lnTo>
                    <a:pt x="1232" y="896"/>
                  </a:lnTo>
                  <a:lnTo>
                    <a:pt x="1234" y="893"/>
                  </a:lnTo>
                  <a:lnTo>
                    <a:pt x="1235" y="891"/>
                  </a:lnTo>
                  <a:lnTo>
                    <a:pt x="1235" y="885"/>
                  </a:lnTo>
                  <a:lnTo>
                    <a:pt x="1236" y="881"/>
                  </a:lnTo>
                  <a:lnTo>
                    <a:pt x="1247" y="878"/>
                  </a:lnTo>
                  <a:lnTo>
                    <a:pt x="1263" y="875"/>
                  </a:lnTo>
                  <a:lnTo>
                    <a:pt x="1265" y="882"/>
                  </a:lnTo>
                  <a:lnTo>
                    <a:pt x="1268" y="889"/>
                  </a:lnTo>
                  <a:lnTo>
                    <a:pt x="1274" y="896"/>
                  </a:lnTo>
                  <a:lnTo>
                    <a:pt x="1279" y="903"/>
                  </a:lnTo>
                  <a:lnTo>
                    <a:pt x="1286" y="910"/>
                  </a:lnTo>
                  <a:lnTo>
                    <a:pt x="1290" y="918"/>
                  </a:lnTo>
                  <a:lnTo>
                    <a:pt x="1295" y="925"/>
                  </a:lnTo>
                  <a:lnTo>
                    <a:pt x="1296" y="931"/>
                  </a:lnTo>
                  <a:lnTo>
                    <a:pt x="1298" y="931"/>
                  </a:lnTo>
                  <a:lnTo>
                    <a:pt x="1301" y="932"/>
                  </a:lnTo>
                  <a:lnTo>
                    <a:pt x="1302" y="935"/>
                  </a:lnTo>
                  <a:lnTo>
                    <a:pt x="1304" y="938"/>
                  </a:lnTo>
                  <a:lnTo>
                    <a:pt x="1307" y="945"/>
                  </a:lnTo>
                  <a:lnTo>
                    <a:pt x="1311" y="952"/>
                  </a:lnTo>
                  <a:lnTo>
                    <a:pt x="1313" y="961"/>
                  </a:lnTo>
                  <a:lnTo>
                    <a:pt x="1316" y="968"/>
                  </a:lnTo>
                  <a:lnTo>
                    <a:pt x="1318" y="971"/>
                  </a:lnTo>
                  <a:lnTo>
                    <a:pt x="1320" y="974"/>
                  </a:lnTo>
                  <a:lnTo>
                    <a:pt x="1322" y="975"/>
                  </a:lnTo>
                  <a:lnTo>
                    <a:pt x="1324" y="975"/>
                  </a:lnTo>
                  <a:lnTo>
                    <a:pt x="1324" y="986"/>
                  </a:lnTo>
                  <a:lnTo>
                    <a:pt x="1325" y="997"/>
                  </a:lnTo>
                  <a:lnTo>
                    <a:pt x="1327" y="1009"/>
                  </a:lnTo>
                  <a:lnTo>
                    <a:pt x="1331" y="1022"/>
                  </a:lnTo>
                  <a:lnTo>
                    <a:pt x="1339" y="1047"/>
                  </a:lnTo>
                  <a:lnTo>
                    <a:pt x="1349" y="1074"/>
                  </a:lnTo>
                  <a:lnTo>
                    <a:pt x="1360" y="1076"/>
                  </a:lnTo>
                  <a:lnTo>
                    <a:pt x="1372" y="1080"/>
                  </a:lnTo>
                  <a:lnTo>
                    <a:pt x="1376" y="1082"/>
                  </a:lnTo>
                  <a:lnTo>
                    <a:pt x="1381" y="1084"/>
                  </a:lnTo>
                  <a:lnTo>
                    <a:pt x="1383" y="1086"/>
                  </a:lnTo>
                  <a:lnTo>
                    <a:pt x="1384" y="1089"/>
                  </a:lnTo>
                  <a:lnTo>
                    <a:pt x="1400" y="1089"/>
                  </a:lnTo>
                  <a:lnTo>
                    <a:pt x="1401" y="1091"/>
                  </a:lnTo>
                  <a:lnTo>
                    <a:pt x="1404" y="1094"/>
                  </a:lnTo>
                  <a:lnTo>
                    <a:pt x="1408" y="1096"/>
                  </a:lnTo>
                  <a:lnTo>
                    <a:pt x="1413" y="1100"/>
                  </a:lnTo>
                  <a:lnTo>
                    <a:pt x="1428" y="1104"/>
                  </a:lnTo>
                  <a:lnTo>
                    <a:pt x="1443" y="1108"/>
                  </a:lnTo>
                  <a:lnTo>
                    <a:pt x="1459" y="1110"/>
                  </a:lnTo>
                  <a:lnTo>
                    <a:pt x="1472" y="1110"/>
                  </a:lnTo>
                  <a:lnTo>
                    <a:pt x="1478" y="1110"/>
                  </a:lnTo>
                  <a:lnTo>
                    <a:pt x="1483" y="1109"/>
                  </a:lnTo>
                  <a:lnTo>
                    <a:pt x="1485" y="1106"/>
                  </a:lnTo>
                  <a:lnTo>
                    <a:pt x="1486" y="1104"/>
                  </a:lnTo>
                  <a:lnTo>
                    <a:pt x="1504" y="1103"/>
                  </a:lnTo>
                  <a:lnTo>
                    <a:pt x="1526" y="1103"/>
                  </a:lnTo>
                  <a:lnTo>
                    <a:pt x="1537" y="1102"/>
                  </a:lnTo>
                  <a:lnTo>
                    <a:pt x="1547" y="1101"/>
                  </a:lnTo>
                  <a:lnTo>
                    <a:pt x="1551" y="1100"/>
                  </a:lnTo>
                  <a:lnTo>
                    <a:pt x="1553" y="1099"/>
                  </a:lnTo>
                  <a:lnTo>
                    <a:pt x="1555" y="1098"/>
                  </a:lnTo>
                  <a:lnTo>
                    <a:pt x="1556" y="1096"/>
                  </a:lnTo>
                  <a:lnTo>
                    <a:pt x="1572" y="1096"/>
                  </a:lnTo>
                  <a:lnTo>
                    <a:pt x="1580" y="1089"/>
                  </a:lnTo>
                  <a:lnTo>
                    <a:pt x="1580" y="1065"/>
                  </a:lnTo>
                  <a:lnTo>
                    <a:pt x="1582" y="1064"/>
                  </a:lnTo>
                  <a:lnTo>
                    <a:pt x="1585" y="1062"/>
                  </a:lnTo>
                  <a:lnTo>
                    <a:pt x="1589" y="1058"/>
                  </a:lnTo>
                  <a:lnTo>
                    <a:pt x="1591" y="1053"/>
                  </a:lnTo>
                  <a:lnTo>
                    <a:pt x="1597" y="1041"/>
                  </a:lnTo>
                  <a:lnTo>
                    <a:pt x="1603" y="1026"/>
                  </a:lnTo>
                  <a:lnTo>
                    <a:pt x="1608" y="1012"/>
                  </a:lnTo>
                  <a:lnTo>
                    <a:pt x="1611" y="997"/>
                  </a:lnTo>
                  <a:lnTo>
                    <a:pt x="1614" y="985"/>
                  </a:lnTo>
                  <a:lnTo>
                    <a:pt x="1614" y="977"/>
                  </a:lnTo>
                  <a:lnTo>
                    <a:pt x="1622" y="958"/>
                  </a:lnTo>
                  <a:lnTo>
                    <a:pt x="1627" y="942"/>
                  </a:lnTo>
                  <a:lnTo>
                    <a:pt x="1631" y="927"/>
                  </a:lnTo>
                  <a:lnTo>
                    <a:pt x="1634" y="912"/>
                  </a:lnTo>
                  <a:lnTo>
                    <a:pt x="1638" y="888"/>
                  </a:lnTo>
                  <a:lnTo>
                    <a:pt x="1639" y="867"/>
                  </a:lnTo>
                  <a:lnTo>
                    <a:pt x="1640" y="848"/>
                  </a:lnTo>
                  <a:lnTo>
                    <a:pt x="1641" y="830"/>
                  </a:lnTo>
                  <a:lnTo>
                    <a:pt x="1641" y="822"/>
                  </a:lnTo>
                  <a:lnTo>
                    <a:pt x="1643" y="814"/>
                  </a:lnTo>
                  <a:lnTo>
                    <a:pt x="1645" y="806"/>
                  </a:lnTo>
                  <a:lnTo>
                    <a:pt x="1649" y="797"/>
                  </a:lnTo>
                  <a:lnTo>
                    <a:pt x="1653" y="789"/>
                  </a:lnTo>
                  <a:lnTo>
                    <a:pt x="1658" y="783"/>
                  </a:lnTo>
                  <a:lnTo>
                    <a:pt x="1662" y="778"/>
                  </a:lnTo>
                  <a:lnTo>
                    <a:pt x="1667" y="774"/>
                  </a:lnTo>
                  <a:lnTo>
                    <a:pt x="1670" y="772"/>
                  </a:lnTo>
                  <a:lnTo>
                    <a:pt x="1675" y="771"/>
                  </a:lnTo>
                  <a:lnTo>
                    <a:pt x="1679" y="771"/>
                  </a:lnTo>
                  <a:lnTo>
                    <a:pt x="1682" y="771"/>
                  </a:lnTo>
                  <a:lnTo>
                    <a:pt x="1686" y="773"/>
                  </a:lnTo>
                  <a:lnTo>
                    <a:pt x="1689" y="775"/>
                  </a:lnTo>
                  <a:lnTo>
                    <a:pt x="1692" y="779"/>
                  </a:lnTo>
                  <a:lnTo>
                    <a:pt x="1696" y="784"/>
                  </a:lnTo>
                  <a:lnTo>
                    <a:pt x="1700" y="794"/>
                  </a:lnTo>
                  <a:lnTo>
                    <a:pt x="1705" y="807"/>
                  </a:lnTo>
                  <a:lnTo>
                    <a:pt x="1709" y="840"/>
                  </a:lnTo>
                  <a:lnTo>
                    <a:pt x="1714" y="878"/>
                  </a:lnTo>
                  <a:lnTo>
                    <a:pt x="1716" y="897"/>
                  </a:lnTo>
                  <a:lnTo>
                    <a:pt x="1720" y="916"/>
                  </a:lnTo>
                  <a:lnTo>
                    <a:pt x="1723" y="925"/>
                  </a:lnTo>
                  <a:lnTo>
                    <a:pt x="1726" y="933"/>
                  </a:lnTo>
                  <a:lnTo>
                    <a:pt x="1729" y="941"/>
                  </a:lnTo>
                  <a:lnTo>
                    <a:pt x="1734" y="949"/>
                  </a:lnTo>
                  <a:lnTo>
                    <a:pt x="1738" y="962"/>
                  </a:lnTo>
                  <a:lnTo>
                    <a:pt x="1741" y="975"/>
                  </a:lnTo>
                  <a:lnTo>
                    <a:pt x="1745" y="979"/>
                  </a:lnTo>
                  <a:lnTo>
                    <a:pt x="1749" y="984"/>
                  </a:lnTo>
                  <a:lnTo>
                    <a:pt x="1752" y="985"/>
                  </a:lnTo>
                  <a:lnTo>
                    <a:pt x="1756" y="986"/>
                  </a:lnTo>
                  <a:lnTo>
                    <a:pt x="1760" y="987"/>
                  </a:lnTo>
                  <a:lnTo>
                    <a:pt x="1766" y="987"/>
                  </a:lnTo>
                  <a:lnTo>
                    <a:pt x="1766" y="989"/>
                  </a:lnTo>
                  <a:lnTo>
                    <a:pt x="1768" y="992"/>
                  </a:lnTo>
                  <a:lnTo>
                    <a:pt x="1771" y="994"/>
                  </a:lnTo>
                  <a:lnTo>
                    <a:pt x="1774" y="996"/>
                  </a:lnTo>
                  <a:lnTo>
                    <a:pt x="1776" y="998"/>
                  </a:lnTo>
                  <a:lnTo>
                    <a:pt x="1778" y="1002"/>
                  </a:lnTo>
                  <a:lnTo>
                    <a:pt x="1781" y="1005"/>
                  </a:lnTo>
                  <a:lnTo>
                    <a:pt x="1782" y="1010"/>
                  </a:lnTo>
                  <a:lnTo>
                    <a:pt x="1793" y="1014"/>
                  </a:lnTo>
                  <a:lnTo>
                    <a:pt x="1805" y="1018"/>
                  </a:lnTo>
                  <a:lnTo>
                    <a:pt x="1805" y="1023"/>
                  </a:lnTo>
                  <a:lnTo>
                    <a:pt x="1806" y="1025"/>
                  </a:lnTo>
                  <a:lnTo>
                    <a:pt x="1807" y="1026"/>
                  </a:lnTo>
                  <a:lnTo>
                    <a:pt x="1808" y="1026"/>
                  </a:lnTo>
                  <a:lnTo>
                    <a:pt x="1810" y="1026"/>
                  </a:lnTo>
                  <a:lnTo>
                    <a:pt x="1811" y="1027"/>
                  </a:lnTo>
                  <a:lnTo>
                    <a:pt x="1812" y="1029"/>
                  </a:lnTo>
                  <a:lnTo>
                    <a:pt x="1813" y="1034"/>
                  </a:lnTo>
                  <a:lnTo>
                    <a:pt x="1820" y="1035"/>
                  </a:lnTo>
                  <a:lnTo>
                    <a:pt x="1827" y="1038"/>
                  </a:lnTo>
                  <a:lnTo>
                    <a:pt x="1831" y="1041"/>
                  </a:lnTo>
                  <a:lnTo>
                    <a:pt x="1833" y="1044"/>
                  </a:lnTo>
                  <a:lnTo>
                    <a:pt x="1835" y="1046"/>
                  </a:lnTo>
                  <a:lnTo>
                    <a:pt x="1835" y="1050"/>
                  </a:lnTo>
                  <a:lnTo>
                    <a:pt x="1848" y="1051"/>
                  </a:lnTo>
                  <a:lnTo>
                    <a:pt x="1858" y="1053"/>
                  </a:lnTo>
                  <a:lnTo>
                    <a:pt x="1868" y="1056"/>
                  </a:lnTo>
                  <a:lnTo>
                    <a:pt x="1874" y="1057"/>
                  </a:lnTo>
                  <a:lnTo>
                    <a:pt x="1875" y="1060"/>
                  </a:lnTo>
                  <a:lnTo>
                    <a:pt x="1875" y="1063"/>
                  </a:lnTo>
                  <a:lnTo>
                    <a:pt x="1878" y="1065"/>
                  </a:lnTo>
                  <a:lnTo>
                    <a:pt x="1880" y="1067"/>
                  </a:lnTo>
                  <a:lnTo>
                    <a:pt x="1882" y="1070"/>
                  </a:lnTo>
                  <a:lnTo>
                    <a:pt x="1884" y="1072"/>
                  </a:lnTo>
                  <a:lnTo>
                    <a:pt x="1888" y="1072"/>
                  </a:lnTo>
                  <a:lnTo>
                    <a:pt x="1890" y="1073"/>
                  </a:lnTo>
                  <a:lnTo>
                    <a:pt x="1891" y="1082"/>
                  </a:lnTo>
                  <a:lnTo>
                    <a:pt x="1896" y="1095"/>
                  </a:lnTo>
                  <a:lnTo>
                    <a:pt x="1898" y="1101"/>
                  </a:lnTo>
                  <a:lnTo>
                    <a:pt x="1900" y="1106"/>
                  </a:lnTo>
                  <a:lnTo>
                    <a:pt x="1903" y="1110"/>
                  </a:lnTo>
                  <a:lnTo>
                    <a:pt x="1906" y="1112"/>
                  </a:lnTo>
                  <a:lnTo>
                    <a:pt x="1906" y="1120"/>
                  </a:lnTo>
                  <a:lnTo>
                    <a:pt x="1906" y="1131"/>
                  </a:lnTo>
                  <a:lnTo>
                    <a:pt x="1906" y="1142"/>
                  </a:lnTo>
                  <a:lnTo>
                    <a:pt x="1906" y="1150"/>
                  </a:lnTo>
                  <a:lnTo>
                    <a:pt x="1921" y="1150"/>
                  </a:lnTo>
                  <a:lnTo>
                    <a:pt x="1921" y="1154"/>
                  </a:lnTo>
                  <a:lnTo>
                    <a:pt x="1922" y="1157"/>
                  </a:lnTo>
                  <a:lnTo>
                    <a:pt x="1923" y="1158"/>
                  </a:lnTo>
                  <a:lnTo>
                    <a:pt x="1926" y="1158"/>
                  </a:lnTo>
                  <a:lnTo>
                    <a:pt x="1927" y="1158"/>
                  </a:lnTo>
                  <a:lnTo>
                    <a:pt x="1928" y="1159"/>
                  </a:lnTo>
                  <a:lnTo>
                    <a:pt x="1929" y="1161"/>
                  </a:lnTo>
                  <a:lnTo>
                    <a:pt x="1929" y="1166"/>
                  </a:lnTo>
                  <a:lnTo>
                    <a:pt x="2061" y="1181"/>
                  </a:lnTo>
                  <a:lnTo>
                    <a:pt x="2070" y="1181"/>
                  </a:lnTo>
                  <a:lnTo>
                    <a:pt x="2080" y="1182"/>
                  </a:lnTo>
                  <a:lnTo>
                    <a:pt x="2084" y="1183"/>
                  </a:lnTo>
                  <a:lnTo>
                    <a:pt x="2089" y="1185"/>
                  </a:lnTo>
                  <a:lnTo>
                    <a:pt x="2091" y="1187"/>
                  </a:lnTo>
                  <a:lnTo>
                    <a:pt x="2092" y="1189"/>
                  </a:lnTo>
                  <a:lnTo>
                    <a:pt x="2105" y="1190"/>
                  </a:lnTo>
                  <a:lnTo>
                    <a:pt x="2121" y="1194"/>
                  </a:lnTo>
                  <a:lnTo>
                    <a:pt x="2138" y="1196"/>
                  </a:lnTo>
                  <a:lnTo>
                    <a:pt x="2155" y="1197"/>
                  </a:lnTo>
                  <a:lnTo>
                    <a:pt x="2156" y="1195"/>
                  </a:lnTo>
                  <a:lnTo>
                    <a:pt x="2157" y="1192"/>
                  </a:lnTo>
                  <a:lnTo>
                    <a:pt x="2160" y="1191"/>
                  </a:lnTo>
                  <a:lnTo>
                    <a:pt x="2163" y="1190"/>
                  </a:lnTo>
                  <a:lnTo>
                    <a:pt x="2171" y="1189"/>
                  </a:lnTo>
                  <a:lnTo>
                    <a:pt x="2181" y="1189"/>
                  </a:lnTo>
                  <a:lnTo>
                    <a:pt x="2191" y="1189"/>
                  </a:lnTo>
                  <a:lnTo>
                    <a:pt x="2200" y="1188"/>
                  </a:lnTo>
                  <a:lnTo>
                    <a:pt x="2204" y="1188"/>
                  </a:lnTo>
                  <a:lnTo>
                    <a:pt x="2207" y="1186"/>
                  </a:lnTo>
                  <a:lnTo>
                    <a:pt x="2208" y="1185"/>
                  </a:lnTo>
                  <a:lnTo>
                    <a:pt x="2209" y="1181"/>
                  </a:lnTo>
                  <a:lnTo>
                    <a:pt x="2220" y="1180"/>
                  </a:lnTo>
                  <a:lnTo>
                    <a:pt x="2232" y="1178"/>
                  </a:lnTo>
                  <a:lnTo>
                    <a:pt x="2240" y="1175"/>
                  </a:lnTo>
                  <a:lnTo>
                    <a:pt x="2248" y="1173"/>
                  </a:lnTo>
                  <a:lnTo>
                    <a:pt x="2256" y="1166"/>
                  </a:lnTo>
                  <a:lnTo>
                    <a:pt x="2256" y="948"/>
                  </a:lnTo>
                  <a:lnTo>
                    <a:pt x="2256" y="933"/>
                  </a:lnTo>
                  <a:lnTo>
                    <a:pt x="2256" y="908"/>
                  </a:lnTo>
                  <a:lnTo>
                    <a:pt x="2256" y="877"/>
                  </a:lnTo>
                  <a:lnTo>
                    <a:pt x="2257" y="842"/>
                  </a:lnTo>
                  <a:lnTo>
                    <a:pt x="2259" y="810"/>
                  </a:lnTo>
                  <a:lnTo>
                    <a:pt x="2263" y="781"/>
                  </a:lnTo>
                  <a:lnTo>
                    <a:pt x="2264" y="769"/>
                  </a:lnTo>
                  <a:lnTo>
                    <a:pt x="2266" y="762"/>
                  </a:lnTo>
                  <a:lnTo>
                    <a:pt x="2267" y="758"/>
                  </a:lnTo>
                  <a:lnTo>
                    <a:pt x="2268" y="756"/>
                  </a:lnTo>
                  <a:lnTo>
                    <a:pt x="2270" y="754"/>
                  </a:lnTo>
                  <a:lnTo>
                    <a:pt x="2272" y="754"/>
                  </a:lnTo>
                  <a:lnTo>
                    <a:pt x="2270" y="748"/>
                  </a:lnTo>
                  <a:lnTo>
                    <a:pt x="2265" y="736"/>
                  </a:lnTo>
                  <a:lnTo>
                    <a:pt x="2259" y="723"/>
                  </a:lnTo>
                  <a:lnTo>
                    <a:pt x="2257" y="717"/>
                  </a:lnTo>
                  <a:lnTo>
                    <a:pt x="2273" y="717"/>
                  </a:lnTo>
                  <a:lnTo>
                    <a:pt x="2274" y="712"/>
                  </a:lnTo>
                  <a:lnTo>
                    <a:pt x="2274" y="710"/>
                  </a:lnTo>
                  <a:lnTo>
                    <a:pt x="2276" y="709"/>
                  </a:lnTo>
                  <a:lnTo>
                    <a:pt x="2277" y="709"/>
                  </a:lnTo>
                  <a:lnTo>
                    <a:pt x="2278" y="709"/>
                  </a:lnTo>
                  <a:lnTo>
                    <a:pt x="2280" y="708"/>
                  </a:lnTo>
                  <a:lnTo>
                    <a:pt x="2281" y="706"/>
                  </a:lnTo>
                  <a:lnTo>
                    <a:pt x="2281" y="701"/>
                  </a:lnTo>
                  <a:lnTo>
                    <a:pt x="2281" y="694"/>
                  </a:lnTo>
                  <a:lnTo>
                    <a:pt x="2282" y="685"/>
                  </a:lnTo>
                  <a:lnTo>
                    <a:pt x="2282" y="677"/>
                  </a:lnTo>
                  <a:lnTo>
                    <a:pt x="2284" y="671"/>
                  </a:lnTo>
                  <a:lnTo>
                    <a:pt x="2285" y="670"/>
                  </a:lnTo>
                  <a:lnTo>
                    <a:pt x="2287" y="669"/>
                  </a:lnTo>
                  <a:lnTo>
                    <a:pt x="2288" y="669"/>
                  </a:lnTo>
                  <a:lnTo>
                    <a:pt x="2291" y="671"/>
                  </a:lnTo>
                  <a:lnTo>
                    <a:pt x="2296" y="679"/>
                  </a:lnTo>
                  <a:lnTo>
                    <a:pt x="2304" y="694"/>
                  </a:lnTo>
                  <a:lnTo>
                    <a:pt x="2312" y="696"/>
                  </a:lnTo>
                  <a:lnTo>
                    <a:pt x="2321" y="695"/>
                  </a:lnTo>
                  <a:lnTo>
                    <a:pt x="2331" y="694"/>
                  </a:lnTo>
                  <a:lnTo>
                    <a:pt x="2341" y="690"/>
                  </a:lnTo>
                  <a:lnTo>
                    <a:pt x="2361" y="683"/>
                  </a:lnTo>
                  <a:lnTo>
                    <a:pt x="2373" y="680"/>
                  </a:lnTo>
                  <a:lnTo>
                    <a:pt x="2381" y="678"/>
                  </a:lnTo>
                  <a:lnTo>
                    <a:pt x="2387" y="676"/>
                  </a:lnTo>
                  <a:lnTo>
                    <a:pt x="2390" y="672"/>
                  </a:lnTo>
                  <a:lnTo>
                    <a:pt x="2393" y="668"/>
                  </a:lnTo>
                  <a:lnTo>
                    <a:pt x="2395" y="663"/>
                  </a:lnTo>
                  <a:lnTo>
                    <a:pt x="2395" y="658"/>
                  </a:lnTo>
                  <a:lnTo>
                    <a:pt x="2395" y="653"/>
                  </a:lnTo>
                  <a:lnTo>
                    <a:pt x="2393" y="648"/>
                  </a:lnTo>
                  <a:lnTo>
                    <a:pt x="2389" y="638"/>
                  </a:lnTo>
                  <a:lnTo>
                    <a:pt x="2384" y="629"/>
                  </a:lnTo>
                  <a:lnTo>
                    <a:pt x="2379" y="623"/>
                  </a:lnTo>
                  <a:lnTo>
                    <a:pt x="2376" y="621"/>
                  </a:lnTo>
                  <a:lnTo>
                    <a:pt x="2376" y="605"/>
                  </a:lnTo>
                  <a:lnTo>
                    <a:pt x="2360" y="605"/>
                  </a:lnTo>
                  <a:lnTo>
                    <a:pt x="2360" y="601"/>
                  </a:lnTo>
                  <a:lnTo>
                    <a:pt x="2358" y="596"/>
                  </a:lnTo>
                  <a:lnTo>
                    <a:pt x="2355" y="592"/>
                  </a:lnTo>
                  <a:lnTo>
                    <a:pt x="2351" y="590"/>
                  </a:lnTo>
                  <a:lnTo>
                    <a:pt x="2342" y="584"/>
                  </a:lnTo>
                  <a:lnTo>
                    <a:pt x="2331" y="581"/>
                  </a:lnTo>
                  <a:lnTo>
                    <a:pt x="2319" y="577"/>
                  </a:lnTo>
                  <a:lnTo>
                    <a:pt x="2307" y="574"/>
                  </a:lnTo>
                  <a:lnTo>
                    <a:pt x="2303" y="573"/>
                  </a:lnTo>
                  <a:lnTo>
                    <a:pt x="2299" y="571"/>
                  </a:lnTo>
                  <a:lnTo>
                    <a:pt x="2294" y="569"/>
                  </a:lnTo>
                  <a:lnTo>
                    <a:pt x="2292" y="566"/>
                  </a:lnTo>
                  <a:lnTo>
                    <a:pt x="2280" y="554"/>
                  </a:lnTo>
                  <a:lnTo>
                    <a:pt x="2270" y="545"/>
                  </a:lnTo>
                  <a:lnTo>
                    <a:pt x="2259" y="538"/>
                  </a:lnTo>
                  <a:lnTo>
                    <a:pt x="2253" y="534"/>
                  </a:lnTo>
                  <a:lnTo>
                    <a:pt x="2252" y="533"/>
                  </a:lnTo>
                  <a:lnTo>
                    <a:pt x="2251" y="532"/>
                  </a:lnTo>
                  <a:lnTo>
                    <a:pt x="2251" y="532"/>
                  </a:lnTo>
                  <a:lnTo>
                    <a:pt x="2253" y="531"/>
                  </a:lnTo>
                  <a:lnTo>
                    <a:pt x="2261" y="532"/>
                  </a:lnTo>
                  <a:lnTo>
                    <a:pt x="2276" y="533"/>
                  </a:lnTo>
                  <a:lnTo>
                    <a:pt x="2274" y="532"/>
                  </a:lnTo>
                  <a:lnTo>
                    <a:pt x="2273" y="532"/>
                  </a:lnTo>
                  <a:lnTo>
                    <a:pt x="2272" y="531"/>
                  </a:lnTo>
                  <a:lnTo>
                    <a:pt x="2271" y="526"/>
                  </a:lnTo>
                  <a:lnTo>
                    <a:pt x="2255" y="524"/>
                  </a:lnTo>
                  <a:lnTo>
                    <a:pt x="2238" y="521"/>
                  </a:lnTo>
                  <a:lnTo>
                    <a:pt x="2237" y="517"/>
                  </a:lnTo>
                  <a:lnTo>
                    <a:pt x="2235" y="516"/>
                  </a:lnTo>
                  <a:lnTo>
                    <a:pt x="2230" y="515"/>
                  </a:lnTo>
                  <a:lnTo>
                    <a:pt x="2227" y="515"/>
                  </a:lnTo>
                  <a:lnTo>
                    <a:pt x="2227" y="504"/>
                  </a:lnTo>
                  <a:lnTo>
                    <a:pt x="2224" y="504"/>
                  </a:lnTo>
                  <a:lnTo>
                    <a:pt x="2222" y="500"/>
                  </a:lnTo>
                  <a:lnTo>
                    <a:pt x="2222" y="497"/>
                  </a:lnTo>
                  <a:lnTo>
                    <a:pt x="2222" y="493"/>
                  </a:lnTo>
                  <a:lnTo>
                    <a:pt x="2210" y="493"/>
                  </a:lnTo>
                  <a:lnTo>
                    <a:pt x="2210" y="479"/>
                  </a:lnTo>
                  <a:lnTo>
                    <a:pt x="2210" y="466"/>
                  </a:lnTo>
                  <a:lnTo>
                    <a:pt x="2207" y="464"/>
                  </a:lnTo>
                  <a:lnTo>
                    <a:pt x="2203" y="457"/>
                  </a:lnTo>
                  <a:lnTo>
                    <a:pt x="2197" y="447"/>
                  </a:lnTo>
                  <a:lnTo>
                    <a:pt x="2191" y="437"/>
                  </a:lnTo>
                  <a:lnTo>
                    <a:pt x="2186" y="425"/>
                  </a:lnTo>
                  <a:lnTo>
                    <a:pt x="2181" y="415"/>
                  </a:lnTo>
                  <a:lnTo>
                    <a:pt x="2178" y="406"/>
                  </a:lnTo>
                  <a:lnTo>
                    <a:pt x="2177" y="399"/>
                  </a:lnTo>
                  <a:lnTo>
                    <a:pt x="2174" y="399"/>
                  </a:lnTo>
                  <a:lnTo>
                    <a:pt x="2170" y="398"/>
                  </a:lnTo>
                  <a:lnTo>
                    <a:pt x="2168" y="396"/>
                  </a:lnTo>
                  <a:lnTo>
                    <a:pt x="2167" y="393"/>
                  </a:lnTo>
                  <a:lnTo>
                    <a:pt x="2163" y="390"/>
                  </a:lnTo>
                  <a:lnTo>
                    <a:pt x="2160" y="388"/>
                  </a:lnTo>
                  <a:lnTo>
                    <a:pt x="2161" y="364"/>
                  </a:lnTo>
                  <a:lnTo>
                    <a:pt x="2163" y="341"/>
                  </a:lnTo>
                  <a:lnTo>
                    <a:pt x="2165" y="317"/>
                  </a:lnTo>
                  <a:lnTo>
                    <a:pt x="2166" y="294"/>
                  </a:lnTo>
                  <a:lnTo>
                    <a:pt x="2165" y="293"/>
                  </a:lnTo>
                  <a:lnTo>
                    <a:pt x="2162" y="292"/>
                  </a:lnTo>
                  <a:lnTo>
                    <a:pt x="2161" y="290"/>
                  </a:lnTo>
                  <a:lnTo>
                    <a:pt x="2161" y="287"/>
                  </a:lnTo>
                  <a:lnTo>
                    <a:pt x="2160" y="282"/>
                  </a:lnTo>
                  <a:lnTo>
                    <a:pt x="2160" y="277"/>
                  </a:lnTo>
                  <a:lnTo>
                    <a:pt x="2155" y="272"/>
                  </a:lnTo>
                  <a:lnTo>
                    <a:pt x="2143" y="272"/>
                  </a:lnTo>
                  <a:lnTo>
                    <a:pt x="2141" y="264"/>
                  </a:lnTo>
                  <a:lnTo>
                    <a:pt x="2138" y="255"/>
                  </a:lnTo>
                  <a:lnTo>
                    <a:pt x="2127" y="253"/>
                  </a:lnTo>
                  <a:lnTo>
                    <a:pt x="2117" y="249"/>
                  </a:lnTo>
                  <a:lnTo>
                    <a:pt x="2111" y="244"/>
                  </a:lnTo>
                  <a:lnTo>
                    <a:pt x="2110" y="240"/>
                  </a:lnTo>
                  <a:lnTo>
                    <a:pt x="2108" y="236"/>
                  </a:lnTo>
                  <a:lnTo>
                    <a:pt x="2104" y="233"/>
                  </a:lnTo>
                  <a:lnTo>
                    <a:pt x="2101" y="229"/>
                  </a:lnTo>
                  <a:lnTo>
                    <a:pt x="2090" y="224"/>
                  </a:lnTo>
                  <a:lnTo>
                    <a:pt x="2077" y="219"/>
                  </a:lnTo>
                  <a:lnTo>
                    <a:pt x="2065" y="216"/>
                  </a:lnTo>
                  <a:lnTo>
                    <a:pt x="2052" y="212"/>
                  </a:lnTo>
                  <a:lnTo>
                    <a:pt x="2041" y="211"/>
                  </a:lnTo>
                  <a:lnTo>
                    <a:pt x="2033" y="210"/>
                  </a:lnTo>
                  <a:lnTo>
                    <a:pt x="2027" y="216"/>
                  </a:lnTo>
                  <a:lnTo>
                    <a:pt x="2022" y="221"/>
                  </a:lnTo>
                  <a:lnTo>
                    <a:pt x="2022" y="226"/>
                  </a:lnTo>
                  <a:lnTo>
                    <a:pt x="2019" y="231"/>
                  </a:lnTo>
                  <a:lnTo>
                    <a:pt x="2016" y="236"/>
                  </a:lnTo>
                  <a:lnTo>
                    <a:pt x="2014" y="242"/>
                  </a:lnTo>
                  <a:lnTo>
                    <a:pt x="2011" y="246"/>
                  </a:lnTo>
                  <a:lnTo>
                    <a:pt x="2008" y="252"/>
                  </a:lnTo>
                  <a:lnTo>
                    <a:pt x="2006" y="256"/>
                  </a:lnTo>
                  <a:lnTo>
                    <a:pt x="2005" y="260"/>
                  </a:lnTo>
                  <a:lnTo>
                    <a:pt x="1994" y="260"/>
                  </a:lnTo>
                  <a:lnTo>
                    <a:pt x="1994" y="263"/>
                  </a:lnTo>
                  <a:lnTo>
                    <a:pt x="1993" y="264"/>
                  </a:lnTo>
                  <a:lnTo>
                    <a:pt x="1990" y="265"/>
                  </a:lnTo>
                  <a:lnTo>
                    <a:pt x="1987" y="266"/>
                  </a:lnTo>
                  <a:lnTo>
                    <a:pt x="1980" y="266"/>
                  </a:lnTo>
                  <a:lnTo>
                    <a:pt x="1973" y="265"/>
                  </a:lnTo>
                  <a:lnTo>
                    <a:pt x="1964" y="263"/>
                  </a:lnTo>
                  <a:lnTo>
                    <a:pt x="1957" y="259"/>
                  </a:lnTo>
                  <a:lnTo>
                    <a:pt x="1954" y="257"/>
                  </a:lnTo>
                  <a:lnTo>
                    <a:pt x="1951" y="255"/>
                  </a:lnTo>
                  <a:lnTo>
                    <a:pt x="1950" y="253"/>
                  </a:lnTo>
                  <a:lnTo>
                    <a:pt x="1950" y="249"/>
                  </a:lnTo>
                  <a:lnTo>
                    <a:pt x="1944" y="248"/>
                  </a:lnTo>
                  <a:lnTo>
                    <a:pt x="1937" y="245"/>
                  </a:lnTo>
                  <a:lnTo>
                    <a:pt x="1933" y="243"/>
                  </a:lnTo>
                  <a:lnTo>
                    <a:pt x="1930" y="240"/>
                  </a:lnTo>
                  <a:lnTo>
                    <a:pt x="1928" y="237"/>
                  </a:lnTo>
                  <a:lnTo>
                    <a:pt x="1928" y="233"/>
                  </a:lnTo>
                  <a:lnTo>
                    <a:pt x="1923" y="231"/>
                  </a:lnTo>
                  <a:lnTo>
                    <a:pt x="1918" y="229"/>
                  </a:lnTo>
                  <a:lnTo>
                    <a:pt x="1913" y="226"/>
                  </a:lnTo>
                  <a:lnTo>
                    <a:pt x="1907" y="221"/>
                  </a:lnTo>
                  <a:lnTo>
                    <a:pt x="1900" y="218"/>
                  </a:lnTo>
                  <a:lnTo>
                    <a:pt x="1893" y="215"/>
                  </a:lnTo>
                  <a:lnTo>
                    <a:pt x="1885" y="211"/>
                  </a:lnTo>
                  <a:lnTo>
                    <a:pt x="1878" y="210"/>
                  </a:lnTo>
                  <a:lnTo>
                    <a:pt x="1878" y="209"/>
                  </a:lnTo>
                  <a:lnTo>
                    <a:pt x="1877" y="208"/>
                  </a:lnTo>
                  <a:lnTo>
                    <a:pt x="1874" y="207"/>
                  </a:lnTo>
                  <a:lnTo>
                    <a:pt x="1872" y="206"/>
                  </a:lnTo>
                  <a:lnTo>
                    <a:pt x="1867" y="206"/>
                  </a:lnTo>
                  <a:lnTo>
                    <a:pt x="1861" y="205"/>
                  </a:lnTo>
                  <a:lnTo>
                    <a:pt x="1861" y="204"/>
                  </a:lnTo>
                  <a:lnTo>
                    <a:pt x="1859" y="202"/>
                  </a:lnTo>
                  <a:lnTo>
                    <a:pt x="1855" y="201"/>
                  </a:lnTo>
                  <a:lnTo>
                    <a:pt x="1852" y="200"/>
                  </a:lnTo>
                  <a:lnTo>
                    <a:pt x="1845" y="200"/>
                  </a:lnTo>
                  <a:lnTo>
                    <a:pt x="1839" y="199"/>
                  </a:lnTo>
                  <a:lnTo>
                    <a:pt x="1836" y="198"/>
                  </a:lnTo>
                  <a:lnTo>
                    <a:pt x="1831" y="196"/>
                  </a:lnTo>
                  <a:lnTo>
                    <a:pt x="1822" y="194"/>
                  </a:lnTo>
                  <a:lnTo>
                    <a:pt x="1812" y="192"/>
                  </a:lnTo>
                  <a:lnTo>
                    <a:pt x="1793" y="189"/>
                  </a:lnTo>
                  <a:lnTo>
                    <a:pt x="1784" y="189"/>
                  </a:lnTo>
                  <a:lnTo>
                    <a:pt x="1782" y="187"/>
                  </a:lnTo>
                  <a:lnTo>
                    <a:pt x="1777" y="186"/>
                  </a:lnTo>
                  <a:lnTo>
                    <a:pt x="1769" y="185"/>
                  </a:lnTo>
                  <a:lnTo>
                    <a:pt x="1760" y="183"/>
                  </a:lnTo>
                  <a:lnTo>
                    <a:pt x="1744" y="183"/>
                  </a:lnTo>
                  <a:lnTo>
                    <a:pt x="1734" y="183"/>
                  </a:lnTo>
                  <a:lnTo>
                    <a:pt x="1723" y="195"/>
                  </a:lnTo>
                  <a:lnTo>
                    <a:pt x="1711" y="205"/>
                  </a:lnTo>
                  <a:lnTo>
                    <a:pt x="1691" y="206"/>
                  </a:lnTo>
                  <a:lnTo>
                    <a:pt x="1667" y="208"/>
                  </a:lnTo>
                  <a:lnTo>
                    <a:pt x="1641" y="210"/>
                  </a:lnTo>
                  <a:lnTo>
                    <a:pt x="1618" y="210"/>
                  </a:lnTo>
                  <a:lnTo>
                    <a:pt x="1615" y="217"/>
                  </a:lnTo>
                  <a:lnTo>
                    <a:pt x="1611" y="224"/>
                  </a:lnTo>
                  <a:lnTo>
                    <a:pt x="1609" y="227"/>
                  </a:lnTo>
                  <a:lnTo>
                    <a:pt x="1605" y="230"/>
                  </a:lnTo>
                  <a:lnTo>
                    <a:pt x="1603" y="233"/>
                  </a:lnTo>
                  <a:lnTo>
                    <a:pt x="1601" y="233"/>
                  </a:lnTo>
                  <a:lnTo>
                    <a:pt x="1601" y="244"/>
                  </a:lnTo>
                  <a:lnTo>
                    <a:pt x="1595" y="249"/>
                  </a:lnTo>
                  <a:lnTo>
                    <a:pt x="1587" y="249"/>
                  </a:lnTo>
                  <a:lnTo>
                    <a:pt x="1579" y="249"/>
                  </a:lnTo>
                  <a:lnTo>
                    <a:pt x="1579" y="252"/>
                  </a:lnTo>
                  <a:lnTo>
                    <a:pt x="1577" y="253"/>
                  </a:lnTo>
                  <a:lnTo>
                    <a:pt x="1575" y="255"/>
                  </a:lnTo>
                  <a:lnTo>
                    <a:pt x="1573" y="255"/>
                  </a:lnTo>
                  <a:lnTo>
                    <a:pt x="1566" y="257"/>
                  </a:lnTo>
                  <a:lnTo>
                    <a:pt x="1558" y="257"/>
                  </a:lnTo>
                  <a:lnTo>
                    <a:pt x="1536" y="256"/>
                  </a:lnTo>
                  <a:lnTo>
                    <a:pt x="1513" y="253"/>
                  </a:lnTo>
                  <a:lnTo>
                    <a:pt x="1467" y="244"/>
                  </a:lnTo>
                  <a:lnTo>
                    <a:pt x="1446" y="238"/>
                  </a:lnTo>
                  <a:lnTo>
                    <a:pt x="1445" y="235"/>
                  </a:lnTo>
                  <a:lnTo>
                    <a:pt x="1440" y="233"/>
                  </a:lnTo>
                  <a:lnTo>
                    <a:pt x="1438" y="230"/>
                  </a:lnTo>
                  <a:lnTo>
                    <a:pt x="1437" y="228"/>
                  </a:lnTo>
                  <a:lnTo>
                    <a:pt x="1436" y="226"/>
                  </a:lnTo>
                  <a:lnTo>
                    <a:pt x="1435" y="221"/>
                  </a:lnTo>
                  <a:lnTo>
                    <a:pt x="1418" y="214"/>
                  </a:lnTo>
                  <a:lnTo>
                    <a:pt x="1401" y="205"/>
                  </a:lnTo>
                  <a:lnTo>
                    <a:pt x="1399" y="199"/>
                  </a:lnTo>
                  <a:lnTo>
                    <a:pt x="1395" y="195"/>
                  </a:lnTo>
                  <a:lnTo>
                    <a:pt x="1380" y="189"/>
                  </a:lnTo>
                  <a:lnTo>
                    <a:pt x="1369" y="183"/>
                  </a:lnTo>
                  <a:lnTo>
                    <a:pt x="1357" y="172"/>
                  </a:lnTo>
                  <a:lnTo>
                    <a:pt x="1346" y="161"/>
                  </a:lnTo>
                  <a:lnTo>
                    <a:pt x="1330" y="156"/>
                  </a:lnTo>
                  <a:lnTo>
                    <a:pt x="1318" y="150"/>
                  </a:lnTo>
                  <a:lnTo>
                    <a:pt x="1280" y="149"/>
                  </a:lnTo>
                  <a:lnTo>
                    <a:pt x="1244" y="147"/>
                  </a:lnTo>
                  <a:lnTo>
                    <a:pt x="1207" y="144"/>
                  </a:lnTo>
                  <a:lnTo>
                    <a:pt x="1170" y="141"/>
                  </a:lnTo>
                  <a:lnTo>
                    <a:pt x="1134" y="139"/>
                  </a:lnTo>
                  <a:lnTo>
                    <a:pt x="1098" y="135"/>
                  </a:lnTo>
                  <a:lnTo>
                    <a:pt x="1064" y="134"/>
                  </a:lnTo>
                  <a:lnTo>
                    <a:pt x="1030" y="133"/>
                  </a:lnTo>
                  <a:lnTo>
                    <a:pt x="1025" y="131"/>
                  </a:lnTo>
                  <a:lnTo>
                    <a:pt x="1009" y="130"/>
                  </a:lnTo>
                  <a:lnTo>
                    <a:pt x="987" y="129"/>
                  </a:lnTo>
                  <a:lnTo>
                    <a:pt x="961" y="129"/>
                  </a:lnTo>
                  <a:lnTo>
                    <a:pt x="909" y="128"/>
                  </a:lnTo>
                  <a:lnTo>
                    <a:pt x="875" y="128"/>
                  </a:lnTo>
                  <a:lnTo>
                    <a:pt x="874" y="124"/>
                  </a:lnTo>
                  <a:lnTo>
                    <a:pt x="872" y="123"/>
                  </a:lnTo>
                  <a:lnTo>
                    <a:pt x="869" y="122"/>
                  </a:lnTo>
                  <a:lnTo>
                    <a:pt x="864" y="122"/>
                  </a:lnTo>
                  <a:lnTo>
                    <a:pt x="864" y="120"/>
                  </a:lnTo>
                  <a:lnTo>
                    <a:pt x="862" y="119"/>
                  </a:lnTo>
                  <a:lnTo>
                    <a:pt x="861" y="118"/>
                  </a:lnTo>
                  <a:lnTo>
                    <a:pt x="857" y="118"/>
                  </a:lnTo>
                  <a:lnTo>
                    <a:pt x="853" y="117"/>
                  </a:lnTo>
                  <a:lnTo>
                    <a:pt x="847" y="117"/>
                  </a:lnTo>
                  <a:lnTo>
                    <a:pt x="846" y="112"/>
                  </a:lnTo>
                  <a:lnTo>
                    <a:pt x="844" y="109"/>
                  </a:lnTo>
                  <a:lnTo>
                    <a:pt x="841" y="106"/>
                  </a:lnTo>
                  <a:lnTo>
                    <a:pt x="836" y="105"/>
                  </a:lnTo>
                  <a:lnTo>
                    <a:pt x="834" y="100"/>
                  </a:lnTo>
                  <a:lnTo>
                    <a:pt x="831" y="94"/>
                  </a:lnTo>
                  <a:lnTo>
                    <a:pt x="827" y="94"/>
                  </a:lnTo>
                  <a:lnTo>
                    <a:pt x="824" y="92"/>
                  </a:lnTo>
                  <a:lnTo>
                    <a:pt x="821" y="89"/>
                  </a:lnTo>
                  <a:lnTo>
                    <a:pt x="817" y="86"/>
                  </a:lnTo>
                  <a:lnTo>
                    <a:pt x="813" y="81"/>
                  </a:lnTo>
                  <a:lnTo>
                    <a:pt x="808" y="77"/>
                  </a:lnTo>
                  <a:lnTo>
                    <a:pt x="808" y="66"/>
                  </a:lnTo>
                  <a:lnTo>
                    <a:pt x="803" y="61"/>
                  </a:lnTo>
                  <a:lnTo>
                    <a:pt x="797" y="55"/>
                  </a:lnTo>
                  <a:lnTo>
                    <a:pt x="793" y="53"/>
                  </a:lnTo>
                  <a:lnTo>
                    <a:pt x="787" y="50"/>
                  </a:lnTo>
                  <a:lnTo>
                    <a:pt x="786" y="44"/>
                  </a:lnTo>
                  <a:lnTo>
                    <a:pt x="783" y="37"/>
                  </a:lnTo>
                  <a:lnTo>
                    <a:pt x="780" y="34"/>
                  </a:lnTo>
                  <a:lnTo>
                    <a:pt x="777" y="31"/>
                  </a:lnTo>
                  <a:lnTo>
                    <a:pt x="774" y="28"/>
                  </a:lnTo>
                  <a:lnTo>
                    <a:pt x="770" y="28"/>
                  </a:lnTo>
                  <a:lnTo>
                    <a:pt x="770" y="17"/>
                  </a:lnTo>
                  <a:lnTo>
                    <a:pt x="765" y="12"/>
                  </a:lnTo>
                  <a:lnTo>
                    <a:pt x="754" y="12"/>
                  </a:lnTo>
                  <a:lnTo>
                    <a:pt x="751" y="9"/>
                  </a:lnTo>
                  <a:lnTo>
                    <a:pt x="747" y="8"/>
                  </a:lnTo>
                  <a:lnTo>
                    <a:pt x="741" y="7"/>
                  </a:lnTo>
                  <a:lnTo>
                    <a:pt x="733" y="6"/>
                  </a:lnTo>
                  <a:lnTo>
                    <a:pt x="718" y="6"/>
                  </a:lnTo>
                  <a:lnTo>
                    <a:pt x="709" y="6"/>
                  </a:lnTo>
                  <a:lnTo>
                    <a:pt x="709" y="3"/>
                  </a:lnTo>
                  <a:lnTo>
                    <a:pt x="707" y="2"/>
                  </a:lnTo>
                  <a:lnTo>
                    <a:pt x="704" y="0"/>
                  </a:lnTo>
                  <a:lnTo>
                    <a:pt x="701" y="0"/>
                  </a:lnTo>
                  <a:lnTo>
                    <a:pt x="698" y="2"/>
                  </a:lnTo>
                  <a:lnTo>
                    <a:pt x="692" y="2"/>
                  </a:lnTo>
                  <a:lnTo>
                    <a:pt x="688" y="2"/>
                  </a:lnTo>
                  <a:lnTo>
                    <a:pt x="68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7" name="Freeform 23"/>
            <p:cNvSpPr>
              <a:spLocks noChangeAspect="1"/>
            </p:cNvSpPr>
            <p:nvPr/>
          </p:nvSpPr>
          <p:spPr bwMode="gray">
            <a:xfrm rot="355651">
              <a:off x="5995331" y="3473450"/>
              <a:ext cx="283533" cy="196952"/>
            </a:xfrm>
            <a:custGeom>
              <a:avLst/>
              <a:gdLst/>
              <a:ahLst/>
              <a:cxnLst>
                <a:cxn ang="0">
                  <a:pos x="302" y="115"/>
                </a:cxn>
                <a:cxn ang="0">
                  <a:pos x="259" y="163"/>
                </a:cxn>
                <a:cxn ang="0">
                  <a:pos x="215" y="189"/>
                </a:cxn>
                <a:cxn ang="0">
                  <a:pos x="205" y="361"/>
                </a:cxn>
                <a:cxn ang="0">
                  <a:pos x="205" y="527"/>
                </a:cxn>
                <a:cxn ang="0">
                  <a:pos x="243" y="572"/>
                </a:cxn>
                <a:cxn ang="0">
                  <a:pos x="241" y="724"/>
                </a:cxn>
                <a:cxn ang="0">
                  <a:pos x="188" y="748"/>
                </a:cxn>
                <a:cxn ang="0">
                  <a:pos x="116" y="791"/>
                </a:cxn>
                <a:cxn ang="0">
                  <a:pos x="77" y="822"/>
                </a:cxn>
                <a:cxn ang="0">
                  <a:pos x="55" y="848"/>
                </a:cxn>
                <a:cxn ang="0">
                  <a:pos x="5" y="897"/>
                </a:cxn>
                <a:cxn ang="0">
                  <a:pos x="137" y="935"/>
                </a:cxn>
                <a:cxn ang="0">
                  <a:pos x="198" y="925"/>
                </a:cxn>
                <a:cxn ang="0">
                  <a:pos x="304" y="954"/>
                </a:cxn>
                <a:cxn ang="0">
                  <a:pos x="365" y="1009"/>
                </a:cxn>
                <a:cxn ang="0">
                  <a:pos x="410" y="1055"/>
                </a:cxn>
                <a:cxn ang="0">
                  <a:pos x="525" y="1053"/>
                </a:cxn>
                <a:cxn ang="0">
                  <a:pos x="620" y="1080"/>
                </a:cxn>
                <a:cxn ang="0">
                  <a:pos x="1069" y="1092"/>
                </a:cxn>
                <a:cxn ang="0">
                  <a:pos x="1019" y="1064"/>
                </a:cxn>
                <a:cxn ang="0">
                  <a:pos x="985" y="931"/>
                </a:cxn>
                <a:cxn ang="0">
                  <a:pos x="1066" y="923"/>
                </a:cxn>
                <a:cxn ang="0">
                  <a:pos x="1125" y="954"/>
                </a:cxn>
                <a:cxn ang="0">
                  <a:pos x="1185" y="998"/>
                </a:cxn>
                <a:cxn ang="0">
                  <a:pos x="1220" y="1032"/>
                </a:cxn>
                <a:cxn ang="0">
                  <a:pos x="1250" y="1095"/>
                </a:cxn>
                <a:cxn ang="0">
                  <a:pos x="1279" y="1217"/>
                </a:cxn>
                <a:cxn ang="0">
                  <a:pos x="1335" y="1200"/>
                </a:cxn>
                <a:cxn ang="0">
                  <a:pos x="1383" y="1141"/>
                </a:cxn>
                <a:cxn ang="0">
                  <a:pos x="1542" y="1035"/>
                </a:cxn>
                <a:cxn ang="0">
                  <a:pos x="1496" y="1031"/>
                </a:cxn>
                <a:cxn ang="0">
                  <a:pos x="1437" y="1021"/>
                </a:cxn>
                <a:cxn ang="0">
                  <a:pos x="1390" y="942"/>
                </a:cxn>
                <a:cxn ang="0">
                  <a:pos x="1350" y="885"/>
                </a:cxn>
                <a:cxn ang="0">
                  <a:pos x="1326" y="853"/>
                </a:cxn>
                <a:cxn ang="0">
                  <a:pos x="1304" y="810"/>
                </a:cxn>
                <a:cxn ang="0">
                  <a:pos x="1268" y="731"/>
                </a:cxn>
                <a:cxn ang="0">
                  <a:pos x="1216" y="683"/>
                </a:cxn>
                <a:cxn ang="0">
                  <a:pos x="1214" y="644"/>
                </a:cxn>
                <a:cxn ang="0">
                  <a:pos x="1296" y="609"/>
                </a:cxn>
                <a:cxn ang="0">
                  <a:pos x="1340" y="502"/>
                </a:cxn>
                <a:cxn ang="0">
                  <a:pos x="1313" y="429"/>
                </a:cxn>
                <a:cxn ang="0">
                  <a:pos x="1265" y="383"/>
                </a:cxn>
                <a:cxn ang="0">
                  <a:pos x="1167" y="292"/>
                </a:cxn>
                <a:cxn ang="0">
                  <a:pos x="1140" y="239"/>
                </a:cxn>
                <a:cxn ang="0">
                  <a:pos x="1092" y="201"/>
                </a:cxn>
                <a:cxn ang="0">
                  <a:pos x="937" y="188"/>
                </a:cxn>
                <a:cxn ang="0">
                  <a:pos x="861" y="92"/>
                </a:cxn>
                <a:cxn ang="0">
                  <a:pos x="830" y="6"/>
                </a:cxn>
                <a:cxn ang="0">
                  <a:pos x="779" y="26"/>
                </a:cxn>
                <a:cxn ang="0">
                  <a:pos x="764" y="63"/>
                </a:cxn>
                <a:cxn ang="0">
                  <a:pos x="672" y="77"/>
                </a:cxn>
                <a:cxn ang="0">
                  <a:pos x="643" y="89"/>
                </a:cxn>
                <a:cxn ang="0">
                  <a:pos x="626" y="128"/>
                </a:cxn>
                <a:cxn ang="0">
                  <a:pos x="534" y="167"/>
                </a:cxn>
                <a:cxn ang="0">
                  <a:pos x="439" y="141"/>
                </a:cxn>
                <a:cxn ang="0">
                  <a:pos x="408" y="128"/>
                </a:cxn>
                <a:cxn ang="0">
                  <a:pos x="376" y="95"/>
                </a:cxn>
              </a:cxnLst>
              <a:rect l="0" t="0" r="r" b="b"/>
              <a:pathLst>
                <a:path w="1556" h="1230">
                  <a:moveTo>
                    <a:pt x="349" y="84"/>
                  </a:moveTo>
                  <a:lnTo>
                    <a:pt x="343" y="86"/>
                  </a:lnTo>
                  <a:lnTo>
                    <a:pt x="338" y="89"/>
                  </a:lnTo>
                  <a:lnTo>
                    <a:pt x="331" y="95"/>
                  </a:lnTo>
                  <a:lnTo>
                    <a:pt x="327" y="101"/>
                  </a:lnTo>
                  <a:lnTo>
                    <a:pt x="315" y="101"/>
                  </a:lnTo>
                  <a:lnTo>
                    <a:pt x="312" y="106"/>
                  </a:lnTo>
                  <a:lnTo>
                    <a:pt x="310" y="112"/>
                  </a:lnTo>
                  <a:lnTo>
                    <a:pt x="305" y="113"/>
                  </a:lnTo>
                  <a:lnTo>
                    <a:pt x="302" y="115"/>
                  </a:lnTo>
                  <a:lnTo>
                    <a:pt x="300" y="118"/>
                  </a:lnTo>
                  <a:lnTo>
                    <a:pt x="299" y="123"/>
                  </a:lnTo>
                  <a:lnTo>
                    <a:pt x="288" y="128"/>
                  </a:lnTo>
                  <a:lnTo>
                    <a:pt x="288" y="138"/>
                  </a:lnTo>
                  <a:lnTo>
                    <a:pt x="282" y="142"/>
                  </a:lnTo>
                  <a:lnTo>
                    <a:pt x="276" y="144"/>
                  </a:lnTo>
                  <a:lnTo>
                    <a:pt x="276" y="155"/>
                  </a:lnTo>
                  <a:lnTo>
                    <a:pt x="271" y="161"/>
                  </a:lnTo>
                  <a:lnTo>
                    <a:pt x="260" y="161"/>
                  </a:lnTo>
                  <a:lnTo>
                    <a:pt x="259" y="163"/>
                  </a:lnTo>
                  <a:lnTo>
                    <a:pt x="255" y="165"/>
                  </a:lnTo>
                  <a:lnTo>
                    <a:pt x="251" y="167"/>
                  </a:lnTo>
                  <a:lnTo>
                    <a:pt x="245" y="169"/>
                  </a:lnTo>
                  <a:lnTo>
                    <a:pt x="234" y="171"/>
                  </a:lnTo>
                  <a:lnTo>
                    <a:pt x="226" y="172"/>
                  </a:lnTo>
                  <a:lnTo>
                    <a:pt x="221" y="178"/>
                  </a:lnTo>
                  <a:lnTo>
                    <a:pt x="221" y="182"/>
                  </a:lnTo>
                  <a:lnTo>
                    <a:pt x="221" y="185"/>
                  </a:lnTo>
                  <a:lnTo>
                    <a:pt x="218" y="188"/>
                  </a:lnTo>
                  <a:lnTo>
                    <a:pt x="215" y="189"/>
                  </a:lnTo>
                  <a:lnTo>
                    <a:pt x="215" y="224"/>
                  </a:lnTo>
                  <a:lnTo>
                    <a:pt x="213" y="263"/>
                  </a:lnTo>
                  <a:lnTo>
                    <a:pt x="211" y="303"/>
                  </a:lnTo>
                  <a:lnTo>
                    <a:pt x="211" y="338"/>
                  </a:lnTo>
                  <a:lnTo>
                    <a:pt x="208" y="339"/>
                  </a:lnTo>
                  <a:lnTo>
                    <a:pt x="207" y="342"/>
                  </a:lnTo>
                  <a:lnTo>
                    <a:pt x="206" y="344"/>
                  </a:lnTo>
                  <a:lnTo>
                    <a:pt x="205" y="347"/>
                  </a:lnTo>
                  <a:lnTo>
                    <a:pt x="205" y="355"/>
                  </a:lnTo>
                  <a:lnTo>
                    <a:pt x="205" y="361"/>
                  </a:lnTo>
                  <a:lnTo>
                    <a:pt x="203" y="361"/>
                  </a:lnTo>
                  <a:lnTo>
                    <a:pt x="200" y="363"/>
                  </a:lnTo>
                  <a:lnTo>
                    <a:pt x="199" y="365"/>
                  </a:lnTo>
                  <a:lnTo>
                    <a:pt x="198" y="367"/>
                  </a:lnTo>
                  <a:lnTo>
                    <a:pt x="196" y="375"/>
                  </a:lnTo>
                  <a:lnTo>
                    <a:pt x="195" y="386"/>
                  </a:lnTo>
                  <a:lnTo>
                    <a:pt x="195" y="412"/>
                  </a:lnTo>
                  <a:lnTo>
                    <a:pt x="196" y="442"/>
                  </a:lnTo>
                  <a:lnTo>
                    <a:pt x="202" y="499"/>
                  </a:lnTo>
                  <a:lnTo>
                    <a:pt x="205" y="527"/>
                  </a:lnTo>
                  <a:lnTo>
                    <a:pt x="211" y="529"/>
                  </a:lnTo>
                  <a:lnTo>
                    <a:pt x="215" y="532"/>
                  </a:lnTo>
                  <a:lnTo>
                    <a:pt x="218" y="544"/>
                  </a:lnTo>
                  <a:lnTo>
                    <a:pt x="221" y="555"/>
                  </a:lnTo>
                  <a:lnTo>
                    <a:pt x="225" y="557"/>
                  </a:lnTo>
                  <a:lnTo>
                    <a:pt x="231" y="563"/>
                  </a:lnTo>
                  <a:lnTo>
                    <a:pt x="233" y="566"/>
                  </a:lnTo>
                  <a:lnTo>
                    <a:pt x="236" y="568"/>
                  </a:lnTo>
                  <a:lnTo>
                    <a:pt x="240" y="570"/>
                  </a:lnTo>
                  <a:lnTo>
                    <a:pt x="243" y="572"/>
                  </a:lnTo>
                  <a:lnTo>
                    <a:pt x="246" y="597"/>
                  </a:lnTo>
                  <a:lnTo>
                    <a:pt x="252" y="631"/>
                  </a:lnTo>
                  <a:lnTo>
                    <a:pt x="254" y="649"/>
                  </a:lnTo>
                  <a:lnTo>
                    <a:pt x="257" y="666"/>
                  </a:lnTo>
                  <a:lnTo>
                    <a:pt x="260" y="683"/>
                  </a:lnTo>
                  <a:lnTo>
                    <a:pt x="260" y="699"/>
                  </a:lnTo>
                  <a:lnTo>
                    <a:pt x="254" y="708"/>
                  </a:lnTo>
                  <a:lnTo>
                    <a:pt x="248" y="721"/>
                  </a:lnTo>
                  <a:lnTo>
                    <a:pt x="245" y="721"/>
                  </a:lnTo>
                  <a:lnTo>
                    <a:pt x="241" y="724"/>
                  </a:lnTo>
                  <a:lnTo>
                    <a:pt x="238" y="728"/>
                  </a:lnTo>
                  <a:lnTo>
                    <a:pt x="237" y="731"/>
                  </a:lnTo>
                  <a:lnTo>
                    <a:pt x="232" y="737"/>
                  </a:lnTo>
                  <a:lnTo>
                    <a:pt x="221" y="737"/>
                  </a:lnTo>
                  <a:lnTo>
                    <a:pt x="219" y="741"/>
                  </a:lnTo>
                  <a:lnTo>
                    <a:pt x="216" y="743"/>
                  </a:lnTo>
                  <a:lnTo>
                    <a:pt x="212" y="746"/>
                  </a:lnTo>
                  <a:lnTo>
                    <a:pt x="206" y="747"/>
                  </a:lnTo>
                  <a:lnTo>
                    <a:pt x="195" y="748"/>
                  </a:lnTo>
                  <a:lnTo>
                    <a:pt x="188" y="748"/>
                  </a:lnTo>
                  <a:lnTo>
                    <a:pt x="180" y="752"/>
                  </a:lnTo>
                  <a:lnTo>
                    <a:pt x="163" y="762"/>
                  </a:lnTo>
                  <a:lnTo>
                    <a:pt x="144" y="771"/>
                  </a:lnTo>
                  <a:lnTo>
                    <a:pt x="132" y="776"/>
                  </a:lnTo>
                  <a:lnTo>
                    <a:pt x="127" y="781"/>
                  </a:lnTo>
                  <a:lnTo>
                    <a:pt x="127" y="784"/>
                  </a:lnTo>
                  <a:lnTo>
                    <a:pt x="125" y="786"/>
                  </a:lnTo>
                  <a:lnTo>
                    <a:pt x="123" y="788"/>
                  </a:lnTo>
                  <a:lnTo>
                    <a:pt x="121" y="789"/>
                  </a:lnTo>
                  <a:lnTo>
                    <a:pt x="116" y="791"/>
                  </a:lnTo>
                  <a:lnTo>
                    <a:pt x="110" y="792"/>
                  </a:lnTo>
                  <a:lnTo>
                    <a:pt x="108" y="797"/>
                  </a:lnTo>
                  <a:lnTo>
                    <a:pt x="104" y="800"/>
                  </a:lnTo>
                  <a:lnTo>
                    <a:pt x="100" y="805"/>
                  </a:lnTo>
                  <a:lnTo>
                    <a:pt x="96" y="808"/>
                  </a:lnTo>
                  <a:lnTo>
                    <a:pt x="91" y="810"/>
                  </a:lnTo>
                  <a:lnTo>
                    <a:pt x="87" y="813"/>
                  </a:lnTo>
                  <a:lnTo>
                    <a:pt x="81" y="814"/>
                  </a:lnTo>
                  <a:lnTo>
                    <a:pt x="77" y="815"/>
                  </a:lnTo>
                  <a:lnTo>
                    <a:pt x="77" y="822"/>
                  </a:lnTo>
                  <a:lnTo>
                    <a:pt x="77" y="825"/>
                  </a:lnTo>
                  <a:lnTo>
                    <a:pt x="75" y="827"/>
                  </a:lnTo>
                  <a:lnTo>
                    <a:pt x="74" y="827"/>
                  </a:lnTo>
                  <a:lnTo>
                    <a:pt x="73" y="827"/>
                  </a:lnTo>
                  <a:lnTo>
                    <a:pt x="72" y="827"/>
                  </a:lnTo>
                  <a:lnTo>
                    <a:pt x="72" y="828"/>
                  </a:lnTo>
                  <a:lnTo>
                    <a:pt x="71" y="832"/>
                  </a:lnTo>
                  <a:lnTo>
                    <a:pt x="63" y="834"/>
                  </a:lnTo>
                  <a:lnTo>
                    <a:pt x="55" y="837"/>
                  </a:lnTo>
                  <a:lnTo>
                    <a:pt x="55" y="848"/>
                  </a:lnTo>
                  <a:lnTo>
                    <a:pt x="51" y="849"/>
                  </a:lnTo>
                  <a:lnTo>
                    <a:pt x="48" y="852"/>
                  </a:lnTo>
                  <a:lnTo>
                    <a:pt x="45" y="855"/>
                  </a:lnTo>
                  <a:lnTo>
                    <a:pt x="44" y="859"/>
                  </a:lnTo>
                  <a:lnTo>
                    <a:pt x="40" y="859"/>
                  </a:lnTo>
                  <a:lnTo>
                    <a:pt x="36" y="863"/>
                  </a:lnTo>
                  <a:lnTo>
                    <a:pt x="34" y="866"/>
                  </a:lnTo>
                  <a:lnTo>
                    <a:pt x="33" y="871"/>
                  </a:lnTo>
                  <a:lnTo>
                    <a:pt x="19" y="884"/>
                  </a:lnTo>
                  <a:lnTo>
                    <a:pt x="5" y="897"/>
                  </a:lnTo>
                  <a:lnTo>
                    <a:pt x="0" y="903"/>
                  </a:lnTo>
                  <a:lnTo>
                    <a:pt x="0" y="917"/>
                  </a:lnTo>
                  <a:lnTo>
                    <a:pt x="0" y="931"/>
                  </a:lnTo>
                  <a:lnTo>
                    <a:pt x="11" y="936"/>
                  </a:lnTo>
                  <a:lnTo>
                    <a:pt x="13" y="942"/>
                  </a:lnTo>
                  <a:lnTo>
                    <a:pt x="16" y="948"/>
                  </a:lnTo>
                  <a:lnTo>
                    <a:pt x="116" y="948"/>
                  </a:lnTo>
                  <a:lnTo>
                    <a:pt x="127" y="936"/>
                  </a:lnTo>
                  <a:lnTo>
                    <a:pt x="132" y="936"/>
                  </a:lnTo>
                  <a:lnTo>
                    <a:pt x="137" y="935"/>
                  </a:lnTo>
                  <a:lnTo>
                    <a:pt x="140" y="935"/>
                  </a:lnTo>
                  <a:lnTo>
                    <a:pt x="141" y="934"/>
                  </a:lnTo>
                  <a:lnTo>
                    <a:pt x="144" y="933"/>
                  </a:lnTo>
                  <a:lnTo>
                    <a:pt x="144" y="931"/>
                  </a:lnTo>
                  <a:lnTo>
                    <a:pt x="177" y="931"/>
                  </a:lnTo>
                  <a:lnTo>
                    <a:pt x="178" y="930"/>
                  </a:lnTo>
                  <a:lnTo>
                    <a:pt x="180" y="928"/>
                  </a:lnTo>
                  <a:lnTo>
                    <a:pt x="184" y="926"/>
                  </a:lnTo>
                  <a:lnTo>
                    <a:pt x="188" y="926"/>
                  </a:lnTo>
                  <a:lnTo>
                    <a:pt x="198" y="925"/>
                  </a:lnTo>
                  <a:lnTo>
                    <a:pt x="205" y="925"/>
                  </a:lnTo>
                  <a:lnTo>
                    <a:pt x="217" y="926"/>
                  </a:lnTo>
                  <a:lnTo>
                    <a:pt x="232" y="929"/>
                  </a:lnTo>
                  <a:lnTo>
                    <a:pt x="246" y="930"/>
                  </a:lnTo>
                  <a:lnTo>
                    <a:pt x="260" y="931"/>
                  </a:lnTo>
                  <a:lnTo>
                    <a:pt x="271" y="942"/>
                  </a:lnTo>
                  <a:lnTo>
                    <a:pt x="286" y="945"/>
                  </a:lnTo>
                  <a:lnTo>
                    <a:pt x="299" y="948"/>
                  </a:lnTo>
                  <a:lnTo>
                    <a:pt x="300" y="951"/>
                  </a:lnTo>
                  <a:lnTo>
                    <a:pt x="304" y="954"/>
                  </a:lnTo>
                  <a:lnTo>
                    <a:pt x="307" y="955"/>
                  </a:lnTo>
                  <a:lnTo>
                    <a:pt x="308" y="958"/>
                  </a:lnTo>
                  <a:lnTo>
                    <a:pt x="309" y="961"/>
                  </a:lnTo>
                  <a:lnTo>
                    <a:pt x="310" y="964"/>
                  </a:lnTo>
                  <a:lnTo>
                    <a:pt x="318" y="968"/>
                  </a:lnTo>
                  <a:lnTo>
                    <a:pt x="329" y="976"/>
                  </a:lnTo>
                  <a:lnTo>
                    <a:pt x="341" y="983"/>
                  </a:lnTo>
                  <a:lnTo>
                    <a:pt x="349" y="987"/>
                  </a:lnTo>
                  <a:lnTo>
                    <a:pt x="357" y="998"/>
                  </a:lnTo>
                  <a:lnTo>
                    <a:pt x="365" y="1009"/>
                  </a:lnTo>
                  <a:lnTo>
                    <a:pt x="370" y="1012"/>
                  </a:lnTo>
                  <a:lnTo>
                    <a:pt x="377" y="1022"/>
                  </a:lnTo>
                  <a:lnTo>
                    <a:pt x="380" y="1028"/>
                  </a:lnTo>
                  <a:lnTo>
                    <a:pt x="385" y="1032"/>
                  </a:lnTo>
                  <a:lnTo>
                    <a:pt x="389" y="1035"/>
                  </a:lnTo>
                  <a:lnTo>
                    <a:pt x="392" y="1036"/>
                  </a:lnTo>
                  <a:lnTo>
                    <a:pt x="395" y="1040"/>
                  </a:lnTo>
                  <a:lnTo>
                    <a:pt x="398" y="1046"/>
                  </a:lnTo>
                  <a:lnTo>
                    <a:pt x="404" y="1050"/>
                  </a:lnTo>
                  <a:lnTo>
                    <a:pt x="410" y="1055"/>
                  </a:lnTo>
                  <a:lnTo>
                    <a:pt x="423" y="1064"/>
                  </a:lnTo>
                  <a:lnTo>
                    <a:pt x="432" y="1069"/>
                  </a:lnTo>
                  <a:lnTo>
                    <a:pt x="493" y="1069"/>
                  </a:lnTo>
                  <a:lnTo>
                    <a:pt x="493" y="1066"/>
                  </a:lnTo>
                  <a:lnTo>
                    <a:pt x="496" y="1065"/>
                  </a:lnTo>
                  <a:lnTo>
                    <a:pt x="500" y="1064"/>
                  </a:lnTo>
                  <a:lnTo>
                    <a:pt x="504" y="1064"/>
                  </a:lnTo>
                  <a:lnTo>
                    <a:pt x="506" y="1058"/>
                  </a:lnTo>
                  <a:lnTo>
                    <a:pt x="510" y="1053"/>
                  </a:lnTo>
                  <a:lnTo>
                    <a:pt x="525" y="1053"/>
                  </a:lnTo>
                  <a:lnTo>
                    <a:pt x="547" y="1053"/>
                  </a:lnTo>
                  <a:lnTo>
                    <a:pt x="557" y="1054"/>
                  </a:lnTo>
                  <a:lnTo>
                    <a:pt x="565" y="1055"/>
                  </a:lnTo>
                  <a:lnTo>
                    <a:pt x="569" y="1057"/>
                  </a:lnTo>
                  <a:lnTo>
                    <a:pt x="572" y="1059"/>
                  </a:lnTo>
                  <a:lnTo>
                    <a:pt x="574" y="1061"/>
                  </a:lnTo>
                  <a:lnTo>
                    <a:pt x="576" y="1064"/>
                  </a:lnTo>
                  <a:lnTo>
                    <a:pt x="589" y="1067"/>
                  </a:lnTo>
                  <a:lnTo>
                    <a:pt x="603" y="1069"/>
                  </a:lnTo>
                  <a:lnTo>
                    <a:pt x="620" y="1080"/>
                  </a:lnTo>
                  <a:lnTo>
                    <a:pt x="637" y="1092"/>
                  </a:lnTo>
                  <a:lnTo>
                    <a:pt x="687" y="1093"/>
                  </a:lnTo>
                  <a:lnTo>
                    <a:pt x="741" y="1094"/>
                  </a:lnTo>
                  <a:lnTo>
                    <a:pt x="795" y="1097"/>
                  </a:lnTo>
                  <a:lnTo>
                    <a:pt x="850" y="1099"/>
                  </a:lnTo>
                  <a:lnTo>
                    <a:pt x="906" y="1103"/>
                  </a:lnTo>
                  <a:lnTo>
                    <a:pt x="962" y="1106"/>
                  </a:lnTo>
                  <a:lnTo>
                    <a:pt x="1015" y="1107"/>
                  </a:lnTo>
                  <a:lnTo>
                    <a:pt x="1069" y="1108"/>
                  </a:lnTo>
                  <a:lnTo>
                    <a:pt x="1069" y="1092"/>
                  </a:lnTo>
                  <a:lnTo>
                    <a:pt x="1064" y="1090"/>
                  </a:lnTo>
                  <a:lnTo>
                    <a:pt x="1061" y="1086"/>
                  </a:lnTo>
                  <a:lnTo>
                    <a:pt x="1059" y="1083"/>
                  </a:lnTo>
                  <a:lnTo>
                    <a:pt x="1058" y="1080"/>
                  </a:lnTo>
                  <a:lnTo>
                    <a:pt x="1049" y="1078"/>
                  </a:lnTo>
                  <a:lnTo>
                    <a:pt x="1037" y="1075"/>
                  </a:lnTo>
                  <a:lnTo>
                    <a:pt x="1030" y="1072"/>
                  </a:lnTo>
                  <a:lnTo>
                    <a:pt x="1024" y="1069"/>
                  </a:lnTo>
                  <a:lnTo>
                    <a:pt x="1020" y="1066"/>
                  </a:lnTo>
                  <a:lnTo>
                    <a:pt x="1019" y="1064"/>
                  </a:lnTo>
                  <a:lnTo>
                    <a:pt x="1008" y="1064"/>
                  </a:lnTo>
                  <a:lnTo>
                    <a:pt x="1002" y="1058"/>
                  </a:lnTo>
                  <a:lnTo>
                    <a:pt x="996" y="1053"/>
                  </a:lnTo>
                  <a:lnTo>
                    <a:pt x="994" y="1046"/>
                  </a:lnTo>
                  <a:lnTo>
                    <a:pt x="987" y="1036"/>
                  </a:lnTo>
                  <a:lnTo>
                    <a:pt x="981" y="1027"/>
                  </a:lnTo>
                  <a:lnTo>
                    <a:pt x="974" y="1020"/>
                  </a:lnTo>
                  <a:lnTo>
                    <a:pt x="974" y="942"/>
                  </a:lnTo>
                  <a:lnTo>
                    <a:pt x="980" y="936"/>
                  </a:lnTo>
                  <a:lnTo>
                    <a:pt x="985" y="931"/>
                  </a:lnTo>
                  <a:lnTo>
                    <a:pt x="995" y="930"/>
                  </a:lnTo>
                  <a:lnTo>
                    <a:pt x="1009" y="929"/>
                  </a:lnTo>
                  <a:lnTo>
                    <a:pt x="1022" y="926"/>
                  </a:lnTo>
                  <a:lnTo>
                    <a:pt x="1035" y="925"/>
                  </a:lnTo>
                  <a:lnTo>
                    <a:pt x="1037" y="923"/>
                  </a:lnTo>
                  <a:lnTo>
                    <a:pt x="1038" y="921"/>
                  </a:lnTo>
                  <a:lnTo>
                    <a:pt x="1041" y="920"/>
                  </a:lnTo>
                  <a:lnTo>
                    <a:pt x="1044" y="920"/>
                  </a:lnTo>
                  <a:lnTo>
                    <a:pt x="1054" y="920"/>
                  </a:lnTo>
                  <a:lnTo>
                    <a:pt x="1066" y="923"/>
                  </a:lnTo>
                  <a:lnTo>
                    <a:pt x="1077" y="926"/>
                  </a:lnTo>
                  <a:lnTo>
                    <a:pt x="1087" y="930"/>
                  </a:lnTo>
                  <a:lnTo>
                    <a:pt x="1094" y="934"/>
                  </a:lnTo>
                  <a:lnTo>
                    <a:pt x="1097" y="936"/>
                  </a:lnTo>
                  <a:lnTo>
                    <a:pt x="1107" y="940"/>
                  </a:lnTo>
                  <a:lnTo>
                    <a:pt x="1118" y="942"/>
                  </a:lnTo>
                  <a:lnTo>
                    <a:pt x="1119" y="945"/>
                  </a:lnTo>
                  <a:lnTo>
                    <a:pt x="1120" y="949"/>
                  </a:lnTo>
                  <a:lnTo>
                    <a:pt x="1123" y="951"/>
                  </a:lnTo>
                  <a:lnTo>
                    <a:pt x="1125" y="954"/>
                  </a:lnTo>
                  <a:lnTo>
                    <a:pt x="1131" y="961"/>
                  </a:lnTo>
                  <a:lnTo>
                    <a:pt x="1138" y="967"/>
                  </a:lnTo>
                  <a:lnTo>
                    <a:pt x="1146" y="972"/>
                  </a:lnTo>
                  <a:lnTo>
                    <a:pt x="1154" y="977"/>
                  </a:lnTo>
                  <a:lnTo>
                    <a:pt x="1159" y="982"/>
                  </a:lnTo>
                  <a:lnTo>
                    <a:pt x="1163" y="987"/>
                  </a:lnTo>
                  <a:lnTo>
                    <a:pt x="1171" y="989"/>
                  </a:lnTo>
                  <a:lnTo>
                    <a:pt x="1179" y="992"/>
                  </a:lnTo>
                  <a:lnTo>
                    <a:pt x="1181" y="996"/>
                  </a:lnTo>
                  <a:lnTo>
                    <a:pt x="1185" y="998"/>
                  </a:lnTo>
                  <a:lnTo>
                    <a:pt x="1187" y="1000"/>
                  </a:lnTo>
                  <a:lnTo>
                    <a:pt x="1188" y="1002"/>
                  </a:lnTo>
                  <a:lnTo>
                    <a:pt x="1190" y="1005"/>
                  </a:lnTo>
                  <a:lnTo>
                    <a:pt x="1191" y="1009"/>
                  </a:lnTo>
                  <a:lnTo>
                    <a:pt x="1198" y="1011"/>
                  </a:lnTo>
                  <a:lnTo>
                    <a:pt x="1207" y="1015"/>
                  </a:lnTo>
                  <a:lnTo>
                    <a:pt x="1213" y="1020"/>
                  </a:lnTo>
                  <a:lnTo>
                    <a:pt x="1213" y="1030"/>
                  </a:lnTo>
                  <a:lnTo>
                    <a:pt x="1216" y="1031"/>
                  </a:lnTo>
                  <a:lnTo>
                    <a:pt x="1220" y="1032"/>
                  </a:lnTo>
                  <a:lnTo>
                    <a:pt x="1221" y="1035"/>
                  </a:lnTo>
                  <a:lnTo>
                    <a:pt x="1223" y="1036"/>
                  </a:lnTo>
                  <a:lnTo>
                    <a:pt x="1226" y="1040"/>
                  </a:lnTo>
                  <a:lnTo>
                    <a:pt x="1230" y="1041"/>
                  </a:lnTo>
                  <a:lnTo>
                    <a:pt x="1232" y="1058"/>
                  </a:lnTo>
                  <a:lnTo>
                    <a:pt x="1235" y="1075"/>
                  </a:lnTo>
                  <a:lnTo>
                    <a:pt x="1246" y="1080"/>
                  </a:lnTo>
                  <a:lnTo>
                    <a:pt x="1246" y="1085"/>
                  </a:lnTo>
                  <a:lnTo>
                    <a:pt x="1248" y="1089"/>
                  </a:lnTo>
                  <a:lnTo>
                    <a:pt x="1250" y="1095"/>
                  </a:lnTo>
                  <a:lnTo>
                    <a:pt x="1252" y="1099"/>
                  </a:lnTo>
                  <a:lnTo>
                    <a:pt x="1258" y="1108"/>
                  </a:lnTo>
                  <a:lnTo>
                    <a:pt x="1262" y="1114"/>
                  </a:lnTo>
                  <a:lnTo>
                    <a:pt x="1263" y="1125"/>
                  </a:lnTo>
                  <a:lnTo>
                    <a:pt x="1265" y="1138"/>
                  </a:lnTo>
                  <a:lnTo>
                    <a:pt x="1268" y="1154"/>
                  </a:lnTo>
                  <a:lnTo>
                    <a:pt x="1271" y="1170"/>
                  </a:lnTo>
                  <a:lnTo>
                    <a:pt x="1274" y="1186"/>
                  </a:lnTo>
                  <a:lnTo>
                    <a:pt x="1277" y="1202"/>
                  </a:lnTo>
                  <a:lnTo>
                    <a:pt x="1279" y="1217"/>
                  </a:lnTo>
                  <a:lnTo>
                    <a:pt x="1279" y="1230"/>
                  </a:lnTo>
                  <a:lnTo>
                    <a:pt x="1307" y="1230"/>
                  </a:lnTo>
                  <a:lnTo>
                    <a:pt x="1308" y="1227"/>
                  </a:lnTo>
                  <a:lnTo>
                    <a:pt x="1310" y="1226"/>
                  </a:lnTo>
                  <a:lnTo>
                    <a:pt x="1313" y="1224"/>
                  </a:lnTo>
                  <a:lnTo>
                    <a:pt x="1318" y="1224"/>
                  </a:lnTo>
                  <a:lnTo>
                    <a:pt x="1322" y="1215"/>
                  </a:lnTo>
                  <a:lnTo>
                    <a:pt x="1329" y="1207"/>
                  </a:lnTo>
                  <a:lnTo>
                    <a:pt x="1332" y="1203"/>
                  </a:lnTo>
                  <a:lnTo>
                    <a:pt x="1335" y="1200"/>
                  </a:lnTo>
                  <a:lnTo>
                    <a:pt x="1338" y="1198"/>
                  </a:lnTo>
                  <a:lnTo>
                    <a:pt x="1340" y="1197"/>
                  </a:lnTo>
                  <a:lnTo>
                    <a:pt x="1340" y="1185"/>
                  </a:lnTo>
                  <a:lnTo>
                    <a:pt x="1346" y="1180"/>
                  </a:lnTo>
                  <a:lnTo>
                    <a:pt x="1351" y="1174"/>
                  </a:lnTo>
                  <a:lnTo>
                    <a:pt x="1354" y="1173"/>
                  </a:lnTo>
                  <a:lnTo>
                    <a:pt x="1358" y="1170"/>
                  </a:lnTo>
                  <a:lnTo>
                    <a:pt x="1363" y="1165"/>
                  </a:lnTo>
                  <a:lnTo>
                    <a:pt x="1369" y="1159"/>
                  </a:lnTo>
                  <a:lnTo>
                    <a:pt x="1383" y="1141"/>
                  </a:lnTo>
                  <a:lnTo>
                    <a:pt x="1397" y="1121"/>
                  </a:lnTo>
                  <a:lnTo>
                    <a:pt x="1425" y="1082"/>
                  </a:lnTo>
                  <a:lnTo>
                    <a:pt x="1440" y="1058"/>
                  </a:lnTo>
                  <a:lnTo>
                    <a:pt x="1456" y="1058"/>
                  </a:lnTo>
                  <a:lnTo>
                    <a:pt x="1473" y="1056"/>
                  </a:lnTo>
                  <a:lnTo>
                    <a:pt x="1489" y="1054"/>
                  </a:lnTo>
                  <a:lnTo>
                    <a:pt x="1503" y="1050"/>
                  </a:lnTo>
                  <a:lnTo>
                    <a:pt x="1517" y="1046"/>
                  </a:lnTo>
                  <a:lnTo>
                    <a:pt x="1530" y="1040"/>
                  </a:lnTo>
                  <a:lnTo>
                    <a:pt x="1542" y="1035"/>
                  </a:lnTo>
                  <a:lnTo>
                    <a:pt x="1556" y="1028"/>
                  </a:lnTo>
                  <a:lnTo>
                    <a:pt x="1540" y="1025"/>
                  </a:lnTo>
                  <a:lnTo>
                    <a:pt x="1522" y="1021"/>
                  </a:lnTo>
                  <a:lnTo>
                    <a:pt x="1514" y="1021"/>
                  </a:lnTo>
                  <a:lnTo>
                    <a:pt x="1507" y="1022"/>
                  </a:lnTo>
                  <a:lnTo>
                    <a:pt x="1504" y="1024"/>
                  </a:lnTo>
                  <a:lnTo>
                    <a:pt x="1502" y="1026"/>
                  </a:lnTo>
                  <a:lnTo>
                    <a:pt x="1501" y="1028"/>
                  </a:lnTo>
                  <a:lnTo>
                    <a:pt x="1501" y="1030"/>
                  </a:lnTo>
                  <a:lnTo>
                    <a:pt x="1496" y="1031"/>
                  </a:lnTo>
                  <a:lnTo>
                    <a:pt x="1493" y="1031"/>
                  </a:lnTo>
                  <a:lnTo>
                    <a:pt x="1491" y="1034"/>
                  </a:lnTo>
                  <a:lnTo>
                    <a:pt x="1490" y="1036"/>
                  </a:lnTo>
                  <a:lnTo>
                    <a:pt x="1481" y="1036"/>
                  </a:lnTo>
                  <a:lnTo>
                    <a:pt x="1470" y="1036"/>
                  </a:lnTo>
                  <a:lnTo>
                    <a:pt x="1460" y="1036"/>
                  </a:lnTo>
                  <a:lnTo>
                    <a:pt x="1451" y="1036"/>
                  </a:lnTo>
                  <a:lnTo>
                    <a:pt x="1445" y="1025"/>
                  </a:lnTo>
                  <a:lnTo>
                    <a:pt x="1441" y="1025"/>
                  </a:lnTo>
                  <a:lnTo>
                    <a:pt x="1437" y="1021"/>
                  </a:lnTo>
                  <a:lnTo>
                    <a:pt x="1433" y="1018"/>
                  </a:lnTo>
                  <a:lnTo>
                    <a:pt x="1428" y="1012"/>
                  </a:lnTo>
                  <a:lnTo>
                    <a:pt x="1421" y="999"/>
                  </a:lnTo>
                  <a:lnTo>
                    <a:pt x="1414" y="983"/>
                  </a:lnTo>
                  <a:lnTo>
                    <a:pt x="1406" y="969"/>
                  </a:lnTo>
                  <a:lnTo>
                    <a:pt x="1400" y="955"/>
                  </a:lnTo>
                  <a:lnTo>
                    <a:pt x="1397" y="950"/>
                  </a:lnTo>
                  <a:lnTo>
                    <a:pt x="1395" y="945"/>
                  </a:lnTo>
                  <a:lnTo>
                    <a:pt x="1392" y="943"/>
                  </a:lnTo>
                  <a:lnTo>
                    <a:pt x="1390" y="942"/>
                  </a:lnTo>
                  <a:lnTo>
                    <a:pt x="1390" y="931"/>
                  </a:lnTo>
                  <a:lnTo>
                    <a:pt x="1385" y="929"/>
                  </a:lnTo>
                  <a:lnTo>
                    <a:pt x="1379" y="925"/>
                  </a:lnTo>
                  <a:lnTo>
                    <a:pt x="1379" y="914"/>
                  </a:lnTo>
                  <a:lnTo>
                    <a:pt x="1374" y="909"/>
                  </a:lnTo>
                  <a:lnTo>
                    <a:pt x="1369" y="907"/>
                  </a:lnTo>
                  <a:lnTo>
                    <a:pt x="1365" y="904"/>
                  </a:lnTo>
                  <a:lnTo>
                    <a:pt x="1361" y="900"/>
                  </a:lnTo>
                  <a:lnTo>
                    <a:pt x="1357" y="895"/>
                  </a:lnTo>
                  <a:lnTo>
                    <a:pt x="1350" y="885"/>
                  </a:lnTo>
                  <a:lnTo>
                    <a:pt x="1346" y="881"/>
                  </a:lnTo>
                  <a:lnTo>
                    <a:pt x="1344" y="876"/>
                  </a:lnTo>
                  <a:lnTo>
                    <a:pt x="1339" y="871"/>
                  </a:lnTo>
                  <a:lnTo>
                    <a:pt x="1334" y="866"/>
                  </a:lnTo>
                  <a:lnTo>
                    <a:pt x="1329" y="865"/>
                  </a:lnTo>
                  <a:lnTo>
                    <a:pt x="1329" y="858"/>
                  </a:lnTo>
                  <a:lnTo>
                    <a:pt x="1328" y="854"/>
                  </a:lnTo>
                  <a:lnTo>
                    <a:pt x="1327" y="853"/>
                  </a:lnTo>
                  <a:lnTo>
                    <a:pt x="1326" y="852"/>
                  </a:lnTo>
                  <a:lnTo>
                    <a:pt x="1326" y="853"/>
                  </a:lnTo>
                  <a:lnTo>
                    <a:pt x="1325" y="852"/>
                  </a:lnTo>
                  <a:lnTo>
                    <a:pt x="1323" y="851"/>
                  </a:lnTo>
                  <a:lnTo>
                    <a:pt x="1323" y="848"/>
                  </a:lnTo>
                  <a:lnTo>
                    <a:pt x="1312" y="843"/>
                  </a:lnTo>
                  <a:lnTo>
                    <a:pt x="1312" y="838"/>
                  </a:lnTo>
                  <a:lnTo>
                    <a:pt x="1311" y="835"/>
                  </a:lnTo>
                  <a:lnTo>
                    <a:pt x="1310" y="833"/>
                  </a:lnTo>
                  <a:lnTo>
                    <a:pt x="1307" y="832"/>
                  </a:lnTo>
                  <a:lnTo>
                    <a:pt x="1306" y="822"/>
                  </a:lnTo>
                  <a:lnTo>
                    <a:pt x="1304" y="810"/>
                  </a:lnTo>
                  <a:lnTo>
                    <a:pt x="1301" y="800"/>
                  </a:lnTo>
                  <a:lnTo>
                    <a:pt x="1299" y="790"/>
                  </a:lnTo>
                  <a:lnTo>
                    <a:pt x="1296" y="779"/>
                  </a:lnTo>
                  <a:lnTo>
                    <a:pt x="1293" y="769"/>
                  </a:lnTo>
                  <a:lnTo>
                    <a:pt x="1291" y="759"/>
                  </a:lnTo>
                  <a:lnTo>
                    <a:pt x="1290" y="748"/>
                  </a:lnTo>
                  <a:lnTo>
                    <a:pt x="1284" y="746"/>
                  </a:lnTo>
                  <a:lnTo>
                    <a:pt x="1279" y="742"/>
                  </a:lnTo>
                  <a:lnTo>
                    <a:pt x="1273" y="737"/>
                  </a:lnTo>
                  <a:lnTo>
                    <a:pt x="1268" y="731"/>
                  </a:lnTo>
                  <a:lnTo>
                    <a:pt x="1268" y="721"/>
                  </a:lnTo>
                  <a:lnTo>
                    <a:pt x="1262" y="715"/>
                  </a:lnTo>
                  <a:lnTo>
                    <a:pt x="1256" y="710"/>
                  </a:lnTo>
                  <a:lnTo>
                    <a:pt x="1246" y="710"/>
                  </a:lnTo>
                  <a:lnTo>
                    <a:pt x="1241" y="699"/>
                  </a:lnTo>
                  <a:lnTo>
                    <a:pt x="1235" y="693"/>
                  </a:lnTo>
                  <a:lnTo>
                    <a:pt x="1224" y="693"/>
                  </a:lnTo>
                  <a:lnTo>
                    <a:pt x="1223" y="689"/>
                  </a:lnTo>
                  <a:lnTo>
                    <a:pt x="1221" y="685"/>
                  </a:lnTo>
                  <a:lnTo>
                    <a:pt x="1216" y="683"/>
                  </a:lnTo>
                  <a:lnTo>
                    <a:pt x="1213" y="682"/>
                  </a:lnTo>
                  <a:lnTo>
                    <a:pt x="1210" y="676"/>
                  </a:lnTo>
                  <a:lnTo>
                    <a:pt x="1207" y="671"/>
                  </a:lnTo>
                  <a:lnTo>
                    <a:pt x="1194" y="665"/>
                  </a:lnTo>
                  <a:lnTo>
                    <a:pt x="1185" y="660"/>
                  </a:lnTo>
                  <a:lnTo>
                    <a:pt x="1187" y="657"/>
                  </a:lnTo>
                  <a:lnTo>
                    <a:pt x="1195" y="654"/>
                  </a:lnTo>
                  <a:lnTo>
                    <a:pt x="1204" y="651"/>
                  </a:lnTo>
                  <a:lnTo>
                    <a:pt x="1213" y="649"/>
                  </a:lnTo>
                  <a:lnTo>
                    <a:pt x="1214" y="644"/>
                  </a:lnTo>
                  <a:lnTo>
                    <a:pt x="1219" y="641"/>
                  </a:lnTo>
                  <a:lnTo>
                    <a:pt x="1222" y="638"/>
                  </a:lnTo>
                  <a:lnTo>
                    <a:pt x="1224" y="637"/>
                  </a:lnTo>
                  <a:lnTo>
                    <a:pt x="1224" y="633"/>
                  </a:lnTo>
                  <a:lnTo>
                    <a:pt x="1224" y="630"/>
                  </a:lnTo>
                  <a:lnTo>
                    <a:pt x="1226" y="627"/>
                  </a:lnTo>
                  <a:lnTo>
                    <a:pt x="1230" y="626"/>
                  </a:lnTo>
                  <a:lnTo>
                    <a:pt x="1230" y="618"/>
                  </a:lnTo>
                  <a:lnTo>
                    <a:pt x="1230" y="609"/>
                  </a:lnTo>
                  <a:lnTo>
                    <a:pt x="1296" y="609"/>
                  </a:lnTo>
                  <a:lnTo>
                    <a:pt x="1296" y="560"/>
                  </a:lnTo>
                  <a:lnTo>
                    <a:pt x="1301" y="551"/>
                  </a:lnTo>
                  <a:lnTo>
                    <a:pt x="1307" y="538"/>
                  </a:lnTo>
                  <a:lnTo>
                    <a:pt x="1318" y="538"/>
                  </a:lnTo>
                  <a:lnTo>
                    <a:pt x="1323" y="532"/>
                  </a:lnTo>
                  <a:lnTo>
                    <a:pt x="1329" y="527"/>
                  </a:lnTo>
                  <a:lnTo>
                    <a:pt x="1335" y="521"/>
                  </a:lnTo>
                  <a:lnTo>
                    <a:pt x="1340" y="516"/>
                  </a:lnTo>
                  <a:lnTo>
                    <a:pt x="1340" y="510"/>
                  </a:lnTo>
                  <a:lnTo>
                    <a:pt x="1340" y="502"/>
                  </a:lnTo>
                  <a:lnTo>
                    <a:pt x="1341" y="499"/>
                  </a:lnTo>
                  <a:lnTo>
                    <a:pt x="1342" y="497"/>
                  </a:lnTo>
                  <a:lnTo>
                    <a:pt x="1344" y="494"/>
                  </a:lnTo>
                  <a:lnTo>
                    <a:pt x="1346" y="493"/>
                  </a:lnTo>
                  <a:lnTo>
                    <a:pt x="1346" y="449"/>
                  </a:lnTo>
                  <a:lnTo>
                    <a:pt x="1335" y="443"/>
                  </a:lnTo>
                  <a:lnTo>
                    <a:pt x="1331" y="438"/>
                  </a:lnTo>
                  <a:lnTo>
                    <a:pt x="1329" y="433"/>
                  </a:lnTo>
                  <a:lnTo>
                    <a:pt x="1318" y="433"/>
                  </a:lnTo>
                  <a:lnTo>
                    <a:pt x="1313" y="429"/>
                  </a:lnTo>
                  <a:lnTo>
                    <a:pt x="1310" y="424"/>
                  </a:lnTo>
                  <a:lnTo>
                    <a:pt x="1308" y="420"/>
                  </a:lnTo>
                  <a:lnTo>
                    <a:pt x="1307" y="416"/>
                  </a:lnTo>
                  <a:lnTo>
                    <a:pt x="1296" y="411"/>
                  </a:lnTo>
                  <a:lnTo>
                    <a:pt x="1284" y="405"/>
                  </a:lnTo>
                  <a:lnTo>
                    <a:pt x="1283" y="401"/>
                  </a:lnTo>
                  <a:lnTo>
                    <a:pt x="1280" y="396"/>
                  </a:lnTo>
                  <a:lnTo>
                    <a:pt x="1275" y="392"/>
                  </a:lnTo>
                  <a:lnTo>
                    <a:pt x="1271" y="387"/>
                  </a:lnTo>
                  <a:lnTo>
                    <a:pt x="1265" y="383"/>
                  </a:lnTo>
                  <a:lnTo>
                    <a:pt x="1261" y="377"/>
                  </a:lnTo>
                  <a:lnTo>
                    <a:pt x="1258" y="372"/>
                  </a:lnTo>
                  <a:lnTo>
                    <a:pt x="1256" y="366"/>
                  </a:lnTo>
                  <a:lnTo>
                    <a:pt x="1246" y="359"/>
                  </a:lnTo>
                  <a:lnTo>
                    <a:pt x="1227" y="344"/>
                  </a:lnTo>
                  <a:lnTo>
                    <a:pt x="1210" y="328"/>
                  </a:lnTo>
                  <a:lnTo>
                    <a:pt x="1202" y="322"/>
                  </a:lnTo>
                  <a:lnTo>
                    <a:pt x="1185" y="310"/>
                  </a:lnTo>
                  <a:lnTo>
                    <a:pt x="1168" y="299"/>
                  </a:lnTo>
                  <a:lnTo>
                    <a:pt x="1167" y="292"/>
                  </a:lnTo>
                  <a:lnTo>
                    <a:pt x="1165" y="287"/>
                  </a:lnTo>
                  <a:lnTo>
                    <a:pt x="1162" y="281"/>
                  </a:lnTo>
                  <a:lnTo>
                    <a:pt x="1157" y="278"/>
                  </a:lnTo>
                  <a:lnTo>
                    <a:pt x="1157" y="267"/>
                  </a:lnTo>
                  <a:lnTo>
                    <a:pt x="1146" y="261"/>
                  </a:lnTo>
                  <a:lnTo>
                    <a:pt x="1146" y="250"/>
                  </a:lnTo>
                  <a:lnTo>
                    <a:pt x="1143" y="249"/>
                  </a:lnTo>
                  <a:lnTo>
                    <a:pt x="1142" y="247"/>
                  </a:lnTo>
                  <a:lnTo>
                    <a:pt x="1140" y="242"/>
                  </a:lnTo>
                  <a:lnTo>
                    <a:pt x="1140" y="239"/>
                  </a:lnTo>
                  <a:lnTo>
                    <a:pt x="1135" y="233"/>
                  </a:lnTo>
                  <a:lnTo>
                    <a:pt x="1129" y="228"/>
                  </a:lnTo>
                  <a:lnTo>
                    <a:pt x="1124" y="222"/>
                  </a:lnTo>
                  <a:lnTo>
                    <a:pt x="1118" y="217"/>
                  </a:lnTo>
                  <a:lnTo>
                    <a:pt x="1110" y="213"/>
                  </a:lnTo>
                  <a:lnTo>
                    <a:pt x="1101" y="211"/>
                  </a:lnTo>
                  <a:lnTo>
                    <a:pt x="1101" y="209"/>
                  </a:lnTo>
                  <a:lnTo>
                    <a:pt x="1099" y="207"/>
                  </a:lnTo>
                  <a:lnTo>
                    <a:pt x="1096" y="203"/>
                  </a:lnTo>
                  <a:lnTo>
                    <a:pt x="1092" y="201"/>
                  </a:lnTo>
                  <a:lnTo>
                    <a:pt x="1086" y="197"/>
                  </a:lnTo>
                  <a:lnTo>
                    <a:pt x="1080" y="194"/>
                  </a:lnTo>
                  <a:lnTo>
                    <a:pt x="1077" y="189"/>
                  </a:lnTo>
                  <a:lnTo>
                    <a:pt x="1075" y="183"/>
                  </a:lnTo>
                  <a:lnTo>
                    <a:pt x="1051" y="183"/>
                  </a:lnTo>
                  <a:lnTo>
                    <a:pt x="1029" y="184"/>
                  </a:lnTo>
                  <a:lnTo>
                    <a:pt x="1005" y="185"/>
                  </a:lnTo>
                  <a:lnTo>
                    <a:pt x="983" y="186"/>
                  </a:lnTo>
                  <a:lnTo>
                    <a:pt x="960" y="188"/>
                  </a:lnTo>
                  <a:lnTo>
                    <a:pt x="937" y="188"/>
                  </a:lnTo>
                  <a:lnTo>
                    <a:pt x="914" y="189"/>
                  </a:lnTo>
                  <a:lnTo>
                    <a:pt x="891" y="189"/>
                  </a:lnTo>
                  <a:lnTo>
                    <a:pt x="889" y="186"/>
                  </a:lnTo>
                  <a:lnTo>
                    <a:pt x="885" y="181"/>
                  </a:lnTo>
                  <a:lnTo>
                    <a:pt x="879" y="175"/>
                  </a:lnTo>
                  <a:lnTo>
                    <a:pt x="875" y="172"/>
                  </a:lnTo>
                  <a:lnTo>
                    <a:pt x="875" y="161"/>
                  </a:lnTo>
                  <a:lnTo>
                    <a:pt x="864" y="150"/>
                  </a:lnTo>
                  <a:lnTo>
                    <a:pt x="862" y="123"/>
                  </a:lnTo>
                  <a:lnTo>
                    <a:pt x="861" y="92"/>
                  </a:lnTo>
                  <a:lnTo>
                    <a:pt x="859" y="59"/>
                  </a:lnTo>
                  <a:lnTo>
                    <a:pt x="858" y="28"/>
                  </a:lnTo>
                  <a:lnTo>
                    <a:pt x="856" y="28"/>
                  </a:lnTo>
                  <a:lnTo>
                    <a:pt x="854" y="27"/>
                  </a:lnTo>
                  <a:lnTo>
                    <a:pt x="852" y="25"/>
                  </a:lnTo>
                  <a:lnTo>
                    <a:pt x="850" y="22"/>
                  </a:lnTo>
                  <a:lnTo>
                    <a:pt x="848" y="17"/>
                  </a:lnTo>
                  <a:lnTo>
                    <a:pt x="847" y="11"/>
                  </a:lnTo>
                  <a:lnTo>
                    <a:pt x="841" y="6"/>
                  </a:lnTo>
                  <a:lnTo>
                    <a:pt x="830" y="6"/>
                  </a:lnTo>
                  <a:lnTo>
                    <a:pt x="829" y="5"/>
                  </a:lnTo>
                  <a:lnTo>
                    <a:pt x="826" y="3"/>
                  </a:lnTo>
                  <a:lnTo>
                    <a:pt x="820" y="2"/>
                  </a:lnTo>
                  <a:lnTo>
                    <a:pt x="813" y="1"/>
                  </a:lnTo>
                  <a:lnTo>
                    <a:pt x="800" y="1"/>
                  </a:lnTo>
                  <a:lnTo>
                    <a:pt x="792" y="0"/>
                  </a:lnTo>
                  <a:lnTo>
                    <a:pt x="792" y="11"/>
                  </a:lnTo>
                  <a:lnTo>
                    <a:pt x="787" y="22"/>
                  </a:lnTo>
                  <a:lnTo>
                    <a:pt x="782" y="24"/>
                  </a:lnTo>
                  <a:lnTo>
                    <a:pt x="779" y="26"/>
                  </a:lnTo>
                  <a:lnTo>
                    <a:pt x="776" y="28"/>
                  </a:lnTo>
                  <a:lnTo>
                    <a:pt x="773" y="31"/>
                  </a:lnTo>
                  <a:lnTo>
                    <a:pt x="771" y="37"/>
                  </a:lnTo>
                  <a:lnTo>
                    <a:pt x="770" y="39"/>
                  </a:lnTo>
                  <a:lnTo>
                    <a:pt x="770" y="50"/>
                  </a:lnTo>
                  <a:lnTo>
                    <a:pt x="768" y="51"/>
                  </a:lnTo>
                  <a:lnTo>
                    <a:pt x="766" y="53"/>
                  </a:lnTo>
                  <a:lnTo>
                    <a:pt x="765" y="55"/>
                  </a:lnTo>
                  <a:lnTo>
                    <a:pt x="764" y="57"/>
                  </a:lnTo>
                  <a:lnTo>
                    <a:pt x="764" y="63"/>
                  </a:lnTo>
                  <a:lnTo>
                    <a:pt x="764" y="67"/>
                  </a:lnTo>
                  <a:lnTo>
                    <a:pt x="753" y="67"/>
                  </a:lnTo>
                  <a:lnTo>
                    <a:pt x="750" y="69"/>
                  </a:lnTo>
                  <a:lnTo>
                    <a:pt x="742" y="70"/>
                  </a:lnTo>
                  <a:lnTo>
                    <a:pt x="731" y="72"/>
                  </a:lnTo>
                  <a:lnTo>
                    <a:pt x="718" y="72"/>
                  </a:lnTo>
                  <a:lnTo>
                    <a:pt x="692" y="73"/>
                  </a:lnTo>
                  <a:lnTo>
                    <a:pt x="675" y="73"/>
                  </a:lnTo>
                  <a:lnTo>
                    <a:pt x="675" y="76"/>
                  </a:lnTo>
                  <a:lnTo>
                    <a:pt x="672" y="77"/>
                  </a:lnTo>
                  <a:lnTo>
                    <a:pt x="668" y="78"/>
                  </a:lnTo>
                  <a:lnTo>
                    <a:pt x="664" y="78"/>
                  </a:lnTo>
                  <a:lnTo>
                    <a:pt x="664" y="82"/>
                  </a:lnTo>
                  <a:lnTo>
                    <a:pt x="660" y="83"/>
                  </a:lnTo>
                  <a:lnTo>
                    <a:pt x="657" y="84"/>
                  </a:lnTo>
                  <a:lnTo>
                    <a:pt x="654" y="84"/>
                  </a:lnTo>
                  <a:lnTo>
                    <a:pt x="653" y="87"/>
                  </a:lnTo>
                  <a:lnTo>
                    <a:pt x="649" y="88"/>
                  </a:lnTo>
                  <a:lnTo>
                    <a:pt x="646" y="89"/>
                  </a:lnTo>
                  <a:lnTo>
                    <a:pt x="643" y="89"/>
                  </a:lnTo>
                  <a:lnTo>
                    <a:pt x="640" y="93"/>
                  </a:lnTo>
                  <a:lnTo>
                    <a:pt x="637" y="97"/>
                  </a:lnTo>
                  <a:lnTo>
                    <a:pt x="632" y="99"/>
                  </a:lnTo>
                  <a:lnTo>
                    <a:pt x="631" y="101"/>
                  </a:lnTo>
                  <a:lnTo>
                    <a:pt x="631" y="117"/>
                  </a:lnTo>
                  <a:lnTo>
                    <a:pt x="629" y="117"/>
                  </a:lnTo>
                  <a:lnTo>
                    <a:pt x="628" y="118"/>
                  </a:lnTo>
                  <a:lnTo>
                    <a:pt x="627" y="121"/>
                  </a:lnTo>
                  <a:lnTo>
                    <a:pt x="626" y="123"/>
                  </a:lnTo>
                  <a:lnTo>
                    <a:pt x="626" y="128"/>
                  </a:lnTo>
                  <a:lnTo>
                    <a:pt x="626" y="134"/>
                  </a:lnTo>
                  <a:lnTo>
                    <a:pt x="615" y="138"/>
                  </a:lnTo>
                  <a:lnTo>
                    <a:pt x="615" y="150"/>
                  </a:lnTo>
                  <a:lnTo>
                    <a:pt x="609" y="155"/>
                  </a:lnTo>
                  <a:lnTo>
                    <a:pt x="598" y="155"/>
                  </a:lnTo>
                  <a:lnTo>
                    <a:pt x="589" y="164"/>
                  </a:lnTo>
                  <a:lnTo>
                    <a:pt x="581" y="172"/>
                  </a:lnTo>
                  <a:lnTo>
                    <a:pt x="567" y="172"/>
                  </a:lnTo>
                  <a:lnTo>
                    <a:pt x="551" y="170"/>
                  </a:lnTo>
                  <a:lnTo>
                    <a:pt x="534" y="167"/>
                  </a:lnTo>
                  <a:lnTo>
                    <a:pt x="519" y="164"/>
                  </a:lnTo>
                  <a:lnTo>
                    <a:pt x="503" y="161"/>
                  </a:lnTo>
                  <a:lnTo>
                    <a:pt x="490" y="159"/>
                  </a:lnTo>
                  <a:lnTo>
                    <a:pt x="476" y="156"/>
                  </a:lnTo>
                  <a:lnTo>
                    <a:pt x="465" y="155"/>
                  </a:lnTo>
                  <a:lnTo>
                    <a:pt x="464" y="153"/>
                  </a:lnTo>
                  <a:lnTo>
                    <a:pt x="461" y="151"/>
                  </a:lnTo>
                  <a:lnTo>
                    <a:pt x="456" y="147"/>
                  </a:lnTo>
                  <a:lnTo>
                    <a:pt x="451" y="145"/>
                  </a:lnTo>
                  <a:lnTo>
                    <a:pt x="439" y="141"/>
                  </a:lnTo>
                  <a:lnTo>
                    <a:pt x="432" y="138"/>
                  </a:lnTo>
                  <a:lnTo>
                    <a:pt x="432" y="137"/>
                  </a:lnTo>
                  <a:lnTo>
                    <a:pt x="429" y="136"/>
                  </a:lnTo>
                  <a:lnTo>
                    <a:pt x="428" y="135"/>
                  </a:lnTo>
                  <a:lnTo>
                    <a:pt x="425" y="134"/>
                  </a:lnTo>
                  <a:lnTo>
                    <a:pt x="420" y="134"/>
                  </a:lnTo>
                  <a:lnTo>
                    <a:pt x="415" y="134"/>
                  </a:lnTo>
                  <a:lnTo>
                    <a:pt x="414" y="131"/>
                  </a:lnTo>
                  <a:lnTo>
                    <a:pt x="411" y="128"/>
                  </a:lnTo>
                  <a:lnTo>
                    <a:pt x="408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3" y="124"/>
                  </a:lnTo>
                  <a:lnTo>
                    <a:pt x="400" y="122"/>
                  </a:lnTo>
                  <a:lnTo>
                    <a:pt x="398" y="121"/>
                  </a:lnTo>
                  <a:lnTo>
                    <a:pt x="392" y="118"/>
                  </a:lnTo>
                  <a:lnTo>
                    <a:pt x="387" y="117"/>
                  </a:lnTo>
                  <a:lnTo>
                    <a:pt x="381" y="112"/>
                  </a:lnTo>
                  <a:lnTo>
                    <a:pt x="381" y="101"/>
                  </a:lnTo>
                  <a:lnTo>
                    <a:pt x="376" y="95"/>
                  </a:lnTo>
                  <a:lnTo>
                    <a:pt x="365" y="92"/>
                  </a:lnTo>
                  <a:lnTo>
                    <a:pt x="349" y="89"/>
                  </a:lnTo>
                  <a:lnTo>
                    <a:pt x="349" y="8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8" name="Freeform 24"/>
            <p:cNvSpPr>
              <a:spLocks noChangeAspect="1"/>
            </p:cNvSpPr>
            <p:nvPr/>
          </p:nvSpPr>
          <p:spPr bwMode="gray">
            <a:xfrm rot="355651">
              <a:off x="5995331" y="3473450"/>
              <a:ext cx="283533" cy="196952"/>
            </a:xfrm>
            <a:custGeom>
              <a:avLst/>
              <a:gdLst/>
              <a:ahLst/>
              <a:cxnLst>
                <a:cxn ang="0">
                  <a:pos x="302" y="115"/>
                </a:cxn>
                <a:cxn ang="0">
                  <a:pos x="259" y="163"/>
                </a:cxn>
                <a:cxn ang="0">
                  <a:pos x="215" y="189"/>
                </a:cxn>
                <a:cxn ang="0">
                  <a:pos x="205" y="361"/>
                </a:cxn>
                <a:cxn ang="0">
                  <a:pos x="205" y="527"/>
                </a:cxn>
                <a:cxn ang="0">
                  <a:pos x="243" y="572"/>
                </a:cxn>
                <a:cxn ang="0">
                  <a:pos x="241" y="724"/>
                </a:cxn>
                <a:cxn ang="0">
                  <a:pos x="188" y="748"/>
                </a:cxn>
                <a:cxn ang="0">
                  <a:pos x="116" y="791"/>
                </a:cxn>
                <a:cxn ang="0">
                  <a:pos x="77" y="822"/>
                </a:cxn>
                <a:cxn ang="0">
                  <a:pos x="55" y="848"/>
                </a:cxn>
                <a:cxn ang="0">
                  <a:pos x="5" y="897"/>
                </a:cxn>
                <a:cxn ang="0">
                  <a:pos x="137" y="935"/>
                </a:cxn>
                <a:cxn ang="0">
                  <a:pos x="198" y="925"/>
                </a:cxn>
                <a:cxn ang="0">
                  <a:pos x="304" y="954"/>
                </a:cxn>
                <a:cxn ang="0">
                  <a:pos x="365" y="1009"/>
                </a:cxn>
                <a:cxn ang="0">
                  <a:pos x="410" y="1055"/>
                </a:cxn>
                <a:cxn ang="0">
                  <a:pos x="525" y="1053"/>
                </a:cxn>
                <a:cxn ang="0">
                  <a:pos x="620" y="1080"/>
                </a:cxn>
                <a:cxn ang="0">
                  <a:pos x="1069" y="1092"/>
                </a:cxn>
                <a:cxn ang="0">
                  <a:pos x="1019" y="1064"/>
                </a:cxn>
                <a:cxn ang="0">
                  <a:pos x="985" y="931"/>
                </a:cxn>
                <a:cxn ang="0">
                  <a:pos x="1066" y="923"/>
                </a:cxn>
                <a:cxn ang="0">
                  <a:pos x="1125" y="954"/>
                </a:cxn>
                <a:cxn ang="0">
                  <a:pos x="1185" y="998"/>
                </a:cxn>
                <a:cxn ang="0">
                  <a:pos x="1220" y="1032"/>
                </a:cxn>
                <a:cxn ang="0">
                  <a:pos x="1250" y="1095"/>
                </a:cxn>
                <a:cxn ang="0">
                  <a:pos x="1279" y="1217"/>
                </a:cxn>
                <a:cxn ang="0">
                  <a:pos x="1335" y="1200"/>
                </a:cxn>
                <a:cxn ang="0">
                  <a:pos x="1383" y="1141"/>
                </a:cxn>
                <a:cxn ang="0">
                  <a:pos x="1542" y="1035"/>
                </a:cxn>
                <a:cxn ang="0">
                  <a:pos x="1496" y="1031"/>
                </a:cxn>
                <a:cxn ang="0">
                  <a:pos x="1437" y="1021"/>
                </a:cxn>
                <a:cxn ang="0">
                  <a:pos x="1390" y="942"/>
                </a:cxn>
                <a:cxn ang="0">
                  <a:pos x="1350" y="885"/>
                </a:cxn>
                <a:cxn ang="0">
                  <a:pos x="1326" y="853"/>
                </a:cxn>
                <a:cxn ang="0">
                  <a:pos x="1304" y="810"/>
                </a:cxn>
                <a:cxn ang="0">
                  <a:pos x="1268" y="731"/>
                </a:cxn>
                <a:cxn ang="0">
                  <a:pos x="1216" y="683"/>
                </a:cxn>
                <a:cxn ang="0">
                  <a:pos x="1214" y="644"/>
                </a:cxn>
                <a:cxn ang="0">
                  <a:pos x="1296" y="609"/>
                </a:cxn>
                <a:cxn ang="0">
                  <a:pos x="1340" y="502"/>
                </a:cxn>
                <a:cxn ang="0">
                  <a:pos x="1313" y="429"/>
                </a:cxn>
                <a:cxn ang="0">
                  <a:pos x="1265" y="383"/>
                </a:cxn>
                <a:cxn ang="0">
                  <a:pos x="1167" y="292"/>
                </a:cxn>
                <a:cxn ang="0">
                  <a:pos x="1140" y="239"/>
                </a:cxn>
                <a:cxn ang="0">
                  <a:pos x="1092" y="201"/>
                </a:cxn>
                <a:cxn ang="0">
                  <a:pos x="937" y="188"/>
                </a:cxn>
                <a:cxn ang="0">
                  <a:pos x="861" y="92"/>
                </a:cxn>
                <a:cxn ang="0">
                  <a:pos x="830" y="6"/>
                </a:cxn>
                <a:cxn ang="0">
                  <a:pos x="779" y="26"/>
                </a:cxn>
                <a:cxn ang="0">
                  <a:pos x="764" y="63"/>
                </a:cxn>
                <a:cxn ang="0">
                  <a:pos x="672" y="77"/>
                </a:cxn>
                <a:cxn ang="0">
                  <a:pos x="643" y="89"/>
                </a:cxn>
                <a:cxn ang="0">
                  <a:pos x="626" y="128"/>
                </a:cxn>
                <a:cxn ang="0">
                  <a:pos x="534" y="167"/>
                </a:cxn>
                <a:cxn ang="0">
                  <a:pos x="439" y="141"/>
                </a:cxn>
                <a:cxn ang="0">
                  <a:pos x="408" y="128"/>
                </a:cxn>
                <a:cxn ang="0">
                  <a:pos x="376" y="95"/>
                </a:cxn>
              </a:cxnLst>
              <a:rect l="0" t="0" r="r" b="b"/>
              <a:pathLst>
                <a:path w="1556" h="1230">
                  <a:moveTo>
                    <a:pt x="349" y="84"/>
                  </a:moveTo>
                  <a:lnTo>
                    <a:pt x="343" y="86"/>
                  </a:lnTo>
                  <a:lnTo>
                    <a:pt x="338" y="89"/>
                  </a:lnTo>
                  <a:lnTo>
                    <a:pt x="331" y="95"/>
                  </a:lnTo>
                  <a:lnTo>
                    <a:pt x="327" y="101"/>
                  </a:lnTo>
                  <a:lnTo>
                    <a:pt x="315" y="101"/>
                  </a:lnTo>
                  <a:lnTo>
                    <a:pt x="312" y="106"/>
                  </a:lnTo>
                  <a:lnTo>
                    <a:pt x="310" y="112"/>
                  </a:lnTo>
                  <a:lnTo>
                    <a:pt x="305" y="113"/>
                  </a:lnTo>
                  <a:lnTo>
                    <a:pt x="302" y="115"/>
                  </a:lnTo>
                  <a:lnTo>
                    <a:pt x="300" y="118"/>
                  </a:lnTo>
                  <a:lnTo>
                    <a:pt x="299" y="123"/>
                  </a:lnTo>
                  <a:lnTo>
                    <a:pt x="288" y="128"/>
                  </a:lnTo>
                  <a:lnTo>
                    <a:pt x="288" y="138"/>
                  </a:lnTo>
                  <a:lnTo>
                    <a:pt x="282" y="142"/>
                  </a:lnTo>
                  <a:lnTo>
                    <a:pt x="276" y="144"/>
                  </a:lnTo>
                  <a:lnTo>
                    <a:pt x="276" y="155"/>
                  </a:lnTo>
                  <a:lnTo>
                    <a:pt x="271" y="161"/>
                  </a:lnTo>
                  <a:lnTo>
                    <a:pt x="260" y="161"/>
                  </a:lnTo>
                  <a:lnTo>
                    <a:pt x="259" y="163"/>
                  </a:lnTo>
                  <a:lnTo>
                    <a:pt x="255" y="165"/>
                  </a:lnTo>
                  <a:lnTo>
                    <a:pt x="251" y="167"/>
                  </a:lnTo>
                  <a:lnTo>
                    <a:pt x="245" y="169"/>
                  </a:lnTo>
                  <a:lnTo>
                    <a:pt x="234" y="171"/>
                  </a:lnTo>
                  <a:lnTo>
                    <a:pt x="226" y="172"/>
                  </a:lnTo>
                  <a:lnTo>
                    <a:pt x="221" y="178"/>
                  </a:lnTo>
                  <a:lnTo>
                    <a:pt x="221" y="182"/>
                  </a:lnTo>
                  <a:lnTo>
                    <a:pt x="221" y="185"/>
                  </a:lnTo>
                  <a:lnTo>
                    <a:pt x="218" y="188"/>
                  </a:lnTo>
                  <a:lnTo>
                    <a:pt x="215" y="189"/>
                  </a:lnTo>
                  <a:lnTo>
                    <a:pt x="215" y="224"/>
                  </a:lnTo>
                  <a:lnTo>
                    <a:pt x="213" y="263"/>
                  </a:lnTo>
                  <a:lnTo>
                    <a:pt x="211" y="303"/>
                  </a:lnTo>
                  <a:lnTo>
                    <a:pt x="211" y="338"/>
                  </a:lnTo>
                  <a:lnTo>
                    <a:pt x="208" y="339"/>
                  </a:lnTo>
                  <a:lnTo>
                    <a:pt x="207" y="342"/>
                  </a:lnTo>
                  <a:lnTo>
                    <a:pt x="206" y="344"/>
                  </a:lnTo>
                  <a:lnTo>
                    <a:pt x="205" y="347"/>
                  </a:lnTo>
                  <a:lnTo>
                    <a:pt x="205" y="355"/>
                  </a:lnTo>
                  <a:lnTo>
                    <a:pt x="205" y="361"/>
                  </a:lnTo>
                  <a:lnTo>
                    <a:pt x="203" y="361"/>
                  </a:lnTo>
                  <a:lnTo>
                    <a:pt x="200" y="363"/>
                  </a:lnTo>
                  <a:lnTo>
                    <a:pt x="199" y="365"/>
                  </a:lnTo>
                  <a:lnTo>
                    <a:pt x="198" y="367"/>
                  </a:lnTo>
                  <a:lnTo>
                    <a:pt x="196" y="375"/>
                  </a:lnTo>
                  <a:lnTo>
                    <a:pt x="195" y="386"/>
                  </a:lnTo>
                  <a:lnTo>
                    <a:pt x="195" y="412"/>
                  </a:lnTo>
                  <a:lnTo>
                    <a:pt x="196" y="442"/>
                  </a:lnTo>
                  <a:lnTo>
                    <a:pt x="202" y="499"/>
                  </a:lnTo>
                  <a:lnTo>
                    <a:pt x="205" y="527"/>
                  </a:lnTo>
                  <a:lnTo>
                    <a:pt x="211" y="529"/>
                  </a:lnTo>
                  <a:lnTo>
                    <a:pt x="215" y="532"/>
                  </a:lnTo>
                  <a:lnTo>
                    <a:pt x="218" y="544"/>
                  </a:lnTo>
                  <a:lnTo>
                    <a:pt x="221" y="555"/>
                  </a:lnTo>
                  <a:lnTo>
                    <a:pt x="225" y="557"/>
                  </a:lnTo>
                  <a:lnTo>
                    <a:pt x="231" y="563"/>
                  </a:lnTo>
                  <a:lnTo>
                    <a:pt x="233" y="566"/>
                  </a:lnTo>
                  <a:lnTo>
                    <a:pt x="236" y="568"/>
                  </a:lnTo>
                  <a:lnTo>
                    <a:pt x="240" y="570"/>
                  </a:lnTo>
                  <a:lnTo>
                    <a:pt x="243" y="572"/>
                  </a:lnTo>
                  <a:lnTo>
                    <a:pt x="246" y="597"/>
                  </a:lnTo>
                  <a:lnTo>
                    <a:pt x="252" y="631"/>
                  </a:lnTo>
                  <a:lnTo>
                    <a:pt x="254" y="649"/>
                  </a:lnTo>
                  <a:lnTo>
                    <a:pt x="257" y="666"/>
                  </a:lnTo>
                  <a:lnTo>
                    <a:pt x="260" y="683"/>
                  </a:lnTo>
                  <a:lnTo>
                    <a:pt x="260" y="699"/>
                  </a:lnTo>
                  <a:lnTo>
                    <a:pt x="254" y="708"/>
                  </a:lnTo>
                  <a:lnTo>
                    <a:pt x="248" y="721"/>
                  </a:lnTo>
                  <a:lnTo>
                    <a:pt x="245" y="721"/>
                  </a:lnTo>
                  <a:lnTo>
                    <a:pt x="241" y="724"/>
                  </a:lnTo>
                  <a:lnTo>
                    <a:pt x="238" y="728"/>
                  </a:lnTo>
                  <a:lnTo>
                    <a:pt x="237" y="731"/>
                  </a:lnTo>
                  <a:lnTo>
                    <a:pt x="232" y="737"/>
                  </a:lnTo>
                  <a:lnTo>
                    <a:pt x="221" y="737"/>
                  </a:lnTo>
                  <a:lnTo>
                    <a:pt x="219" y="741"/>
                  </a:lnTo>
                  <a:lnTo>
                    <a:pt x="216" y="743"/>
                  </a:lnTo>
                  <a:lnTo>
                    <a:pt x="212" y="746"/>
                  </a:lnTo>
                  <a:lnTo>
                    <a:pt x="206" y="747"/>
                  </a:lnTo>
                  <a:lnTo>
                    <a:pt x="195" y="748"/>
                  </a:lnTo>
                  <a:lnTo>
                    <a:pt x="188" y="748"/>
                  </a:lnTo>
                  <a:lnTo>
                    <a:pt x="180" y="752"/>
                  </a:lnTo>
                  <a:lnTo>
                    <a:pt x="163" y="762"/>
                  </a:lnTo>
                  <a:lnTo>
                    <a:pt x="144" y="771"/>
                  </a:lnTo>
                  <a:lnTo>
                    <a:pt x="132" y="776"/>
                  </a:lnTo>
                  <a:lnTo>
                    <a:pt x="127" y="781"/>
                  </a:lnTo>
                  <a:lnTo>
                    <a:pt x="127" y="784"/>
                  </a:lnTo>
                  <a:lnTo>
                    <a:pt x="125" y="786"/>
                  </a:lnTo>
                  <a:lnTo>
                    <a:pt x="123" y="788"/>
                  </a:lnTo>
                  <a:lnTo>
                    <a:pt x="121" y="789"/>
                  </a:lnTo>
                  <a:lnTo>
                    <a:pt x="116" y="791"/>
                  </a:lnTo>
                  <a:lnTo>
                    <a:pt x="110" y="792"/>
                  </a:lnTo>
                  <a:lnTo>
                    <a:pt x="108" y="797"/>
                  </a:lnTo>
                  <a:lnTo>
                    <a:pt x="104" y="800"/>
                  </a:lnTo>
                  <a:lnTo>
                    <a:pt x="100" y="805"/>
                  </a:lnTo>
                  <a:lnTo>
                    <a:pt x="96" y="808"/>
                  </a:lnTo>
                  <a:lnTo>
                    <a:pt x="91" y="810"/>
                  </a:lnTo>
                  <a:lnTo>
                    <a:pt x="87" y="813"/>
                  </a:lnTo>
                  <a:lnTo>
                    <a:pt x="81" y="814"/>
                  </a:lnTo>
                  <a:lnTo>
                    <a:pt x="77" y="815"/>
                  </a:lnTo>
                  <a:lnTo>
                    <a:pt x="77" y="822"/>
                  </a:lnTo>
                  <a:lnTo>
                    <a:pt x="77" y="825"/>
                  </a:lnTo>
                  <a:lnTo>
                    <a:pt x="75" y="827"/>
                  </a:lnTo>
                  <a:lnTo>
                    <a:pt x="74" y="827"/>
                  </a:lnTo>
                  <a:lnTo>
                    <a:pt x="73" y="827"/>
                  </a:lnTo>
                  <a:lnTo>
                    <a:pt x="72" y="827"/>
                  </a:lnTo>
                  <a:lnTo>
                    <a:pt x="72" y="828"/>
                  </a:lnTo>
                  <a:lnTo>
                    <a:pt x="71" y="832"/>
                  </a:lnTo>
                  <a:lnTo>
                    <a:pt x="63" y="834"/>
                  </a:lnTo>
                  <a:lnTo>
                    <a:pt x="55" y="837"/>
                  </a:lnTo>
                  <a:lnTo>
                    <a:pt x="55" y="848"/>
                  </a:lnTo>
                  <a:lnTo>
                    <a:pt x="51" y="849"/>
                  </a:lnTo>
                  <a:lnTo>
                    <a:pt x="48" y="852"/>
                  </a:lnTo>
                  <a:lnTo>
                    <a:pt x="45" y="855"/>
                  </a:lnTo>
                  <a:lnTo>
                    <a:pt x="44" y="859"/>
                  </a:lnTo>
                  <a:lnTo>
                    <a:pt x="40" y="859"/>
                  </a:lnTo>
                  <a:lnTo>
                    <a:pt x="36" y="863"/>
                  </a:lnTo>
                  <a:lnTo>
                    <a:pt x="34" y="866"/>
                  </a:lnTo>
                  <a:lnTo>
                    <a:pt x="33" y="871"/>
                  </a:lnTo>
                  <a:lnTo>
                    <a:pt x="19" y="884"/>
                  </a:lnTo>
                  <a:lnTo>
                    <a:pt x="5" y="897"/>
                  </a:lnTo>
                  <a:lnTo>
                    <a:pt x="0" y="903"/>
                  </a:lnTo>
                  <a:lnTo>
                    <a:pt x="0" y="917"/>
                  </a:lnTo>
                  <a:lnTo>
                    <a:pt x="0" y="931"/>
                  </a:lnTo>
                  <a:lnTo>
                    <a:pt x="11" y="936"/>
                  </a:lnTo>
                  <a:lnTo>
                    <a:pt x="13" y="942"/>
                  </a:lnTo>
                  <a:lnTo>
                    <a:pt x="16" y="948"/>
                  </a:lnTo>
                  <a:lnTo>
                    <a:pt x="116" y="948"/>
                  </a:lnTo>
                  <a:lnTo>
                    <a:pt x="127" y="936"/>
                  </a:lnTo>
                  <a:lnTo>
                    <a:pt x="132" y="936"/>
                  </a:lnTo>
                  <a:lnTo>
                    <a:pt x="137" y="935"/>
                  </a:lnTo>
                  <a:lnTo>
                    <a:pt x="140" y="935"/>
                  </a:lnTo>
                  <a:lnTo>
                    <a:pt x="141" y="934"/>
                  </a:lnTo>
                  <a:lnTo>
                    <a:pt x="144" y="933"/>
                  </a:lnTo>
                  <a:lnTo>
                    <a:pt x="144" y="931"/>
                  </a:lnTo>
                  <a:lnTo>
                    <a:pt x="177" y="931"/>
                  </a:lnTo>
                  <a:lnTo>
                    <a:pt x="178" y="930"/>
                  </a:lnTo>
                  <a:lnTo>
                    <a:pt x="180" y="928"/>
                  </a:lnTo>
                  <a:lnTo>
                    <a:pt x="184" y="926"/>
                  </a:lnTo>
                  <a:lnTo>
                    <a:pt x="188" y="926"/>
                  </a:lnTo>
                  <a:lnTo>
                    <a:pt x="198" y="925"/>
                  </a:lnTo>
                  <a:lnTo>
                    <a:pt x="205" y="925"/>
                  </a:lnTo>
                  <a:lnTo>
                    <a:pt x="217" y="926"/>
                  </a:lnTo>
                  <a:lnTo>
                    <a:pt x="232" y="929"/>
                  </a:lnTo>
                  <a:lnTo>
                    <a:pt x="246" y="930"/>
                  </a:lnTo>
                  <a:lnTo>
                    <a:pt x="260" y="931"/>
                  </a:lnTo>
                  <a:lnTo>
                    <a:pt x="271" y="942"/>
                  </a:lnTo>
                  <a:lnTo>
                    <a:pt x="286" y="945"/>
                  </a:lnTo>
                  <a:lnTo>
                    <a:pt x="299" y="948"/>
                  </a:lnTo>
                  <a:lnTo>
                    <a:pt x="300" y="951"/>
                  </a:lnTo>
                  <a:lnTo>
                    <a:pt x="304" y="954"/>
                  </a:lnTo>
                  <a:lnTo>
                    <a:pt x="307" y="955"/>
                  </a:lnTo>
                  <a:lnTo>
                    <a:pt x="308" y="958"/>
                  </a:lnTo>
                  <a:lnTo>
                    <a:pt x="309" y="961"/>
                  </a:lnTo>
                  <a:lnTo>
                    <a:pt x="310" y="964"/>
                  </a:lnTo>
                  <a:lnTo>
                    <a:pt x="318" y="968"/>
                  </a:lnTo>
                  <a:lnTo>
                    <a:pt x="329" y="976"/>
                  </a:lnTo>
                  <a:lnTo>
                    <a:pt x="341" y="983"/>
                  </a:lnTo>
                  <a:lnTo>
                    <a:pt x="349" y="987"/>
                  </a:lnTo>
                  <a:lnTo>
                    <a:pt x="357" y="998"/>
                  </a:lnTo>
                  <a:lnTo>
                    <a:pt x="365" y="1009"/>
                  </a:lnTo>
                  <a:lnTo>
                    <a:pt x="370" y="1012"/>
                  </a:lnTo>
                  <a:lnTo>
                    <a:pt x="377" y="1022"/>
                  </a:lnTo>
                  <a:lnTo>
                    <a:pt x="380" y="1028"/>
                  </a:lnTo>
                  <a:lnTo>
                    <a:pt x="385" y="1032"/>
                  </a:lnTo>
                  <a:lnTo>
                    <a:pt x="389" y="1035"/>
                  </a:lnTo>
                  <a:lnTo>
                    <a:pt x="392" y="1036"/>
                  </a:lnTo>
                  <a:lnTo>
                    <a:pt x="395" y="1040"/>
                  </a:lnTo>
                  <a:lnTo>
                    <a:pt x="398" y="1046"/>
                  </a:lnTo>
                  <a:lnTo>
                    <a:pt x="404" y="1050"/>
                  </a:lnTo>
                  <a:lnTo>
                    <a:pt x="410" y="1055"/>
                  </a:lnTo>
                  <a:lnTo>
                    <a:pt x="423" y="1064"/>
                  </a:lnTo>
                  <a:lnTo>
                    <a:pt x="432" y="1069"/>
                  </a:lnTo>
                  <a:lnTo>
                    <a:pt x="493" y="1069"/>
                  </a:lnTo>
                  <a:lnTo>
                    <a:pt x="493" y="1066"/>
                  </a:lnTo>
                  <a:lnTo>
                    <a:pt x="496" y="1065"/>
                  </a:lnTo>
                  <a:lnTo>
                    <a:pt x="500" y="1064"/>
                  </a:lnTo>
                  <a:lnTo>
                    <a:pt x="504" y="1064"/>
                  </a:lnTo>
                  <a:lnTo>
                    <a:pt x="506" y="1058"/>
                  </a:lnTo>
                  <a:lnTo>
                    <a:pt x="510" y="1053"/>
                  </a:lnTo>
                  <a:lnTo>
                    <a:pt x="525" y="1053"/>
                  </a:lnTo>
                  <a:lnTo>
                    <a:pt x="547" y="1053"/>
                  </a:lnTo>
                  <a:lnTo>
                    <a:pt x="557" y="1054"/>
                  </a:lnTo>
                  <a:lnTo>
                    <a:pt x="565" y="1055"/>
                  </a:lnTo>
                  <a:lnTo>
                    <a:pt x="569" y="1057"/>
                  </a:lnTo>
                  <a:lnTo>
                    <a:pt x="572" y="1059"/>
                  </a:lnTo>
                  <a:lnTo>
                    <a:pt x="574" y="1061"/>
                  </a:lnTo>
                  <a:lnTo>
                    <a:pt x="576" y="1064"/>
                  </a:lnTo>
                  <a:lnTo>
                    <a:pt x="589" y="1067"/>
                  </a:lnTo>
                  <a:lnTo>
                    <a:pt x="603" y="1069"/>
                  </a:lnTo>
                  <a:lnTo>
                    <a:pt x="620" y="1080"/>
                  </a:lnTo>
                  <a:lnTo>
                    <a:pt x="637" y="1092"/>
                  </a:lnTo>
                  <a:lnTo>
                    <a:pt x="687" y="1093"/>
                  </a:lnTo>
                  <a:lnTo>
                    <a:pt x="741" y="1094"/>
                  </a:lnTo>
                  <a:lnTo>
                    <a:pt x="795" y="1097"/>
                  </a:lnTo>
                  <a:lnTo>
                    <a:pt x="850" y="1099"/>
                  </a:lnTo>
                  <a:lnTo>
                    <a:pt x="906" y="1103"/>
                  </a:lnTo>
                  <a:lnTo>
                    <a:pt x="962" y="1106"/>
                  </a:lnTo>
                  <a:lnTo>
                    <a:pt x="1015" y="1107"/>
                  </a:lnTo>
                  <a:lnTo>
                    <a:pt x="1069" y="1108"/>
                  </a:lnTo>
                  <a:lnTo>
                    <a:pt x="1069" y="1092"/>
                  </a:lnTo>
                  <a:lnTo>
                    <a:pt x="1064" y="1090"/>
                  </a:lnTo>
                  <a:lnTo>
                    <a:pt x="1061" y="1086"/>
                  </a:lnTo>
                  <a:lnTo>
                    <a:pt x="1059" y="1083"/>
                  </a:lnTo>
                  <a:lnTo>
                    <a:pt x="1058" y="1080"/>
                  </a:lnTo>
                  <a:lnTo>
                    <a:pt x="1049" y="1078"/>
                  </a:lnTo>
                  <a:lnTo>
                    <a:pt x="1037" y="1075"/>
                  </a:lnTo>
                  <a:lnTo>
                    <a:pt x="1030" y="1072"/>
                  </a:lnTo>
                  <a:lnTo>
                    <a:pt x="1024" y="1069"/>
                  </a:lnTo>
                  <a:lnTo>
                    <a:pt x="1020" y="1066"/>
                  </a:lnTo>
                  <a:lnTo>
                    <a:pt x="1019" y="1064"/>
                  </a:lnTo>
                  <a:lnTo>
                    <a:pt x="1008" y="1064"/>
                  </a:lnTo>
                  <a:lnTo>
                    <a:pt x="1002" y="1058"/>
                  </a:lnTo>
                  <a:lnTo>
                    <a:pt x="996" y="1053"/>
                  </a:lnTo>
                  <a:lnTo>
                    <a:pt x="994" y="1046"/>
                  </a:lnTo>
                  <a:lnTo>
                    <a:pt x="987" y="1036"/>
                  </a:lnTo>
                  <a:lnTo>
                    <a:pt x="981" y="1027"/>
                  </a:lnTo>
                  <a:lnTo>
                    <a:pt x="974" y="1020"/>
                  </a:lnTo>
                  <a:lnTo>
                    <a:pt x="974" y="942"/>
                  </a:lnTo>
                  <a:lnTo>
                    <a:pt x="980" y="936"/>
                  </a:lnTo>
                  <a:lnTo>
                    <a:pt x="985" y="931"/>
                  </a:lnTo>
                  <a:lnTo>
                    <a:pt x="995" y="930"/>
                  </a:lnTo>
                  <a:lnTo>
                    <a:pt x="1009" y="929"/>
                  </a:lnTo>
                  <a:lnTo>
                    <a:pt x="1022" y="926"/>
                  </a:lnTo>
                  <a:lnTo>
                    <a:pt x="1035" y="925"/>
                  </a:lnTo>
                  <a:lnTo>
                    <a:pt x="1037" y="923"/>
                  </a:lnTo>
                  <a:lnTo>
                    <a:pt x="1038" y="921"/>
                  </a:lnTo>
                  <a:lnTo>
                    <a:pt x="1041" y="920"/>
                  </a:lnTo>
                  <a:lnTo>
                    <a:pt x="1044" y="920"/>
                  </a:lnTo>
                  <a:lnTo>
                    <a:pt x="1054" y="920"/>
                  </a:lnTo>
                  <a:lnTo>
                    <a:pt x="1066" y="923"/>
                  </a:lnTo>
                  <a:lnTo>
                    <a:pt x="1077" y="926"/>
                  </a:lnTo>
                  <a:lnTo>
                    <a:pt x="1087" y="930"/>
                  </a:lnTo>
                  <a:lnTo>
                    <a:pt x="1094" y="934"/>
                  </a:lnTo>
                  <a:lnTo>
                    <a:pt x="1097" y="936"/>
                  </a:lnTo>
                  <a:lnTo>
                    <a:pt x="1107" y="940"/>
                  </a:lnTo>
                  <a:lnTo>
                    <a:pt x="1118" y="942"/>
                  </a:lnTo>
                  <a:lnTo>
                    <a:pt x="1119" y="945"/>
                  </a:lnTo>
                  <a:lnTo>
                    <a:pt x="1120" y="949"/>
                  </a:lnTo>
                  <a:lnTo>
                    <a:pt x="1123" y="951"/>
                  </a:lnTo>
                  <a:lnTo>
                    <a:pt x="1125" y="954"/>
                  </a:lnTo>
                  <a:lnTo>
                    <a:pt x="1131" y="961"/>
                  </a:lnTo>
                  <a:lnTo>
                    <a:pt x="1138" y="967"/>
                  </a:lnTo>
                  <a:lnTo>
                    <a:pt x="1146" y="972"/>
                  </a:lnTo>
                  <a:lnTo>
                    <a:pt x="1154" y="977"/>
                  </a:lnTo>
                  <a:lnTo>
                    <a:pt x="1159" y="982"/>
                  </a:lnTo>
                  <a:lnTo>
                    <a:pt x="1163" y="987"/>
                  </a:lnTo>
                  <a:lnTo>
                    <a:pt x="1171" y="989"/>
                  </a:lnTo>
                  <a:lnTo>
                    <a:pt x="1179" y="992"/>
                  </a:lnTo>
                  <a:lnTo>
                    <a:pt x="1181" y="996"/>
                  </a:lnTo>
                  <a:lnTo>
                    <a:pt x="1185" y="998"/>
                  </a:lnTo>
                  <a:lnTo>
                    <a:pt x="1187" y="1000"/>
                  </a:lnTo>
                  <a:lnTo>
                    <a:pt x="1188" y="1002"/>
                  </a:lnTo>
                  <a:lnTo>
                    <a:pt x="1190" y="1005"/>
                  </a:lnTo>
                  <a:lnTo>
                    <a:pt x="1191" y="1009"/>
                  </a:lnTo>
                  <a:lnTo>
                    <a:pt x="1198" y="1011"/>
                  </a:lnTo>
                  <a:lnTo>
                    <a:pt x="1207" y="1015"/>
                  </a:lnTo>
                  <a:lnTo>
                    <a:pt x="1213" y="1020"/>
                  </a:lnTo>
                  <a:lnTo>
                    <a:pt x="1213" y="1030"/>
                  </a:lnTo>
                  <a:lnTo>
                    <a:pt x="1216" y="1031"/>
                  </a:lnTo>
                  <a:lnTo>
                    <a:pt x="1220" y="1032"/>
                  </a:lnTo>
                  <a:lnTo>
                    <a:pt x="1221" y="1035"/>
                  </a:lnTo>
                  <a:lnTo>
                    <a:pt x="1223" y="1036"/>
                  </a:lnTo>
                  <a:lnTo>
                    <a:pt x="1226" y="1040"/>
                  </a:lnTo>
                  <a:lnTo>
                    <a:pt x="1230" y="1041"/>
                  </a:lnTo>
                  <a:lnTo>
                    <a:pt x="1232" y="1058"/>
                  </a:lnTo>
                  <a:lnTo>
                    <a:pt x="1235" y="1075"/>
                  </a:lnTo>
                  <a:lnTo>
                    <a:pt x="1246" y="1080"/>
                  </a:lnTo>
                  <a:lnTo>
                    <a:pt x="1246" y="1085"/>
                  </a:lnTo>
                  <a:lnTo>
                    <a:pt x="1248" y="1089"/>
                  </a:lnTo>
                  <a:lnTo>
                    <a:pt x="1250" y="1095"/>
                  </a:lnTo>
                  <a:lnTo>
                    <a:pt x="1252" y="1099"/>
                  </a:lnTo>
                  <a:lnTo>
                    <a:pt x="1258" y="1108"/>
                  </a:lnTo>
                  <a:lnTo>
                    <a:pt x="1262" y="1114"/>
                  </a:lnTo>
                  <a:lnTo>
                    <a:pt x="1263" y="1125"/>
                  </a:lnTo>
                  <a:lnTo>
                    <a:pt x="1265" y="1138"/>
                  </a:lnTo>
                  <a:lnTo>
                    <a:pt x="1268" y="1154"/>
                  </a:lnTo>
                  <a:lnTo>
                    <a:pt x="1271" y="1170"/>
                  </a:lnTo>
                  <a:lnTo>
                    <a:pt x="1274" y="1186"/>
                  </a:lnTo>
                  <a:lnTo>
                    <a:pt x="1277" y="1202"/>
                  </a:lnTo>
                  <a:lnTo>
                    <a:pt x="1279" y="1217"/>
                  </a:lnTo>
                  <a:lnTo>
                    <a:pt x="1279" y="1230"/>
                  </a:lnTo>
                  <a:lnTo>
                    <a:pt x="1307" y="1230"/>
                  </a:lnTo>
                  <a:lnTo>
                    <a:pt x="1308" y="1227"/>
                  </a:lnTo>
                  <a:lnTo>
                    <a:pt x="1310" y="1226"/>
                  </a:lnTo>
                  <a:lnTo>
                    <a:pt x="1313" y="1224"/>
                  </a:lnTo>
                  <a:lnTo>
                    <a:pt x="1318" y="1224"/>
                  </a:lnTo>
                  <a:lnTo>
                    <a:pt x="1322" y="1215"/>
                  </a:lnTo>
                  <a:lnTo>
                    <a:pt x="1329" y="1207"/>
                  </a:lnTo>
                  <a:lnTo>
                    <a:pt x="1332" y="1203"/>
                  </a:lnTo>
                  <a:lnTo>
                    <a:pt x="1335" y="1200"/>
                  </a:lnTo>
                  <a:lnTo>
                    <a:pt x="1338" y="1198"/>
                  </a:lnTo>
                  <a:lnTo>
                    <a:pt x="1340" y="1197"/>
                  </a:lnTo>
                  <a:lnTo>
                    <a:pt x="1340" y="1185"/>
                  </a:lnTo>
                  <a:lnTo>
                    <a:pt x="1346" y="1180"/>
                  </a:lnTo>
                  <a:lnTo>
                    <a:pt x="1351" y="1174"/>
                  </a:lnTo>
                  <a:lnTo>
                    <a:pt x="1354" y="1173"/>
                  </a:lnTo>
                  <a:lnTo>
                    <a:pt x="1358" y="1170"/>
                  </a:lnTo>
                  <a:lnTo>
                    <a:pt x="1363" y="1165"/>
                  </a:lnTo>
                  <a:lnTo>
                    <a:pt x="1369" y="1159"/>
                  </a:lnTo>
                  <a:lnTo>
                    <a:pt x="1383" y="1141"/>
                  </a:lnTo>
                  <a:lnTo>
                    <a:pt x="1397" y="1121"/>
                  </a:lnTo>
                  <a:lnTo>
                    <a:pt x="1425" y="1082"/>
                  </a:lnTo>
                  <a:lnTo>
                    <a:pt x="1440" y="1058"/>
                  </a:lnTo>
                  <a:lnTo>
                    <a:pt x="1456" y="1058"/>
                  </a:lnTo>
                  <a:lnTo>
                    <a:pt x="1473" y="1056"/>
                  </a:lnTo>
                  <a:lnTo>
                    <a:pt x="1489" y="1054"/>
                  </a:lnTo>
                  <a:lnTo>
                    <a:pt x="1503" y="1050"/>
                  </a:lnTo>
                  <a:lnTo>
                    <a:pt x="1517" y="1046"/>
                  </a:lnTo>
                  <a:lnTo>
                    <a:pt x="1530" y="1040"/>
                  </a:lnTo>
                  <a:lnTo>
                    <a:pt x="1542" y="1035"/>
                  </a:lnTo>
                  <a:lnTo>
                    <a:pt x="1556" y="1028"/>
                  </a:lnTo>
                  <a:lnTo>
                    <a:pt x="1540" y="1025"/>
                  </a:lnTo>
                  <a:lnTo>
                    <a:pt x="1522" y="1021"/>
                  </a:lnTo>
                  <a:lnTo>
                    <a:pt x="1514" y="1021"/>
                  </a:lnTo>
                  <a:lnTo>
                    <a:pt x="1507" y="1022"/>
                  </a:lnTo>
                  <a:lnTo>
                    <a:pt x="1504" y="1024"/>
                  </a:lnTo>
                  <a:lnTo>
                    <a:pt x="1502" y="1026"/>
                  </a:lnTo>
                  <a:lnTo>
                    <a:pt x="1501" y="1028"/>
                  </a:lnTo>
                  <a:lnTo>
                    <a:pt x="1501" y="1030"/>
                  </a:lnTo>
                  <a:lnTo>
                    <a:pt x="1496" y="1031"/>
                  </a:lnTo>
                  <a:lnTo>
                    <a:pt x="1493" y="1031"/>
                  </a:lnTo>
                  <a:lnTo>
                    <a:pt x="1491" y="1034"/>
                  </a:lnTo>
                  <a:lnTo>
                    <a:pt x="1490" y="1036"/>
                  </a:lnTo>
                  <a:lnTo>
                    <a:pt x="1481" y="1036"/>
                  </a:lnTo>
                  <a:lnTo>
                    <a:pt x="1470" y="1036"/>
                  </a:lnTo>
                  <a:lnTo>
                    <a:pt x="1460" y="1036"/>
                  </a:lnTo>
                  <a:lnTo>
                    <a:pt x="1451" y="1036"/>
                  </a:lnTo>
                  <a:lnTo>
                    <a:pt x="1445" y="1025"/>
                  </a:lnTo>
                  <a:lnTo>
                    <a:pt x="1441" y="1025"/>
                  </a:lnTo>
                  <a:lnTo>
                    <a:pt x="1437" y="1021"/>
                  </a:lnTo>
                  <a:lnTo>
                    <a:pt x="1433" y="1018"/>
                  </a:lnTo>
                  <a:lnTo>
                    <a:pt x="1428" y="1012"/>
                  </a:lnTo>
                  <a:lnTo>
                    <a:pt x="1421" y="999"/>
                  </a:lnTo>
                  <a:lnTo>
                    <a:pt x="1414" y="983"/>
                  </a:lnTo>
                  <a:lnTo>
                    <a:pt x="1406" y="969"/>
                  </a:lnTo>
                  <a:lnTo>
                    <a:pt x="1400" y="955"/>
                  </a:lnTo>
                  <a:lnTo>
                    <a:pt x="1397" y="950"/>
                  </a:lnTo>
                  <a:lnTo>
                    <a:pt x="1395" y="945"/>
                  </a:lnTo>
                  <a:lnTo>
                    <a:pt x="1392" y="943"/>
                  </a:lnTo>
                  <a:lnTo>
                    <a:pt x="1390" y="942"/>
                  </a:lnTo>
                  <a:lnTo>
                    <a:pt x="1390" y="931"/>
                  </a:lnTo>
                  <a:lnTo>
                    <a:pt x="1385" y="929"/>
                  </a:lnTo>
                  <a:lnTo>
                    <a:pt x="1379" y="925"/>
                  </a:lnTo>
                  <a:lnTo>
                    <a:pt x="1379" y="914"/>
                  </a:lnTo>
                  <a:lnTo>
                    <a:pt x="1374" y="909"/>
                  </a:lnTo>
                  <a:lnTo>
                    <a:pt x="1369" y="907"/>
                  </a:lnTo>
                  <a:lnTo>
                    <a:pt x="1365" y="904"/>
                  </a:lnTo>
                  <a:lnTo>
                    <a:pt x="1361" y="900"/>
                  </a:lnTo>
                  <a:lnTo>
                    <a:pt x="1357" y="895"/>
                  </a:lnTo>
                  <a:lnTo>
                    <a:pt x="1350" y="885"/>
                  </a:lnTo>
                  <a:lnTo>
                    <a:pt x="1346" y="881"/>
                  </a:lnTo>
                  <a:lnTo>
                    <a:pt x="1344" y="876"/>
                  </a:lnTo>
                  <a:lnTo>
                    <a:pt x="1339" y="871"/>
                  </a:lnTo>
                  <a:lnTo>
                    <a:pt x="1334" y="866"/>
                  </a:lnTo>
                  <a:lnTo>
                    <a:pt x="1329" y="865"/>
                  </a:lnTo>
                  <a:lnTo>
                    <a:pt x="1329" y="858"/>
                  </a:lnTo>
                  <a:lnTo>
                    <a:pt x="1328" y="854"/>
                  </a:lnTo>
                  <a:lnTo>
                    <a:pt x="1327" y="853"/>
                  </a:lnTo>
                  <a:lnTo>
                    <a:pt x="1326" y="852"/>
                  </a:lnTo>
                  <a:lnTo>
                    <a:pt x="1326" y="853"/>
                  </a:lnTo>
                  <a:lnTo>
                    <a:pt x="1325" y="852"/>
                  </a:lnTo>
                  <a:lnTo>
                    <a:pt x="1323" y="851"/>
                  </a:lnTo>
                  <a:lnTo>
                    <a:pt x="1323" y="848"/>
                  </a:lnTo>
                  <a:lnTo>
                    <a:pt x="1312" y="843"/>
                  </a:lnTo>
                  <a:lnTo>
                    <a:pt x="1312" y="838"/>
                  </a:lnTo>
                  <a:lnTo>
                    <a:pt x="1311" y="835"/>
                  </a:lnTo>
                  <a:lnTo>
                    <a:pt x="1310" y="833"/>
                  </a:lnTo>
                  <a:lnTo>
                    <a:pt x="1307" y="832"/>
                  </a:lnTo>
                  <a:lnTo>
                    <a:pt x="1306" y="822"/>
                  </a:lnTo>
                  <a:lnTo>
                    <a:pt x="1304" y="810"/>
                  </a:lnTo>
                  <a:lnTo>
                    <a:pt x="1301" y="800"/>
                  </a:lnTo>
                  <a:lnTo>
                    <a:pt x="1299" y="790"/>
                  </a:lnTo>
                  <a:lnTo>
                    <a:pt x="1296" y="779"/>
                  </a:lnTo>
                  <a:lnTo>
                    <a:pt x="1293" y="769"/>
                  </a:lnTo>
                  <a:lnTo>
                    <a:pt x="1291" y="759"/>
                  </a:lnTo>
                  <a:lnTo>
                    <a:pt x="1290" y="748"/>
                  </a:lnTo>
                  <a:lnTo>
                    <a:pt x="1284" y="746"/>
                  </a:lnTo>
                  <a:lnTo>
                    <a:pt x="1279" y="742"/>
                  </a:lnTo>
                  <a:lnTo>
                    <a:pt x="1273" y="737"/>
                  </a:lnTo>
                  <a:lnTo>
                    <a:pt x="1268" y="731"/>
                  </a:lnTo>
                  <a:lnTo>
                    <a:pt x="1268" y="721"/>
                  </a:lnTo>
                  <a:lnTo>
                    <a:pt x="1262" y="715"/>
                  </a:lnTo>
                  <a:lnTo>
                    <a:pt x="1256" y="710"/>
                  </a:lnTo>
                  <a:lnTo>
                    <a:pt x="1246" y="710"/>
                  </a:lnTo>
                  <a:lnTo>
                    <a:pt x="1241" y="699"/>
                  </a:lnTo>
                  <a:lnTo>
                    <a:pt x="1235" y="693"/>
                  </a:lnTo>
                  <a:lnTo>
                    <a:pt x="1224" y="693"/>
                  </a:lnTo>
                  <a:lnTo>
                    <a:pt x="1223" y="689"/>
                  </a:lnTo>
                  <a:lnTo>
                    <a:pt x="1221" y="685"/>
                  </a:lnTo>
                  <a:lnTo>
                    <a:pt x="1216" y="683"/>
                  </a:lnTo>
                  <a:lnTo>
                    <a:pt x="1213" y="682"/>
                  </a:lnTo>
                  <a:lnTo>
                    <a:pt x="1210" y="676"/>
                  </a:lnTo>
                  <a:lnTo>
                    <a:pt x="1207" y="671"/>
                  </a:lnTo>
                  <a:lnTo>
                    <a:pt x="1194" y="665"/>
                  </a:lnTo>
                  <a:lnTo>
                    <a:pt x="1185" y="660"/>
                  </a:lnTo>
                  <a:lnTo>
                    <a:pt x="1187" y="657"/>
                  </a:lnTo>
                  <a:lnTo>
                    <a:pt x="1195" y="654"/>
                  </a:lnTo>
                  <a:lnTo>
                    <a:pt x="1204" y="651"/>
                  </a:lnTo>
                  <a:lnTo>
                    <a:pt x="1213" y="649"/>
                  </a:lnTo>
                  <a:lnTo>
                    <a:pt x="1214" y="644"/>
                  </a:lnTo>
                  <a:lnTo>
                    <a:pt x="1219" y="641"/>
                  </a:lnTo>
                  <a:lnTo>
                    <a:pt x="1222" y="638"/>
                  </a:lnTo>
                  <a:lnTo>
                    <a:pt x="1224" y="637"/>
                  </a:lnTo>
                  <a:lnTo>
                    <a:pt x="1224" y="633"/>
                  </a:lnTo>
                  <a:lnTo>
                    <a:pt x="1224" y="630"/>
                  </a:lnTo>
                  <a:lnTo>
                    <a:pt x="1226" y="627"/>
                  </a:lnTo>
                  <a:lnTo>
                    <a:pt x="1230" y="626"/>
                  </a:lnTo>
                  <a:lnTo>
                    <a:pt x="1230" y="618"/>
                  </a:lnTo>
                  <a:lnTo>
                    <a:pt x="1230" y="609"/>
                  </a:lnTo>
                  <a:lnTo>
                    <a:pt x="1296" y="609"/>
                  </a:lnTo>
                  <a:lnTo>
                    <a:pt x="1296" y="560"/>
                  </a:lnTo>
                  <a:lnTo>
                    <a:pt x="1301" y="551"/>
                  </a:lnTo>
                  <a:lnTo>
                    <a:pt x="1307" y="538"/>
                  </a:lnTo>
                  <a:lnTo>
                    <a:pt x="1318" y="538"/>
                  </a:lnTo>
                  <a:lnTo>
                    <a:pt x="1323" y="532"/>
                  </a:lnTo>
                  <a:lnTo>
                    <a:pt x="1329" y="527"/>
                  </a:lnTo>
                  <a:lnTo>
                    <a:pt x="1335" y="521"/>
                  </a:lnTo>
                  <a:lnTo>
                    <a:pt x="1340" y="516"/>
                  </a:lnTo>
                  <a:lnTo>
                    <a:pt x="1340" y="510"/>
                  </a:lnTo>
                  <a:lnTo>
                    <a:pt x="1340" y="502"/>
                  </a:lnTo>
                  <a:lnTo>
                    <a:pt x="1341" y="499"/>
                  </a:lnTo>
                  <a:lnTo>
                    <a:pt x="1342" y="497"/>
                  </a:lnTo>
                  <a:lnTo>
                    <a:pt x="1344" y="494"/>
                  </a:lnTo>
                  <a:lnTo>
                    <a:pt x="1346" y="493"/>
                  </a:lnTo>
                  <a:lnTo>
                    <a:pt x="1346" y="449"/>
                  </a:lnTo>
                  <a:lnTo>
                    <a:pt x="1335" y="443"/>
                  </a:lnTo>
                  <a:lnTo>
                    <a:pt x="1331" y="438"/>
                  </a:lnTo>
                  <a:lnTo>
                    <a:pt x="1329" y="433"/>
                  </a:lnTo>
                  <a:lnTo>
                    <a:pt x="1318" y="433"/>
                  </a:lnTo>
                  <a:lnTo>
                    <a:pt x="1313" y="429"/>
                  </a:lnTo>
                  <a:lnTo>
                    <a:pt x="1310" y="424"/>
                  </a:lnTo>
                  <a:lnTo>
                    <a:pt x="1308" y="420"/>
                  </a:lnTo>
                  <a:lnTo>
                    <a:pt x="1307" y="416"/>
                  </a:lnTo>
                  <a:lnTo>
                    <a:pt x="1296" y="411"/>
                  </a:lnTo>
                  <a:lnTo>
                    <a:pt x="1284" y="405"/>
                  </a:lnTo>
                  <a:lnTo>
                    <a:pt x="1283" y="401"/>
                  </a:lnTo>
                  <a:lnTo>
                    <a:pt x="1280" y="396"/>
                  </a:lnTo>
                  <a:lnTo>
                    <a:pt x="1275" y="392"/>
                  </a:lnTo>
                  <a:lnTo>
                    <a:pt x="1271" y="387"/>
                  </a:lnTo>
                  <a:lnTo>
                    <a:pt x="1265" y="383"/>
                  </a:lnTo>
                  <a:lnTo>
                    <a:pt x="1261" y="377"/>
                  </a:lnTo>
                  <a:lnTo>
                    <a:pt x="1258" y="372"/>
                  </a:lnTo>
                  <a:lnTo>
                    <a:pt x="1256" y="366"/>
                  </a:lnTo>
                  <a:lnTo>
                    <a:pt x="1246" y="359"/>
                  </a:lnTo>
                  <a:lnTo>
                    <a:pt x="1227" y="344"/>
                  </a:lnTo>
                  <a:lnTo>
                    <a:pt x="1210" y="328"/>
                  </a:lnTo>
                  <a:lnTo>
                    <a:pt x="1202" y="322"/>
                  </a:lnTo>
                  <a:lnTo>
                    <a:pt x="1185" y="310"/>
                  </a:lnTo>
                  <a:lnTo>
                    <a:pt x="1168" y="299"/>
                  </a:lnTo>
                  <a:lnTo>
                    <a:pt x="1167" y="292"/>
                  </a:lnTo>
                  <a:lnTo>
                    <a:pt x="1165" y="287"/>
                  </a:lnTo>
                  <a:lnTo>
                    <a:pt x="1162" y="281"/>
                  </a:lnTo>
                  <a:lnTo>
                    <a:pt x="1157" y="278"/>
                  </a:lnTo>
                  <a:lnTo>
                    <a:pt x="1157" y="267"/>
                  </a:lnTo>
                  <a:lnTo>
                    <a:pt x="1146" y="261"/>
                  </a:lnTo>
                  <a:lnTo>
                    <a:pt x="1146" y="250"/>
                  </a:lnTo>
                  <a:lnTo>
                    <a:pt x="1143" y="249"/>
                  </a:lnTo>
                  <a:lnTo>
                    <a:pt x="1142" y="247"/>
                  </a:lnTo>
                  <a:lnTo>
                    <a:pt x="1140" y="242"/>
                  </a:lnTo>
                  <a:lnTo>
                    <a:pt x="1140" y="239"/>
                  </a:lnTo>
                  <a:lnTo>
                    <a:pt x="1135" y="233"/>
                  </a:lnTo>
                  <a:lnTo>
                    <a:pt x="1129" y="228"/>
                  </a:lnTo>
                  <a:lnTo>
                    <a:pt x="1124" y="222"/>
                  </a:lnTo>
                  <a:lnTo>
                    <a:pt x="1118" y="217"/>
                  </a:lnTo>
                  <a:lnTo>
                    <a:pt x="1110" y="213"/>
                  </a:lnTo>
                  <a:lnTo>
                    <a:pt x="1101" y="211"/>
                  </a:lnTo>
                  <a:lnTo>
                    <a:pt x="1101" y="209"/>
                  </a:lnTo>
                  <a:lnTo>
                    <a:pt x="1099" y="207"/>
                  </a:lnTo>
                  <a:lnTo>
                    <a:pt x="1096" y="203"/>
                  </a:lnTo>
                  <a:lnTo>
                    <a:pt x="1092" y="201"/>
                  </a:lnTo>
                  <a:lnTo>
                    <a:pt x="1086" y="197"/>
                  </a:lnTo>
                  <a:lnTo>
                    <a:pt x="1080" y="194"/>
                  </a:lnTo>
                  <a:lnTo>
                    <a:pt x="1077" y="189"/>
                  </a:lnTo>
                  <a:lnTo>
                    <a:pt x="1075" y="183"/>
                  </a:lnTo>
                  <a:lnTo>
                    <a:pt x="1051" y="183"/>
                  </a:lnTo>
                  <a:lnTo>
                    <a:pt x="1029" y="184"/>
                  </a:lnTo>
                  <a:lnTo>
                    <a:pt x="1005" y="185"/>
                  </a:lnTo>
                  <a:lnTo>
                    <a:pt x="983" y="186"/>
                  </a:lnTo>
                  <a:lnTo>
                    <a:pt x="960" y="188"/>
                  </a:lnTo>
                  <a:lnTo>
                    <a:pt x="937" y="188"/>
                  </a:lnTo>
                  <a:lnTo>
                    <a:pt x="914" y="189"/>
                  </a:lnTo>
                  <a:lnTo>
                    <a:pt x="891" y="189"/>
                  </a:lnTo>
                  <a:lnTo>
                    <a:pt x="889" y="186"/>
                  </a:lnTo>
                  <a:lnTo>
                    <a:pt x="885" y="181"/>
                  </a:lnTo>
                  <a:lnTo>
                    <a:pt x="879" y="175"/>
                  </a:lnTo>
                  <a:lnTo>
                    <a:pt x="875" y="172"/>
                  </a:lnTo>
                  <a:lnTo>
                    <a:pt x="875" y="161"/>
                  </a:lnTo>
                  <a:lnTo>
                    <a:pt x="864" y="150"/>
                  </a:lnTo>
                  <a:lnTo>
                    <a:pt x="862" y="123"/>
                  </a:lnTo>
                  <a:lnTo>
                    <a:pt x="861" y="92"/>
                  </a:lnTo>
                  <a:lnTo>
                    <a:pt x="859" y="59"/>
                  </a:lnTo>
                  <a:lnTo>
                    <a:pt x="858" y="28"/>
                  </a:lnTo>
                  <a:lnTo>
                    <a:pt x="856" y="28"/>
                  </a:lnTo>
                  <a:lnTo>
                    <a:pt x="854" y="27"/>
                  </a:lnTo>
                  <a:lnTo>
                    <a:pt x="852" y="25"/>
                  </a:lnTo>
                  <a:lnTo>
                    <a:pt x="850" y="22"/>
                  </a:lnTo>
                  <a:lnTo>
                    <a:pt x="848" y="17"/>
                  </a:lnTo>
                  <a:lnTo>
                    <a:pt x="847" y="11"/>
                  </a:lnTo>
                  <a:lnTo>
                    <a:pt x="841" y="6"/>
                  </a:lnTo>
                  <a:lnTo>
                    <a:pt x="830" y="6"/>
                  </a:lnTo>
                  <a:lnTo>
                    <a:pt x="829" y="5"/>
                  </a:lnTo>
                  <a:lnTo>
                    <a:pt x="826" y="3"/>
                  </a:lnTo>
                  <a:lnTo>
                    <a:pt x="820" y="2"/>
                  </a:lnTo>
                  <a:lnTo>
                    <a:pt x="813" y="1"/>
                  </a:lnTo>
                  <a:lnTo>
                    <a:pt x="800" y="1"/>
                  </a:lnTo>
                  <a:lnTo>
                    <a:pt x="792" y="0"/>
                  </a:lnTo>
                  <a:lnTo>
                    <a:pt x="792" y="11"/>
                  </a:lnTo>
                  <a:lnTo>
                    <a:pt x="787" y="22"/>
                  </a:lnTo>
                  <a:lnTo>
                    <a:pt x="782" y="24"/>
                  </a:lnTo>
                  <a:lnTo>
                    <a:pt x="779" y="26"/>
                  </a:lnTo>
                  <a:lnTo>
                    <a:pt x="776" y="28"/>
                  </a:lnTo>
                  <a:lnTo>
                    <a:pt x="773" y="31"/>
                  </a:lnTo>
                  <a:lnTo>
                    <a:pt x="771" y="37"/>
                  </a:lnTo>
                  <a:lnTo>
                    <a:pt x="770" y="39"/>
                  </a:lnTo>
                  <a:lnTo>
                    <a:pt x="770" y="50"/>
                  </a:lnTo>
                  <a:lnTo>
                    <a:pt x="768" y="51"/>
                  </a:lnTo>
                  <a:lnTo>
                    <a:pt x="766" y="53"/>
                  </a:lnTo>
                  <a:lnTo>
                    <a:pt x="765" y="55"/>
                  </a:lnTo>
                  <a:lnTo>
                    <a:pt x="764" y="57"/>
                  </a:lnTo>
                  <a:lnTo>
                    <a:pt x="764" y="63"/>
                  </a:lnTo>
                  <a:lnTo>
                    <a:pt x="764" y="67"/>
                  </a:lnTo>
                  <a:lnTo>
                    <a:pt x="753" y="67"/>
                  </a:lnTo>
                  <a:lnTo>
                    <a:pt x="750" y="69"/>
                  </a:lnTo>
                  <a:lnTo>
                    <a:pt x="742" y="70"/>
                  </a:lnTo>
                  <a:lnTo>
                    <a:pt x="731" y="72"/>
                  </a:lnTo>
                  <a:lnTo>
                    <a:pt x="718" y="72"/>
                  </a:lnTo>
                  <a:lnTo>
                    <a:pt x="692" y="73"/>
                  </a:lnTo>
                  <a:lnTo>
                    <a:pt x="675" y="73"/>
                  </a:lnTo>
                  <a:lnTo>
                    <a:pt x="675" y="76"/>
                  </a:lnTo>
                  <a:lnTo>
                    <a:pt x="672" y="77"/>
                  </a:lnTo>
                  <a:lnTo>
                    <a:pt x="668" y="78"/>
                  </a:lnTo>
                  <a:lnTo>
                    <a:pt x="664" y="78"/>
                  </a:lnTo>
                  <a:lnTo>
                    <a:pt x="664" y="82"/>
                  </a:lnTo>
                  <a:lnTo>
                    <a:pt x="660" y="83"/>
                  </a:lnTo>
                  <a:lnTo>
                    <a:pt x="657" y="84"/>
                  </a:lnTo>
                  <a:lnTo>
                    <a:pt x="654" y="84"/>
                  </a:lnTo>
                  <a:lnTo>
                    <a:pt x="653" y="87"/>
                  </a:lnTo>
                  <a:lnTo>
                    <a:pt x="649" y="88"/>
                  </a:lnTo>
                  <a:lnTo>
                    <a:pt x="646" y="89"/>
                  </a:lnTo>
                  <a:lnTo>
                    <a:pt x="643" y="89"/>
                  </a:lnTo>
                  <a:lnTo>
                    <a:pt x="640" y="93"/>
                  </a:lnTo>
                  <a:lnTo>
                    <a:pt x="637" y="97"/>
                  </a:lnTo>
                  <a:lnTo>
                    <a:pt x="632" y="99"/>
                  </a:lnTo>
                  <a:lnTo>
                    <a:pt x="631" y="101"/>
                  </a:lnTo>
                  <a:lnTo>
                    <a:pt x="631" y="117"/>
                  </a:lnTo>
                  <a:lnTo>
                    <a:pt x="629" y="117"/>
                  </a:lnTo>
                  <a:lnTo>
                    <a:pt x="628" y="118"/>
                  </a:lnTo>
                  <a:lnTo>
                    <a:pt x="627" y="121"/>
                  </a:lnTo>
                  <a:lnTo>
                    <a:pt x="626" y="123"/>
                  </a:lnTo>
                  <a:lnTo>
                    <a:pt x="626" y="128"/>
                  </a:lnTo>
                  <a:lnTo>
                    <a:pt x="626" y="134"/>
                  </a:lnTo>
                  <a:lnTo>
                    <a:pt x="615" y="138"/>
                  </a:lnTo>
                  <a:lnTo>
                    <a:pt x="615" y="150"/>
                  </a:lnTo>
                  <a:lnTo>
                    <a:pt x="609" y="155"/>
                  </a:lnTo>
                  <a:lnTo>
                    <a:pt x="598" y="155"/>
                  </a:lnTo>
                  <a:lnTo>
                    <a:pt x="589" y="164"/>
                  </a:lnTo>
                  <a:lnTo>
                    <a:pt x="581" y="172"/>
                  </a:lnTo>
                  <a:lnTo>
                    <a:pt x="567" y="172"/>
                  </a:lnTo>
                  <a:lnTo>
                    <a:pt x="551" y="170"/>
                  </a:lnTo>
                  <a:lnTo>
                    <a:pt x="534" y="167"/>
                  </a:lnTo>
                  <a:lnTo>
                    <a:pt x="519" y="164"/>
                  </a:lnTo>
                  <a:lnTo>
                    <a:pt x="503" y="161"/>
                  </a:lnTo>
                  <a:lnTo>
                    <a:pt x="490" y="159"/>
                  </a:lnTo>
                  <a:lnTo>
                    <a:pt x="476" y="156"/>
                  </a:lnTo>
                  <a:lnTo>
                    <a:pt x="465" y="155"/>
                  </a:lnTo>
                  <a:lnTo>
                    <a:pt x="464" y="153"/>
                  </a:lnTo>
                  <a:lnTo>
                    <a:pt x="461" y="151"/>
                  </a:lnTo>
                  <a:lnTo>
                    <a:pt x="456" y="147"/>
                  </a:lnTo>
                  <a:lnTo>
                    <a:pt x="451" y="145"/>
                  </a:lnTo>
                  <a:lnTo>
                    <a:pt x="439" y="141"/>
                  </a:lnTo>
                  <a:lnTo>
                    <a:pt x="432" y="138"/>
                  </a:lnTo>
                  <a:lnTo>
                    <a:pt x="432" y="137"/>
                  </a:lnTo>
                  <a:lnTo>
                    <a:pt x="429" y="136"/>
                  </a:lnTo>
                  <a:lnTo>
                    <a:pt x="428" y="135"/>
                  </a:lnTo>
                  <a:lnTo>
                    <a:pt x="425" y="134"/>
                  </a:lnTo>
                  <a:lnTo>
                    <a:pt x="420" y="134"/>
                  </a:lnTo>
                  <a:lnTo>
                    <a:pt x="415" y="134"/>
                  </a:lnTo>
                  <a:lnTo>
                    <a:pt x="414" y="131"/>
                  </a:lnTo>
                  <a:lnTo>
                    <a:pt x="411" y="128"/>
                  </a:lnTo>
                  <a:lnTo>
                    <a:pt x="408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3" y="124"/>
                  </a:lnTo>
                  <a:lnTo>
                    <a:pt x="400" y="122"/>
                  </a:lnTo>
                  <a:lnTo>
                    <a:pt x="398" y="121"/>
                  </a:lnTo>
                  <a:lnTo>
                    <a:pt x="392" y="118"/>
                  </a:lnTo>
                  <a:lnTo>
                    <a:pt x="387" y="117"/>
                  </a:lnTo>
                  <a:lnTo>
                    <a:pt x="381" y="112"/>
                  </a:lnTo>
                  <a:lnTo>
                    <a:pt x="381" y="101"/>
                  </a:lnTo>
                  <a:lnTo>
                    <a:pt x="376" y="95"/>
                  </a:lnTo>
                  <a:lnTo>
                    <a:pt x="365" y="92"/>
                  </a:lnTo>
                  <a:lnTo>
                    <a:pt x="349" y="89"/>
                  </a:lnTo>
                  <a:lnTo>
                    <a:pt x="349" y="8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9" name="Freeform 25"/>
            <p:cNvSpPr>
              <a:spLocks noChangeAspect="1"/>
            </p:cNvSpPr>
            <p:nvPr/>
          </p:nvSpPr>
          <p:spPr bwMode="gray">
            <a:xfrm rot="355651">
              <a:off x="6000621" y="3298825"/>
              <a:ext cx="549080" cy="312995"/>
            </a:xfrm>
            <a:custGeom>
              <a:avLst/>
              <a:gdLst/>
              <a:ahLst/>
              <a:cxnLst>
                <a:cxn ang="0">
                  <a:pos x="2941" y="1828"/>
                </a:cxn>
                <a:cxn ang="0">
                  <a:pos x="2825" y="1778"/>
                </a:cxn>
                <a:cxn ang="0">
                  <a:pos x="2753" y="1654"/>
                </a:cxn>
                <a:cxn ang="0">
                  <a:pos x="2820" y="1585"/>
                </a:cxn>
                <a:cxn ang="0">
                  <a:pos x="2699" y="1490"/>
                </a:cxn>
                <a:cxn ang="0">
                  <a:pos x="2532" y="1462"/>
                </a:cxn>
                <a:cxn ang="0">
                  <a:pos x="2444" y="1502"/>
                </a:cxn>
                <a:cxn ang="0">
                  <a:pos x="2371" y="1363"/>
                </a:cxn>
                <a:cxn ang="0">
                  <a:pos x="2218" y="1286"/>
                </a:cxn>
                <a:cxn ang="0">
                  <a:pos x="1844" y="1192"/>
                </a:cxn>
                <a:cxn ang="0">
                  <a:pos x="1762" y="1122"/>
                </a:cxn>
                <a:cxn ang="0">
                  <a:pos x="1673" y="1047"/>
                </a:cxn>
                <a:cxn ang="0">
                  <a:pos x="1656" y="948"/>
                </a:cxn>
                <a:cxn ang="0">
                  <a:pos x="1914" y="870"/>
                </a:cxn>
                <a:cxn ang="0">
                  <a:pos x="2072" y="810"/>
                </a:cxn>
                <a:cxn ang="0">
                  <a:pos x="2182" y="731"/>
                </a:cxn>
                <a:cxn ang="0">
                  <a:pos x="2210" y="621"/>
                </a:cxn>
                <a:cxn ang="0">
                  <a:pos x="2139" y="688"/>
                </a:cxn>
                <a:cxn ang="0">
                  <a:pos x="1961" y="704"/>
                </a:cxn>
                <a:cxn ang="0">
                  <a:pos x="1852" y="669"/>
                </a:cxn>
                <a:cxn ang="0">
                  <a:pos x="1746" y="622"/>
                </a:cxn>
                <a:cxn ang="0">
                  <a:pos x="1578" y="569"/>
                </a:cxn>
                <a:cxn ang="0">
                  <a:pos x="1440" y="537"/>
                </a:cxn>
                <a:cxn ang="0">
                  <a:pos x="1296" y="560"/>
                </a:cxn>
                <a:cxn ang="0">
                  <a:pos x="1252" y="471"/>
                </a:cxn>
                <a:cxn ang="0">
                  <a:pos x="1210" y="394"/>
                </a:cxn>
                <a:cxn ang="0">
                  <a:pos x="1166" y="256"/>
                </a:cxn>
                <a:cxn ang="0">
                  <a:pos x="1092" y="127"/>
                </a:cxn>
                <a:cxn ang="0">
                  <a:pos x="867" y="9"/>
                </a:cxn>
                <a:cxn ang="0">
                  <a:pos x="731" y="17"/>
                </a:cxn>
                <a:cxn ang="0">
                  <a:pos x="686" y="127"/>
                </a:cxn>
                <a:cxn ang="0">
                  <a:pos x="612" y="281"/>
                </a:cxn>
                <a:cxn ang="0">
                  <a:pos x="662" y="479"/>
                </a:cxn>
                <a:cxn ang="0">
                  <a:pos x="486" y="533"/>
                </a:cxn>
                <a:cxn ang="0">
                  <a:pos x="407" y="557"/>
                </a:cxn>
                <a:cxn ang="0">
                  <a:pos x="39" y="593"/>
                </a:cxn>
                <a:cxn ang="0">
                  <a:pos x="17" y="774"/>
                </a:cxn>
                <a:cxn ang="0">
                  <a:pos x="101" y="899"/>
                </a:cxn>
                <a:cxn ang="0">
                  <a:pos x="177" y="1114"/>
                </a:cxn>
                <a:cxn ang="0">
                  <a:pos x="220" y="1182"/>
                </a:cxn>
                <a:cxn ang="0">
                  <a:pos x="355" y="1252"/>
                </a:cxn>
                <a:cxn ang="0">
                  <a:pos x="432" y="1297"/>
                </a:cxn>
                <a:cxn ang="0">
                  <a:pos x="568" y="1333"/>
                </a:cxn>
                <a:cxn ang="0">
                  <a:pos x="657" y="1256"/>
                </a:cxn>
                <a:cxn ang="0">
                  <a:pos x="767" y="1232"/>
                </a:cxn>
                <a:cxn ang="0">
                  <a:pos x="817" y="1164"/>
                </a:cxn>
                <a:cxn ang="0">
                  <a:pos x="892" y="1324"/>
                </a:cxn>
                <a:cxn ang="0">
                  <a:pos x="1113" y="1366"/>
                </a:cxn>
                <a:cxn ang="0">
                  <a:pos x="1182" y="1450"/>
                </a:cxn>
                <a:cxn ang="0">
                  <a:pos x="1324" y="1579"/>
                </a:cxn>
                <a:cxn ang="0">
                  <a:pos x="1340" y="1695"/>
                </a:cxn>
                <a:cxn ang="0">
                  <a:pos x="1529" y="1778"/>
                </a:cxn>
                <a:cxn ang="0">
                  <a:pos x="1748" y="1779"/>
                </a:cxn>
                <a:cxn ang="0">
                  <a:pos x="1817" y="1718"/>
                </a:cxn>
                <a:cxn ang="0">
                  <a:pos x="1909" y="1697"/>
                </a:cxn>
                <a:cxn ang="0">
                  <a:pos x="1995" y="1748"/>
                </a:cxn>
                <a:cxn ang="0">
                  <a:pos x="2059" y="1813"/>
                </a:cxn>
                <a:cxn ang="0">
                  <a:pos x="2372" y="1836"/>
                </a:cxn>
                <a:cxn ang="0">
                  <a:pos x="2642" y="1928"/>
                </a:cxn>
                <a:cxn ang="0">
                  <a:pos x="2807" y="1925"/>
                </a:cxn>
                <a:cxn ang="0">
                  <a:pos x="3010" y="1886"/>
                </a:cxn>
              </a:cxnLst>
              <a:rect l="0" t="0" r="r" b="b"/>
              <a:pathLst>
                <a:path w="3010" h="1952">
                  <a:moveTo>
                    <a:pt x="3010" y="1886"/>
                  </a:moveTo>
                  <a:lnTo>
                    <a:pt x="3004" y="1880"/>
                  </a:lnTo>
                  <a:lnTo>
                    <a:pt x="2998" y="1873"/>
                  </a:lnTo>
                  <a:lnTo>
                    <a:pt x="2995" y="1871"/>
                  </a:lnTo>
                  <a:lnTo>
                    <a:pt x="2991" y="1868"/>
                  </a:lnTo>
                  <a:lnTo>
                    <a:pt x="2989" y="1867"/>
                  </a:lnTo>
                  <a:lnTo>
                    <a:pt x="2986" y="1867"/>
                  </a:lnTo>
                  <a:lnTo>
                    <a:pt x="2985" y="1863"/>
                  </a:lnTo>
                  <a:lnTo>
                    <a:pt x="2984" y="1861"/>
                  </a:lnTo>
                  <a:lnTo>
                    <a:pt x="2983" y="1858"/>
                  </a:lnTo>
                  <a:lnTo>
                    <a:pt x="2980" y="1856"/>
                  </a:lnTo>
                  <a:lnTo>
                    <a:pt x="2976" y="1854"/>
                  </a:lnTo>
                  <a:lnTo>
                    <a:pt x="2975" y="1851"/>
                  </a:lnTo>
                  <a:lnTo>
                    <a:pt x="2964" y="1847"/>
                  </a:lnTo>
                  <a:lnTo>
                    <a:pt x="2952" y="1845"/>
                  </a:lnTo>
                  <a:lnTo>
                    <a:pt x="2947" y="1839"/>
                  </a:lnTo>
                  <a:lnTo>
                    <a:pt x="2945" y="1834"/>
                  </a:lnTo>
                  <a:lnTo>
                    <a:pt x="2941" y="1828"/>
                  </a:lnTo>
                  <a:lnTo>
                    <a:pt x="2928" y="1827"/>
                  </a:lnTo>
                  <a:lnTo>
                    <a:pt x="2913" y="1825"/>
                  </a:lnTo>
                  <a:lnTo>
                    <a:pt x="2899" y="1824"/>
                  </a:lnTo>
                  <a:lnTo>
                    <a:pt x="2885" y="1823"/>
                  </a:lnTo>
                  <a:lnTo>
                    <a:pt x="2885" y="1819"/>
                  </a:lnTo>
                  <a:lnTo>
                    <a:pt x="2882" y="1818"/>
                  </a:lnTo>
                  <a:lnTo>
                    <a:pt x="2879" y="1817"/>
                  </a:lnTo>
                  <a:lnTo>
                    <a:pt x="2875" y="1817"/>
                  </a:lnTo>
                  <a:lnTo>
                    <a:pt x="2866" y="1809"/>
                  </a:lnTo>
                  <a:lnTo>
                    <a:pt x="2859" y="1800"/>
                  </a:lnTo>
                  <a:lnTo>
                    <a:pt x="2847" y="1800"/>
                  </a:lnTo>
                  <a:lnTo>
                    <a:pt x="2846" y="1797"/>
                  </a:lnTo>
                  <a:lnTo>
                    <a:pt x="2844" y="1796"/>
                  </a:lnTo>
                  <a:lnTo>
                    <a:pt x="2840" y="1795"/>
                  </a:lnTo>
                  <a:lnTo>
                    <a:pt x="2836" y="1795"/>
                  </a:lnTo>
                  <a:lnTo>
                    <a:pt x="2831" y="1789"/>
                  </a:lnTo>
                  <a:lnTo>
                    <a:pt x="2827" y="1784"/>
                  </a:lnTo>
                  <a:lnTo>
                    <a:pt x="2825" y="1778"/>
                  </a:lnTo>
                  <a:lnTo>
                    <a:pt x="2814" y="1778"/>
                  </a:lnTo>
                  <a:lnTo>
                    <a:pt x="2808" y="1772"/>
                  </a:lnTo>
                  <a:lnTo>
                    <a:pt x="2806" y="1767"/>
                  </a:lnTo>
                  <a:lnTo>
                    <a:pt x="2801" y="1760"/>
                  </a:lnTo>
                  <a:lnTo>
                    <a:pt x="2794" y="1753"/>
                  </a:lnTo>
                  <a:lnTo>
                    <a:pt x="2792" y="1750"/>
                  </a:lnTo>
                  <a:lnTo>
                    <a:pt x="2792" y="1735"/>
                  </a:lnTo>
                  <a:lnTo>
                    <a:pt x="2797" y="1731"/>
                  </a:lnTo>
                  <a:lnTo>
                    <a:pt x="2803" y="1729"/>
                  </a:lnTo>
                  <a:lnTo>
                    <a:pt x="2803" y="1695"/>
                  </a:lnTo>
                  <a:lnTo>
                    <a:pt x="2792" y="1690"/>
                  </a:lnTo>
                  <a:lnTo>
                    <a:pt x="2789" y="1684"/>
                  </a:lnTo>
                  <a:lnTo>
                    <a:pt x="2786" y="1679"/>
                  </a:lnTo>
                  <a:lnTo>
                    <a:pt x="2769" y="1679"/>
                  </a:lnTo>
                  <a:lnTo>
                    <a:pt x="2764" y="1673"/>
                  </a:lnTo>
                  <a:lnTo>
                    <a:pt x="2758" y="1668"/>
                  </a:lnTo>
                  <a:lnTo>
                    <a:pt x="2753" y="1662"/>
                  </a:lnTo>
                  <a:lnTo>
                    <a:pt x="2753" y="1654"/>
                  </a:lnTo>
                  <a:lnTo>
                    <a:pt x="2753" y="1645"/>
                  </a:lnTo>
                  <a:lnTo>
                    <a:pt x="2758" y="1640"/>
                  </a:lnTo>
                  <a:lnTo>
                    <a:pt x="2767" y="1637"/>
                  </a:lnTo>
                  <a:lnTo>
                    <a:pt x="2775" y="1634"/>
                  </a:lnTo>
                  <a:lnTo>
                    <a:pt x="2778" y="1628"/>
                  </a:lnTo>
                  <a:lnTo>
                    <a:pt x="2781" y="1623"/>
                  </a:lnTo>
                  <a:lnTo>
                    <a:pt x="2785" y="1622"/>
                  </a:lnTo>
                  <a:lnTo>
                    <a:pt x="2788" y="1620"/>
                  </a:lnTo>
                  <a:lnTo>
                    <a:pt x="2791" y="1616"/>
                  </a:lnTo>
                  <a:lnTo>
                    <a:pt x="2792" y="1612"/>
                  </a:lnTo>
                  <a:lnTo>
                    <a:pt x="2803" y="1612"/>
                  </a:lnTo>
                  <a:lnTo>
                    <a:pt x="2803" y="1601"/>
                  </a:lnTo>
                  <a:lnTo>
                    <a:pt x="2806" y="1601"/>
                  </a:lnTo>
                  <a:lnTo>
                    <a:pt x="2807" y="1597"/>
                  </a:lnTo>
                  <a:lnTo>
                    <a:pt x="2808" y="1594"/>
                  </a:lnTo>
                  <a:lnTo>
                    <a:pt x="2808" y="1591"/>
                  </a:lnTo>
                  <a:lnTo>
                    <a:pt x="2814" y="1587"/>
                  </a:lnTo>
                  <a:lnTo>
                    <a:pt x="2820" y="1585"/>
                  </a:lnTo>
                  <a:lnTo>
                    <a:pt x="2820" y="1574"/>
                  </a:lnTo>
                  <a:lnTo>
                    <a:pt x="2824" y="1573"/>
                  </a:lnTo>
                  <a:lnTo>
                    <a:pt x="2827" y="1570"/>
                  </a:lnTo>
                  <a:lnTo>
                    <a:pt x="2830" y="1566"/>
                  </a:lnTo>
                  <a:lnTo>
                    <a:pt x="2831" y="1563"/>
                  </a:lnTo>
                  <a:lnTo>
                    <a:pt x="2836" y="1557"/>
                  </a:lnTo>
                  <a:lnTo>
                    <a:pt x="2847" y="1557"/>
                  </a:lnTo>
                  <a:lnTo>
                    <a:pt x="2853" y="1551"/>
                  </a:lnTo>
                  <a:lnTo>
                    <a:pt x="2859" y="1546"/>
                  </a:lnTo>
                  <a:lnTo>
                    <a:pt x="2853" y="1540"/>
                  </a:lnTo>
                  <a:lnTo>
                    <a:pt x="2847" y="1529"/>
                  </a:lnTo>
                  <a:lnTo>
                    <a:pt x="2836" y="1529"/>
                  </a:lnTo>
                  <a:lnTo>
                    <a:pt x="2820" y="1518"/>
                  </a:lnTo>
                  <a:lnTo>
                    <a:pt x="2803" y="1507"/>
                  </a:lnTo>
                  <a:lnTo>
                    <a:pt x="2731" y="1507"/>
                  </a:lnTo>
                  <a:lnTo>
                    <a:pt x="2717" y="1499"/>
                  </a:lnTo>
                  <a:lnTo>
                    <a:pt x="2703" y="1490"/>
                  </a:lnTo>
                  <a:lnTo>
                    <a:pt x="2699" y="1490"/>
                  </a:lnTo>
                  <a:lnTo>
                    <a:pt x="2693" y="1488"/>
                  </a:lnTo>
                  <a:lnTo>
                    <a:pt x="2688" y="1485"/>
                  </a:lnTo>
                  <a:lnTo>
                    <a:pt x="2682" y="1481"/>
                  </a:lnTo>
                  <a:lnTo>
                    <a:pt x="2678" y="1477"/>
                  </a:lnTo>
                  <a:lnTo>
                    <a:pt x="2673" y="1471"/>
                  </a:lnTo>
                  <a:lnTo>
                    <a:pt x="2671" y="1467"/>
                  </a:lnTo>
                  <a:lnTo>
                    <a:pt x="2670" y="1462"/>
                  </a:lnTo>
                  <a:lnTo>
                    <a:pt x="2659" y="1462"/>
                  </a:lnTo>
                  <a:lnTo>
                    <a:pt x="2654" y="1461"/>
                  </a:lnTo>
                  <a:lnTo>
                    <a:pt x="2642" y="1460"/>
                  </a:lnTo>
                  <a:lnTo>
                    <a:pt x="2625" y="1459"/>
                  </a:lnTo>
                  <a:lnTo>
                    <a:pt x="2605" y="1458"/>
                  </a:lnTo>
                  <a:lnTo>
                    <a:pt x="2565" y="1458"/>
                  </a:lnTo>
                  <a:lnTo>
                    <a:pt x="2543" y="1457"/>
                  </a:lnTo>
                  <a:lnTo>
                    <a:pt x="2542" y="1460"/>
                  </a:lnTo>
                  <a:lnTo>
                    <a:pt x="2539" y="1462"/>
                  </a:lnTo>
                  <a:lnTo>
                    <a:pt x="2536" y="1462"/>
                  </a:lnTo>
                  <a:lnTo>
                    <a:pt x="2532" y="1462"/>
                  </a:lnTo>
                  <a:lnTo>
                    <a:pt x="2526" y="1468"/>
                  </a:lnTo>
                  <a:lnTo>
                    <a:pt x="2526" y="1479"/>
                  </a:lnTo>
                  <a:lnTo>
                    <a:pt x="2524" y="1480"/>
                  </a:lnTo>
                  <a:lnTo>
                    <a:pt x="2523" y="1482"/>
                  </a:lnTo>
                  <a:lnTo>
                    <a:pt x="2522" y="1487"/>
                  </a:lnTo>
                  <a:lnTo>
                    <a:pt x="2522" y="1491"/>
                  </a:lnTo>
                  <a:lnTo>
                    <a:pt x="2520" y="1500"/>
                  </a:lnTo>
                  <a:lnTo>
                    <a:pt x="2520" y="1507"/>
                  </a:lnTo>
                  <a:lnTo>
                    <a:pt x="2515" y="1512"/>
                  </a:lnTo>
                  <a:lnTo>
                    <a:pt x="2509" y="1518"/>
                  </a:lnTo>
                  <a:lnTo>
                    <a:pt x="2496" y="1517"/>
                  </a:lnTo>
                  <a:lnTo>
                    <a:pt x="2481" y="1516"/>
                  </a:lnTo>
                  <a:lnTo>
                    <a:pt x="2467" y="1514"/>
                  </a:lnTo>
                  <a:lnTo>
                    <a:pt x="2453" y="1512"/>
                  </a:lnTo>
                  <a:lnTo>
                    <a:pt x="2452" y="1509"/>
                  </a:lnTo>
                  <a:lnTo>
                    <a:pt x="2448" y="1506"/>
                  </a:lnTo>
                  <a:lnTo>
                    <a:pt x="2447" y="1505"/>
                  </a:lnTo>
                  <a:lnTo>
                    <a:pt x="2444" y="1502"/>
                  </a:lnTo>
                  <a:lnTo>
                    <a:pt x="2443" y="1499"/>
                  </a:lnTo>
                  <a:lnTo>
                    <a:pt x="2442" y="1496"/>
                  </a:lnTo>
                  <a:lnTo>
                    <a:pt x="2439" y="1495"/>
                  </a:lnTo>
                  <a:lnTo>
                    <a:pt x="2436" y="1492"/>
                  </a:lnTo>
                  <a:lnTo>
                    <a:pt x="2432" y="1489"/>
                  </a:lnTo>
                  <a:lnTo>
                    <a:pt x="2432" y="1485"/>
                  </a:lnTo>
                  <a:lnTo>
                    <a:pt x="2421" y="1485"/>
                  </a:lnTo>
                  <a:lnTo>
                    <a:pt x="2419" y="1469"/>
                  </a:lnTo>
                  <a:lnTo>
                    <a:pt x="2415" y="1448"/>
                  </a:lnTo>
                  <a:lnTo>
                    <a:pt x="2411" y="1424"/>
                  </a:lnTo>
                  <a:lnTo>
                    <a:pt x="2410" y="1402"/>
                  </a:lnTo>
                  <a:lnTo>
                    <a:pt x="2404" y="1396"/>
                  </a:lnTo>
                  <a:lnTo>
                    <a:pt x="2399" y="1393"/>
                  </a:lnTo>
                  <a:lnTo>
                    <a:pt x="2393" y="1391"/>
                  </a:lnTo>
                  <a:lnTo>
                    <a:pt x="2393" y="1380"/>
                  </a:lnTo>
                  <a:lnTo>
                    <a:pt x="2388" y="1374"/>
                  </a:lnTo>
                  <a:lnTo>
                    <a:pt x="2376" y="1374"/>
                  </a:lnTo>
                  <a:lnTo>
                    <a:pt x="2371" y="1363"/>
                  </a:lnTo>
                  <a:lnTo>
                    <a:pt x="2364" y="1363"/>
                  </a:lnTo>
                  <a:lnTo>
                    <a:pt x="2357" y="1361"/>
                  </a:lnTo>
                  <a:lnTo>
                    <a:pt x="2350" y="1358"/>
                  </a:lnTo>
                  <a:lnTo>
                    <a:pt x="2343" y="1354"/>
                  </a:lnTo>
                  <a:lnTo>
                    <a:pt x="2326" y="1345"/>
                  </a:lnTo>
                  <a:lnTo>
                    <a:pt x="2309" y="1335"/>
                  </a:lnTo>
                  <a:lnTo>
                    <a:pt x="2294" y="1325"/>
                  </a:lnTo>
                  <a:lnTo>
                    <a:pt x="2277" y="1316"/>
                  </a:lnTo>
                  <a:lnTo>
                    <a:pt x="2269" y="1313"/>
                  </a:lnTo>
                  <a:lnTo>
                    <a:pt x="2263" y="1310"/>
                  </a:lnTo>
                  <a:lnTo>
                    <a:pt x="2256" y="1308"/>
                  </a:lnTo>
                  <a:lnTo>
                    <a:pt x="2249" y="1307"/>
                  </a:lnTo>
                  <a:lnTo>
                    <a:pt x="2240" y="1303"/>
                  </a:lnTo>
                  <a:lnTo>
                    <a:pt x="2227" y="1297"/>
                  </a:lnTo>
                  <a:lnTo>
                    <a:pt x="2226" y="1294"/>
                  </a:lnTo>
                  <a:lnTo>
                    <a:pt x="2225" y="1291"/>
                  </a:lnTo>
                  <a:lnTo>
                    <a:pt x="2221" y="1289"/>
                  </a:lnTo>
                  <a:lnTo>
                    <a:pt x="2218" y="1286"/>
                  </a:lnTo>
                  <a:lnTo>
                    <a:pt x="2210" y="1281"/>
                  </a:lnTo>
                  <a:lnTo>
                    <a:pt x="2204" y="1280"/>
                  </a:lnTo>
                  <a:lnTo>
                    <a:pt x="2199" y="1275"/>
                  </a:lnTo>
                  <a:lnTo>
                    <a:pt x="2198" y="1269"/>
                  </a:lnTo>
                  <a:lnTo>
                    <a:pt x="2196" y="1265"/>
                  </a:lnTo>
                  <a:lnTo>
                    <a:pt x="2191" y="1259"/>
                  </a:lnTo>
                  <a:lnTo>
                    <a:pt x="2184" y="1255"/>
                  </a:lnTo>
                  <a:lnTo>
                    <a:pt x="2177" y="1250"/>
                  </a:lnTo>
                  <a:lnTo>
                    <a:pt x="2168" y="1246"/>
                  </a:lnTo>
                  <a:lnTo>
                    <a:pt x="2158" y="1242"/>
                  </a:lnTo>
                  <a:lnTo>
                    <a:pt x="2146" y="1238"/>
                  </a:lnTo>
                  <a:lnTo>
                    <a:pt x="2121" y="1230"/>
                  </a:lnTo>
                  <a:lnTo>
                    <a:pt x="2091" y="1223"/>
                  </a:lnTo>
                  <a:lnTo>
                    <a:pt x="2059" y="1218"/>
                  </a:lnTo>
                  <a:lnTo>
                    <a:pt x="2026" y="1212"/>
                  </a:lnTo>
                  <a:lnTo>
                    <a:pt x="1958" y="1203"/>
                  </a:lnTo>
                  <a:lnTo>
                    <a:pt x="1895" y="1197"/>
                  </a:lnTo>
                  <a:lnTo>
                    <a:pt x="1844" y="1192"/>
                  </a:lnTo>
                  <a:lnTo>
                    <a:pt x="1812" y="1191"/>
                  </a:lnTo>
                  <a:lnTo>
                    <a:pt x="1808" y="1188"/>
                  </a:lnTo>
                  <a:lnTo>
                    <a:pt x="1800" y="1184"/>
                  </a:lnTo>
                  <a:lnTo>
                    <a:pt x="1796" y="1182"/>
                  </a:lnTo>
                  <a:lnTo>
                    <a:pt x="1793" y="1179"/>
                  </a:lnTo>
                  <a:lnTo>
                    <a:pt x="1790" y="1174"/>
                  </a:lnTo>
                  <a:lnTo>
                    <a:pt x="1789" y="1169"/>
                  </a:lnTo>
                  <a:lnTo>
                    <a:pt x="1784" y="1163"/>
                  </a:lnTo>
                  <a:lnTo>
                    <a:pt x="1772" y="1163"/>
                  </a:lnTo>
                  <a:lnTo>
                    <a:pt x="1772" y="1158"/>
                  </a:lnTo>
                  <a:lnTo>
                    <a:pt x="1771" y="1151"/>
                  </a:lnTo>
                  <a:lnTo>
                    <a:pt x="1771" y="1147"/>
                  </a:lnTo>
                  <a:lnTo>
                    <a:pt x="1770" y="1144"/>
                  </a:lnTo>
                  <a:lnTo>
                    <a:pt x="1769" y="1142"/>
                  </a:lnTo>
                  <a:lnTo>
                    <a:pt x="1767" y="1142"/>
                  </a:lnTo>
                  <a:lnTo>
                    <a:pt x="1767" y="1125"/>
                  </a:lnTo>
                  <a:lnTo>
                    <a:pt x="1764" y="1124"/>
                  </a:lnTo>
                  <a:lnTo>
                    <a:pt x="1762" y="1122"/>
                  </a:lnTo>
                  <a:lnTo>
                    <a:pt x="1761" y="1117"/>
                  </a:lnTo>
                  <a:lnTo>
                    <a:pt x="1761" y="1114"/>
                  </a:lnTo>
                  <a:lnTo>
                    <a:pt x="1759" y="1112"/>
                  </a:lnTo>
                  <a:lnTo>
                    <a:pt x="1754" y="1107"/>
                  </a:lnTo>
                  <a:lnTo>
                    <a:pt x="1748" y="1102"/>
                  </a:lnTo>
                  <a:lnTo>
                    <a:pt x="1745" y="1097"/>
                  </a:lnTo>
                  <a:lnTo>
                    <a:pt x="1740" y="1095"/>
                  </a:lnTo>
                  <a:lnTo>
                    <a:pt x="1735" y="1091"/>
                  </a:lnTo>
                  <a:lnTo>
                    <a:pt x="1730" y="1085"/>
                  </a:lnTo>
                  <a:lnTo>
                    <a:pt x="1728" y="1080"/>
                  </a:lnTo>
                  <a:lnTo>
                    <a:pt x="1723" y="1079"/>
                  </a:lnTo>
                  <a:lnTo>
                    <a:pt x="1717" y="1075"/>
                  </a:lnTo>
                  <a:lnTo>
                    <a:pt x="1710" y="1070"/>
                  </a:lnTo>
                  <a:lnTo>
                    <a:pt x="1702" y="1064"/>
                  </a:lnTo>
                  <a:lnTo>
                    <a:pt x="1694" y="1058"/>
                  </a:lnTo>
                  <a:lnTo>
                    <a:pt x="1687" y="1053"/>
                  </a:lnTo>
                  <a:lnTo>
                    <a:pt x="1680" y="1049"/>
                  </a:lnTo>
                  <a:lnTo>
                    <a:pt x="1673" y="1047"/>
                  </a:lnTo>
                  <a:lnTo>
                    <a:pt x="1671" y="1044"/>
                  </a:lnTo>
                  <a:lnTo>
                    <a:pt x="1666" y="1039"/>
                  </a:lnTo>
                  <a:lnTo>
                    <a:pt x="1659" y="1033"/>
                  </a:lnTo>
                  <a:lnTo>
                    <a:pt x="1651" y="1026"/>
                  </a:lnTo>
                  <a:lnTo>
                    <a:pt x="1635" y="1014"/>
                  </a:lnTo>
                  <a:lnTo>
                    <a:pt x="1628" y="1008"/>
                  </a:lnTo>
                  <a:lnTo>
                    <a:pt x="1628" y="998"/>
                  </a:lnTo>
                  <a:lnTo>
                    <a:pt x="1626" y="997"/>
                  </a:lnTo>
                  <a:lnTo>
                    <a:pt x="1625" y="993"/>
                  </a:lnTo>
                  <a:lnTo>
                    <a:pt x="1624" y="990"/>
                  </a:lnTo>
                  <a:lnTo>
                    <a:pt x="1624" y="986"/>
                  </a:lnTo>
                  <a:lnTo>
                    <a:pt x="1623" y="977"/>
                  </a:lnTo>
                  <a:lnTo>
                    <a:pt x="1623" y="970"/>
                  </a:lnTo>
                  <a:lnTo>
                    <a:pt x="1628" y="964"/>
                  </a:lnTo>
                  <a:lnTo>
                    <a:pt x="1640" y="964"/>
                  </a:lnTo>
                  <a:lnTo>
                    <a:pt x="1640" y="953"/>
                  </a:lnTo>
                  <a:lnTo>
                    <a:pt x="1651" y="953"/>
                  </a:lnTo>
                  <a:lnTo>
                    <a:pt x="1656" y="948"/>
                  </a:lnTo>
                  <a:lnTo>
                    <a:pt x="1659" y="942"/>
                  </a:lnTo>
                  <a:lnTo>
                    <a:pt x="1662" y="937"/>
                  </a:lnTo>
                  <a:lnTo>
                    <a:pt x="1666" y="935"/>
                  </a:lnTo>
                  <a:lnTo>
                    <a:pt x="1672" y="933"/>
                  </a:lnTo>
                  <a:lnTo>
                    <a:pt x="1674" y="931"/>
                  </a:lnTo>
                  <a:lnTo>
                    <a:pt x="1676" y="930"/>
                  </a:lnTo>
                  <a:lnTo>
                    <a:pt x="1678" y="928"/>
                  </a:lnTo>
                  <a:lnTo>
                    <a:pt x="1679" y="925"/>
                  </a:lnTo>
                  <a:lnTo>
                    <a:pt x="1823" y="903"/>
                  </a:lnTo>
                  <a:lnTo>
                    <a:pt x="1839" y="903"/>
                  </a:lnTo>
                  <a:lnTo>
                    <a:pt x="1842" y="901"/>
                  </a:lnTo>
                  <a:lnTo>
                    <a:pt x="1847" y="897"/>
                  </a:lnTo>
                  <a:lnTo>
                    <a:pt x="1855" y="894"/>
                  </a:lnTo>
                  <a:lnTo>
                    <a:pt x="1865" y="890"/>
                  </a:lnTo>
                  <a:lnTo>
                    <a:pt x="1885" y="884"/>
                  </a:lnTo>
                  <a:lnTo>
                    <a:pt x="1900" y="881"/>
                  </a:lnTo>
                  <a:lnTo>
                    <a:pt x="1911" y="875"/>
                  </a:lnTo>
                  <a:lnTo>
                    <a:pt x="1914" y="870"/>
                  </a:lnTo>
                  <a:lnTo>
                    <a:pt x="1916" y="864"/>
                  </a:lnTo>
                  <a:lnTo>
                    <a:pt x="1928" y="864"/>
                  </a:lnTo>
                  <a:lnTo>
                    <a:pt x="1930" y="858"/>
                  </a:lnTo>
                  <a:lnTo>
                    <a:pt x="1933" y="854"/>
                  </a:lnTo>
                  <a:lnTo>
                    <a:pt x="1949" y="851"/>
                  </a:lnTo>
                  <a:lnTo>
                    <a:pt x="1973" y="844"/>
                  </a:lnTo>
                  <a:lnTo>
                    <a:pt x="1986" y="839"/>
                  </a:lnTo>
                  <a:lnTo>
                    <a:pt x="1996" y="835"/>
                  </a:lnTo>
                  <a:lnTo>
                    <a:pt x="1999" y="833"/>
                  </a:lnTo>
                  <a:lnTo>
                    <a:pt x="2002" y="830"/>
                  </a:lnTo>
                  <a:lnTo>
                    <a:pt x="2005" y="828"/>
                  </a:lnTo>
                  <a:lnTo>
                    <a:pt x="2005" y="826"/>
                  </a:lnTo>
                  <a:lnTo>
                    <a:pt x="2038" y="826"/>
                  </a:lnTo>
                  <a:lnTo>
                    <a:pt x="2040" y="824"/>
                  </a:lnTo>
                  <a:lnTo>
                    <a:pt x="2044" y="820"/>
                  </a:lnTo>
                  <a:lnTo>
                    <a:pt x="2049" y="818"/>
                  </a:lnTo>
                  <a:lnTo>
                    <a:pt x="2056" y="815"/>
                  </a:lnTo>
                  <a:lnTo>
                    <a:pt x="2072" y="810"/>
                  </a:lnTo>
                  <a:lnTo>
                    <a:pt x="2083" y="809"/>
                  </a:lnTo>
                  <a:lnTo>
                    <a:pt x="2084" y="807"/>
                  </a:lnTo>
                  <a:lnTo>
                    <a:pt x="2086" y="804"/>
                  </a:lnTo>
                  <a:lnTo>
                    <a:pt x="2090" y="801"/>
                  </a:lnTo>
                  <a:lnTo>
                    <a:pt x="2094" y="799"/>
                  </a:lnTo>
                  <a:lnTo>
                    <a:pt x="2104" y="795"/>
                  </a:lnTo>
                  <a:lnTo>
                    <a:pt x="2111" y="793"/>
                  </a:lnTo>
                  <a:lnTo>
                    <a:pt x="2113" y="787"/>
                  </a:lnTo>
                  <a:lnTo>
                    <a:pt x="2116" y="781"/>
                  </a:lnTo>
                  <a:lnTo>
                    <a:pt x="2130" y="776"/>
                  </a:lnTo>
                  <a:lnTo>
                    <a:pt x="2144" y="770"/>
                  </a:lnTo>
                  <a:lnTo>
                    <a:pt x="2144" y="759"/>
                  </a:lnTo>
                  <a:lnTo>
                    <a:pt x="2152" y="757"/>
                  </a:lnTo>
                  <a:lnTo>
                    <a:pt x="2165" y="749"/>
                  </a:lnTo>
                  <a:lnTo>
                    <a:pt x="2172" y="746"/>
                  </a:lnTo>
                  <a:lnTo>
                    <a:pt x="2178" y="740"/>
                  </a:lnTo>
                  <a:lnTo>
                    <a:pt x="2181" y="736"/>
                  </a:lnTo>
                  <a:lnTo>
                    <a:pt x="2182" y="731"/>
                  </a:lnTo>
                  <a:lnTo>
                    <a:pt x="2191" y="729"/>
                  </a:lnTo>
                  <a:lnTo>
                    <a:pt x="2199" y="726"/>
                  </a:lnTo>
                  <a:lnTo>
                    <a:pt x="2204" y="720"/>
                  </a:lnTo>
                  <a:lnTo>
                    <a:pt x="2210" y="714"/>
                  </a:lnTo>
                  <a:lnTo>
                    <a:pt x="2216" y="710"/>
                  </a:lnTo>
                  <a:lnTo>
                    <a:pt x="2221" y="704"/>
                  </a:lnTo>
                  <a:lnTo>
                    <a:pt x="2221" y="695"/>
                  </a:lnTo>
                  <a:lnTo>
                    <a:pt x="2222" y="682"/>
                  </a:lnTo>
                  <a:lnTo>
                    <a:pt x="2222" y="676"/>
                  </a:lnTo>
                  <a:lnTo>
                    <a:pt x="2223" y="671"/>
                  </a:lnTo>
                  <a:lnTo>
                    <a:pt x="2225" y="666"/>
                  </a:lnTo>
                  <a:lnTo>
                    <a:pt x="2227" y="665"/>
                  </a:lnTo>
                  <a:lnTo>
                    <a:pt x="2222" y="661"/>
                  </a:lnTo>
                  <a:lnTo>
                    <a:pt x="2219" y="656"/>
                  </a:lnTo>
                  <a:lnTo>
                    <a:pt x="2217" y="651"/>
                  </a:lnTo>
                  <a:lnTo>
                    <a:pt x="2215" y="645"/>
                  </a:lnTo>
                  <a:lnTo>
                    <a:pt x="2211" y="633"/>
                  </a:lnTo>
                  <a:lnTo>
                    <a:pt x="2210" y="621"/>
                  </a:lnTo>
                  <a:lnTo>
                    <a:pt x="2193" y="621"/>
                  </a:lnTo>
                  <a:lnTo>
                    <a:pt x="2192" y="625"/>
                  </a:lnTo>
                  <a:lnTo>
                    <a:pt x="2190" y="628"/>
                  </a:lnTo>
                  <a:lnTo>
                    <a:pt x="2187" y="631"/>
                  </a:lnTo>
                  <a:lnTo>
                    <a:pt x="2182" y="632"/>
                  </a:lnTo>
                  <a:lnTo>
                    <a:pt x="2180" y="637"/>
                  </a:lnTo>
                  <a:lnTo>
                    <a:pt x="2177" y="643"/>
                  </a:lnTo>
                  <a:lnTo>
                    <a:pt x="2173" y="644"/>
                  </a:lnTo>
                  <a:lnTo>
                    <a:pt x="2169" y="646"/>
                  </a:lnTo>
                  <a:lnTo>
                    <a:pt x="2167" y="650"/>
                  </a:lnTo>
                  <a:lnTo>
                    <a:pt x="2165" y="654"/>
                  </a:lnTo>
                  <a:lnTo>
                    <a:pt x="2162" y="655"/>
                  </a:lnTo>
                  <a:lnTo>
                    <a:pt x="2158" y="658"/>
                  </a:lnTo>
                  <a:lnTo>
                    <a:pt x="2154" y="661"/>
                  </a:lnTo>
                  <a:lnTo>
                    <a:pt x="2151" y="665"/>
                  </a:lnTo>
                  <a:lnTo>
                    <a:pt x="2145" y="675"/>
                  </a:lnTo>
                  <a:lnTo>
                    <a:pt x="2144" y="682"/>
                  </a:lnTo>
                  <a:lnTo>
                    <a:pt x="2139" y="688"/>
                  </a:lnTo>
                  <a:lnTo>
                    <a:pt x="2127" y="688"/>
                  </a:lnTo>
                  <a:lnTo>
                    <a:pt x="2124" y="693"/>
                  </a:lnTo>
                  <a:lnTo>
                    <a:pt x="2122" y="699"/>
                  </a:lnTo>
                  <a:lnTo>
                    <a:pt x="2105" y="699"/>
                  </a:lnTo>
                  <a:lnTo>
                    <a:pt x="2104" y="700"/>
                  </a:lnTo>
                  <a:lnTo>
                    <a:pt x="2101" y="702"/>
                  </a:lnTo>
                  <a:lnTo>
                    <a:pt x="2096" y="703"/>
                  </a:lnTo>
                  <a:lnTo>
                    <a:pt x="2091" y="704"/>
                  </a:lnTo>
                  <a:lnTo>
                    <a:pt x="2076" y="707"/>
                  </a:lnTo>
                  <a:lnTo>
                    <a:pt x="2058" y="708"/>
                  </a:lnTo>
                  <a:lnTo>
                    <a:pt x="2023" y="709"/>
                  </a:lnTo>
                  <a:lnTo>
                    <a:pt x="1999" y="710"/>
                  </a:lnTo>
                  <a:lnTo>
                    <a:pt x="1998" y="708"/>
                  </a:lnTo>
                  <a:lnTo>
                    <a:pt x="1995" y="707"/>
                  </a:lnTo>
                  <a:lnTo>
                    <a:pt x="1989" y="705"/>
                  </a:lnTo>
                  <a:lnTo>
                    <a:pt x="1982" y="704"/>
                  </a:lnTo>
                  <a:lnTo>
                    <a:pt x="1969" y="704"/>
                  </a:lnTo>
                  <a:lnTo>
                    <a:pt x="1961" y="704"/>
                  </a:lnTo>
                  <a:lnTo>
                    <a:pt x="1960" y="701"/>
                  </a:lnTo>
                  <a:lnTo>
                    <a:pt x="1958" y="699"/>
                  </a:lnTo>
                  <a:lnTo>
                    <a:pt x="1953" y="699"/>
                  </a:lnTo>
                  <a:lnTo>
                    <a:pt x="1950" y="699"/>
                  </a:lnTo>
                  <a:lnTo>
                    <a:pt x="1889" y="688"/>
                  </a:lnTo>
                  <a:lnTo>
                    <a:pt x="1887" y="684"/>
                  </a:lnTo>
                  <a:lnTo>
                    <a:pt x="1885" y="682"/>
                  </a:lnTo>
                  <a:lnTo>
                    <a:pt x="1882" y="682"/>
                  </a:lnTo>
                  <a:lnTo>
                    <a:pt x="1877" y="682"/>
                  </a:lnTo>
                  <a:lnTo>
                    <a:pt x="1876" y="679"/>
                  </a:lnTo>
                  <a:lnTo>
                    <a:pt x="1874" y="676"/>
                  </a:lnTo>
                  <a:lnTo>
                    <a:pt x="1871" y="676"/>
                  </a:lnTo>
                  <a:lnTo>
                    <a:pt x="1866" y="676"/>
                  </a:lnTo>
                  <a:lnTo>
                    <a:pt x="1866" y="674"/>
                  </a:lnTo>
                  <a:lnTo>
                    <a:pt x="1863" y="673"/>
                  </a:lnTo>
                  <a:lnTo>
                    <a:pt x="1860" y="671"/>
                  </a:lnTo>
                  <a:lnTo>
                    <a:pt x="1855" y="670"/>
                  </a:lnTo>
                  <a:lnTo>
                    <a:pt x="1852" y="669"/>
                  </a:lnTo>
                  <a:lnTo>
                    <a:pt x="1848" y="666"/>
                  </a:lnTo>
                  <a:lnTo>
                    <a:pt x="1845" y="663"/>
                  </a:lnTo>
                  <a:lnTo>
                    <a:pt x="1845" y="660"/>
                  </a:lnTo>
                  <a:lnTo>
                    <a:pt x="1828" y="660"/>
                  </a:lnTo>
                  <a:lnTo>
                    <a:pt x="1820" y="656"/>
                  </a:lnTo>
                  <a:lnTo>
                    <a:pt x="1805" y="649"/>
                  </a:lnTo>
                  <a:lnTo>
                    <a:pt x="1786" y="641"/>
                  </a:lnTo>
                  <a:lnTo>
                    <a:pt x="1772" y="637"/>
                  </a:lnTo>
                  <a:lnTo>
                    <a:pt x="1771" y="634"/>
                  </a:lnTo>
                  <a:lnTo>
                    <a:pt x="1769" y="633"/>
                  </a:lnTo>
                  <a:lnTo>
                    <a:pt x="1766" y="632"/>
                  </a:lnTo>
                  <a:lnTo>
                    <a:pt x="1761" y="632"/>
                  </a:lnTo>
                  <a:lnTo>
                    <a:pt x="1760" y="628"/>
                  </a:lnTo>
                  <a:lnTo>
                    <a:pt x="1758" y="627"/>
                  </a:lnTo>
                  <a:lnTo>
                    <a:pt x="1755" y="626"/>
                  </a:lnTo>
                  <a:lnTo>
                    <a:pt x="1750" y="626"/>
                  </a:lnTo>
                  <a:lnTo>
                    <a:pt x="1749" y="624"/>
                  </a:lnTo>
                  <a:lnTo>
                    <a:pt x="1746" y="622"/>
                  </a:lnTo>
                  <a:lnTo>
                    <a:pt x="1740" y="621"/>
                  </a:lnTo>
                  <a:lnTo>
                    <a:pt x="1733" y="618"/>
                  </a:lnTo>
                  <a:lnTo>
                    <a:pt x="1717" y="614"/>
                  </a:lnTo>
                  <a:lnTo>
                    <a:pt x="1698" y="610"/>
                  </a:lnTo>
                  <a:lnTo>
                    <a:pt x="1679" y="605"/>
                  </a:lnTo>
                  <a:lnTo>
                    <a:pt x="1662" y="602"/>
                  </a:lnTo>
                  <a:lnTo>
                    <a:pt x="1655" y="599"/>
                  </a:lnTo>
                  <a:lnTo>
                    <a:pt x="1650" y="597"/>
                  </a:lnTo>
                  <a:lnTo>
                    <a:pt x="1646" y="595"/>
                  </a:lnTo>
                  <a:lnTo>
                    <a:pt x="1645" y="593"/>
                  </a:lnTo>
                  <a:lnTo>
                    <a:pt x="1628" y="593"/>
                  </a:lnTo>
                  <a:lnTo>
                    <a:pt x="1626" y="591"/>
                  </a:lnTo>
                  <a:lnTo>
                    <a:pt x="1622" y="587"/>
                  </a:lnTo>
                  <a:lnTo>
                    <a:pt x="1615" y="584"/>
                  </a:lnTo>
                  <a:lnTo>
                    <a:pt x="1607" y="580"/>
                  </a:lnTo>
                  <a:lnTo>
                    <a:pt x="1592" y="574"/>
                  </a:lnTo>
                  <a:lnTo>
                    <a:pt x="1578" y="570"/>
                  </a:lnTo>
                  <a:lnTo>
                    <a:pt x="1578" y="569"/>
                  </a:lnTo>
                  <a:lnTo>
                    <a:pt x="1577" y="568"/>
                  </a:lnTo>
                  <a:lnTo>
                    <a:pt x="1575" y="567"/>
                  </a:lnTo>
                  <a:lnTo>
                    <a:pt x="1573" y="566"/>
                  </a:lnTo>
                  <a:lnTo>
                    <a:pt x="1567" y="566"/>
                  </a:lnTo>
                  <a:lnTo>
                    <a:pt x="1561" y="565"/>
                  </a:lnTo>
                  <a:lnTo>
                    <a:pt x="1561" y="564"/>
                  </a:lnTo>
                  <a:lnTo>
                    <a:pt x="1560" y="563"/>
                  </a:lnTo>
                  <a:lnTo>
                    <a:pt x="1558" y="562"/>
                  </a:lnTo>
                  <a:lnTo>
                    <a:pt x="1556" y="560"/>
                  </a:lnTo>
                  <a:lnTo>
                    <a:pt x="1550" y="560"/>
                  </a:lnTo>
                  <a:lnTo>
                    <a:pt x="1546" y="560"/>
                  </a:lnTo>
                  <a:lnTo>
                    <a:pt x="1543" y="555"/>
                  </a:lnTo>
                  <a:lnTo>
                    <a:pt x="1540" y="549"/>
                  </a:lnTo>
                  <a:lnTo>
                    <a:pt x="1522" y="548"/>
                  </a:lnTo>
                  <a:lnTo>
                    <a:pt x="1503" y="546"/>
                  </a:lnTo>
                  <a:lnTo>
                    <a:pt x="1482" y="544"/>
                  </a:lnTo>
                  <a:lnTo>
                    <a:pt x="1462" y="540"/>
                  </a:lnTo>
                  <a:lnTo>
                    <a:pt x="1440" y="537"/>
                  </a:lnTo>
                  <a:lnTo>
                    <a:pt x="1419" y="535"/>
                  </a:lnTo>
                  <a:lnTo>
                    <a:pt x="1399" y="533"/>
                  </a:lnTo>
                  <a:lnTo>
                    <a:pt x="1380" y="533"/>
                  </a:lnTo>
                  <a:lnTo>
                    <a:pt x="1365" y="540"/>
                  </a:lnTo>
                  <a:lnTo>
                    <a:pt x="1352" y="549"/>
                  </a:lnTo>
                  <a:lnTo>
                    <a:pt x="1329" y="549"/>
                  </a:lnTo>
                  <a:lnTo>
                    <a:pt x="1329" y="550"/>
                  </a:lnTo>
                  <a:lnTo>
                    <a:pt x="1327" y="551"/>
                  </a:lnTo>
                  <a:lnTo>
                    <a:pt x="1326" y="553"/>
                  </a:lnTo>
                  <a:lnTo>
                    <a:pt x="1323" y="554"/>
                  </a:lnTo>
                  <a:lnTo>
                    <a:pt x="1318" y="554"/>
                  </a:lnTo>
                  <a:lnTo>
                    <a:pt x="1313" y="555"/>
                  </a:lnTo>
                  <a:lnTo>
                    <a:pt x="1313" y="556"/>
                  </a:lnTo>
                  <a:lnTo>
                    <a:pt x="1311" y="557"/>
                  </a:lnTo>
                  <a:lnTo>
                    <a:pt x="1309" y="558"/>
                  </a:lnTo>
                  <a:lnTo>
                    <a:pt x="1307" y="559"/>
                  </a:lnTo>
                  <a:lnTo>
                    <a:pt x="1301" y="559"/>
                  </a:lnTo>
                  <a:lnTo>
                    <a:pt x="1296" y="560"/>
                  </a:lnTo>
                  <a:lnTo>
                    <a:pt x="1295" y="556"/>
                  </a:lnTo>
                  <a:lnTo>
                    <a:pt x="1290" y="553"/>
                  </a:lnTo>
                  <a:lnTo>
                    <a:pt x="1287" y="549"/>
                  </a:lnTo>
                  <a:lnTo>
                    <a:pt x="1285" y="549"/>
                  </a:lnTo>
                  <a:lnTo>
                    <a:pt x="1285" y="538"/>
                  </a:lnTo>
                  <a:lnTo>
                    <a:pt x="1282" y="537"/>
                  </a:lnTo>
                  <a:lnTo>
                    <a:pt x="1281" y="536"/>
                  </a:lnTo>
                  <a:lnTo>
                    <a:pt x="1279" y="534"/>
                  </a:lnTo>
                  <a:lnTo>
                    <a:pt x="1277" y="531"/>
                  </a:lnTo>
                  <a:lnTo>
                    <a:pt x="1273" y="525"/>
                  </a:lnTo>
                  <a:lnTo>
                    <a:pt x="1270" y="517"/>
                  </a:lnTo>
                  <a:lnTo>
                    <a:pt x="1265" y="500"/>
                  </a:lnTo>
                  <a:lnTo>
                    <a:pt x="1263" y="488"/>
                  </a:lnTo>
                  <a:lnTo>
                    <a:pt x="1261" y="487"/>
                  </a:lnTo>
                  <a:lnTo>
                    <a:pt x="1259" y="486"/>
                  </a:lnTo>
                  <a:lnTo>
                    <a:pt x="1257" y="482"/>
                  </a:lnTo>
                  <a:lnTo>
                    <a:pt x="1256" y="479"/>
                  </a:lnTo>
                  <a:lnTo>
                    <a:pt x="1252" y="471"/>
                  </a:lnTo>
                  <a:lnTo>
                    <a:pt x="1252" y="466"/>
                  </a:lnTo>
                  <a:lnTo>
                    <a:pt x="1250" y="464"/>
                  </a:lnTo>
                  <a:lnTo>
                    <a:pt x="1248" y="462"/>
                  </a:lnTo>
                  <a:lnTo>
                    <a:pt x="1246" y="459"/>
                  </a:lnTo>
                  <a:lnTo>
                    <a:pt x="1244" y="454"/>
                  </a:lnTo>
                  <a:lnTo>
                    <a:pt x="1241" y="444"/>
                  </a:lnTo>
                  <a:lnTo>
                    <a:pt x="1241" y="438"/>
                  </a:lnTo>
                  <a:lnTo>
                    <a:pt x="1239" y="438"/>
                  </a:lnTo>
                  <a:lnTo>
                    <a:pt x="1237" y="437"/>
                  </a:lnTo>
                  <a:lnTo>
                    <a:pt x="1234" y="434"/>
                  </a:lnTo>
                  <a:lnTo>
                    <a:pt x="1232" y="431"/>
                  </a:lnTo>
                  <a:lnTo>
                    <a:pt x="1228" y="424"/>
                  </a:lnTo>
                  <a:lnTo>
                    <a:pt x="1224" y="415"/>
                  </a:lnTo>
                  <a:lnTo>
                    <a:pt x="1220" y="408"/>
                  </a:lnTo>
                  <a:lnTo>
                    <a:pt x="1215" y="401"/>
                  </a:lnTo>
                  <a:lnTo>
                    <a:pt x="1213" y="397"/>
                  </a:lnTo>
                  <a:lnTo>
                    <a:pt x="1212" y="395"/>
                  </a:lnTo>
                  <a:lnTo>
                    <a:pt x="1210" y="394"/>
                  </a:lnTo>
                  <a:lnTo>
                    <a:pt x="1208" y="394"/>
                  </a:lnTo>
                  <a:lnTo>
                    <a:pt x="1208" y="377"/>
                  </a:lnTo>
                  <a:lnTo>
                    <a:pt x="1205" y="376"/>
                  </a:lnTo>
                  <a:lnTo>
                    <a:pt x="1204" y="375"/>
                  </a:lnTo>
                  <a:lnTo>
                    <a:pt x="1202" y="374"/>
                  </a:lnTo>
                  <a:lnTo>
                    <a:pt x="1201" y="372"/>
                  </a:lnTo>
                  <a:lnTo>
                    <a:pt x="1199" y="366"/>
                  </a:lnTo>
                  <a:lnTo>
                    <a:pt x="1198" y="360"/>
                  </a:lnTo>
                  <a:lnTo>
                    <a:pt x="1196" y="344"/>
                  </a:lnTo>
                  <a:lnTo>
                    <a:pt x="1196" y="333"/>
                  </a:lnTo>
                  <a:lnTo>
                    <a:pt x="1185" y="288"/>
                  </a:lnTo>
                  <a:lnTo>
                    <a:pt x="1180" y="286"/>
                  </a:lnTo>
                  <a:lnTo>
                    <a:pt x="1174" y="283"/>
                  </a:lnTo>
                  <a:lnTo>
                    <a:pt x="1174" y="277"/>
                  </a:lnTo>
                  <a:lnTo>
                    <a:pt x="1173" y="271"/>
                  </a:lnTo>
                  <a:lnTo>
                    <a:pt x="1171" y="266"/>
                  </a:lnTo>
                  <a:lnTo>
                    <a:pt x="1169" y="261"/>
                  </a:lnTo>
                  <a:lnTo>
                    <a:pt x="1166" y="256"/>
                  </a:lnTo>
                  <a:lnTo>
                    <a:pt x="1165" y="250"/>
                  </a:lnTo>
                  <a:lnTo>
                    <a:pt x="1164" y="245"/>
                  </a:lnTo>
                  <a:lnTo>
                    <a:pt x="1163" y="239"/>
                  </a:lnTo>
                  <a:lnTo>
                    <a:pt x="1152" y="228"/>
                  </a:lnTo>
                  <a:lnTo>
                    <a:pt x="1152" y="223"/>
                  </a:lnTo>
                  <a:lnTo>
                    <a:pt x="1152" y="220"/>
                  </a:lnTo>
                  <a:lnTo>
                    <a:pt x="1150" y="218"/>
                  </a:lnTo>
                  <a:lnTo>
                    <a:pt x="1146" y="217"/>
                  </a:lnTo>
                  <a:lnTo>
                    <a:pt x="1141" y="200"/>
                  </a:lnTo>
                  <a:lnTo>
                    <a:pt x="1135" y="183"/>
                  </a:lnTo>
                  <a:lnTo>
                    <a:pt x="1129" y="181"/>
                  </a:lnTo>
                  <a:lnTo>
                    <a:pt x="1124" y="178"/>
                  </a:lnTo>
                  <a:lnTo>
                    <a:pt x="1118" y="166"/>
                  </a:lnTo>
                  <a:lnTo>
                    <a:pt x="1114" y="155"/>
                  </a:lnTo>
                  <a:lnTo>
                    <a:pt x="1109" y="152"/>
                  </a:lnTo>
                  <a:lnTo>
                    <a:pt x="1103" y="144"/>
                  </a:lnTo>
                  <a:lnTo>
                    <a:pt x="1095" y="134"/>
                  </a:lnTo>
                  <a:lnTo>
                    <a:pt x="1092" y="127"/>
                  </a:lnTo>
                  <a:lnTo>
                    <a:pt x="1052" y="89"/>
                  </a:lnTo>
                  <a:lnTo>
                    <a:pt x="1047" y="84"/>
                  </a:lnTo>
                  <a:lnTo>
                    <a:pt x="1036" y="84"/>
                  </a:lnTo>
                  <a:lnTo>
                    <a:pt x="1030" y="78"/>
                  </a:lnTo>
                  <a:lnTo>
                    <a:pt x="1028" y="73"/>
                  </a:lnTo>
                  <a:lnTo>
                    <a:pt x="1025" y="67"/>
                  </a:lnTo>
                  <a:lnTo>
                    <a:pt x="1011" y="64"/>
                  </a:lnTo>
                  <a:lnTo>
                    <a:pt x="997" y="62"/>
                  </a:lnTo>
                  <a:lnTo>
                    <a:pt x="993" y="58"/>
                  </a:lnTo>
                  <a:lnTo>
                    <a:pt x="982" y="54"/>
                  </a:lnTo>
                  <a:lnTo>
                    <a:pt x="968" y="48"/>
                  </a:lnTo>
                  <a:lnTo>
                    <a:pt x="950" y="43"/>
                  </a:lnTo>
                  <a:lnTo>
                    <a:pt x="917" y="33"/>
                  </a:lnTo>
                  <a:lnTo>
                    <a:pt x="903" y="28"/>
                  </a:lnTo>
                  <a:lnTo>
                    <a:pt x="900" y="22"/>
                  </a:lnTo>
                  <a:lnTo>
                    <a:pt x="897" y="17"/>
                  </a:lnTo>
                  <a:lnTo>
                    <a:pt x="881" y="17"/>
                  </a:lnTo>
                  <a:lnTo>
                    <a:pt x="867" y="9"/>
                  </a:lnTo>
                  <a:lnTo>
                    <a:pt x="853" y="0"/>
                  </a:lnTo>
                  <a:lnTo>
                    <a:pt x="787" y="0"/>
                  </a:lnTo>
                  <a:lnTo>
                    <a:pt x="786" y="2"/>
                  </a:lnTo>
                  <a:lnTo>
                    <a:pt x="783" y="3"/>
                  </a:lnTo>
                  <a:lnTo>
                    <a:pt x="781" y="5"/>
                  </a:lnTo>
                  <a:lnTo>
                    <a:pt x="778" y="6"/>
                  </a:lnTo>
                  <a:lnTo>
                    <a:pt x="770" y="6"/>
                  </a:lnTo>
                  <a:lnTo>
                    <a:pt x="764" y="6"/>
                  </a:lnTo>
                  <a:lnTo>
                    <a:pt x="763" y="8"/>
                  </a:lnTo>
                  <a:lnTo>
                    <a:pt x="761" y="9"/>
                  </a:lnTo>
                  <a:lnTo>
                    <a:pt x="759" y="10"/>
                  </a:lnTo>
                  <a:lnTo>
                    <a:pt x="756" y="11"/>
                  </a:lnTo>
                  <a:lnTo>
                    <a:pt x="748" y="11"/>
                  </a:lnTo>
                  <a:lnTo>
                    <a:pt x="742" y="11"/>
                  </a:lnTo>
                  <a:lnTo>
                    <a:pt x="741" y="15"/>
                  </a:lnTo>
                  <a:lnTo>
                    <a:pt x="739" y="17"/>
                  </a:lnTo>
                  <a:lnTo>
                    <a:pt x="735" y="17"/>
                  </a:lnTo>
                  <a:lnTo>
                    <a:pt x="731" y="17"/>
                  </a:lnTo>
                  <a:lnTo>
                    <a:pt x="729" y="22"/>
                  </a:lnTo>
                  <a:lnTo>
                    <a:pt x="725" y="28"/>
                  </a:lnTo>
                  <a:lnTo>
                    <a:pt x="720" y="31"/>
                  </a:lnTo>
                  <a:lnTo>
                    <a:pt x="714" y="34"/>
                  </a:lnTo>
                  <a:lnTo>
                    <a:pt x="714" y="45"/>
                  </a:lnTo>
                  <a:lnTo>
                    <a:pt x="713" y="51"/>
                  </a:lnTo>
                  <a:lnTo>
                    <a:pt x="709" y="67"/>
                  </a:lnTo>
                  <a:lnTo>
                    <a:pt x="705" y="85"/>
                  </a:lnTo>
                  <a:lnTo>
                    <a:pt x="703" y="95"/>
                  </a:lnTo>
                  <a:lnTo>
                    <a:pt x="702" y="96"/>
                  </a:lnTo>
                  <a:lnTo>
                    <a:pt x="700" y="98"/>
                  </a:lnTo>
                  <a:lnTo>
                    <a:pt x="699" y="102"/>
                  </a:lnTo>
                  <a:lnTo>
                    <a:pt x="697" y="106"/>
                  </a:lnTo>
                  <a:lnTo>
                    <a:pt x="695" y="110"/>
                  </a:lnTo>
                  <a:lnTo>
                    <a:pt x="693" y="113"/>
                  </a:lnTo>
                  <a:lnTo>
                    <a:pt x="691" y="116"/>
                  </a:lnTo>
                  <a:lnTo>
                    <a:pt x="686" y="117"/>
                  </a:lnTo>
                  <a:lnTo>
                    <a:pt x="686" y="127"/>
                  </a:lnTo>
                  <a:lnTo>
                    <a:pt x="683" y="128"/>
                  </a:lnTo>
                  <a:lnTo>
                    <a:pt x="678" y="132"/>
                  </a:lnTo>
                  <a:lnTo>
                    <a:pt x="675" y="135"/>
                  </a:lnTo>
                  <a:lnTo>
                    <a:pt x="672" y="140"/>
                  </a:lnTo>
                  <a:lnTo>
                    <a:pt x="666" y="149"/>
                  </a:lnTo>
                  <a:lnTo>
                    <a:pt x="665" y="155"/>
                  </a:lnTo>
                  <a:lnTo>
                    <a:pt x="654" y="161"/>
                  </a:lnTo>
                  <a:lnTo>
                    <a:pt x="654" y="172"/>
                  </a:lnTo>
                  <a:lnTo>
                    <a:pt x="648" y="178"/>
                  </a:lnTo>
                  <a:lnTo>
                    <a:pt x="643" y="183"/>
                  </a:lnTo>
                  <a:lnTo>
                    <a:pt x="637" y="187"/>
                  </a:lnTo>
                  <a:lnTo>
                    <a:pt x="632" y="189"/>
                  </a:lnTo>
                  <a:lnTo>
                    <a:pt x="632" y="200"/>
                  </a:lnTo>
                  <a:lnTo>
                    <a:pt x="628" y="203"/>
                  </a:lnTo>
                  <a:lnTo>
                    <a:pt x="626" y="214"/>
                  </a:lnTo>
                  <a:lnTo>
                    <a:pt x="622" y="229"/>
                  </a:lnTo>
                  <a:lnTo>
                    <a:pt x="618" y="247"/>
                  </a:lnTo>
                  <a:lnTo>
                    <a:pt x="612" y="281"/>
                  </a:lnTo>
                  <a:lnTo>
                    <a:pt x="609" y="305"/>
                  </a:lnTo>
                  <a:lnTo>
                    <a:pt x="607" y="330"/>
                  </a:lnTo>
                  <a:lnTo>
                    <a:pt x="604" y="357"/>
                  </a:lnTo>
                  <a:lnTo>
                    <a:pt x="600" y="384"/>
                  </a:lnTo>
                  <a:lnTo>
                    <a:pt x="598" y="411"/>
                  </a:lnTo>
                  <a:lnTo>
                    <a:pt x="605" y="416"/>
                  </a:lnTo>
                  <a:lnTo>
                    <a:pt x="614" y="424"/>
                  </a:lnTo>
                  <a:lnTo>
                    <a:pt x="623" y="432"/>
                  </a:lnTo>
                  <a:lnTo>
                    <a:pt x="626" y="438"/>
                  </a:lnTo>
                  <a:lnTo>
                    <a:pt x="632" y="443"/>
                  </a:lnTo>
                  <a:lnTo>
                    <a:pt x="643" y="443"/>
                  </a:lnTo>
                  <a:lnTo>
                    <a:pt x="645" y="450"/>
                  </a:lnTo>
                  <a:lnTo>
                    <a:pt x="651" y="457"/>
                  </a:lnTo>
                  <a:lnTo>
                    <a:pt x="656" y="463"/>
                  </a:lnTo>
                  <a:lnTo>
                    <a:pt x="660" y="466"/>
                  </a:lnTo>
                  <a:lnTo>
                    <a:pt x="660" y="477"/>
                  </a:lnTo>
                  <a:lnTo>
                    <a:pt x="661" y="478"/>
                  </a:lnTo>
                  <a:lnTo>
                    <a:pt x="662" y="479"/>
                  </a:lnTo>
                  <a:lnTo>
                    <a:pt x="663" y="480"/>
                  </a:lnTo>
                  <a:lnTo>
                    <a:pt x="664" y="483"/>
                  </a:lnTo>
                  <a:lnTo>
                    <a:pt x="664" y="489"/>
                  </a:lnTo>
                  <a:lnTo>
                    <a:pt x="665" y="493"/>
                  </a:lnTo>
                  <a:lnTo>
                    <a:pt x="662" y="495"/>
                  </a:lnTo>
                  <a:lnTo>
                    <a:pt x="660" y="497"/>
                  </a:lnTo>
                  <a:lnTo>
                    <a:pt x="657" y="501"/>
                  </a:lnTo>
                  <a:lnTo>
                    <a:pt x="654" y="506"/>
                  </a:lnTo>
                  <a:lnTo>
                    <a:pt x="649" y="515"/>
                  </a:lnTo>
                  <a:lnTo>
                    <a:pt x="648" y="521"/>
                  </a:lnTo>
                  <a:lnTo>
                    <a:pt x="643" y="527"/>
                  </a:lnTo>
                  <a:lnTo>
                    <a:pt x="623" y="527"/>
                  </a:lnTo>
                  <a:lnTo>
                    <a:pt x="601" y="528"/>
                  </a:lnTo>
                  <a:lnTo>
                    <a:pt x="579" y="528"/>
                  </a:lnTo>
                  <a:lnTo>
                    <a:pt x="556" y="529"/>
                  </a:lnTo>
                  <a:lnTo>
                    <a:pt x="532" y="530"/>
                  </a:lnTo>
                  <a:lnTo>
                    <a:pt x="509" y="531"/>
                  </a:lnTo>
                  <a:lnTo>
                    <a:pt x="486" y="533"/>
                  </a:lnTo>
                  <a:lnTo>
                    <a:pt x="465" y="533"/>
                  </a:lnTo>
                  <a:lnTo>
                    <a:pt x="464" y="534"/>
                  </a:lnTo>
                  <a:lnTo>
                    <a:pt x="463" y="536"/>
                  </a:lnTo>
                  <a:lnTo>
                    <a:pt x="462" y="536"/>
                  </a:lnTo>
                  <a:lnTo>
                    <a:pt x="459" y="537"/>
                  </a:lnTo>
                  <a:lnTo>
                    <a:pt x="453" y="538"/>
                  </a:lnTo>
                  <a:lnTo>
                    <a:pt x="449" y="538"/>
                  </a:lnTo>
                  <a:lnTo>
                    <a:pt x="446" y="544"/>
                  </a:lnTo>
                  <a:lnTo>
                    <a:pt x="443" y="549"/>
                  </a:lnTo>
                  <a:lnTo>
                    <a:pt x="438" y="549"/>
                  </a:lnTo>
                  <a:lnTo>
                    <a:pt x="433" y="549"/>
                  </a:lnTo>
                  <a:lnTo>
                    <a:pt x="431" y="550"/>
                  </a:lnTo>
                  <a:lnTo>
                    <a:pt x="428" y="551"/>
                  </a:lnTo>
                  <a:lnTo>
                    <a:pt x="427" y="553"/>
                  </a:lnTo>
                  <a:lnTo>
                    <a:pt x="426" y="555"/>
                  </a:lnTo>
                  <a:lnTo>
                    <a:pt x="409" y="555"/>
                  </a:lnTo>
                  <a:lnTo>
                    <a:pt x="409" y="556"/>
                  </a:lnTo>
                  <a:lnTo>
                    <a:pt x="407" y="557"/>
                  </a:lnTo>
                  <a:lnTo>
                    <a:pt x="404" y="558"/>
                  </a:lnTo>
                  <a:lnTo>
                    <a:pt x="401" y="559"/>
                  </a:lnTo>
                  <a:lnTo>
                    <a:pt x="394" y="559"/>
                  </a:lnTo>
                  <a:lnTo>
                    <a:pt x="387" y="560"/>
                  </a:lnTo>
                  <a:lnTo>
                    <a:pt x="379" y="563"/>
                  </a:lnTo>
                  <a:lnTo>
                    <a:pt x="358" y="566"/>
                  </a:lnTo>
                  <a:lnTo>
                    <a:pt x="327" y="569"/>
                  </a:lnTo>
                  <a:lnTo>
                    <a:pt x="291" y="573"/>
                  </a:lnTo>
                  <a:lnTo>
                    <a:pt x="254" y="576"/>
                  </a:lnTo>
                  <a:lnTo>
                    <a:pt x="222" y="579"/>
                  </a:lnTo>
                  <a:lnTo>
                    <a:pt x="196" y="582"/>
                  </a:lnTo>
                  <a:lnTo>
                    <a:pt x="183" y="582"/>
                  </a:lnTo>
                  <a:lnTo>
                    <a:pt x="177" y="584"/>
                  </a:lnTo>
                  <a:lnTo>
                    <a:pt x="163" y="586"/>
                  </a:lnTo>
                  <a:lnTo>
                    <a:pt x="143" y="588"/>
                  </a:lnTo>
                  <a:lnTo>
                    <a:pt x="119" y="589"/>
                  </a:lnTo>
                  <a:lnTo>
                    <a:pt x="70" y="592"/>
                  </a:lnTo>
                  <a:lnTo>
                    <a:pt x="39" y="593"/>
                  </a:lnTo>
                  <a:lnTo>
                    <a:pt x="36" y="598"/>
                  </a:lnTo>
                  <a:lnTo>
                    <a:pt x="33" y="604"/>
                  </a:lnTo>
                  <a:lnTo>
                    <a:pt x="22" y="604"/>
                  </a:lnTo>
                  <a:lnTo>
                    <a:pt x="20" y="608"/>
                  </a:lnTo>
                  <a:lnTo>
                    <a:pt x="13" y="618"/>
                  </a:lnTo>
                  <a:lnTo>
                    <a:pt x="10" y="623"/>
                  </a:lnTo>
                  <a:lnTo>
                    <a:pt x="5" y="627"/>
                  </a:lnTo>
                  <a:lnTo>
                    <a:pt x="2" y="631"/>
                  </a:lnTo>
                  <a:lnTo>
                    <a:pt x="0" y="632"/>
                  </a:lnTo>
                  <a:lnTo>
                    <a:pt x="5" y="742"/>
                  </a:lnTo>
                  <a:lnTo>
                    <a:pt x="8" y="743"/>
                  </a:lnTo>
                  <a:lnTo>
                    <a:pt x="9" y="746"/>
                  </a:lnTo>
                  <a:lnTo>
                    <a:pt x="10" y="750"/>
                  </a:lnTo>
                  <a:lnTo>
                    <a:pt x="10" y="755"/>
                  </a:lnTo>
                  <a:lnTo>
                    <a:pt x="11" y="764"/>
                  </a:lnTo>
                  <a:lnTo>
                    <a:pt x="11" y="770"/>
                  </a:lnTo>
                  <a:lnTo>
                    <a:pt x="14" y="771"/>
                  </a:lnTo>
                  <a:lnTo>
                    <a:pt x="17" y="774"/>
                  </a:lnTo>
                  <a:lnTo>
                    <a:pt x="19" y="777"/>
                  </a:lnTo>
                  <a:lnTo>
                    <a:pt x="21" y="781"/>
                  </a:lnTo>
                  <a:lnTo>
                    <a:pt x="23" y="793"/>
                  </a:lnTo>
                  <a:lnTo>
                    <a:pt x="25" y="806"/>
                  </a:lnTo>
                  <a:lnTo>
                    <a:pt x="28" y="834"/>
                  </a:lnTo>
                  <a:lnTo>
                    <a:pt x="28" y="854"/>
                  </a:lnTo>
                  <a:lnTo>
                    <a:pt x="30" y="854"/>
                  </a:lnTo>
                  <a:lnTo>
                    <a:pt x="32" y="855"/>
                  </a:lnTo>
                  <a:lnTo>
                    <a:pt x="33" y="857"/>
                  </a:lnTo>
                  <a:lnTo>
                    <a:pt x="36" y="860"/>
                  </a:lnTo>
                  <a:lnTo>
                    <a:pt x="38" y="865"/>
                  </a:lnTo>
                  <a:lnTo>
                    <a:pt x="39" y="870"/>
                  </a:lnTo>
                  <a:lnTo>
                    <a:pt x="53" y="873"/>
                  </a:lnTo>
                  <a:lnTo>
                    <a:pt x="72" y="875"/>
                  </a:lnTo>
                  <a:lnTo>
                    <a:pt x="84" y="881"/>
                  </a:lnTo>
                  <a:lnTo>
                    <a:pt x="99" y="886"/>
                  </a:lnTo>
                  <a:lnTo>
                    <a:pt x="99" y="897"/>
                  </a:lnTo>
                  <a:lnTo>
                    <a:pt x="101" y="899"/>
                  </a:lnTo>
                  <a:lnTo>
                    <a:pt x="104" y="901"/>
                  </a:lnTo>
                  <a:lnTo>
                    <a:pt x="106" y="903"/>
                  </a:lnTo>
                  <a:lnTo>
                    <a:pt x="107" y="906"/>
                  </a:lnTo>
                  <a:lnTo>
                    <a:pt x="109" y="914"/>
                  </a:lnTo>
                  <a:lnTo>
                    <a:pt x="110" y="920"/>
                  </a:lnTo>
                  <a:lnTo>
                    <a:pt x="121" y="925"/>
                  </a:lnTo>
                  <a:lnTo>
                    <a:pt x="121" y="937"/>
                  </a:lnTo>
                  <a:lnTo>
                    <a:pt x="125" y="943"/>
                  </a:lnTo>
                  <a:lnTo>
                    <a:pt x="130" y="959"/>
                  </a:lnTo>
                  <a:lnTo>
                    <a:pt x="136" y="982"/>
                  </a:lnTo>
                  <a:lnTo>
                    <a:pt x="143" y="1008"/>
                  </a:lnTo>
                  <a:lnTo>
                    <a:pt x="155" y="1058"/>
                  </a:lnTo>
                  <a:lnTo>
                    <a:pt x="161" y="1080"/>
                  </a:lnTo>
                  <a:lnTo>
                    <a:pt x="163" y="1083"/>
                  </a:lnTo>
                  <a:lnTo>
                    <a:pt x="167" y="1088"/>
                  </a:lnTo>
                  <a:lnTo>
                    <a:pt x="172" y="1095"/>
                  </a:lnTo>
                  <a:lnTo>
                    <a:pt x="177" y="1097"/>
                  </a:lnTo>
                  <a:lnTo>
                    <a:pt x="177" y="1114"/>
                  </a:lnTo>
                  <a:lnTo>
                    <a:pt x="178" y="1114"/>
                  </a:lnTo>
                  <a:lnTo>
                    <a:pt x="181" y="1115"/>
                  </a:lnTo>
                  <a:lnTo>
                    <a:pt x="182" y="1117"/>
                  </a:lnTo>
                  <a:lnTo>
                    <a:pt x="182" y="1120"/>
                  </a:lnTo>
                  <a:lnTo>
                    <a:pt x="183" y="1125"/>
                  </a:lnTo>
                  <a:lnTo>
                    <a:pt x="183" y="1131"/>
                  </a:lnTo>
                  <a:lnTo>
                    <a:pt x="188" y="1136"/>
                  </a:lnTo>
                  <a:lnTo>
                    <a:pt x="194" y="1139"/>
                  </a:lnTo>
                  <a:lnTo>
                    <a:pt x="200" y="1142"/>
                  </a:lnTo>
                  <a:lnTo>
                    <a:pt x="200" y="1153"/>
                  </a:lnTo>
                  <a:lnTo>
                    <a:pt x="203" y="1153"/>
                  </a:lnTo>
                  <a:lnTo>
                    <a:pt x="206" y="1156"/>
                  </a:lnTo>
                  <a:lnTo>
                    <a:pt x="210" y="1160"/>
                  </a:lnTo>
                  <a:lnTo>
                    <a:pt x="212" y="1164"/>
                  </a:lnTo>
                  <a:lnTo>
                    <a:pt x="215" y="1173"/>
                  </a:lnTo>
                  <a:lnTo>
                    <a:pt x="216" y="1180"/>
                  </a:lnTo>
                  <a:lnTo>
                    <a:pt x="217" y="1181"/>
                  </a:lnTo>
                  <a:lnTo>
                    <a:pt x="220" y="1182"/>
                  </a:lnTo>
                  <a:lnTo>
                    <a:pt x="222" y="1185"/>
                  </a:lnTo>
                  <a:lnTo>
                    <a:pt x="223" y="1189"/>
                  </a:lnTo>
                  <a:lnTo>
                    <a:pt x="226" y="1198"/>
                  </a:lnTo>
                  <a:lnTo>
                    <a:pt x="229" y="1209"/>
                  </a:lnTo>
                  <a:lnTo>
                    <a:pt x="234" y="1229"/>
                  </a:lnTo>
                  <a:lnTo>
                    <a:pt x="238" y="1241"/>
                  </a:lnTo>
                  <a:lnTo>
                    <a:pt x="238" y="1258"/>
                  </a:lnTo>
                  <a:lnTo>
                    <a:pt x="252" y="1257"/>
                  </a:lnTo>
                  <a:lnTo>
                    <a:pt x="278" y="1255"/>
                  </a:lnTo>
                  <a:lnTo>
                    <a:pt x="307" y="1253"/>
                  </a:lnTo>
                  <a:lnTo>
                    <a:pt x="327" y="1252"/>
                  </a:lnTo>
                  <a:lnTo>
                    <a:pt x="329" y="1259"/>
                  </a:lnTo>
                  <a:lnTo>
                    <a:pt x="332" y="1267"/>
                  </a:lnTo>
                  <a:lnTo>
                    <a:pt x="332" y="1266"/>
                  </a:lnTo>
                  <a:lnTo>
                    <a:pt x="332" y="1264"/>
                  </a:lnTo>
                  <a:lnTo>
                    <a:pt x="344" y="1264"/>
                  </a:lnTo>
                  <a:lnTo>
                    <a:pt x="348" y="1258"/>
                  </a:lnTo>
                  <a:lnTo>
                    <a:pt x="355" y="1252"/>
                  </a:lnTo>
                  <a:lnTo>
                    <a:pt x="360" y="1249"/>
                  </a:lnTo>
                  <a:lnTo>
                    <a:pt x="366" y="1247"/>
                  </a:lnTo>
                  <a:lnTo>
                    <a:pt x="366" y="1252"/>
                  </a:lnTo>
                  <a:lnTo>
                    <a:pt x="382" y="1255"/>
                  </a:lnTo>
                  <a:lnTo>
                    <a:pt x="393" y="1258"/>
                  </a:lnTo>
                  <a:lnTo>
                    <a:pt x="398" y="1264"/>
                  </a:lnTo>
                  <a:lnTo>
                    <a:pt x="398" y="1275"/>
                  </a:lnTo>
                  <a:lnTo>
                    <a:pt x="404" y="1280"/>
                  </a:lnTo>
                  <a:lnTo>
                    <a:pt x="409" y="1281"/>
                  </a:lnTo>
                  <a:lnTo>
                    <a:pt x="415" y="1284"/>
                  </a:lnTo>
                  <a:lnTo>
                    <a:pt x="417" y="1285"/>
                  </a:lnTo>
                  <a:lnTo>
                    <a:pt x="420" y="1287"/>
                  </a:lnTo>
                  <a:lnTo>
                    <a:pt x="421" y="1289"/>
                  </a:lnTo>
                  <a:lnTo>
                    <a:pt x="421" y="1291"/>
                  </a:lnTo>
                  <a:lnTo>
                    <a:pt x="425" y="1291"/>
                  </a:lnTo>
                  <a:lnTo>
                    <a:pt x="428" y="1291"/>
                  </a:lnTo>
                  <a:lnTo>
                    <a:pt x="431" y="1294"/>
                  </a:lnTo>
                  <a:lnTo>
                    <a:pt x="432" y="1297"/>
                  </a:lnTo>
                  <a:lnTo>
                    <a:pt x="437" y="1297"/>
                  </a:lnTo>
                  <a:lnTo>
                    <a:pt x="442" y="1297"/>
                  </a:lnTo>
                  <a:lnTo>
                    <a:pt x="445" y="1298"/>
                  </a:lnTo>
                  <a:lnTo>
                    <a:pt x="446" y="1299"/>
                  </a:lnTo>
                  <a:lnTo>
                    <a:pt x="449" y="1300"/>
                  </a:lnTo>
                  <a:lnTo>
                    <a:pt x="449" y="1301"/>
                  </a:lnTo>
                  <a:lnTo>
                    <a:pt x="456" y="1304"/>
                  </a:lnTo>
                  <a:lnTo>
                    <a:pt x="468" y="1308"/>
                  </a:lnTo>
                  <a:lnTo>
                    <a:pt x="473" y="1310"/>
                  </a:lnTo>
                  <a:lnTo>
                    <a:pt x="478" y="1314"/>
                  </a:lnTo>
                  <a:lnTo>
                    <a:pt x="481" y="1316"/>
                  </a:lnTo>
                  <a:lnTo>
                    <a:pt x="482" y="1318"/>
                  </a:lnTo>
                  <a:lnTo>
                    <a:pt x="493" y="1319"/>
                  </a:lnTo>
                  <a:lnTo>
                    <a:pt x="507" y="1322"/>
                  </a:lnTo>
                  <a:lnTo>
                    <a:pt x="520" y="1324"/>
                  </a:lnTo>
                  <a:lnTo>
                    <a:pt x="536" y="1327"/>
                  </a:lnTo>
                  <a:lnTo>
                    <a:pt x="551" y="1330"/>
                  </a:lnTo>
                  <a:lnTo>
                    <a:pt x="568" y="1333"/>
                  </a:lnTo>
                  <a:lnTo>
                    <a:pt x="584" y="1335"/>
                  </a:lnTo>
                  <a:lnTo>
                    <a:pt x="598" y="1335"/>
                  </a:lnTo>
                  <a:lnTo>
                    <a:pt x="606" y="1327"/>
                  </a:lnTo>
                  <a:lnTo>
                    <a:pt x="615" y="1318"/>
                  </a:lnTo>
                  <a:lnTo>
                    <a:pt x="626" y="1318"/>
                  </a:lnTo>
                  <a:lnTo>
                    <a:pt x="632" y="1313"/>
                  </a:lnTo>
                  <a:lnTo>
                    <a:pt x="632" y="1301"/>
                  </a:lnTo>
                  <a:lnTo>
                    <a:pt x="643" y="1297"/>
                  </a:lnTo>
                  <a:lnTo>
                    <a:pt x="643" y="1291"/>
                  </a:lnTo>
                  <a:lnTo>
                    <a:pt x="643" y="1286"/>
                  </a:lnTo>
                  <a:lnTo>
                    <a:pt x="644" y="1284"/>
                  </a:lnTo>
                  <a:lnTo>
                    <a:pt x="645" y="1281"/>
                  </a:lnTo>
                  <a:lnTo>
                    <a:pt x="646" y="1280"/>
                  </a:lnTo>
                  <a:lnTo>
                    <a:pt x="648" y="1280"/>
                  </a:lnTo>
                  <a:lnTo>
                    <a:pt x="648" y="1264"/>
                  </a:lnTo>
                  <a:lnTo>
                    <a:pt x="649" y="1262"/>
                  </a:lnTo>
                  <a:lnTo>
                    <a:pt x="654" y="1260"/>
                  </a:lnTo>
                  <a:lnTo>
                    <a:pt x="657" y="1256"/>
                  </a:lnTo>
                  <a:lnTo>
                    <a:pt x="660" y="1252"/>
                  </a:lnTo>
                  <a:lnTo>
                    <a:pt x="663" y="1252"/>
                  </a:lnTo>
                  <a:lnTo>
                    <a:pt x="666" y="1251"/>
                  </a:lnTo>
                  <a:lnTo>
                    <a:pt x="670" y="1250"/>
                  </a:lnTo>
                  <a:lnTo>
                    <a:pt x="671" y="1247"/>
                  </a:lnTo>
                  <a:lnTo>
                    <a:pt x="674" y="1247"/>
                  </a:lnTo>
                  <a:lnTo>
                    <a:pt x="677" y="1246"/>
                  </a:lnTo>
                  <a:lnTo>
                    <a:pt x="681" y="1245"/>
                  </a:lnTo>
                  <a:lnTo>
                    <a:pt x="681" y="1241"/>
                  </a:lnTo>
                  <a:lnTo>
                    <a:pt x="685" y="1241"/>
                  </a:lnTo>
                  <a:lnTo>
                    <a:pt x="689" y="1240"/>
                  </a:lnTo>
                  <a:lnTo>
                    <a:pt x="692" y="1239"/>
                  </a:lnTo>
                  <a:lnTo>
                    <a:pt x="692" y="1236"/>
                  </a:lnTo>
                  <a:lnTo>
                    <a:pt x="709" y="1236"/>
                  </a:lnTo>
                  <a:lnTo>
                    <a:pt x="735" y="1235"/>
                  </a:lnTo>
                  <a:lnTo>
                    <a:pt x="748" y="1235"/>
                  </a:lnTo>
                  <a:lnTo>
                    <a:pt x="759" y="1233"/>
                  </a:lnTo>
                  <a:lnTo>
                    <a:pt x="767" y="1232"/>
                  </a:lnTo>
                  <a:lnTo>
                    <a:pt x="770" y="1230"/>
                  </a:lnTo>
                  <a:lnTo>
                    <a:pt x="781" y="1230"/>
                  </a:lnTo>
                  <a:lnTo>
                    <a:pt x="781" y="1226"/>
                  </a:lnTo>
                  <a:lnTo>
                    <a:pt x="781" y="1220"/>
                  </a:lnTo>
                  <a:lnTo>
                    <a:pt x="782" y="1218"/>
                  </a:lnTo>
                  <a:lnTo>
                    <a:pt x="783" y="1216"/>
                  </a:lnTo>
                  <a:lnTo>
                    <a:pt x="785" y="1214"/>
                  </a:lnTo>
                  <a:lnTo>
                    <a:pt x="787" y="1213"/>
                  </a:lnTo>
                  <a:lnTo>
                    <a:pt x="787" y="1202"/>
                  </a:lnTo>
                  <a:lnTo>
                    <a:pt x="788" y="1200"/>
                  </a:lnTo>
                  <a:lnTo>
                    <a:pt x="790" y="1194"/>
                  </a:lnTo>
                  <a:lnTo>
                    <a:pt x="793" y="1191"/>
                  </a:lnTo>
                  <a:lnTo>
                    <a:pt x="796" y="1189"/>
                  </a:lnTo>
                  <a:lnTo>
                    <a:pt x="799" y="1187"/>
                  </a:lnTo>
                  <a:lnTo>
                    <a:pt x="804" y="1185"/>
                  </a:lnTo>
                  <a:lnTo>
                    <a:pt x="809" y="1174"/>
                  </a:lnTo>
                  <a:lnTo>
                    <a:pt x="809" y="1163"/>
                  </a:lnTo>
                  <a:lnTo>
                    <a:pt x="817" y="1164"/>
                  </a:lnTo>
                  <a:lnTo>
                    <a:pt x="830" y="1164"/>
                  </a:lnTo>
                  <a:lnTo>
                    <a:pt x="837" y="1165"/>
                  </a:lnTo>
                  <a:lnTo>
                    <a:pt x="843" y="1166"/>
                  </a:lnTo>
                  <a:lnTo>
                    <a:pt x="846" y="1168"/>
                  </a:lnTo>
                  <a:lnTo>
                    <a:pt x="847" y="1169"/>
                  </a:lnTo>
                  <a:lnTo>
                    <a:pt x="858" y="1169"/>
                  </a:lnTo>
                  <a:lnTo>
                    <a:pt x="864" y="1174"/>
                  </a:lnTo>
                  <a:lnTo>
                    <a:pt x="865" y="1180"/>
                  </a:lnTo>
                  <a:lnTo>
                    <a:pt x="867" y="1185"/>
                  </a:lnTo>
                  <a:lnTo>
                    <a:pt x="869" y="1188"/>
                  </a:lnTo>
                  <a:lnTo>
                    <a:pt x="871" y="1190"/>
                  </a:lnTo>
                  <a:lnTo>
                    <a:pt x="873" y="1191"/>
                  </a:lnTo>
                  <a:lnTo>
                    <a:pt x="875" y="1191"/>
                  </a:lnTo>
                  <a:lnTo>
                    <a:pt x="876" y="1222"/>
                  </a:lnTo>
                  <a:lnTo>
                    <a:pt x="878" y="1255"/>
                  </a:lnTo>
                  <a:lnTo>
                    <a:pt x="879" y="1286"/>
                  </a:lnTo>
                  <a:lnTo>
                    <a:pt x="881" y="1313"/>
                  </a:lnTo>
                  <a:lnTo>
                    <a:pt x="892" y="1324"/>
                  </a:lnTo>
                  <a:lnTo>
                    <a:pt x="892" y="1335"/>
                  </a:lnTo>
                  <a:lnTo>
                    <a:pt x="896" y="1338"/>
                  </a:lnTo>
                  <a:lnTo>
                    <a:pt x="902" y="1344"/>
                  </a:lnTo>
                  <a:lnTo>
                    <a:pt x="906" y="1349"/>
                  </a:lnTo>
                  <a:lnTo>
                    <a:pt x="908" y="1352"/>
                  </a:lnTo>
                  <a:lnTo>
                    <a:pt x="931" y="1352"/>
                  </a:lnTo>
                  <a:lnTo>
                    <a:pt x="954" y="1351"/>
                  </a:lnTo>
                  <a:lnTo>
                    <a:pt x="977" y="1351"/>
                  </a:lnTo>
                  <a:lnTo>
                    <a:pt x="1000" y="1349"/>
                  </a:lnTo>
                  <a:lnTo>
                    <a:pt x="1022" y="1348"/>
                  </a:lnTo>
                  <a:lnTo>
                    <a:pt x="1046" y="1347"/>
                  </a:lnTo>
                  <a:lnTo>
                    <a:pt x="1068" y="1346"/>
                  </a:lnTo>
                  <a:lnTo>
                    <a:pt x="1092" y="1346"/>
                  </a:lnTo>
                  <a:lnTo>
                    <a:pt x="1094" y="1352"/>
                  </a:lnTo>
                  <a:lnTo>
                    <a:pt x="1097" y="1357"/>
                  </a:lnTo>
                  <a:lnTo>
                    <a:pt x="1103" y="1360"/>
                  </a:lnTo>
                  <a:lnTo>
                    <a:pt x="1109" y="1364"/>
                  </a:lnTo>
                  <a:lnTo>
                    <a:pt x="1113" y="1366"/>
                  </a:lnTo>
                  <a:lnTo>
                    <a:pt x="1116" y="1370"/>
                  </a:lnTo>
                  <a:lnTo>
                    <a:pt x="1118" y="1372"/>
                  </a:lnTo>
                  <a:lnTo>
                    <a:pt x="1118" y="1374"/>
                  </a:lnTo>
                  <a:lnTo>
                    <a:pt x="1127" y="1376"/>
                  </a:lnTo>
                  <a:lnTo>
                    <a:pt x="1135" y="1380"/>
                  </a:lnTo>
                  <a:lnTo>
                    <a:pt x="1141" y="1385"/>
                  </a:lnTo>
                  <a:lnTo>
                    <a:pt x="1146" y="1391"/>
                  </a:lnTo>
                  <a:lnTo>
                    <a:pt x="1152" y="1396"/>
                  </a:lnTo>
                  <a:lnTo>
                    <a:pt x="1157" y="1402"/>
                  </a:lnTo>
                  <a:lnTo>
                    <a:pt x="1157" y="1405"/>
                  </a:lnTo>
                  <a:lnTo>
                    <a:pt x="1159" y="1410"/>
                  </a:lnTo>
                  <a:lnTo>
                    <a:pt x="1160" y="1412"/>
                  </a:lnTo>
                  <a:lnTo>
                    <a:pt x="1163" y="1413"/>
                  </a:lnTo>
                  <a:lnTo>
                    <a:pt x="1163" y="1424"/>
                  </a:lnTo>
                  <a:lnTo>
                    <a:pt x="1174" y="1430"/>
                  </a:lnTo>
                  <a:lnTo>
                    <a:pt x="1174" y="1441"/>
                  </a:lnTo>
                  <a:lnTo>
                    <a:pt x="1179" y="1444"/>
                  </a:lnTo>
                  <a:lnTo>
                    <a:pt x="1182" y="1450"/>
                  </a:lnTo>
                  <a:lnTo>
                    <a:pt x="1184" y="1455"/>
                  </a:lnTo>
                  <a:lnTo>
                    <a:pt x="1185" y="1462"/>
                  </a:lnTo>
                  <a:lnTo>
                    <a:pt x="1202" y="1473"/>
                  </a:lnTo>
                  <a:lnTo>
                    <a:pt x="1219" y="1485"/>
                  </a:lnTo>
                  <a:lnTo>
                    <a:pt x="1227" y="1491"/>
                  </a:lnTo>
                  <a:lnTo>
                    <a:pt x="1244" y="1507"/>
                  </a:lnTo>
                  <a:lnTo>
                    <a:pt x="1263" y="1522"/>
                  </a:lnTo>
                  <a:lnTo>
                    <a:pt x="1273" y="1529"/>
                  </a:lnTo>
                  <a:lnTo>
                    <a:pt x="1275" y="1535"/>
                  </a:lnTo>
                  <a:lnTo>
                    <a:pt x="1278" y="1540"/>
                  </a:lnTo>
                  <a:lnTo>
                    <a:pt x="1282" y="1546"/>
                  </a:lnTo>
                  <a:lnTo>
                    <a:pt x="1288" y="1550"/>
                  </a:lnTo>
                  <a:lnTo>
                    <a:pt x="1292" y="1555"/>
                  </a:lnTo>
                  <a:lnTo>
                    <a:pt x="1297" y="1559"/>
                  </a:lnTo>
                  <a:lnTo>
                    <a:pt x="1300" y="1564"/>
                  </a:lnTo>
                  <a:lnTo>
                    <a:pt x="1301" y="1568"/>
                  </a:lnTo>
                  <a:lnTo>
                    <a:pt x="1313" y="1574"/>
                  </a:lnTo>
                  <a:lnTo>
                    <a:pt x="1324" y="1579"/>
                  </a:lnTo>
                  <a:lnTo>
                    <a:pt x="1325" y="1583"/>
                  </a:lnTo>
                  <a:lnTo>
                    <a:pt x="1327" y="1587"/>
                  </a:lnTo>
                  <a:lnTo>
                    <a:pt x="1330" y="1592"/>
                  </a:lnTo>
                  <a:lnTo>
                    <a:pt x="1335" y="1596"/>
                  </a:lnTo>
                  <a:lnTo>
                    <a:pt x="1346" y="1596"/>
                  </a:lnTo>
                  <a:lnTo>
                    <a:pt x="1348" y="1601"/>
                  </a:lnTo>
                  <a:lnTo>
                    <a:pt x="1352" y="1606"/>
                  </a:lnTo>
                  <a:lnTo>
                    <a:pt x="1363" y="1612"/>
                  </a:lnTo>
                  <a:lnTo>
                    <a:pt x="1363" y="1656"/>
                  </a:lnTo>
                  <a:lnTo>
                    <a:pt x="1361" y="1657"/>
                  </a:lnTo>
                  <a:lnTo>
                    <a:pt x="1359" y="1660"/>
                  </a:lnTo>
                  <a:lnTo>
                    <a:pt x="1358" y="1662"/>
                  </a:lnTo>
                  <a:lnTo>
                    <a:pt x="1357" y="1665"/>
                  </a:lnTo>
                  <a:lnTo>
                    <a:pt x="1357" y="1673"/>
                  </a:lnTo>
                  <a:lnTo>
                    <a:pt x="1357" y="1679"/>
                  </a:lnTo>
                  <a:lnTo>
                    <a:pt x="1352" y="1684"/>
                  </a:lnTo>
                  <a:lnTo>
                    <a:pt x="1346" y="1690"/>
                  </a:lnTo>
                  <a:lnTo>
                    <a:pt x="1340" y="1695"/>
                  </a:lnTo>
                  <a:lnTo>
                    <a:pt x="1335" y="1701"/>
                  </a:lnTo>
                  <a:lnTo>
                    <a:pt x="1324" y="1701"/>
                  </a:lnTo>
                  <a:lnTo>
                    <a:pt x="1318" y="1714"/>
                  </a:lnTo>
                  <a:lnTo>
                    <a:pt x="1313" y="1723"/>
                  </a:lnTo>
                  <a:lnTo>
                    <a:pt x="1313" y="1772"/>
                  </a:lnTo>
                  <a:lnTo>
                    <a:pt x="1451" y="1772"/>
                  </a:lnTo>
                  <a:lnTo>
                    <a:pt x="1460" y="1781"/>
                  </a:lnTo>
                  <a:lnTo>
                    <a:pt x="1468" y="1789"/>
                  </a:lnTo>
                  <a:lnTo>
                    <a:pt x="1482" y="1791"/>
                  </a:lnTo>
                  <a:lnTo>
                    <a:pt x="1502" y="1795"/>
                  </a:lnTo>
                  <a:lnTo>
                    <a:pt x="1508" y="1795"/>
                  </a:lnTo>
                  <a:lnTo>
                    <a:pt x="1512" y="1794"/>
                  </a:lnTo>
                  <a:lnTo>
                    <a:pt x="1517" y="1794"/>
                  </a:lnTo>
                  <a:lnTo>
                    <a:pt x="1521" y="1791"/>
                  </a:lnTo>
                  <a:lnTo>
                    <a:pt x="1524" y="1789"/>
                  </a:lnTo>
                  <a:lnTo>
                    <a:pt x="1527" y="1787"/>
                  </a:lnTo>
                  <a:lnTo>
                    <a:pt x="1528" y="1784"/>
                  </a:lnTo>
                  <a:lnTo>
                    <a:pt x="1529" y="1778"/>
                  </a:lnTo>
                  <a:lnTo>
                    <a:pt x="1546" y="1779"/>
                  </a:lnTo>
                  <a:lnTo>
                    <a:pt x="1561" y="1781"/>
                  </a:lnTo>
                  <a:lnTo>
                    <a:pt x="1578" y="1782"/>
                  </a:lnTo>
                  <a:lnTo>
                    <a:pt x="1595" y="1784"/>
                  </a:lnTo>
                  <a:lnTo>
                    <a:pt x="1596" y="1786"/>
                  </a:lnTo>
                  <a:lnTo>
                    <a:pt x="1596" y="1788"/>
                  </a:lnTo>
                  <a:lnTo>
                    <a:pt x="1598" y="1789"/>
                  </a:lnTo>
                  <a:lnTo>
                    <a:pt x="1601" y="1790"/>
                  </a:lnTo>
                  <a:lnTo>
                    <a:pt x="1606" y="1793"/>
                  </a:lnTo>
                  <a:lnTo>
                    <a:pt x="1615" y="1794"/>
                  </a:lnTo>
                  <a:lnTo>
                    <a:pt x="1635" y="1796"/>
                  </a:lnTo>
                  <a:lnTo>
                    <a:pt x="1659" y="1795"/>
                  </a:lnTo>
                  <a:lnTo>
                    <a:pt x="1706" y="1791"/>
                  </a:lnTo>
                  <a:lnTo>
                    <a:pt x="1733" y="1789"/>
                  </a:lnTo>
                  <a:lnTo>
                    <a:pt x="1735" y="1787"/>
                  </a:lnTo>
                  <a:lnTo>
                    <a:pt x="1738" y="1785"/>
                  </a:lnTo>
                  <a:lnTo>
                    <a:pt x="1742" y="1781"/>
                  </a:lnTo>
                  <a:lnTo>
                    <a:pt x="1748" y="1779"/>
                  </a:lnTo>
                  <a:lnTo>
                    <a:pt x="1759" y="1775"/>
                  </a:lnTo>
                  <a:lnTo>
                    <a:pt x="1767" y="1772"/>
                  </a:lnTo>
                  <a:lnTo>
                    <a:pt x="1768" y="1769"/>
                  </a:lnTo>
                  <a:lnTo>
                    <a:pt x="1770" y="1766"/>
                  </a:lnTo>
                  <a:lnTo>
                    <a:pt x="1775" y="1762"/>
                  </a:lnTo>
                  <a:lnTo>
                    <a:pt x="1779" y="1760"/>
                  </a:lnTo>
                  <a:lnTo>
                    <a:pt x="1788" y="1757"/>
                  </a:lnTo>
                  <a:lnTo>
                    <a:pt x="1795" y="1756"/>
                  </a:lnTo>
                  <a:lnTo>
                    <a:pt x="1796" y="1752"/>
                  </a:lnTo>
                  <a:lnTo>
                    <a:pt x="1798" y="1749"/>
                  </a:lnTo>
                  <a:lnTo>
                    <a:pt x="1802" y="1746"/>
                  </a:lnTo>
                  <a:lnTo>
                    <a:pt x="1806" y="1745"/>
                  </a:lnTo>
                  <a:lnTo>
                    <a:pt x="1806" y="1741"/>
                  </a:lnTo>
                  <a:lnTo>
                    <a:pt x="1806" y="1738"/>
                  </a:lnTo>
                  <a:lnTo>
                    <a:pt x="1808" y="1735"/>
                  </a:lnTo>
                  <a:lnTo>
                    <a:pt x="1812" y="1735"/>
                  </a:lnTo>
                  <a:lnTo>
                    <a:pt x="1812" y="1723"/>
                  </a:lnTo>
                  <a:lnTo>
                    <a:pt x="1817" y="1718"/>
                  </a:lnTo>
                  <a:lnTo>
                    <a:pt x="1823" y="1717"/>
                  </a:lnTo>
                  <a:lnTo>
                    <a:pt x="1828" y="1716"/>
                  </a:lnTo>
                  <a:lnTo>
                    <a:pt x="1834" y="1714"/>
                  </a:lnTo>
                  <a:lnTo>
                    <a:pt x="1839" y="1712"/>
                  </a:lnTo>
                  <a:lnTo>
                    <a:pt x="1844" y="1710"/>
                  </a:lnTo>
                  <a:lnTo>
                    <a:pt x="1850" y="1708"/>
                  </a:lnTo>
                  <a:lnTo>
                    <a:pt x="1855" y="1707"/>
                  </a:lnTo>
                  <a:lnTo>
                    <a:pt x="1861" y="1707"/>
                  </a:lnTo>
                  <a:lnTo>
                    <a:pt x="1866" y="1702"/>
                  </a:lnTo>
                  <a:lnTo>
                    <a:pt x="1872" y="1699"/>
                  </a:lnTo>
                  <a:lnTo>
                    <a:pt x="1879" y="1697"/>
                  </a:lnTo>
                  <a:lnTo>
                    <a:pt x="1883" y="1695"/>
                  </a:lnTo>
                  <a:lnTo>
                    <a:pt x="1890" y="1697"/>
                  </a:lnTo>
                  <a:lnTo>
                    <a:pt x="1894" y="1697"/>
                  </a:lnTo>
                  <a:lnTo>
                    <a:pt x="1900" y="1697"/>
                  </a:lnTo>
                  <a:lnTo>
                    <a:pt x="1903" y="1695"/>
                  </a:lnTo>
                  <a:lnTo>
                    <a:pt x="1906" y="1695"/>
                  </a:lnTo>
                  <a:lnTo>
                    <a:pt x="1909" y="1697"/>
                  </a:lnTo>
                  <a:lnTo>
                    <a:pt x="1911" y="1698"/>
                  </a:lnTo>
                  <a:lnTo>
                    <a:pt x="1911" y="1701"/>
                  </a:lnTo>
                  <a:lnTo>
                    <a:pt x="1920" y="1701"/>
                  </a:lnTo>
                  <a:lnTo>
                    <a:pt x="1935" y="1701"/>
                  </a:lnTo>
                  <a:lnTo>
                    <a:pt x="1943" y="1702"/>
                  </a:lnTo>
                  <a:lnTo>
                    <a:pt x="1949" y="1703"/>
                  </a:lnTo>
                  <a:lnTo>
                    <a:pt x="1953" y="1704"/>
                  </a:lnTo>
                  <a:lnTo>
                    <a:pt x="1956" y="1707"/>
                  </a:lnTo>
                  <a:lnTo>
                    <a:pt x="1967" y="1707"/>
                  </a:lnTo>
                  <a:lnTo>
                    <a:pt x="1972" y="1712"/>
                  </a:lnTo>
                  <a:lnTo>
                    <a:pt x="1972" y="1723"/>
                  </a:lnTo>
                  <a:lnTo>
                    <a:pt x="1976" y="1723"/>
                  </a:lnTo>
                  <a:lnTo>
                    <a:pt x="1979" y="1726"/>
                  </a:lnTo>
                  <a:lnTo>
                    <a:pt x="1982" y="1729"/>
                  </a:lnTo>
                  <a:lnTo>
                    <a:pt x="1985" y="1732"/>
                  </a:lnTo>
                  <a:lnTo>
                    <a:pt x="1988" y="1739"/>
                  </a:lnTo>
                  <a:lnTo>
                    <a:pt x="1989" y="1745"/>
                  </a:lnTo>
                  <a:lnTo>
                    <a:pt x="1995" y="1748"/>
                  </a:lnTo>
                  <a:lnTo>
                    <a:pt x="1999" y="1750"/>
                  </a:lnTo>
                  <a:lnTo>
                    <a:pt x="2005" y="1756"/>
                  </a:lnTo>
                  <a:lnTo>
                    <a:pt x="2010" y="1761"/>
                  </a:lnTo>
                  <a:lnTo>
                    <a:pt x="2010" y="1772"/>
                  </a:lnTo>
                  <a:lnTo>
                    <a:pt x="2015" y="1776"/>
                  </a:lnTo>
                  <a:lnTo>
                    <a:pt x="2019" y="1781"/>
                  </a:lnTo>
                  <a:lnTo>
                    <a:pt x="2023" y="1784"/>
                  </a:lnTo>
                  <a:lnTo>
                    <a:pt x="2026" y="1787"/>
                  </a:lnTo>
                  <a:lnTo>
                    <a:pt x="2029" y="1789"/>
                  </a:lnTo>
                  <a:lnTo>
                    <a:pt x="2033" y="1789"/>
                  </a:lnTo>
                  <a:lnTo>
                    <a:pt x="2036" y="1795"/>
                  </a:lnTo>
                  <a:lnTo>
                    <a:pt x="2038" y="1800"/>
                  </a:lnTo>
                  <a:lnTo>
                    <a:pt x="2043" y="1801"/>
                  </a:lnTo>
                  <a:lnTo>
                    <a:pt x="2046" y="1804"/>
                  </a:lnTo>
                  <a:lnTo>
                    <a:pt x="2048" y="1807"/>
                  </a:lnTo>
                  <a:lnTo>
                    <a:pt x="2049" y="1812"/>
                  </a:lnTo>
                  <a:lnTo>
                    <a:pt x="2055" y="1812"/>
                  </a:lnTo>
                  <a:lnTo>
                    <a:pt x="2059" y="1813"/>
                  </a:lnTo>
                  <a:lnTo>
                    <a:pt x="2063" y="1813"/>
                  </a:lnTo>
                  <a:lnTo>
                    <a:pt x="2064" y="1814"/>
                  </a:lnTo>
                  <a:lnTo>
                    <a:pt x="2066" y="1815"/>
                  </a:lnTo>
                  <a:lnTo>
                    <a:pt x="2066" y="1817"/>
                  </a:lnTo>
                  <a:lnTo>
                    <a:pt x="2071" y="1817"/>
                  </a:lnTo>
                  <a:lnTo>
                    <a:pt x="2074" y="1818"/>
                  </a:lnTo>
                  <a:lnTo>
                    <a:pt x="2076" y="1819"/>
                  </a:lnTo>
                  <a:lnTo>
                    <a:pt x="2077" y="1823"/>
                  </a:lnTo>
                  <a:lnTo>
                    <a:pt x="2111" y="1823"/>
                  </a:lnTo>
                  <a:lnTo>
                    <a:pt x="2163" y="1824"/>
                  </a:lnTo>
                  <a:lnTo>
                    <a:pt x="2189" y="1824"/>
                  </a:lnTo>
                  <a:lnTo>
                    <a:pt x="2211" y="1825"/>
                  </a:lnTo>
                  <a:lnTo>
                    <a:pt x="2227" y="1826"/>
                  </a:lnTo>
                  <a:lnTo>
                    <a:pt x="2232" y="1828"/>
                  </a:lnTo>
                  <a:lnTo>
                    <a:pt x="2266" y="1829"/>
                  </a:lnTo>
                  <a:lnTo>
                    <a:pt x="2300" y="1830"/>
                  </a:lnTo>
                  <a:lnTo>
                    <a:pt x="2336" y="1834"/>
                  </a:lnTo>
                  <a:lnTo>
                    <a:pt x="2372" y="1836"/>
                  </a:lnTo>
                  <a:lnTo>
                    <a:pt x="2409" y="1839"/>
                  </a:lnTo>
                  <a:lnTo>
                    <a:pt x="2446" y="1842"/>
                  </a:lnTo>
                  <a:lnTo>
                    <a:pt x="2482" y="1844"/>
                  </a:lnTo>
                  <a:lnTo>
                    <a:pt x="2520" y="1845"/>
                  </a:lnTo>
                  <a:lnTo>
                    <a:pt x="2532" y="1851"/>
                  </a:lnTo>
                  <a:lnTo>
                    <a:pt x="2548" y="1856"/>
                  </a:lnTo>
                  <a:lnTo>
                    <a:pt x="2559" y="1867"/>
                  </a:lnTo>
                  <a:lnTo>
                    <a:pt x="2571" y="1878"/>
                  </a:lnTo>
                  <a:lnTo>
                    <a:pt x="2582" y="1884"/>
                  </a:lnTo>
                  <a:lnTo>
                    <a:pt x="2597" y="1890"/>
                  </a:lnTo>
                  <a:lnTo>
                    <a:pt x="2601" y="1894"/>
                  </a:lnTo>
                  <a:lnTo>
                    <a:pt x="2603" y="1900"/>
                  </a:lnTo>
                  <a:lnTo>
                    <a:pt x="2620" y="1909"/>
                  </a:lnTo>
                  <a:lnTo>
                    <a:pt x="2637" y="1916"/>
                  </a:lnTo>
                  <a:lnTo>
                    <a:pt x="2638" y="1921"/>
                  </a:lnTo>
                  <a:lnTo>
                    <a:pt x="2639" y="1923"/>
                  </a:lnTo>
                  <a:lnTo>
                    <a:pt x="2640" y="1925"/>
                  </a:lnTo>
                  <a:lnTo>
                    <a:pt x="2642" y="1928"/>
                  </a:lnTo>
                  <a:lnTo>
                    <a:pt x="2647" y="1930"/>
                  </a:lnTo>
                  <a:lnTo>
                    <a:pt x="2648" y="1933"/>
                  </a:lnTo>
                  <a:lnTo>
                    <a:pt x="2669" y="1939"/>
                  </a:lnTo>
                  <a:lnTo>
                    <a:pt x="2715" y="1948"/>
                  </a:lnTo>
                  <a:lnTo>
                    <a:pt x="2738" y="1951"/>
                  </a:lnTo>
                  <a:lnTo>
                    <a:pt x="2760" y="1952"/>
                  </a:lnTo>
                  <a:lnTo>
                    <a:pt x="2768" y="1952"/>
                  </a:lnTo>
                  <a:lnTo>
                    <a:pt x="2775" y="1950"/>
                  </a:lnTo>
                  <a:lnTo>
                    <a:pt x="2777" y="1950"/>
                  </a:lnTo>
                  <a:lnTo>
                    <a:pt x="2779" y="1948"/>
                  </a:lnTo>
                  <a:lnTo>
                    <a:pt x="2781" y="1947"/>
                  </a:lnTo>
                  <a:lnTo>
                    <a:pt x="2781" y="1944"/>
                  </a:lnTo>
                  <a:lnTo>
                    <a:pt x="2789" y="1944"/>
                  </a:lnTo>
                  <a:lnTo>
                    <a:pt x="2797" y="1944"/>
                  </a:lnTo>
                  <a:lnTo>
                    <a:pt x="2803" y="1939"/>
                  </a:lnTo>
                  <a:lnTo>
                    <a:pt x="2803" y="1928"/>
                  </a:lnTo>
                  <a:lnTo>
                    <a:pt x="2805" y="1928"/>
                  </a:lnTo>
                  <a:lnTo>
                    <a:pt x="2807" y="1925"/>
                  </a:lnTo>
                  <a:lnTo>
                    <a:pt x="2811" y="1922"/>
                  </a:lnTo>
                  <a:lnTo>
                    <a:pt x="2813" y="1919"/>
                  </a:lnTo>
                  <a:lnTo>
                    <a:pt x="2817" y="1912"/>
                  </a:lnTo>
                  <a:lnTo>
                    <a:pt x="2820" y="1905"/>
                  </a:lnTo>
                  <a:lnTo>
                    <a:pt x="2843" y="1905"/>
                  </a:lnTo>
                  <a:lnTo>
                    <a:pt x="2869" y="1903"/>
                  </a:lnTo>
                  <a:lnTo>
                    <a:pt x="2893" y="1901"/>
                  </a:lnTo>
                  <a:lnTo>
                    <a:pt x="2913" y="1900"/>
                  </a:lnTo>
                  <a:lnTo>
                    <a:pt x="2925" y="1890"/>
                  </a:lnTo>
                  <a:lnTo>
                    <a:pt x="2936" y="1878"/>
                  </a:lnTo>
                  <a:lnTo>
                    <a:pt x="2946" y="1878"/>
                  </a:lnTo>
                  <a:lnTo>
                    <a:pt x="2962" y="1878"/>
                  </a:lnTo>
                  <a:lnTo>
                    <a:pt x="2971" y="1880"/>
                  </a:lnTo>
                  <a:lnTo>
                    <a:pt x="2979" y="1881"/>
                  </a:lnTo>
                  <a:lnTo>
                    <a:pt x="2984" y="1882"/>
                  </a:lnTo>
                  <a:lnTo>
                    <a:pt x="2986" y="1884"/>
                  </a:lnTo>
                  <a:lnTo>
                    <a:pt x="2993" y="1884"/>
                  </a:lnTo>
                  <a:lnTo>
                    <a:pt x="3010" y="188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0" name="Freeform 26"/>
            <p:cNvSpPr>
              <a:spLocks noChangeAspect="1"/>
            </p:cNvSpPr>
            <p:nvPr/>
          </p:nvSpPr>
          <p:spPr bwMode="gray">
            <a:xfrm rot="355651">
              <a:off x="5608120" y="3276600"/>
              <a:ext cx="452805" cy="343868"/>
            </a:xfrm>
            <a:custGeom>
              <a:avLst/>
              <a:gdLst/>
              <a:ahLst/>
              <a:cxnLst>
                <a:cxn ang="0">
                  <a:pos x="1313" y="105"/>
                </a:cxn>
                <a:cxn ang="0">
                  <a:pos x="1311" y="208"/>
                </a:cxn>
                <a:cxn ang="0">
                  <a:pos x="1326" y="300"/>
                </a:cxn>
                <a:cxn ang="0">
                  <a:pos x="1294" y="365"/>
                </a:cxn>
                <a:cxn ang="0">
                  <a:pos x="1482" y="569"/>
                </a:cxn>
                <a:cxn ang="0">
                  <a:pos x="1661" y="702"/>
                </a:cxn>
                <a:cxn ang="0">
                  <a:pos x="1744" y="764"/>
                </a:cxn>
                <a:cxn ang="0">
                  <a:pos x="1764" y="811"/>
                </a:cxn>
                <a:cxn ang="0">
                  <a:pos x="1644" y="863"/>
                </a:cxn>
                <a:cxn ang="0">
                  <a:pos x="1616" y="1013"/>
                </a:cxn>
                <a:cxn ang="0">
                  <a:pos x="1669" y="1123"/>
                </a:cxn>
                <a:cxn ang="0">
                  <a:pos x="1871" y="1201"/>
                </a:cxn>
                <a:cxn ang="0">
                  <a:pos x="2039" y="1219"/>
                </a:cxn>
                <a:cxn ang="0">
                  <a:pos x="2139" y="1155"/>
                </a:cxn>
                <a:cxn ang="0">
                  <a:pos x="2326" y="1134"/>
                </a:cxn>
                <a:cxn ang="0">
                  <a:pos x="2476" y="1082"/>
                </a:cxn>
                <a:cxn ang="0">
                  <a:pos x="2475" y="1116"/>
                </a:cxn>
                <a:cxn ang="0">
                  <a:pos x="2421" y="1162"/>
                </a:cxn>
                <a:cxn ang="0">
                  <a:pos x="2387" y="1331"/>
                </a:cxn>
                <a:cxn ang="0">
                  <a:pos x="2372" y="1368"/>
                </a:cxn>
                <a:cxn ang="0">
                  <a:pos x="2407" y="1556"/>
                </a:cxn>
                <a:cxn ang="0">
                  <a:pos x="2430" y="1701"/>
                </a:cxn>
                <a:cxn ang="0">
                  <a:pos x="2382" y="1740"/>
                </a:cxn>
                <a:cxn ang="0">
                  <a:pos x="2297" y="1782"/>
                </a:cxn>
                <a:cxn ang="0">
                  <a:pos x="2253" y="1815"/>
                </a:cxn>
                <a:cxn ang="0">
                  <a:pos x="2227" y="1842"/>
                </a:cxn>
                <a:cxn ang="0">
                  <a:pos x="2176" y="1910"/>
                </a:cxn>
                <a:cxn ang="0">
                  <a:pos x="2173" y="1984"/>
                </a:cxn>
                <a:cxn ang="0">
                  <a:pos x="2014" y="2003"/>
                </a:cxn>
                <a:cxn ang="0">
                  <a:pos x="1911" y="2091"/>
                </a:cxn>
                <a:cxn ang="0">
                  <a:pos x="1759" y="2024"/>
                </a:cxn>
                <a:cxn ang="0">
                  <a:pos x="1652" y="2044"/>
                </a:cxn>
                <a:cxn ang="0">
                  <a:pos x="1495" y="2118"/>
                </a:cxn>
                <a:cxn ang="0">
                  <a:pos x="1374" y="2137"/>
                </a:cxn>
                <a:cxn ang="0">
                  <a:pos x="1351" y="1996"/>
                </a:cxn>
                <a:cxn ang="0">
                  <a:pos x="1268" y="1971"/>
                </a:cxn>
                <a:cxn ang="0">
                  <a:pos x="1200" y="1817"/>
                </a:cxn>
                <a:cxn ang="0">
                  <a:pos x="1195" y="1597"/>
                </a:cxn>
                <a:cxn ang="0">
                  <a:pos x="1134" y="1616"/>
                </a:cxn>
                <a:cxn ang="0">
                  <a:pos x="1057" y="1676"/>
                </a:cxn>
                <a:cxn ang="0">
                  <a:pos x="1059" y="1917"/>
                </a:cxn>
                <a:cxn ang="0">
                  <a:pos x="955" y="2073"/>
                </a:cxn>
                <a:cxn ang="0">
                  <a:pos x="806" y="2146"/>
                </a:cxn>
                <a:cxn ang="0">
                  <a:pos x="694" y="1963"/>
                </a:cxn>
                <a:cxn ang="0">
                  <a:pos x="646" y="1739"/>
                </a:cxn>
                <a:cxn ang="0">
                  <a:pos x="470" y="1348"/>
                </a:cxn>
                <a:cxn ang="0">
                  <a:pos x="282" y="1137"/>
                </a:cxn>
                <a:cxn ang="0">
                  <a:pos x="59" y="1011"/>
                </a:cxn>
                <a:cxn ang="0">
                  <a:pos x="30" y="894"/>
                </a:cxn>
                <a:cxn ang="0">
                  <a:pos x="1" y="665"/>
                </a:cxn>
                <a:cxn ang="0">
                  <a:pos x="118" y="590"/>
                </a:cxn>
                <a:cxn ang="0">
                  <a:pos x="446" y="554"/>
                </a:cxn>
                <a:cxn ang="0">
                  <a:pos x="593" y="674"/>
                </a:cxn>
                <a:cxn ang="0">
                  <a:pos x="722" y="676"/>
                </a:cxn>
                <a:cxn ang="0">
                  <a:pos x="783" y="569"/>
                </a:cxn>
                <a:cxn ang="0">
                  <a:pos x="746" y="272"/>
                </a:cxn>
                <a:cxn ang="0">
                  <a:pos x="847" y="171"/>
                </a:cxn>
                <a:cxn ang="0">
                  <a:pos x="1080" y="174"/>
                </a:cxn>
                <a:cxn ang="0">
                  <a:pos x="1189" y="85"/>
                </a:cxn>
              </a:cxnLst>
              <a:rect l="0" t="0" r="r" b="b"/>
              <a:pathLst>
                <a:path w="2491" h="2147">
                  <a:moveTo>
                    <a:pt x="1240" y="0"/>
                  </a:moveTo>
                  <a:lnTo>
                    <a:pt x="1246" y="6"/>
                  </a:lnTo>
                  <a:lnTo>
                    <a:pt x="1250" y="13"/>
                  </a:lnTo>
                  <a:lnTo>
                    <a:pt x="1252" y="21"/>
                  </a:lnTo>
                  <a:lnTo>
                    <a:pt x="1255" y="30"/>
                  </a:lnTo>
                  <a:lnTo>
                    <a:pt x="1257" y="38"/>
                  </a:lnTo>
                  <a:lnTo>
                    <a:pt x="1259" y="44"/>
                  </a:lnTo>
                  <a:lnTo>
                    <a:pt x="1261" y="50"/>
                  </a:lnTo>
                  <a:lnTo>
                    <a:pt x="1265" y="56"/>
                  </a:lnTo>
                  <a:lnTo>
                    <a:pt x="1295" y="86"/>
                  </a:lnTo>
                  <a:lnTo>
                    <a:pt x="1313" y="105"/>
                  </a:lnTo>
                  <a:lnTo>
                    <a:pt x="1318" y="111"/>
                  </a:lnTo>
                  <a:lnTo>
                    <a:pt x="1322" y="119"/>
                  </a:lnTo>
                  <a:lnTo>
                    <a:pt x="1323" y="127"/>
                  </a:lnTo>
                  <a:lnTo>
                    <a:pt x="1323" y="138"/>
                  </a:lnTo>
                  <a:lnTo>
                    <a:pt x="1319" y="152"/>
                  </a:lnTo>
                  <a:lnTo>
                    <a:pt x="1311" y="168"/>
                  </a:lnTo>
                  <a:lnTo>
                    <a:pt x="1309" y="178"/>
                  </a:lnTo>
                  <a:lnTo>
                    <a:pt x="1308" y="190"/>
                  </a:lnTo>
                  <a:lnTo>
                    <a:pt x="1308" y="196"/>
                  </a:lnTo>
                  <a:lnTo>
                    <a:pt x="1310" y="202"/>
                  </a:lnTo>
                  <a:lnTo>
                    <a:pt x="1311" y="208"/>
                  </a:lnTo>
                  <a:lnTo>
                    <a:pt x="1315" y="215"/>
                  </a:lnTo>
                  <a:lnTo>
                    <a:pt x="1320" y="227"/>
                  </a:lnTo>
                  <a:lnTo>
                    <a:pt x="1325" y="239"/>
                  </a:lnTo>
                  <a:lnTo>
                    <a:pt x="1328" y="249"/>
                  </a:lnTo>
                  <a:lnTo>
                    <a:pt x="1330" y="259"/>
                  </a:lnTo>
                  <a:lnTo>
                    <a:pt x="1332" y="268"/>
                  </a:lnTo>
                  <a:lnTo>
                    <a:pt x="1332" y="275"/>
                  </a:lnTo>
                  <a:lnTo>
                    <a:pt x="1332" y="282"/>
                  </a:lnTo>
                  <a:lnTo>
                    <a:pt x="1330" y="289"/>
                  </a:lnTo>
                  <a:lnTo>
                    <a:pt x="1328" y="294"/>
                  </a:lnTo>
                  <a:lnTo>
                    <a:pt x="1326" y="300"/>
                  </a:lnTo>
                  <a:lnTo>
                    <a:pt x="1324" y="306"/>
                  </a:lnTo>
                  <a:lnTo>
                    <a:pt x="1320" y="310"/>
                  </a:lnTo>
                  <a:lnTo>
                    <a:pt x="1314" y="319"/>
                  </a:lnTo>
                  <a:lnTo>
                    <a:pt x="1307" y="326"/>
                  </a:lnTo>
                  <a:lnTo>
                    <a:pt x="1301" y="333"/>
                  </a:lnTo>
                  <a:lnTo>
                    <a:pt x="1296" y="341"/>
                  </a:lnTo>
                  <a:lnTo>
                    <a:pt x="1294" y="346"/>
                  </a:lnTo>
                  <a:lnTo>
                    <a:pt x="1293" y="349"/>
                  </a:lnTo>
                  <a:lnTo>
                    <a:pt x="1293" y="355"/>
                  </a:lnTo>
                  <a:lnTo>
                    <a:pt x="1293" y="359"/>
                  </a:lnTo>
                  <a:lnTo>
                    <a:pt x="1294" y="365"/>
                  </a:lnTo>
                  <a:lnTo>
                    <a:pt x="1295" y="370"/>
                  </a:lnTo>
                  <a:lnTo>
                    <a:pt x="1298" y="376"/>
                  </a:lnTo>
                  <a:lnTo>
                    <a:pt x="1303" y="384"/>
                  </a:lnTo>
                  <a:lnTo>
                    <a:pt x="1307" y="390"/>
                  </a:lnTo>
                  <a:lnTo>
                    <a:pt x="1314" y="399"/>
                  </a:lnTo>
                  <a:lnTo>
                    <a:pt x="1323" y="408"/>
                  </a:lnTo>
                  <a:lnTo>
                    <a:pt x="1332" y="418"/>
                  </a:lnTo>
                  <a:lnTo>
                    <a:pt x="1365" y="451"/>
                  </a:lnTo>
                  <a:lnTo>
                    <a:pt x="1408" y="493"/>
                  </a:lnTo>
                  <a:lnTo>
                    <a:pt x="1449" y="535"/>
                  </a:lnTo>
                  <a:lnTo>
                    <a:pt x="1482" y="569"/>
                  </a:lnTo>
                  <a:lnTo>
                    <a:pt x="1504" y="591"/>
                  </a:lnTo>
                  <a:lnTo>
                    <a:pt x="1525" y="614"/>
                  </a:lnTo>
                  <a:lnTo>
                    <a:pt x="1547" y="638"/>
                  </a:lnTo>
                  <a:lnTo>
                    <a:pt x="1572" y="664"/>
                  </a:lnTo>
                  <a:lnTo>
                    <a:pt x="1582" y="674"/>
                  </a:lnTo>
                  <a:lnTo>
                    <a:pt x="1593" y="682"/>
                  </a:lnTo>
                  <a:lnTo>
                    <a:pt x="1604" y="688"/>
                  </a:lnTo>
                  <a:lnTo>
                    <a:pt x="1617" y="693"/>
                  </a:lnTo>
                  <a:lnTo>
                    <a:pt x="1631" y="697"/>
                  </a:lnTo>
                  <a:lnTo>
                    <a:pt x="1645" y="701"/>
                  </a:lnTo>
                  <a:lnTo>
                    <a:pt x="1661" y="702"/>
                  </a:lnTo>
                  <a:lnTo>
                    <a:pt x="1678" y="703"/>
                  </a:lnTo>
                  <a:lnTo>
                    <a:pt x="1681" y="703"/>
                  </a:lnTo>
                  <a:lnTo>
                    <a:pt x="1685" y="705"/>
                  </a:lnTo>
                  <a:lnTo>
                    <a:pt x="1690" y="707"/>
                  </a:lnTo>
                  <a:lnTo>
                    <a:pt x="1693" y="711"/>
                  </a:lnTo>
                  <a:lnTo>
                    <a:pt x="1701" y="719"/>
                  </a:lnTo>
                  <a:lnTo>
                    <a:pt x="1710" y="727"/>
                  </a:lnTo>
                  <a:lnTo>
                    <a:pt x="1718" y="739"/>
                  </a:lnTo>
                  <a:lnTo>
                    <a:pt x="1726" y="749"/>
                  </a:lnTo>
                  <a:lnTo>
                    <a:pt x="1735" y="758"/>
                  </a:lnTo>
                  <a:lnTo>
                    <a:pt x="1744" y="764"/>
                  </a:lnTo>
                  <a:lnTo>
                    <a:pt x="1757" y="773"/>
                  </a:lnTo>
                  <a:lnTo>
                    <a:pt x="1769" y="782"/>
                  </a:lnTo>
                  <a:lnTo>
                    <a:pt x="1774" y="787"/>
                  </a:lnTo>
                  <a:lnTo>
                    <a:pt x="1778" y="791"/>
                  </a:lnTo>
                  <a:lnTo>
                    <a:pt x="1780" y="794"/>
                  </a:lnTo>
                  <a:lnTo>
                    <a:pt x="1781" y="798"/>
                  </a:lnTo>
                  <a:lnTo>
                    <a:pt x="1781" y="801"/>
                  </a:lnTo>
                  <a:lnTo>
                    <a:pt x="1780" y="804"/>
                  </a:lnTo>
                  <a:lnTo>
                    <a:pt x="1777" y="808"/>
                  </a:lnTo>
                  <a:lnTo>
                    <a:pt x="1771" y="810"/>
                  </a:lnTo>
                  <a:lnTo>
                    <a:pt x="1764" y="811"/>
                  </a:lnTo>
                  <a:lnTo>
                    <a:pt x="1755" y="812"/>
                  </a:lnTo>
                  <a:lnTo>
                    <a:pt x="1742" y="813"/>
                  </a:lnTo>
                  <a:lnTo>
                    <a:pt x="1728" y="813"/>
                  </a:lnTo>
                  <a:lnTo>
                    <a:pt x="1714" y="815"/>
                  </a:lnTo>
                  <a:lnTo>
                    <a:pt x="1701" y="818"/>
                  </a:lnTo>
                  <a:lnTo>
                    <a:pt x="1690" y="821"/>
                  </a:lnTo>
                  <a:lnTo>
                    <a:pt x="1679" y="827"/>
                  </a:lnTo>
                  <a:lnTo>
                    <a:pt x="1669" y="835"/>
                  </a:lnTo>
                  <a:lnTo>
                    <a:pt x="1660" y="842"/>
                  </a:lnTo>
                  <a:lnTo>
                    <a:pt x="1652" y="852"/>
                  </a:lnTo>
                  <a:lnTo>
                    <a:pt x="1644" y="863"/>
                  </a:lnTo>
                  <a:lnTo>
                    <a:pt x="1637" y="874"/>
                  </a:lnTo>
                  <a:lnTo>
                    <a:pt x="1632" y="886"/>
                  </a:lnTo>
                  <a:lnTo>
                    <a:pt x="1627" y="899"/>
                  </a:lnTo>
                  <a:lnTo>
                    <a:pt x="1623" y="913"/>
                  </a:lnTo>
                  <a:lnTo>
                    <a:pt x="1620" y="926"/>
                  </a:lnTo>
                  <a:lnTo>
                    <a:pt x="1617" y="941"/>
                  </a:lnTo>
                  <a:lnTo>
                    <a:pt x="1616" y="955"/>
                  </a:lnTo>
                  <a:lnTo>
                    <a:pt x="1615" y="970"/>
                  </a:lnTo>
                  <a:lnTo>
                    <a:pt x="1615" y="984"/>
                  </a:lnTo>
                  <a:lnTo>
                    <a:pt x="1615" y="999"/>
                  </a:lnTo>
                  <a:lnTo>
                    <a:pt x="1616" y="1013"/>
                  </a:lnTo>
                  <a:lnTo>
                    <a:pt x="1618" y="1027"/>
                  </a:lnTo>
                  <a:lnTo>
                    <a:pt x="1621" y="1041"/>
                  </a:lnTo>
                  <a:lnTo>
                    <a:pt x="1624" y="1053"/>
                  </a:lnTo>
                  <a:lnTo>
                    <a:pt x="1627" y="1066"/>
                  </a:lnTo>
                  <a:lnTo>
                    <a:pt x="1632" y="1077"/>
                  </a:lnTo>
                  <a:lnTo>
                    <a:pt x="1636" y="1088"/>
                  </a:lnTo>
                  <a:lnTo>
                    <a:pt x="1642" y="1097"/>
                  </a:lnTo>
                  <a:lnTo>
                    <a:pt x="1648" y="1106"/>
                  </a:lnTo>
                  <a:lnTo>
                    <a:pt x="1654" y="1112"/>
                  </a:lnTo>
                  <a:lnTo>
                    <a:pt x="1662" y="1118"/>
                  </a:lnTo>
                  <a:lnTo>
                    <a:pt x="1669" y="1123"/>
                  </a:lnTo>
                  <a:lnTo>
                    <a:pt x="1678" y="1125"/>
                  </a:lnTo>
                  <a:lnTo>
                    <a:pt x="1685" y="1126"/>
                  </a:lnTo>
                  <a:lnTo>
                    <a:pt x="1696" y="1126"/>
                  </a:lnTo>
                  <a:lnTo>
                    <a:pt x="1704" y="1127"/>
                  </a:lnTo>
                  <a:lnTo>
                    <a:pt x="1714" y="1129"/>
                  </a:lnTo>
                  <a:lnTo>
                    <a:pt x="1723" y="1131"/>
                  </a:lnTo>
                  <a:lnTo>
                    <a:pt x="1744" y="1138"/>
                  </a:lnTo>
                  <a:lnTo>
                    <a:pt x="1762" y="1147"/>
                  </a:lnTo>
                  <a:lnTo>
                    <a:pt x="1804" y="1168"/>
                  </a:lnTo>
                  <a:lnTo>
                    <a:pt x="1847" y="1190"/>
                  </a:lnTo>
                  <a:lnTo>
                    <a:pt x="1871" y="1201"/>
                  </a:lnTo>
                  <a:lnTo>
                    <a:pt x="1895" y="1210"/>
                  </a:lnTo>
                  <a:lnTo>
                    <a:pt x="1909" y="1213"/>
                  </a:lnTo>
                  <a:lnTo>
                    <a:pt x="1922" y="1216"/>
                  </a:lnTo>
                  <a:lnTo>
                    <a:pt x="1936" y="1220"/>
                  </a:lnTo>
                  <a:lnTo>
                    <a:pt x="1949" y="1222"/>
                  </a:lnTo>
                  <a:lnTo>
                    <a:pt x="1962" y="1223"/>
                  </a:lnTo>
                  <a:lnTo>
                    <a:pt x="1977" y="1224"/>
                  </a:lnTo>
                  <a:lnTo>
                    <a:pt x="1992" y="1224"/>
                  </a:lnTo>
                  <a:lnTo>
                    <a:pt x="2008" y="1223"/>
                  </a:lnTo>
                  <a:lnTo>
                    <a:pt x="2024" y="1222"/>
                  </a:lnTo>
                  <a:lnTo>
                    <a:pt x="2039" y="1219"/>
                  </a:lnTo>
                  <a:lnTo>
                    <a:pt x="2056" y="1215"/>
                  </a:lnTo>
                  <a:lnTo>
                    <a:pt x="2073" y="1210"/>
                  </a:lnTo>
                  <a:lnTo>
                    <a:pt x="2085" y="1206"/>
                  </a:lnTo>
                  <a:lnTo>
                    <a:pt x="2094" y="1202"/>
                  </a:lnTo>
                  <a:lnTo>
                    <a:pt x="2101" y="1197"/>
                  </a:lnTo>
                  <a:lnTo>
                    <a:pt x="2106" y="1193"/>
                  </a:lnTo>
                  <a:lnTo>
                    <a:pt x="2114" y="1182"/>
                  </a:lnTo>
                  <a:lnTo>
                    <a:pt x="2122" y="1169"/>
                  </a:lnTo>
                  <a:lnTo>
                    <a:pt x="2126" y="1165"/>
                  </a:lnTo>
                  <a:lnTo>
                    <a:pt x="2132" y="1159"/>
                  </a:lnTo>
                  <a:lnTo>
                    <a:pt x="2139" y="1155"/>
                  </a:lnTo>
                  <a:lnTo>
                    <a:pt x="2146" y="1150"/>
                  </a:lnTo>
                  <a:lnTo>
                    <a:pt x="2158" y="1147"/>
                  </a:lnTo>
                  <a:lnTo>
                    <a:pt x="2171" y="1145"/>
                  </a:lnTo>
                  <a:lnTo>
                    <a:pt x="2188" y="1143"/>
                  </a:lnTo>
                  <a:lnTo>
                    <a:pt x="2208" y="1143"/>
                  </a:lnTo>
                  <a:lnTo>
                    <a:pt x="2234" y="1143"/>
                  </a:lnTo>
                  <a:lnTo>
                    <a:pt x="2256" y="1142"/>
                  </a:lnTo>
                  <a:lnTo>
                    <a:pt x="2276" y="1140"/>
                  </a:lnTo>
                  <a:lnTo>
                    <a:pt x="2294" y="1138"/>
                  </a:lnTo>
                  <a:lnTo>
                    <a:pt x="2311" y="1136"/>
                  </a:lnTo>
                  <a:lnTo>
                    <a:pt x="2326" y="1134"/>
                  </a:lnTo>
                  <a:lnTo>
                    <a:pt x="2340" y="1130"/>
                  </a:lnTo>
                  <a:lnTo>
                    <a:pt x="2352" y="1127"/>
                  </a:lnTo>
                  <a:lnTo>
                    <a:pt x="2363" y="1123"/>
                  </a:lnTo>
                  <a:lnTo>
                    <a:pt x="2373" y="1118"/>
                  </a:lnTo>
                  <a:lnTo>
                    <a:pt x="2383" y="1114"/>
                  </a:lnTo>
                  <a:lnTo>
                    <a:pt x="2393" y="1108"/>
                  </a:lnTo>
                  <a:lnTo>
                    <a:pt x="2411" y="1098"/>
                  </a:lnTo>
                  <a:lnTo>
                    <a:pt x="2430" y="1086"/>
                  </a:lnTo>
                  <a:lnTo>
                    <a:pt x="2447" y="1085"/>
                  </a:lnTo>
                  <a:lnTo>
                    <a:pt x="2462" y="1083"/>
                  </a:lnTo>
                  <a:lnTo>
                    <a:pt x="2476" y="1082"/>
                  </a:lnTo>
                  <a:lnTo>
                    <a:pt x="2486" y="1082"/>
                  </a:lnTo>
                  <a:lnTo>
                    <a:pt x="2488" y="1089"/>
                  </a:lnTo>
                  <a:lnTo>
                    <a:pt x="2491" y="1097"/>
                  </a:lnTo>
                  <a:lnTo>
                    <a:pt x="2489" y="1099"/>
                  </a:lnTo>
                  <a:lnTo>
                    <a:pt x="2488" y="1099"/>
                  </a:lnTo>
                  <a:lnTo>
                    <a:pt x="2486" y="1100"/>
                  </a:lnTo>
                  <a:lnTo>
                    <a:pt x="2486" y="1105"/>
                  </a:lnTo>
                  <a:lnTo>
                    <a:pt x="2481" y="1106"/>
                  </a:lnTo>
                  <a:lnTo>
                    <a:pt x="2478" y="1108"/>
                  </a:lnTo>
                  <a:lnTo>
                    <a:pt x="2476" y="1111"/>
                  </a:lnTo>
                  <a:lnTo>
                    <a:pt x="2475" y="1116"/>
                  </a:lnTo>
                  <a:lnTo>
                    <a:pt x="2464" y="1121"/>
                  </a:lnTo>
                  <a:lnTo>
                    <a:pt x="2464" y="1131"/>
                  </a:lnTo>
                  <a:lnTo>
                    <a:pt x="2458" y="1135"/>
                  </a:lnTo>
                  <a:lnTo>
                    <a:pt x="2452" y="1137"/>
                  </a:lnTo>
                  <a:lnTo>
                    <a:pt x="2452" y="1148"/>
                  </a:lnTo>
                  <a:lnTo>
                    <a:pt x="2447" y="1154"/>
                  </a:lnTo>
                  <a:lnTo>
                    <a:pt x="2436" y="1154"/>
                  </a:lnTo>
                  <a:lnTo>
                    <a:pt x="2435" y="1156"/>
                  </a:lnTo>
                  <a:lnTo>
                    <a:pt x="2431" y="1158"/>
                  </a:lnTo>
                  <a:lnTo>
                    <a:pt x="2427" y="1160"/>
                  </a:lnTo>
                  <a:lnTo>
                    <a:pt x="2421" y="1162"/>
                  </a:lnTo>
                  <a:lnTo>
                    <a:pt x="2410" y="1164"/>
                  </a:lnTo>
                  <a:lnTo>
                    <a:pt x="2402" y="1165"/>
                  </a:lnTo>
                  <a:lnTo>
                    <a:pt x="2397" y="1171"/>
                  </a:lnTo>
                  <a:lnTo>
                    <a:pt x="2397" y="1175"/>
                  </a:lnTo>
                  <a:lnTo>
                    <a:pt x="2397" y="1178"/>
                  </a:lnTo>
                  <a:lnTo>
                    <a:pt x="2394" y="1181"/>
                  </a:lnTo>
                  <a:lnTo>
                    <a:pt x="2391" y="1182"/>
                  </a:lnTo>
                  <a:lnTo>
                    <a:pt x="2391" y="1217"/>
                  </a:lnTo>
                  <a:lnTo>
                    <a:pt x="2389" y="1256"/>
                  </a:lnTo>
                  <a:lnTo>
                    <a:pt x="2387" y="1296"/>
                  </a:lnTo>
                  <a:lnTo>
                    <a:pt x="2387" y="1331"/>
                  </a:lnTo>
                  <a:lnTo>
                    <a:pt x="2384" y="1332"/>
                  </a:lnTo>
                  <a:lnTo>
                    <a:pt x="2383" y="1335"/>
                  </a:lnTo>
                  <a:lnTo>
                    <a:pt x="2382" y="1337"/>
                  </a:lnTo>
                  <a:lnTo>
                    <a:pt x="2381" y="1340"/>
                  </a:lnTo>
                  <a:lnTo>
                    <a:pt x="2381" y="1348"/>
                  </a:lnTo>
                  <a:lnTo>
                    <a:pt x="2381" y="1354"/>
                  </a:lnTo>
                  <a:lnTo>
                    <a:pt x="2379" y="1354"/>
                  </a:lnTo>
                  <a:lnTo>
                    <a:pt x="2376" y="1356"/>
                  </a:lnTo>
                  <a:lnTo>
                    <a:pt x="2375" y="1358"/>
                  </a:lnTo>
                  <a:lnTo>
                    <a:pt x="2374" y="1360"/>
                  </a:lnTo>
                  <a:lnTo>
                    <a:pt x="2372" y="1368"/>
                  </a:lnTo>
                  <a:lnTo>
                    <a:pt x="2371" y="1379"/>
                  </a:lnTo>
                  <a:lnTo>
                    <a:pt x="2371" y="1405"/>
                  </a:lnTo>
                  <a:lnTo>
                    <a:pt x="2372" y="1435"/>
                  </a:lnTo>
                  <a:lnTo>
                    <a:pt x="2378" y="1492"/>
                  </a:lnTo>
                  <a:lnTo>
                    <a:pt x="2381" y="1520"/>
                  </a:lnTo>
                  <a:lnTo>
                    <a:pt x="2387" y="1522"/>
                  </a:lnTo>
                  <a:lnTo>
                    <a:pt x="2391" y="1525"/>
                  </a:lnTo>
                  <a:lnTo>
                    <a:pt x="2394" y="1537"/>
                  </a:lnTo>
                  <a:lnTo>
                    <a:pt x="2397" y="1548"/>
                  </a:lnTo>
                  <a:lnTo>
                    <a:pt x="2401" y="1550"/>
                  </a:lnTo>
                  <a:lnTo>
                    <a:pt x="2407" y="1556"/>
                  </a:lnTo>
                  <a:lnTo>
                    <a:pt x="2409" y="1559"/>
                  </a:lnTo>
                  <a:lnTo>
                    <a:pt x="2412" y="1561"/>
                  </a:lnTo>
                  <a:lnTo>
                    <a:pt x="2416" y="1563"/>
                  </a:lnTo>
                  <a:lnTo>
                    <a:pt x="2419" y="1565"/>
                  </a:lnTo>
                  <a:lnTo>
                    <a:pt x="2422" y="1590"/>
                  </a:lnTo>
                  <a:lnTo>
                    <a:pt x="2428" y="1624"/>
                  </a:lnTo>
                  <a:lnTo>
                    <a:pt x="2430" y="1642"/>
                  </a:lnTo>
                  <a:lnTo>
                    <a:pt x="2433" y="1659"/>
                  </a:lnTo>
                  <a:lnTo>
                    <a:pt x="2436" y="1676"/>
                  </a:lnTo>
                  <a:lnTo>
                    <a:pt x="2436" y="1692"/>
                  </a:lnTo>
                  <a:lnTo>
                    <a:pt x="2430" y="1701"/>
                  </a:lnTo>
                  <a:lnTo>
                    <a:pt x="2424" y="1714"/>
                  </a:lnTo>
                  <a:lnTo>
                    <a:pt x="2421" y="1714"/>
                  </a:lnTo>
                  <a:lnTo>
                    <a:pt x="2417" y="1717"/>
                  </a:lnTo>
                  <a:lnTo>
                    <a:pt x="2414" y="1721"/>
                  </a:lnTo>
                  <a:lnTo>
                    <a:pt x="2413" y="1724"/>
                  </a:lnTo>
                  <a:lnTo>
                    <a:pt x="2408" y="1730"/>
                  </a:lnTo>
                  <a:lnTo>
                    <a:pt x="2397" y="1730"/>
                  </a:lnTo>
                  <a:lnTo>
                    <a:pt x="2395" y="1734"/>
                  </a:lnTo>
                  <a:lnTo>
                    <a:pt x="2392" y="1736"/>
                  </a:lnTo>
                  <a:lnTo>
                    <a:pt x="2388" y="1739"/>
                  </a:lnTo>
                  <a:lnTo>
                    <a:pt x="2382" y="1740"/>
                  </a:lnTo>
                  <a:lnTo>
                    <a:pt x="2371" y="1741"/>
                  </a:lnTo>
                  <a:lnTo>
                    <a:pt x="2364" y="1741"/>
                  </a:lnTo>
                  <a:lnTo>
                    <a:pt x="2356" y="1745"/>
                  </a:lnTo>
                  <a:lnTo>
                    <a:pt x="2339" y="1755"/>
                  </a:lnTo>
                  <a:lnTo>
                    <a:pt x="2320" y="1764"/>
                  </a:lnTo>
                  <a:lnTo>
                    <a:pt x="2308" y="1769"/>
                  </a:lnTo>
                  <a:lnTo>
                    <a:pt x="2303" y="1774"/>
                  </a:lnTo>
                  <a:lnTo>
                    <a:pt x="2303" y="1777"/>
                  </a:lnTo>
                  <a:lnTo>
                    <a:pt x="2301" y="1779"/>
                  </a:lnTo>
                  <a:lnTo>
                    <a:pt x="2299" y="1781"/>
                  </a:lnTo>
                  <a:lnTo>
                    <a:pt x="2297" y="1782"/>
                  </a:lnTo>
                  <a:lnTo>
                    <a:pt x="2292" y="1784"/>
                  </a:lnTo>
                  <a:lnTo>
                    <a:pt x="2286" y="1785"/>
                  </a:lnTo>
                  <a:lnTo>
                    <a:pt x="2284" y="1790"/>
                  </a:lnTo>
                  <a:lnTo>
                    <a:pt x="2280" y="1793"/>
                  </a:lnTo>
                  <a:lnTo>
                    <a:pt x="2276" y="1798"/>
                  </a:lnTo>
                  <a:lnTo>
                    <a:pt x="2272" y="1801"/>
                  </a:lnTo>
                  <a:lnTo>
                    <a:pt x="2267" y="1803"/>
                  </a:lnTo>
                  <a:lnTo>
                    <a:pt x="2263" y="1806"/>
                  </a:lnTo>
                  <a:lnTo>
                    <a:pt x="2257" y="1807"/>
                  </a:lnTo>
                  <a:lnTo>
                    <a:pt x="2253" y="1808"/>
                  </a:lnTo>
                  <a:lnTo>
                    <a:pt x="2253" y="1815"/>
                  </a:lnTo>
                  <a:lnTo>
                    <a:pt x="2253" y="1818"/>
                  </a:lnTo>
                  <a:lnTo>
                    <a:pt x="2251" y="1820"/>
                  </a:lnTo>
                  <a:lnTo>
                    <a:pt x="2250" y="1820"/>
                  </a:lnTo>
                  <a:lnTo>
                    <a:pt x="2249" y="1820"/>
                  </a:lnTo>
                  <a:lnTo>
                    <a:pt x="2248" y="1820"/>
                  </a:lnTo>
                  <a:lnTo>
                    <a:pt x="2248" y="1821"/>
                  </a:lnTo>
                  <a:lnTo>
                    <a:pt x="2247" y="1825"/>
                  </a:lnTo>
                  <a:lnTo>
                    <a:pt x="2239" y="1827"/>
                  </a:lnTo>
                  <a:lnTo>
                    <a:pt x="2231" y="1830"/>
                  </a:lnTo>
                  <a:lnTo>
                    <a:pt x="2231" y="1841"/>
                  </a:lnTo>
                  <a:lnTo>
                    <a:pt x="2227" y="1842"/>
                  </a:lnTo>
                  <a:lnTo>
                    <a:pt x="2224" y="1845"/>
                  </a:lnTo>
                  <a:lnTo>
                    <a:pt x="2221" y="1848"/>
                  </a:lnTo>
                  <a:lnTo>
                    <a:pt x="2220" y="1852"/>
                  </a:lnTo>
                  <a:lnTo>
                    <a:pt x="2216" y="1852"/>
                  </a:lnTo>
                  <a:lnTo>
                    <a:pt x="2212" y="1856"/>
                  </a:lnTo>
                  <a:lnTo>
                    <a:pt x="2210" y="1859"/>
                  </a:lnTo>
                  <a:lnTo>
                    <a:pt x="2209" y="1864"/>
                  </a:lnTo>
                  <a:lnTo>
                    <a:pt x="2195" y="1877"/>
                  </a:lnTo>
                  <a:lnTo>
                    <a:pt x="2181" y="1890"/>
                  </a:lnTo>
                  <a:lnTo>
                    <a:pt x="2176" y="1896"/>
                  </a:lnTo>
                  <a:lnTo>
                    <a:pt x="2176" y="1910"/>
                  </a:lnTo>
                  <a:lnTo>
                    <a:pt x="2176" y="1924"/>
                  </a:lnTo>
                  <a:lnTo>
                    <a:pt x="2187" y="1929"/>
                  </a:lnTo>
                  <a:lnTo>
                    <a:pt x="2189" y="1935"/>
                  </a:lnTo>
                  <a:lnTo>
                    <a:pt x="2192" y="1941"/>
                  </a:lnTo>
                  <a:lnTo>
                    <a:pt x="2213" y="1941"/>
                  </a:lnTo>
                  <a:lnTo>
                    <a:pt x="2207" y="1951"/>
                  </a:lnTo>
                  <a:lnTo>
                    <a:pt x="2201" y="1961"/>
                  </a:lnTo>
                  <a:lnTo>
                    <a:pt x="2193" y="1970"/>
                  </a:lnTo>
                  <a:lnTo>
                    <a:pt x="2184" y="1977"/>
                  </a:lnTo>
                  <a:lnTo>
                    <a:pt x="2179" y="1981"/>
                  </a:lnTo>
                  <a:lnTo>
                    <a:pt x="2173" y="1984"/>
                  </a:lnTo>
                  <a:lnTo>
                    <a:pt x="2167" y="1987"/>
                  </a:lnTo>
                  <a:lnTo>
                    <a:pt x="2160" y="1990"/>
                  </a:lnTo>
                  <a:lnTo>
                    <a:pt x="2152" y="1991"/>
                  </a:lnTo>
                  <a:lnTo>
                    <a:pt x="2143" y="1993"/>
                  </a:lnTo>
                  <a:lnTo>
                    <a:pt x="2134" y="1993"/>
                  </a:lnTo>
                  <a:lnTo>
                    <a:pt x="2124" y="1994"/>
                  </a:lnTo>
                  <a:lnTo>
                    <a:pt x="2078" y="1994"/>
                  </a:lnTo>
                  <a:lnTo>
                    <a:pt x="2045" y="1996"/>
                  </a:lnTo>
                  <a:lnTo>
                    <a:pt x="2033" y="1998"/>
                  </a:lnTo>
                  <a:lnTo>
                    <a:pt x="2023" y="2001"/>
                  </a:lnTo>
                  <a:lnTo>
                    <a:pt x="2014" y="2003"/>
                  </a:lnTo>
                  <a:lnTo>
                    <a:pt x="2006" y="2008"/>
                  </a:lnTo>
                  <a:lnTo>
                    <a:pt x="1999" y="2012"/>
                  </a:lnTo>
                  <a:lnTo>
                    <a:pt x="1992" y="2018"/>
                  </a:lnTo>
                  <a:lnTo>
                    <a:pt x="1986" y="2024"/>
                  </a:lnTo>
                  <a:lnTo>
                    <a:pt x="1979" y="2033"/>
                  </a:lnTo>
                  <a:lnTo>
                    <a:pt x="1962" y="2052"/>
                  </a:lnTo>
                  <a:lnTo>
                    <a:pt x="1939" y="2078"/>
                  </a:lnTo>
                  <a:lnTo>
                    <a:pt x="1932" y="2083"/>
                  </a:lnTo>
                  <a:lnTo>
                    <a:pt x="1925" y="2088"/>
                  </a:lnTo>
                  <a:lnTo>
                    <a:pt x="1919" y="2090"/>
                  </a:lnTo>
                  <a:lnTo>
                    <a:pt x="1911" y="2091"/>
                  </a:lnTo>
                  <a:lnTo>
                    <a:pt x="1903" y="2092"/>
                  </a:lnTo>
                  <a:lnTo>
                    <a:pt x="1895" y="2091"/>
                  </a:lnTo>
                  <a:lnTo>
                    <a:pt x="1888" y="2089"/>
                  </a:lnTo>
                  <a:lnTo>
                    <a:pt x="1880" y="2087"/>
                  </a:lnTo>
                  <a:lnTo>
                    <a:pt x="1863" y="2080"/>
                  </a:lnTo>
                  <a:lnTo>
                    <a:pt x="1845" y="2070"/>
                  </a:lnTo>
                  <a:lnTo>
                    <a:pt x="1826" y="2060"/>
                  </a:lnTo>
                  <a:lnTo>
                    <a:pt x="1808" y="2049"/>
                  </a:lnTo>
                  <a:lnTo>
                    <a:pt x="1788" y="2038"/>
                  </a:lnTo>
                  <a:lnTo>
                    <a:pt x="1769" y="2028"/>
                  </a:lnTo>
                  <a:lnTo>
                    <a:pt x="1759" y="2024"/>
                  </a:lnTo>
                  <a:lnTo>
                    <a:pt x="1749" y="2021"/>
                  </a:lnTo>
                  <a:lnTo>
                    <a:pt x="1740" y="2018"/>
                  </a:lnTo>
                  <a:lnTo>
                    <a:pt x="1730" y="2017"/>
                  </a:lnTo>
                  <a:lnTo>
                    <a:pt x="1720" y="2015"/>
                  </a:lnTo>
                  <a:lnTo>
                    <a:pt x="1710" y="2015"/>
                  </a:lnTo>
                  <a:lnTo>
                    <a:pt x="1700" y="2017"/>
                  </a:lnTo>
                  <a:lnTo>
                    <a:pt x="1691" y="2020"/>
                  </a:lnTo>
                  <a:lnTo>
                    <a:pt x="1681" y="2023"/>
                  </a:lnTo>
                  <a:lnTo>
                    <a:pt x="1671" y="2029"/>
                  </a:lnTo>
                  <a:lnTo>
                    <a:pt x="1661" y="2035"/>
                  </a:lnTo>
                  <a:lnTo>
                    <a:pt x="1652" y="2044"/>
                  </a:lnTo>
                  <a:lnTo>
                    <a:pt x="1629" y="2070"/>
                  </a:lnTo>
                  <a:lnTo>
                    <a:pt x="1605" y="2095"/>
                  </a:lnTo>
                  <a:lnTo>
                    <a:pt x="1600" y="2100"/>
                  </a:lnTo>
                  <a:lnTo>
                    <a:pt x="1592" y="2105"/>
                  </a:lnTo>
                  <a:lnTo>
                    <a:pt x="1584" y="2109"/>
                  </a:lnTo>
                  <a:lnTo>
                    <a:pt x="1576" y="2112"/>
                  </a:lnTo>
                  <a:lnTo>
                    <a:pt x="1567" y="2116"/>
                  </a:lnTo>
                  <a:lnTo>
                    <a:pt x="1557" y="2118"/>
                  </a:lnTo>
                  <a:lnTo>
                    <a:pt x="1546" y="2119"/>
                  </a:lnTo>
                  <a:lnTo>
                    <a:pt x="1534" y="2120"/>
                  </a:lnTo>
                  <a:lnTo>
                    <a:pt x="1495" y="2118"/>
                  </a:lnTo>
                  <a:lnTo>
                    <a:pt x="1441" y="2116"/>
                  </a:lnTo>
                  <a:lnTo>
                    <a:pt x="1428" y="2116"/>
                  </a:lnTo>
                  <a:lnTo>
                    <a:pt x="1415" y="2117"/>
                  </a:lnTo>
                  <a:lnTo>
                    <a:pt x="1404" y="2118"/>
                  </a:lnTo>
                  <a:lnTo>
                    <a:pt x="1394" y="2120"/>
                  </a:lnTo>
                  <a:lnTo>
                    <a:pt x="1385" y="2123"/>
                  </a:lnTo>
                  <a:lnTo>
                    <a:pt x="1380" y="2127"/>
                  </a:lnTo>
                  <a:lnTo>
                    <a:pt x="1377" y="2129"/>
                  </a:lnTo>
                  <a:lnTo>
                    <a:pt x="1375" y="2131"/>
                  </a:lnTo>
                  <a:lnTo>
                    <a:pt x="1374" y="2134"/>
                  </a:lnTo>
                  <a:lnTo>
                    <a:pt x="1374" y="2137"/>
                  </a:lnTo>
                  <a:lnTo>
                    <a:pt x="1374" y="2119"/>
                  </a:lnTo>
                  <a:lnTo>
                    <a:pt x="1374" y="2097"/>
                  </a:lnTo>
                  <a:lnTo>
                    <a:pt x="1374" y="2073"/>
                  </a:lnTo>
                  <a:lnTo>
                    <a:pt x="1373" y="2050"/>
                  </a:lnTo>
                  <a:lnTo>
                    <a:pt x="1372" y="2039"/>
                  </a:lnTo>
                  <a:lnTo>
                    <a:pt x="1370" y="2028"/>
                  </a:lnTo>
                  <a:lnTo>
                    <a:pt x="1366" y="2019"/>
                  </a:lnTo>
                  <a:lnTo>
                    <a:pt x="1363" y="2010"/>
                  </a:lnTo>
                  <a:lnTo>
                    <a:pt x="1358" y="2003"/>
                  </a:lnTo>
                  <a:lnTo>
                    <a:pt x="1354" y="1998"/>
                  </a:lnTo>
                  <a:lnTo>
                    <a:pt x="1351" y="1996"/>
                  </a:lnTo>
                  <a:lnTo>
                    <a:pt x="1347" y="1995"/>
                  </a:lnTo>
                  <a:lnTo>
                    <a:pt x="1344" y="1994"/>
                  </a:lnTo>
                  <a:lnTo>
                    <a:pt x="1341" y="1994"/>
                  </a:lnTo>
                  <a:lnTo>
                    <a:pt x="1329" y="1993"/>
                  </a:lnTo>
                  <a:lnTo>
                    <a:pt x="1319" y="1992"/>
                  </a:lnTo>
                  <a:lnTo>
                    <a:pt x="1309" y="1990"/>
                  </a:lnTo>
                  <a:lnTo>
                    <a:pt x="1300" y="1987"/>
                  </a:lnTo>
                  <a:lnTo>
                    <a:pt x="1291" y="1984"/>
                  </a:lnTo>
                  <a:lnTo>
                    <a:pt x="1282" y="1981"/>
                  </a:lnTo>
                  <a:lnTo>
                    <a:pt x="1275" y="1976"/>
                  </a:lnTo>
                  <a:lnTo>
                    <a:pt x="1268" y="1971"/>
                  </a:lnTo>
                  <a:lnTo>
                    <a:pt x="1261" y="1965"/>
                  </a:lnTo>
                  <a:lnTo>
                    <a:pt x="1255" y="1960"/>
                  </a:lnTo>
                  <a:lnTo>
                    <a:pt x="1249" y="1953"/>
                  </a:lnTo>
                  <a:lnTo>
                    <a:pt x="1243" y="1946"/>
                  </a:lnTo>
                  <a:lnTo>
                    <a:pt x="1232" y="1931"/>
                  </a:lnTo>
                  <a:lnTo>
                    <a:pt x="1224" y="1914"/>
                  </a:lnTo>
                  <a:lnTo>
                    <a:pt x="1217" y="1896"/>
                  </a:lnTo>
                  <a:lnTo>
                    <a:pt x="1211" y="1877"/>
                  </a:lnTo>
                  <a:lnTo>
                    <a:pt x="1207" y="1857"/>
                  </a:lnTo>
                  <a:lnTo>
                    <a:pt x="1202" y="1837"/>
                  </a:lnTo>
                  <a:lnTo>
                    <a:pt x="1200" y="1817"/>
                  </a:lnTo>
                  <a:lnTo>
                    <a:pt x="1198" y="1797"/>
                  </a:lnTo>
                  <a:lnTo>
                    <a:pt x="1198" y="1777"/>
                  </a:lnTo>
                  <a:lnTo>
                    <a:pt x="1197" y="1758"/>
                  </a:lnTo>
                  <a:lnTo>
                    <a:pt x="1199" y="1722"/>
                  </a:lnTo>
                  <a:lnTo>
                    <a:pt x="1202" y="1675"/>
                  </a:lnTo>
                  <a:lnTo>
                    <a:pt x="1203" y="1652"/>
                  </a:lnTo>
                  <a:lnTo>
                    <a:pt x="1202" y="1630"/>
                  </a:lnTo>
                  <a:lnTo>
                    <a:pt x="1201" y="1620"/>
                  </a:lnTo>
                  <a:lnTo>
                    <a:pt x="1200" y="1611"/>
                  </a:lnTo>
                  <a:lnTo>
                    <a:pt x="1198" y="1604"/>
                  </a:lnTo>
                  <a:lnTo>
                    <a:pt x="1195" y="1597"/>
                  </a:lnTo>
                  <a:lnTo>
                    <a:pt x="1193" y="1594"/>
                  </a:lnTo>
                  <a:lnTo>
                    <a:pt x="1190" y="1591"/>
                  </a:lnTo>
                  <a:lnTo>
                    <a:pt x="1188" y="1590"/>
                  </a:lnTo>
                  <a:lnTo>
                    <a:pt x="1184" y="1589"/>
                  </a:lnTo>
                  <a:lnTo>
                    <a:pt x="1181" y="1588"/>
                  </a:lnTo>
                  <a:lnTo>
                    <a:pt x="1178" y="1588"/>
                  </a:lnTo>
                  <a:lnTo>
                    <a:pt x="1173" y="1589"/>
                  </a:lnTo>
                  <a:lnTo>
                    <a:pt x="1169" y="1591"/>
                  </a:lnTo>
                  <a:lnTo>
                    <a:pt x="1159" y="1597"/>
                  </a:lnTo>
                  <a:lnTo>
                    <a:pt x="1146" y="1605"/>
                  </a:lnTo>
                  <a:lnTo>
                    <a:pt x="1134" y="1616"/>
                  </a:lnTo>
                  <a:lnTo>
                    <a:pt x="1119" y="1629"/>
                  </a:lnTo>
                  <a:lnTo>
                    <a:pt x="1111" y="1637"/>
                  </a:lnTo>
                  <a:lnTo>
                    <a:pt x="1102" y="1643"/>
                  </a:lnTo>
                  <a:lnTo>
                    <a:pt x="1092" y="1648"/>
                  </a:lnTo>
                  <a:lnTo>
                    <a:pt x="1083" y="1653"/>
                  </a:lnTo>
                  <a:lnTo>
                    <a:pt x="1074" y="1657"/>
                  </a:lnTo>
                  <a:lnTo>
                    <a:pt x="1067" y="1663"/>
                  </a:lnTo>
                  <a:lnTo>
                    <a:pt x="1064" y="1666"/>
                  </a:lnTo>
                  <a:lnTo>
                    <a:pt x="1060" y="1668"/>
                  </a:lnTo>
                  <a:lnTo>
                    <a:pt x="1058" y="1672"/>
                  </a:lnTo>
                  <a:lnTo>
                    <a:pt x="1057" y="1676"/>
                  </a:lnTo>
                  <a:lnTo>
                    <a:pt x="1055" y="1683"/>
                  </a:lnTo>
                  <a:lnTo>
                    <a:pt x="1053" y="1691"/>
                  </a:lnTo>
                  <a:lnTo>
                    <a:pt x="1051" y="1698"/>
                  </a:lnTo>
                  <a:lnTo>
                    <a:pt x="1051" y="1706"/>
                  </a:lnTo>
                  <a:lnTo>
                    <a:pt x="1053" y="1724"/>
                  </a:lnTo>
                  <a:lnTo>
                    <a:pt x="1054" y="1742"/>
                  </a:lnTo>
                  <a:lnTo>
                    <a:pt x="1059" y="1780"/>
                  </a:lnTo>
                  <a:lnTo>
                    <a:pt x="1061" y="1817"/>
                  </a:lnTo>
                  <a:lnTo>
                    <a:pt x="1061" y="1865"/>
                  </a:lnTo>
                  <a:lnTo>
                    <a:pt x="1060" y="1902"/>
                  </a:lnTo>
                  <a:lnTo>
                    <a:pt x="1059" y="1917"/>
                  </a:lnTo>
                  <a:lnTo>
                    <a:pt x="1058" y="1932"/>
                  </a:lnTo>
                  <a:lnTo>
                    <a:pt x="1056" y="1944"/>
                  </a:lnTo>
                  <a:lnTo>
                    <a:pt x="1053" y="1956"/>
                  </a:lnTo>
                  <a:lnTo>
                    <a:pt x="1048" y="1966"/>
                  </a:lnTo>
                  <a:lnTo>
                    <a:pt x="1044" y="1976"/>
                  </a:lnTo>
                  <a:lnTo>
                    <a:pt x="1037" y="1986"/>
                  </a:lnTo>
                  <a:lnTo>
                    <a:pt x="1030" y="1996"/>
                  </a:lnTo>
                  <a:lnTo>
                    <a:pt x="1011" y="2019"/>
                  </a:lnTo>
                  <a:lnTo>
                    <a:pt x="986" y="2044"/>
                  </a:lnTo>
                  <a:lnTo>
                    <a:pt x="974" y="2057"/>
                  </a:lnTo>
                  <a:lnTo>
                    <a:pt x="955" y="2073"/>
                  </a:lnTo>
                  <a:lnTo>
                    <a:pt x="944" y="2082"/>
                  </a:lnTo>
                  <a:lnTo>
                    <a:pt x="932" y="2092"/>
                  </a:lnTo>
                  <a:lnTo>
                    <a:pt x="920" y="2101"/>
                  </a:lnTo>
                  <a:lnTo>
                    <a:pt x="906" y="2109"/>
                  </a:lnTo>
                  <a:lnTo>
                    <a:pt x="890" y="2118"/>
                  </a:lnTo>
                  <a:lnTo>
                    <a:pt x="873" y="2126"/>
                  </a:lnTo>
                  <a:lnTo>
                    <a:pt x="857" y="2133"/>
                  </a:lnTo>
                  <a:lnTo>
                    <a:pt x="843" y="2138"/>
                  </a:lnTo>
                  <a:lnTo>
                    <a:pt x="820" y="2145"/>
                  </a:lnTo>
                  <a:lnTo>
                    <a:pt x="809" y="2147"/>
                  </a:lnTo>
                  <a:lnTo>
                    <a:pt x="806" y="2146"/>
                  </a:lnTo>
                  <a:lnTo>
                    <a:pt x="801" y="2145"/>
                  </a:lnTo>
                  <a:lnTo>
                    <a:pt x="797" y="2142"/>
                  </a:lnTo>
                  <a:lnTo>
                    <a:pt x="792" y="2137"/>
                  </a:lnTo>
                  <a:lnTo>
                    <a:pt x="782" y="2125"/>
                  </a:lnTo>
                  <a:lnTo>
                    <a:pt x="770" y="2109"/>
                  </a:lnTo>
                  <a:lnTo>
                    <a:pt x="758" y="2090"/>
                  </a:lnTo>
                  <a:lnTo>
                    <a:pt x="744" y="2068"/>
                  </a:lnTo>
                  <a:lnTo>
                    <a:pt x="732" y="2043"/>
                  </a:lnTo>
                  <a:lnTo>
                    <a:pt x="719" y="2018"/>
                  </a:lnTo>
                  <a:lnTo>
                    <a:pt x="705" y="1991"/>
                  </a:lnTo>
                  <a:lnTo>
                    <a:pt x="694" y="1963"/>
                  </a:lnTo>
                  <a:lnTo>
                    <a:pt x="683" y="1935"/>
                  </a:lnTo>
                  <a:lnTo>
                    <a:pt x="673" y="1907"/>
                  </a:lnTo>
                  <a:lnTo>
                    <a:pt x="665" y="1880"/>
                  </a:lnTo>
                  <a:lnTo>
                    <a:pt x="658" y="1856"/>
                  </a:lnTo>
                  <a:lnTo>
                    <a:pt x="656" y="1844"/>
                  </a:lnTo>
                  <a:lnTo>
                    <a:pt x="655" y="1832"/>
                  </a:lnTo>
                  <a:lnTo>
                    <a:pt x="654" y="1822"/>
                  </a:lnTo>
                  <a:lnTo>
                    <a:pt x="653" y="1812"/>
                  </a:lnTo>
                  <a:lnTo>
                    <a:pt x="653" y="1788"/>
                  </a:lnTo>
                  <a:lnTo>
                    <a:pt x="650" y="1762"/>
                  </a:lnTo>
                  <a:lnTo>
                    <a:pt x="646" y="1739"/>
                  </a:lnTo>
                  <a:lnTo>
                    <a:pt x="641" y="1714"/>
                  </a:lnTo>
                  <a:lnTo>
                    <a:pt x="635" y="1691"/>
                  </a:lnTo>
                  <a:lnTo>
                    <a:pt x="627" y="1667"/>
                  </a:lnTo>
                  <a:lnTo>
                    <a:pt x="618" y="1645"/>
                  </a:lnTo>
                  <a:lnTo>
                    <a:pt x="609" y="1621"/>
                  </a:lnTo>
                  <a:lnTo>
                    <a:pt x="589" y="1577"/>
                  </a:lnTo>
                  <a:lnTo>
                    <a:pt x="568" y="1533"/>
                  </a:lnTo>
                  <a:lnTo>
                    <a:pt x="545" y="1491"/>
                  </a:lnTo>
                  <a:lnTo>
                    <a:pt x="523" y="1448"/>
                  </a:lnTo>
                  <a:lnTo>
                    <a:pt x="497" y="1398"/>
                  </a:lnTo>
                  <a:lnTo>
                    <a:pt x="470" y="1348"/>
                  </a:lnTo>
                  <a:lnTo>
                    <a:pt x="456" y="1325"/>
                  </a:lnTo>
                  <a:lnTo>
                    <a:pt x="442" y="1301"/>
                  </a:lnTo>
                  <a:lnTo>
                    <a:pt x="427" y="1279"/>
                  </a:lnTo>
                  <a:lnTo>
                    <a:pt x="412" y="1258"/>
                  </a:lnTo>
                  <a:lnTo>
                    <a:pt x="396" y="1237"/>
                  </a:lnTo>
                  <a:lnTo>
                    <a:pt x="379" y="1217"/>
                  </a:lnTo>
                  <a:lnTo>
                    <a:pt x="363" y="1200"/>
                  </a:lnTo>
                  <a:lnTo>
                    <a:pt x="344" y="1182"/>
                  </a:lnTo>
                  <a:lnTo>
                    <a:pt x="325" y="1166"/>
                  </a:lnTo>
                  <a:lnTo>
                    <a:pt x="305" y="1150"/>
                  </a:lnTo>
                  <a:lnTo>
                    <a:pt x="282" y="1137"/>
                  </a:lnTo>
                  <a:lnTo>
                    <a:pt x="260" y="1125"/>
                  </a:lnTo>
                  <a:lnTo>
                    <a:pt x="230" y="1111"/>
                  </a:lnTo>
                  <a:lnTo>
                    <a:pt x="195" y="1097"/>
                  </a:lnTo>
                  <a:lnTo>
                    <a:pt x="177" y="1088"/>
                  </a:lnTo>
                  <a:lnTo>
                    <a:pt x="158" y="1079"/>
                  </a:lnTo>
                  <a:lnTo>
                    <a:pt x="139" y="1070"/>
                  </a:lnTo>
                  <a:lnTo>
                    <a:pt x="122" y="1059"/>
                  </a:lnTo>
                  <a:lnTo>
                    <a:pt x="104" y="1048"/>
                  </a:lnTo>
                  <a:lnTo>
                    <a:pt x="87" y="1037"/>
                  </a:lnTo>
                  <a:lnTo>
                    <a:pt x="72" y="1024"/>
                  </a:lnTo>
                  <a:lnTo>
                    <a:pt x="59" y="1011"/>
                  </a:lnTo>
                  <a:lnTo>
                    <a:pt x="53" y="1004"/>
                  </a:lnTo>
                  <a:lnTo>
                    <a:pt x="49" y="996"/>
                  </a:lnTo>
                  <a:lnTo>
                    <a:pt x="44" y="990"/>
                  </a:lnTo>
                  <a:lnTo>
                    <a:pt x="41" y="982"/>
                  </a:lnTo>
                  <a:lnTo>
                    <a:pt x="38" y="974"/>
                  </a:lnTo>
                  <a:lnTo>
                    <a:pt x="36" y="965"/>
                  </a:lnTo>
                  <a:lnTo>
                    <a:pt x="34" y="957"/>
                  </a:lnTo>
                  <a:lnTo>
                    <a:pt x="33" y="948"/>
                  </a:lnTo>
                  <a:lnTo>
                    <a:pt x="33" y="929"/>
                  </a:lnTo>
                  <a:lnTo>
                    <a:pt x="32" y="912"/>
                  </a:lnTo>
                  <a:lnTo>
                    <a:pt x="30" y="894"/>
                  </a:lnTo>
                  <a:lnTo>
                    <a:pt x="29" y="876"/>
                  </a:lnTo>
                  <a:lnTo>
                    <a:pt x="23" y="841"/>
                  </a:lnTo>
                  <a:lnTo>
                    <a:pt x="17" y="808"/>
                  </a:lnTo>
                  <a:lnTo>
                    <a:pt x="11" y="774"/>
                  </a:lnTo>
                  <a:lnTo>
                    <a:pt x="5" y="743"/>
                  </a:lnTo>
                  <a:lnTo>
                    <a:pt x="3" y="726"/>
                  </a:lnTo>
                  <a:lnTo>
                    <a:pt x="1" y="711"/>
                  </a:lnTo>
                  <a:lnTo>
                    <a:pt x="0" y="695"/>
                  </a:lnTo>
                  <a:lnTo>
                    <a:pt x="0" y="679"/>
                  </a:lnTo>
                  <a:lnTo>
                    <a:pt x="0" y="672"/>
                  </a:lnTo>
                  <a:lnTo>
                    <a:pt x="1" y="665"/>
                  </a:lnTo>
                  <a:lnTo>
                    <a:pt x="3" y="658"/>
                  </a:lnTo>
                  <a:lnTo>
                    <a:pt x="5" y="652"/>
                  </a:lnTo>
                  <a:lnTo>
                    <a:pt x="8" y="646"/>
                  </a:lnTo>
                  <a:lnTo>
                    <a:pt x="12" y="640"/>
                  </a:lnTo>
                  <a:lnTo>
                    <a:pt x="17" y="636"/>
                  </a:lnTo>
                  <a:lnTo>
                    <a:pt x="21" y="631"/>
                  </a:lnTo>
                  <a:lnTo>
                    <a:pt x="33" y="623"/>
                  </a:lnTo>
                  <a:lnTo>
                    <a:pt x="48" y="615"/>
                  </a:lnTo>
                  <a:lnTo>
                    <a:pt x="67" y="607"/>
                  </a:lnTo>
                  <a:lnTo>
                    <a:pt x="87" y="599"/>
                  </a:lnTo>
                  <a:lnTo>
                    <a:pt x="118" y="590"/>
                  </a:lnTo>
                  <a:lnTo>
                    <a:pt x="153" y="581"/>
                  </a:lnTo>
                  <a:lnTo>
                    <a:pt x="188" y="572"/>
                  </a:lnTo>
                  <a:lnTo>
                    <a:pt x="226" y="565"/>
                  </a:lnTo>
                  <a:lnTo>
                    <a:pt x="264" y="558"/>
                  </a:lnTo>
                  <a:lnTo>
                    <a:pt x="301" y="553"/>
                  </a:lnTo>
                  <a:lnTo>
                    <a:pt x="337" y="549"/>
                  </a:lnTo>
                  <a:lnTo>
                    <a:pt x="369" y="547"/>
                  </a:lnTo>
                  <a:lnTo>
                    <a:pt x="394" y="547"/>
                  </a:lnTo>
                  <a:lnTo>
                    <a:pt x="414" y="548"/>
                  </a:lnTo>
                  <a:lnTo>
                    <a:pt x="432" y="550"/>
                  </a:lnTo>
                  <a:lnTo>
                    <a:pt x="446" y="554"/>
                  </a:lnTo>
                  <a:lnTo>
                    <a:pt x="459" y="560"/>
                  </a:lnTo>
                  <a:lnTo>
                    <a:pt x="469" y="567"/>
                  </a:lnTo>
                  <a:lnTo>
                    <a:pt x="478" y="573"/>
                  </a:lnTo>
                  <a:lnTo>
                    <a:pt x="487" y="582"/>
                  </a:lnTo>
                  <a:lnTo>
                    <a:pt x="502" y="601"/>
                  </a:lnTo>
                  <a:lnTo>
                    <a:pt x="521" y="624"/>
                  </a:lnTo>
                  <a:lnTo>
                    <a:pt x="532" y="635"/>
                  </a:lnTo>
                  <a:lnTo>
                    <a:pt x="547" y="646"/>
                  </a:lnTo>
                  <a:lnTo>
                    <a:pt x="564" y="658"/>
                  </a:lnTo>
                  <a:lnTo>
                    <a:pt x="583" y="669"/>
                  </a:lnTo>
                  <a:lnTo>
                    <a:pt x="593" y="674"/>
                  </a:lnTo>
                  <a:lnTo>
                    <a:pt x="603" y="678"/>
                  </a:lnTo>
                  <a:lnTo>
                    <a:pt x="614" y="681"/>
                  </a:lnTo>
                  <a:lnTo>
                    <a:pt x="626" y="684"/>
                  </a:lnTo>
                  <a:lnTo>
                    <a:pt x="638" y="685"/>
                  </a:lnTo>
                  <a:lnTo>
                    <a:pt x="651" y="686"/>
                  </a:lnTo>
                  <a:lnTo>
                    <a:pt x="663" y="686"/>
                  </a:lnTo>
                  <a:lnTo>
                    <a:pt x="675" y="686"/>
                  </a:lnTo>
                  <a:lnTo>
                    <a:pt x="687" y="684"/>
                  </a:lnTo>
                  <a:lnTo>
                    <a:pt x="700" y="683"/>
                  </a:lnTo>
                  <a:lnTo>
                    <a:pt x="711" y="679"/>
                  </a:lnTo>
                  <a:lnTo>
                    <a:pt x="722" y="676"/>
                  </a:lnTo>
                  <a:lnTo>
                    <a:pt x="732" y="672"/>
                  </a:lnTo>
                  <a:lnTo>
                    <a:pt x="742" y="666"/>
                  </a:lnTo>
                  <a:lnTo>
                    <a:pt x="751" y="660"/>
                  </a:lnTo>
                  <a:lnTo>
                    <a:pt x="759" y="654"/>
                  </a:lnTo>
                  <a:lnTo>
                    <a:pt x="766" y="645"/>
                  </a:lnTo>
                  <a:lnTo>
                    <a:pt x="771" y="635"/>
                  </a:lnTo>
                  <a:lnTo>
                    <a:pt x="776" y="624"/>
                  </a:lnTo>
                  <a:lnTo>
                    <a:pt x="779" y="611"/>
                  </a:lnTo>
                  <a:lnTo>
                    <a:pt x="781" y="598"/>
                  </a:lnTo>
                  <a:lnTo>
                    <a:pt x="782" y="585"/>
                  </a:lnTo>
                  <a:lnTo>
                    <a:pt x="783" y="569"/>
                  </a:lnTo>
                  <a:lnTo>
                    <a:pt x="782" y="553"/>
                  </a:lnTo>
                  <a:lnTo>
                    <a:pt x="780" y="520"/>
                  </a:lnTo>
                  <a:lnTo>
                    <a:pt x="775" y="484"/>
                  </a:lnTo>
                  <a:lnTo>
                    <a:pt x="769" y="447"/>
                  </a:lnTo>
                  <a:lnTo>
                    <a:pt x="762" y="409"/>
                  </a:lnTo>
                  <a:lnTo>
                    <a:pt x="756" y="373"/>
                  </a:lnTo>
                  <a:lnTo>
                    <a:pt x="750" y="338"/>
                  </a:lnTo>
                  <a:lnTo>
                    <a:pt x="748" y="320"/>
                  </a:lnTo>
                  <a:lnTo>
                    <a:pt x="747" y="303"/>
                  </a:lnTo>
                  <a:lnTo>
                    <a:pt x="746" y="288"/>
                  </a:lnTo>
                  <a:lnTo>
                    <a:pt x="746" y="272"/>
                  </a:lnTo>
                  <a:lnTo>
                    <a:pt x="747" y="259"/>
                  </a:lnTo>
                  <a:lnTo>
                    <a:pt x="748" y="245"/>
                  </a:lnTo>
                  <a:lnTo>
                    <a:pt x="751" y="233"/>
                  </a:lnTo>
                  <a:lnTo>
                    <a:pt x="754" y="222"/>
                  </a:lnTo>
                  <a:lnTo>
                    <a:pt x="760" y="212"/>
                  </a:lnTo>
                  <a:lnTo>
                    <a:pt x="767" y="203"/>
                  </a:lnTo>
                  <a:lnTo>
                    <a:pt x="775" y="196"/>
                  </a:lnTo>
                  <a:lnTo>
                    <a:pt x="783" y="191"/>
                  </a:lnTo>
                  <a:lnTo>
                    <a:pt x="805" y="182"/>
                  </a:lnTo>
                  <a:lnTo>
                    <a:pt x="826" y="175"/>
                  </a:lnTo>
                  <a:lnTo>
                    <a:pt x="847" y="171"/>
                  </a:lnTo>
                  <a:lnTo>
                    <a:pt x="867" y="167"/>
                  </a:lnTo>
                  <a:lnTo>
                    <a:pt x="887" y="166"/>
                  </a:lnTo>
                  <a:lnTo>
                    <a:pt x="906" y="166"/>
                  </a:lnTo>
                  <a:lnTo>
                    <a:pt x="925" y="166"/>
                  </a:lnTo>
                  <a:lnTo>
                    <a:pt x="944" y="168"/>
                  </a:lnTo>
                  <a:lnTo>
                    <a:pt x="980" y="172"/>
                  </a:lnTo>
                  <a:lnTo>
                    <a:pt x="1015" y="176"/>
                  </a:lnTo>
                  <a:lnTo>
                    <a:pt x="1031" y="177"/>
                  </a:lnTo>
                  <a:lnTo>
                    <a:pt x="1048" y="177"/>
                  </a:lnTo>
                  <a:lnTo>
                    <a:pt x="1065" y="176"/>
                  </a:lnTo>
                  <a:lnTo>
                    <a:pt x="1080" y="174"/>
                  </a:lnTo>
                  <a:lnTo>
                    <a:pt x="1090" y="171"/>
                  </a:lnTo>
                  <a:lnTo>
                    <a:pt x="1101" y="167"/>
                  </a:lnTo>
                  <a:lnTo>
                    <a:pt x="1112" y="163"/>
                  </a:lnTo>
                  <a:lnTo>
                    <a:pt x="1121" y="156"/>
                  </a:lnTo>
                  <a:lnTo>
                    <a:pt x="1131" y="149"/>
                  </a:lnTo>
                  <a:lnTo>
                    <a:pt x="1141" y="142"/>
                  </a:lnTo>
                  <a:lnTo>
                    <a:pt x="1151" y="133"/>
                  </a:lnTo>
                  <a:lnTo>
                    <a:pt x="1160" y="123"/>
                  </a:lnTo>
                  <a:lnTo>
                    <a:pt x="1170" y="111"/>
                  </a:lnTo>
                  <a:lnTo>
                    <a:pt x="1180" y="98"/>
                  </a:lnTo>
                  <a:lnTo>
                    <a:pt x="1189" y="85"/>
                  </a:lnTo>
                  <a:lnTo>
                    <a:pt x="1199" y="70"/>
                  </a:lnTo>
                  <a:lnTo>
                    <a:pt x="1219" y="38"/>
                  </a:lnTo>
                  <a:lnTo>
                    <a:pt x="124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1" name="Freeform 27"/>
            <p:cNvSpPr>
              <a:spLocks noChangeAspect="1"/>
            </p:cNvSpPr>
            <p:nvPr/>
          </p:nvSpPr>
          <p:spPr bwMode="gray">
            <a:xfrm rot="355651">
              <a:off x="5416550" y="3557588"/>
              <a:ext cx="199954" cy="172465"/>
            </a:xfrm>
            <a:custGeom>
              <a:avLst/>
              <a:gdLst/>
              <a:ahLst/>
              <a:cxnLst>
                <a:cxn ang="0">
                  <a:pos x="489" y="57"/>
                </a:cxn>
                <a:cxn ang="0">
                  <a:pos x="461" y="102"/>
                </a:cxn>
                <a:cxn ang="0">
                  <a:pos x="451" y="207"/>
                </a:cxn>
                <a:cxn ang="0">
                  <a:pos x="411" y="290"/>
                </a:cxn>
                <a:cxn ang="0">
                  <a:pos x="289" y="319"/>
                </a:cxn>
                <a:cxn ang="0">
                  <a:pos x="246" y="360"/>
                </a:cxn>
                <a:cxn ang="0">
                  <a:pos x="238" y="380"/>
                </a:cxn>
                <a:cxn ang="0">
                  <a:pos x="198" y="401"/>
                </a:cxn>
                <a:cxn ang="0">
                  <a:pos x="179" y="415"/>
                </a:cxn>
                <a:cxn ang="0">
                  <a:pos x="156" y="431"/>
                </a:cxn>
                <a:cxn ang="0">
                  <a:pos x="129" y="454"/>
                </a:cxn>
                <a:cxn ang="0">
                  <a:pos x="104" y="469"/>
                </a:cxn>
                <a:cxn ang="0">
                  <a:pos x="83" y="482"/>
                </a:cxn>
                <a:cxn ang="0">
                  <a:pos x="31" y="532"/>
                </a:cxn>
                <a:cxn ang="0">
                  <a:pos x="17" y="575"/>
                </a:cxn>
                <a:cxn ang="0">
                  <a:pos x="41" y="583"/>
                </a:cxn>
                <a:cxn ang="0">
                  <a:pos x="65" y="603"/>
                </a:cxn>
                <a:cxn ang="0">
                  <a:pos x="94" y="670"/>
                </a:cxn>
                <a:cxn ang="0">
                  <a:pos x="105" y="718"/>
                </a:cxn>
                <a:cxn ang="0">
                  <a:pos x="128" y="773"/>
                </a:cxn>
                <a:cxn ang="0">
                  <a:pos x="162" y="819"/>
                </a:cxn>
                <a:cxn ang="0">
                  <a:pos x="203" y="827"/>
                </a:cxn>
                <a:cxn ang="0">
                  <a:pos x="322" y="831"/>
                </a:cxn>
                <a:cxn ang="0">
                  <a:pos x="339" y="756"/>
                </a:cxn>
                <a:cxn ang="0">
                  <a:pos x="382" y="697"/>
                </a:cxn>
                <a:cxn ang="0">
                  <a:pos x="398" y="673"/>
                </a:cxn>
                <a:cxn ang="0">
                  <a:pos x="413" y="663"/>
                </a:cxn>
                <a:cxn ang="0">
                  <a:pos x="450" y="678"/>
                </a:cxn>
                <a:cxn ang="0">
                  <a:pos x="466" y="694"/>
                </a:cxn>
                <a:cxn ang="0">
                  <a:pos x="484" y="723"/>
                </a:cxn>
                <a:cxn ang="0">
                  <a:pos x="511" y="755"/>
                </a:cxn>
                <a:cxn ang="0">
                  <a:pos x="527" y="766"/>
                </a:cxn>
                <a:cxn ang="0">
                  <a:pos x="555" y="783"/>
                </a:cxn>
                <a:cxn ang="0">
                  <a:pos x="655" y="830"/>
                </a:cxn>
                <a:cxn ang="0">
                  <a:pos x="732" y="886"/>
                </a:cxn>
                <a:cxn ang="0">
                  <a:pos x="781" y="932"/>
                </a:cxn>
                <a:cxn ang="0">
                  <a:pos x="835" y="974"/>
                </a:cxn>
                <a:cxn ang="0">
                  <a:pos x="883" y="1007"/>
                </a:cxn>
                <a:cxn ang="0">
                  <a:pos x="923" y="1034"/>
                </a:cxn>
                <a:cxn ang="0">
                  <a:pos x="1000" y="1057"/>
                </a:cxn>
                <a:cxn ang="0">
                  <a:pos x="1030" y="1027"/>
                </a:cxn>
                <a:cxn ang="0">
                  <a:pos x="1041" y="1008"/>
                </a:cxn>
                <a:cxn ang="0">
                  <a:pos x="1075" y="966"/>
                </a:cxn>
                <a:cxn ang="0">
                  <a:pos x="1104" y="936"/>
                </a:cxn>
                <a:cxn ang="0">
                  <a:pos x="1080" y="889"/>
                </a:cxn>
                <a:cxn ang="0">
                  <a:pos x="1039" y="859"/>
                </a:cxn>
                <a:cxn ang="0">
                  <a:pos x="1039" y="790"/>
                </a:cxn>
                <a:cxn ang="0">
                  <a:pos x="1027" y="719"/>
                </a:cxn>
                <a:cxn ang="0">
                  <a:pos x="1000" y="698"/>
                </a:cxn>
                <a:cxn ang="0">
                  <a:pos x="940" y="667"/>
                </a:cxn>
                <a:cxn ang="0">
                  <a:pos x="894" y="641"/>
                </a:cxn>
                <a:cxn ang="0">
                  <a:pos x="883" y="630"/>
                </a:cxn>
                <a:cxn ang="0">
                  <a:pos x="863" y="602"/>
                </a:cxn>
                <a:cxn ang="0">
                  <a:pos x="834" y="563"/>
                </a:cxn>
                <a:cxn ang="0">
                  <a:pos x="827" y="550"/>
                </a:cxn>
                <a:cxn ang="0">
                  <a:pos x="790" y="540"/>
                </a:cxn>
                <a:cxn ang="0">
                  <a:pos x="702" y="498"/>
                </a:cxn>
                <a:cxn ang="0">
                  <a:pos x="664" y="360"/>
                </a:cxn>
                <a:cxn ang="0">
                  <a:pos x="645" y="320"/>
                </a:cxn>
                <a:cxn ang="0">
                  <a:pos x="634" y="306"/>
                </a:cxn>
                <a:cxn ang="0">
                  <a:pos x="594" y="11"/>
                </a:cxn>
              </a:cxnLst>
              <a:rect l="0" t="0" r="r" b="b"/>
              <a:pathLst>
                <a:path w="1105" h="1057">
                  <a:moveTo>
                    <a:pt x="536" y="0"/>
                  </a:moveTo>
                  <a:lnTo>
                    <a:pt x="522" y="13"/>
                  </a:lnTo>
                  <a:lnTo>
                    <a:pt x="507" y="28"/>
                  </a:lnTo>
                  <a:lnTo>
                    <a:pt x="500" y="37"/>
                  </a:lnTo>
                  <a:lnTo>
                    <a:pt x="493" y="45"/>
                  </a:lnTo>
                  <a:lnTo>
                    <a:pt x="491" y="50"/>
                  </a:lnTo>
                  <a:lnTo>
                    <a:pt x="490" y="54"/>
                  </a:lnTo>
                  <a:lnTo>
                    <a:pt x="489" y="57"/>
                  </a:lnTo>
                  <a:lnTo>
                    <a:pt x="488" y="62"/>
                  </a:lnTo>
                  <a:lnTo>
                    <a:pt x="482" y="64"/>
                  </a:lnTo>
                  <a:lnTo>
                    <a:pt x="478" y="66"/>
                  </a:lnTo>
                  <a:lnTo>
                    <a:pt x="475" y="67"/>
                  </a:lnTo>
                  <a:lnTo>
                    <a:pt x="474" y="70"/>
                  </a:lnTo>
                  <a:lnTo>
                    <a:pt x="471" y="74"/>
                  </a:lnTo>
                  <a:lnTo>
                    <a:pt x="461" y="82"/>
                  </a:lnTo>
                  <a:lnTo>
                    <a:pt x="461" y="102"/>
                  </a:lnTo>
                  <a:lnTo>
                    <a:pt x="459" y="105"/>
                  </a:lnTo>
                  <a:lnTo>
                    <a:pt x="457" y="113"/>
                  </a:lnTo>
                  <a:lnTo>
                    <a:pt x="455" y="124"/>
                  </a:lnTo>
                  <a:lnTo>
                    <a:pt x="455" y="138"/>
                  </a:lnTo>
                  <a:lnTo>
                    <a:pt x="454" y="166"/>
                  </a:lnTo>
                  <a:lnTo>
                    <a:pt x="454" y="184"/>
                  </a:lnTo>
                  <a:lnTo>
                    <a:pt x="453" y="195"/>
                  </a:lnTo>
                  <a:lnTo>
                    <a:pt x="451" y="207"/>
                  </a:lnTo>
                  <a:lnTo>
                    <a:pt x="447" y="220"/>
                  </a:lnTo>
                  <a:lnTo>
                    <a:pt x="444" y="233"/>
                  </a:lnTo>
                  <a:lnTo>
                    <a:pt x="437" y="256"/>
                  </a:lnTo>
                  <a:lnTo>
                    <a:pt x="434" y="272"/>
                  </a:lnTo>
                  <a:lnTo>
                    <a:pt x="427" y="278"/>
                  </a:lnTo>
                  <a:lnTo>
                    <a:pt x="421" y="285"/>
                  </a:lnTo>
                  <a:lnTo>
                    <a:pt x="415" y="286"/>
                  </a:lnTo>
                  <a:lnTo>
                    <a:pt x="411" y="290"/>
                  </a:lnTo>
                  <a:lnTo>
                    <a:pt x="408" y="294"/>
                  </a:lnTo>
                  <a:lnTo>
                    <a:pt x="407" y="298"/>
                  </a:lnTo>
                  <a:lnTo>
                    <a:pt x="379" y="301"/>
                  </a:lnTo>
                  <a:lnTo>
                    <a:pt x="338" y="305"/>
                  </a:lnTo>
                  <a:lnTo>
                    <a:pt x="318" y="309"/>
                  </a:lnTo>
                  <a:lnTo>
                    <a:pt x="301" y="313"/>
                  </a:lnTo>
                  <a:lnTo>
                    <a:pt x="294" y="316"/>
                  </a:lnTo>
                  <a:lnTo>
                    <a:pt x="289" y="319"/>
                  </a:lnTo>
                  <a:lnTo>
                    <a:pt x="286" y="322"/>
                  </a:lnTo>
                  <a:lnTo>
                    <a:pt x="284" y="326"/>
                  </a:lnTo>
                  <a:lnTo>
                    <a:pt x="271" y="326"/>
                  </a:lnTo>
                  <a:lnTo>
                    <a:pt x="264" y="333"/>
                  </a:lnTo>
                  <a:lnTo>
                    <a:pt x="258" y="340"/>
                  </a:lnTo>
                  <a:lnTo>
                    <a:pt x="258" y="353"/>
                  </a:lnTo>
                  <a:lnTo>
                    <a:pt x="251" y="360"/>
                  </a:lnTo>
                  <a:lnTo>
                    <a:pt x="246" y="360"/>
                  </a:lnTo>
                  <a:lnTo>
                    <a:pt x="245" y="361"/>
                  </a:lnTo>
                  <a:lnTo>
                    <a:pt x="244" y="362"/>
                  </a:lnTo>
                  <a:lnTo>
                    <a:pt x="244" y="363"/>
                  </a:lnTo>
                  <a:lnTo>
                    <a:pt x="244" y="364"/>
                  </a:lnTo>
                  <a:lnTo>
                    <a:pt x="243" y="365"/>
                  </a:lnTo>
                  <a:lnTo>
                    <a:pt x="241" y="367"/>
                  </a:lnTo>
                  <a:lnTo>
                    <a:pt x="238" y="367"/>
                  </a:lnTo>
                  <a:lnTo>
                    <a:pt x="238" y="380"/>
                  </a:lnTo>
                  <a:lnTo>
                    <a:pt x="224" y="383"/>
                  </a:lnTo>
                  <a:lnTo>
                    <a:pt x="210" y="387"/>
                  </a:lnTo>
                  <a:lnTo>
                    <a:pt x="203" y="393"/>
                  </a:lnTo>
                  <a:lnTo>
                    <a:pt x="203" y="398"/>
                  </a:lnTo>
                  <a:lnTo>
                    <a:pt x="202" y="400"/>
                  </a:lnTo>
                  <a:lnTo>
                    <a:pt x="201" y="400"/>
                  </a:lnTo>
                  <a:lnTo>
                    <a:pt x="200" y="400"/>
                  </a:lnTo>
                  <a:lnTo>
                    <a:pt x="198" y="401"/>
                  </a:lnTo>
                  <a:lnTo>
                    <a:pt x="197" y="401"/>
                  </a:lnTo>
                  <a:lnTo>
                    <a:pt x="197" y="403"/>
                  </a:lnTo>
                  <a:lnTo>
                    <a:pt x="196" y="408"/>
                  </a:lnTo>
                  <a:lnTo>
                    <a:pt x="183" y="408"/>
                  </a:lnTo>
                  <a:lnTo>
                    <a:pt x="183" y="411"/>
                  </a:lnTo>
                  <a:lnTo>
                    <a:pt x="182" y="413"/>
                  </a:lnTo>
                  <a:lnTo>
                    <a:pt x="181" y="413"/>
                  </a:lnTo>
                  <a:lnTo>
                    <a:pt x="179" y="415"/>
                  </a:lnTo>
                  <a:lnTo>
                    <a:pt x="178" y="415"/>
                  </a:lnTo>
                  <a:lnTo>
                    <a:pt x="177" y="415"/>
                  </a:lnTo>
                  <a:lnTo>
                    <a:pt x="176" y="417"/>
                  </a:lnTo>
                  <a:lnTo>
                    <a:pt x="176" y="421"/>
                  </a:lnTo>
                  <a:lnTo>
                    <a:pt x="172" y="421"/>
                  </a:lnTo>
                  <a:lnTo>
                    <a:pt x="166" y="425"/>
                  </a:lnTo>
                  <a:lnTo>
                    <a:pt x="161" y="427"/>
                  </a:lnTo>
                  <a:lnTo>
                    <a:pt x="156" y="431"/>
                  </a:lnTo>
                  <a:lnTo>
                    <a:pt x="150" y="435"/>
                  </a:lnTo>
                  <a:lnTo>
                    <a:pt x="146" y="438"/>
                  </a:lnTo>
                  <a:lnTo>
                    <a:pt x="140" y="440"/>
                  </a:lnTo>
                  <a:lnTo>
                    <a:pt x="136" y="441"/>
                  </a:lnTo>
                  <a:lnTo>
                    <a:pt x="135" y="446"/>
                  </a:lnTo>
                  <a:lnTo>
                    <a:pt x="134" y="449"/>
                  </a:lnTo>
                  <a:lnTo>
                    <a:pt x="131" y="451"/>
                  </a:lnTo>
                  <a:lnTo>
                    <a:pt x="129" y="454"/>
                  </a:lnTo>
                  <a:lnTo>
                    <a:pt x="126" y="456"/>
                  </a:lnTo>
                  <a:lnTo>
                    <a:pt x="124" y="457"/>
                  </a:lnTo>
                  <a:lnTo>
                    <a:pt x="123" y="459"/>
                  </a:lnTo>
                  <a:lnTo>
                    <a:pt x="123" y="461"/>
                  </a:lnTo>
                  <a:lnTo>
                    <a:pt x="108" y="461"/>
                  </a:lnTo>
                  <a:lnTo>
                    <a:pt x="108" y="464"/>
                  </a:lnTo>
                  <a:lnTo>
                    <a:pt x="106" y="467"/>
                  </a:lnTo>
                  <a:lnTo>
                    <a:pt x="104" y="469"/>
                  </a:lnTo>
                  <a:lnTo>
                    <a:pt x="101" y="470"/>
                  </a:lnTo>
                  <a:lnTo>
                    <a:pt x="95" y="474"/>
                  </a:lnTo>
                  <a:lnTo>
                    <a:pt x="88" y="475"/>
                  </a:lnTo>
                  <a:lnTo>
                    <a:pt x="88" y="479"/>
                  </a:lnTo>
                  <a:lnTo>
                    <a:pt x="87" y="482"/>
                  </a:lnTo>
                  <a:lnTo>
                    <a:pt x="86" y="482"/>
                  </a:lnTo>
                  <a:lnTo>
                    <a:pt x="85" y="482"/>
                  </a:lnTo>
                  <a:lnTo>
                    <a:pt x="83" y="482"/>
                  </a:lnTo>
                  <a:lnTo>
                    <a:pt x="82" y="483"/>
                  </a:lnTo>
                  <a:lnTo>
                    <a:pt x="81" y="485"/>
                  </a:lnTo>
                  <a:lnTo>
                    <a:pt x="81" y="488"/>
                  </a:lnTo>
                  <a:lnTo>
                    <a:pt x="75" y="490"/>
                  </a:lnTo>
                  <a:lnTo>
                    <a:pt x="67" y="496"/>
                  </a:lnTo>
                  <a:lnTo>
                    <a:pt x="58" y="504"/>
                  </a:lnTo>
                  <a:lnTo>
                    <a:pt x="48" y="513"/>
                  </a:lnTo>
                  <a:lnTo>
                    <a:pt x="31" y="532"/>
                  </a:lnTo>
                  <a:lnTo>
                    <a:pt x="20" y="543"/>
                  </a:lnTo>
                  <a:lnTo>
                    <a:pt x="10" y="546"/>
                  </a:lnTo>
                  <a:lnTo>
                    <a:pt x="0" y="550"/>
                  </a:lnTo>
                  <a:lnTo>
                    <a:pt x="0" y="570"/>
                  </a:lnTo>
                  <a:lnTo>
                    <a:pt x="13" y="570"/>
                  </a:lnTo>
                  <a:lnTo>
                    <a:pt x="14" y="572"/>
                  </a:lnTo>
                  <a:lnTo>
                    <a:pt x="14" y="574"/>
                  </a:lnTo>
                  <a:lnTo>
                    <a:pt x="17" y="575"/>
                  </a:lnTo>
                  <a:lnTo>
                    <a:pt x="18" y="576"/>
                  </a:lnTo>
                  <a:lnTo>
                    <a:pt x="22" y="576"/>
                  </a:lnTo>
                  <a:lnTo>
                    <a:pt x="27" y="576"/>
                  </a:lnTo>
                  <a:lnTo>
                    <a:pt x="28" y="579"/>
                  </a:lnTo>
                  <a:lnTo>
                    <a:pt x="29" y="581"/>
                  </a:lnTo>
                  <a:lnTo>
                    <a:pt x="32" y="582"/>
                  </a:lnTo>
                  <a:lnTo>
                    <a:pt x="34" y="583"/>
                  </a:lnTo>
                  <a:lnTo>
                    <a:pt x="41" y="583"/>
                  </a:lnTo>
                  <a:lnTo>
                    <a:pt x="48" y="583"/>
                  </a:lnTo>
                  <a:lnTo>
                    <a:pt x="48" y="586"/>
                  </a:lnTo>
                  <a:lnTo>
                    <a:pt x="50" y="590"/>
                  </a:lnTo>
                  <a:lnTo>
                    <a:pt x="52" y="593"/>
                  </a:lnTo>
                  <a:lnTo>
                    <a:pt x="56" y="596"/>
                  </a:lnTo>
                  <a:lnTo>
                    <a:pt x="58" y="599"/>
                  </a:lnTo>
                  <a:lnTo>
                    <a:pt x="62" y="602"/>
                  </a:lnTo>
                  <a:lnTo>
                    <a:pt x="65" y="603"/>
                  </a:lnTo>
                  <a:lnTo>
                    <a:pt x="68" y="604"/>
                  </a:lnTo>
                  <a:lnTo>
                    <a:pt x="75" y="618"/>
                  </a:lnTo>
                  <a:lnTo>
                    <a:pt x="75" y="631"/>
                  </a:lnTo>
                  <a:lnTo>
                    <a:pt x="88" y="644"/>
                  </a:lnTo>
                  <a:lnTo>
                    <a:pt x="88" y="665"/>
                  </a:lnTo>
                  <a:lnTo>
                    <a:pt x="90" y="666"/>
                  </a:lnTo>
                  <a:lnTo>
                    <a:pt x="92" y="667"/>
                  </a:lnTo>
                  <a:lnTo>
                    <a:pt x="94" y="670"/>
                  </a:lnTo>
                  <a:lnTo>
                    <a:pt x="95" y="673"/>
                  </a:lnTo>
                  <a:lnTo>
                    <a:pt x="95" y="682"/>
                  </a:lnTo>
                  <a:lnTo>
                    <a:pt x="96" y="692"/>
                  </a:lnTo>
                  <a:lnTo>
                    <a:pt x="97" y="701"/>
                  </a:lnTo>
                  <a:lnTo>
                    <a:pt x="99" y="710"/>
                  </a:lnTo>
                  <a:lnTo>
                    <a:pt x="100" y="714"/>
                  </a:lnTo>
                  <a:lnTo>
                    <a:pt x="102" y="717"/>
                  </a:lnTo>
                  <a:lnTo>
                    <a:pt x="105" y="718"/>
                  </a:lnTo>
                  <a:lnTo>
                    <a:pt x="108" y="719"/>
                  </a:lnTo>
                  <a:lnTo>
                    <a:pt x="109" y="727"/>
                  </a:lnTo>
                  <a:lnTo>
                    <a:pt x="111" y="734"/>
                  </a:lnTo>
                  <a:lnTo>
                    <a:pt x="115" y="742"/>
                  </a:lnTo>
                  <a:lnTo>
                    <a:pt x="118" y="749"/>
                  </a:lnTo>
                  <a:lnTo>
                    <a:pt x="123" y="757"/>
                  </a:lnTo>
                  <a:lnTo>
                    <a:pt x="126" y="765"/>
                  </a:lnTo>
                  <a:lnTo>
                    <a:pt x="128" y="773"/>
                  </a:lnTo>
                  <a:lnTo>
                    <a:pt x="129" y="779"/>
                  </a:lnTo>
                  <a:lnTo>
                    <a:pt x="143" y="794"/>
                  </a:lnTo>
                  <a:lnTo>
                    <a:pt x="143" y="807"/>
                  </a:lnTo>
                  <a:lnTo>
                    <a:pt x="148" y="809"/>
                  </a:lnTo>
                  <a:lnTo>
                    <a:pt x="155" y="812"/>
                  </a:lnTo>
                  <a:lnTo>
                    <a:pt x="158" y="813"/>
                  </a:lnTo>
                  <a:lnTo>
                    <a:pt x="161" y="815"/>
                  </a:lnTo>
                  <a:lnTo>
                    <a:pt x="162" y="819"/>
                  </a:lnTo>
                  <a:lnTo>
                    <a:pt x="163" y="821"/>
                  </a:lnTo>
                  <a:lnTo>
                    <a:pt x="183" y="821"/>
                  </a:lnTo>
                  <a:lnTo>
                    <a:pt x="184" y="823"/>
                  </a:lnTo>
                  <a:lnTo>
                    <a:pt x="185" y="824"/>
                  </a:lnTo>
                  <a:lnTo>
                    <a:pt x="187" y="825"/>
                  </a:lnTo>
                  <a:lnTo>
                    <a:pt x="191" y="826"/>
                  </a:lnTo>
                  <a:lnTo>
                    <a:pt x="197" y="827"/>
                  </a:lnTo>
                  <a:lnTo>
                    <a:pt x="203" y="827"/>
                  </a:lnTo>
                  <a:lnTo>
                    <a:pt x="217" y="841"/>
                  </a:lnTo>
                  <a:lnTo>
                    <a:pt x="242" y="842"/>
                  </a:lnTo>
                  <a:lnTo>
                    <a:pt x="268" y="844"/>
                  </a:lnTo>
                  <a:lnTo>
                    <a:pt x="293" y="846"/>
                  </a:lnTo>
                  <a:lnTo>
                    <a:pt x="319" y="848"/>
                  </a:lnTo>
                  <a:lnTo>
                    <a:pt x="319" y="834"/>
                  </a:lnTo>
                  <a:lnTo>
                    <a:pt x="321" y="833"/>
                  </a:lnTo>
                  <a:lnTo>
                    <a:pt x="322" y="831"/>
                  </a:lnTo>
                  <a:lnTo>
                    <a:pt x="325" y="826"/>
                  </a:lnTo>
                  <a:lnTo>
                    <a:pt x="326" y="822"/>
                  </a:lnTo>
                  <a:lnTo>
                    <a:pt x="328" y="809"/>
                  </a:lnTo>
                  <a:lnTo>
                    <a:pt x="329" y="794"/>
                  </a:lnTo>
                  <a:lnTo>
                    <a:pt x="331" y="778"/>
                  </a:lnTo>
                  <a:lnTo>
                    <a:pt x="335" y="766"/>
                  </a:lnTo>
                  <a:lnTo>
                    <a:pt x="337" y="761"/>
                  </a:lnTo>
                  <a:lnTo>
                    <a:pt x="339" y="756"/>
                  </a:lnTo>
                  <a:lnTo>
                    <a:pt x="342" y="754"/>
                  </a:lnTo>
                  <a:lnTo>
                    <a:pt x="346" y="753"/>
                  </a:lnTo>
                  <a:lnTo>
                    <a:pt x="346" y="739"/>
                  </a:lnTo>
                  <a:lnTo>
                    <a:pt x="353" y="726"/>
                  </a:lnTo>
                  <a:lnTo>
                    <a:pt x="358" y="721"/>
                  </a:lnTo>
                  <a:lnTo>
                    <a:pt x="369" y="710"/>
                  </a:lnTo>
                  <a:lnTo>
                    <a:pt x="376" y="704"/>
                  </a:lnTo>
                  <a:lnTo>
                    <a:pt x="382" y="697"/>
                  </a:lnTo>
                  <a:lnTo>
                    <a:pt x="385" y="691"/>
                  </a:lnTo>
                  <a:lnTo>
                    <a:pt x="386" y="685"/>
                  </a:lnTo>
                  <a:lnTo>
                    <a:pt x="388" y="685"/>
                  </a:lnTo>
                  <a:lnTo>
                    <a:pt x="390" y="684"/>
                  </a:lnTo>
                  <a:lnTo>
                    <a:pt x="393" y="681"/>
                  </a:lnTo>
                  <a:lnTo>
                    <a:pt x="394" y="678"/>
                  </a:lnTo>
                  <a:lnTo>
                    <a:pt x="396" y="676"/>
                  </a:lnTo>
                  <a:lnTo>
                    <a:pt x="398" y="673"/>
                  </a:lnTo>
                  <a:lnTo>
                    <a:pt x="402" y="672"/>
                  </a:lnTo>
                  <a:lnTo>
                    <a:pt x="407" y="671"/>
                  </a:lnTo>
                  <a:lnTo>
                    <a:pt x="407" y="668"/>
                  </a:lnTo>
                  <a:lnTo>
                    <a:pt x="407" y="666"/>
                  </a:lnTo>
                  <a:lnTo>
                    <a:pt x="408" y="665"/>
                  </a:lnTo>
                  <a:lnTo>
                    <a:pt x="411" y="665"/>
                  </a:lnTo>
                  <a:lnTo>
                    <a:pt x="412" y="665"/>
                  </a:lnTo>
                  <a:lnTo>
                    <a:pt x="413" y="663"/>
                  </a:lnTo>
                  <a:lnTo>
                    <a:pt x="413" y="662"/>
                  </a:lnTo>
                  <a:lnTo>
                    <a:pt x="414" y="658"/>
                  </a:lnTo>
                  <a:lnTo>
                    <a:pt x="427" y="661"/>
                  </a:lnTo>
                  <a:lnTo>
                    <a:pt x="441" y="665"/>
                  </a:lnTo>
                  <a:lnTo>
                    <a:pt x="447" y="671"/>
                  </a:lnTo>
                  <a:lnTo>
                    <a:pt x="447" y="676"/>
                  </a:lnTo>
                  <a:lnTo>
                    <a:pt x="449" y="678"/>
                  </a:lnTo>
                  <a:lnTo>
                    <a:pt x="450" y="678"/>
                  </a:lnTo>
                  <a:lnTo>
                    <a:pt x="451" y="678"/>
                  </a:lnTo>
                  <a:lnTo>
                    <a:pt x="452" y="678"/>
                  </a:lnTo>
                  <a:lnTo>
                    <a:pt x="453" y="679"/>
                  </a:lnTo>
                  <a:lnTo>
                    <a:pt x="454" y="681"/>
                  </a:lnTo>
                  <a:lnTo>
                    <a:pt x="454" y="685"/>
                  </a:lnTo>
                  <a:lnTo>
                    <a:pt x="459" y="686"/>
                  </a:lnTo>
                  <a:lnTo>
                    <a:pt x="463" y="689"/>
                  </a:lnTo>
                  <a:lnTo>
                    <a:pt x="466" y="694"/>
                  </a:lnTo>
                  <a:lnTo>
                    <a:pt x="467" y="699"/>
                  </a:lnTo>
                  <a:lnTo>
                    <a:pt x="470" y="699"/>
                  </a:lnTo>
                  <a:lnTo>
                    <a:pt x="473" y="701"/>
                  </a:lnTo>
                  <a:lnTo>
                    <a:pt x="475" y="704"/>
                  </a:lnTo>
                  <a:lnTo>
                    <a:pt x="476" y="706"/>
                  </a:lnTo>
                  <a:lnTo>
                    <a:pt x="480" y="713"/>
                  </a:lnTo>
                  <a:lnTo>
                    <a:pt x="481" y="719"/>
                  </a:lnTo>
                  <a:lnTo>
                    <a:pt x="484" y="723"/>
                  </a:lnTo>
                  <a:lnTo>
                    <a:pt x="491" y="730"/>
                  </a:lnTo>
                  <a:lnTo>
                    <a:pt x="499" y="739"/>
                  </a:lnTo>
                  <a:lnTo>
                    <a:pt x="502" y="746"/>
                  </a:lnTo>
                  <a:lnTo>
                    <a:pt x="504" y="747"/>
                  </a:lnTo>
                  <a:lnTo>
                    <a:pt x="505" y="748"/>
                  </a:lnTo>
                  <a:lnTo>
                    <a:pt x="508" y="750"/>
                  </a:lnTo>
                  <a:lnTo>
                    <a:pt x="509" y="753"/>
                  </a:lnTo>
                  <a:lnTo>
                    <a:pt x="511" y="755"/>
                  </a:lnTo>
                  <a:lnTo>
                    <a:pt x="514" y="757"/>
                  </a:lnTo>
                  <a:lnTo>
                    <a:pt x="518" y="759"/>
                  </a:lnTo>
                  <a:lnTo>
                    <a:pt x="522" y="759"/>
                  </a:lnTo>
                  <a:lnTo>
                    <a:pt x="522" y="764"/>
                  </a:lnTo>
                  <a:lnTo>
                    <a:pt x="523" y="766"/>
                  </a:lnTo>
                  <a:lnTo>
                    <a:pt x="524" y="766"/>
                  </a:lnTo>
                  <a:lnTo>
                    <a:pt x="526" y="766"/>
                  </a:lnTo>
                  <a:lnTo>
                    <a:pt x="527" y="766"/>
                  </a:lnTo>
                  <a:lnTo>
                    <a:pt x="528" y="767"/>
                  </a:lnTo>
                  <a:lnTo>
                    <a:pt x="529" y="769"/>
                  </a:lnTo>
                  <a:lnTo>
                    <a:pt x="529" y="773"/>
                  </a:lnTo>
                  <a:lnTo>
                    <a:pt x="533" y="774"/>
                  </a:lnTo>
                  <a:lnTo>
                    <a:pt x="539" y="775"/>
                  </a:lnTo>
                  <a:lnTo>
                    <a:pt x="543" y="777"/>
                  </a:lnTo>
                  <a:lnTo>
                    <a:pt x="549" y="779"/>
                  </a:lnTo>
                  <a:lnTo>
                    <a:pt x="555" y="783"/>
                  </a:lnTo>
                  <a:lnTo>
                    <a:pt x="559" y="785"/>
                  </a:lnTo>
                  <a:lnTo>
                    <a:pt x="565" y="786"/>
                  </a:lnTo>
                  <a:lnTo>
                    <a:pt x="569" y="787"/>
                  </a:lnTo>
                  <a:lnTo>
                    <a:pt x="576" y="792"/>
                  </a:lnTo>
                  <a:lnTo>
                    <a:pt x="590" y="800"/>
                  </a:lnTo>
                  <a:lnTo>
                    <a:pt x="609" y="809"/>
                  </a:lnTo>
                  <a:lnTo>
                    <a:pt x="632" y="820"/>
                  </a:lnTo>
                  <a:lnTo>
                    <a:pt x="655" y="830"/>
                  </a:lnTo>
                  <a:lnTo>
                    <a:pt x="676" y="839"/>
                  </a:lnTo>
                  <a:lnTo>
                    <a:pt x="693" y="845"/>
                  </a:lnTo>
                  <a:lnTo>
                    <a:pt x="705" y="848"/>
                  </a:lnTo>
                  <a:lnTo>
                    <a:pt x="712" y="854"/>
                  </a:lnTo>
                  <a:lnTo>
                    <a:pt x="713" y="861"/>
                  </a:lnTo>
                  <a:lnTo>
                    <a:pt x="718" y="868"/>
                  </a:lnTo>
                  <a:lnTo>
                    <a:pt x="724" y="877"/>
                  </a:lnTo>
                  <a:lnTo>
                    <a:pt x="732" y="886"/>
                  </a:lnTo>
                  <a:lnTo>
                    <a:pt x="740" y="893"/>
                  </a:lnTo>
                  <a:lnTo>
                    <a:pt x="745" y="902"/>
                  </a:lnTo>
                  <a:lnTo>
                    <a:pt x="751" y="910"/>
                  </a:lnTo>
                  <a:lnTo>
                    <a:pt x="752" y="916"/>
                  </a:lnTo>
                  <a:lnTo>
                    <a:pt x="759" y="922"/>
                  </a:lnTo>
                  <a:lnTo>
                    <a:pt x="769" y="926"/>
                  </a:lnTo>
                  <a:lnTo>
                    <a:pt x="779" y="929"/>
                  </a:lnTo>
                  <a:lnTo>
                    <a:pt x="781" y="932"/>
                  </a:lnTo>
                  <a:lnTo>
                    <a:pt x="787" y="938"/>
                  </a:lnTo>
                  <a:lnTo>
                    <a:pt x="795" y="945"/>
                  </a:lnTo>
                  <a:lnTo>
                    <a:pt x="804" y="952"/>
                  </a:lnTo>
                  <a:lnTo>
                    <a:pt x="814" y="959"/>
                  </a:lnTo>
                  <a:lnTo>
                    <a:pt x="822" y="965"/>
                  </a:lnTo>
                  <a:lnTo>
                    <a:pt x="829" y="968"/>
                  </a:lnTo>
                  <a:lnTo>
                    <a:pt x="834" y="969"/>
                  </a:lnTo>
                  <a:lnTo>
                    <a:pt x="835" y="974"/>
                  </a:lnTo>
                  <a:lnTo>
                    <a:pt x="839" y="978"/>
                  </a:lnTo>
                  <a:lnTo>
                    <a:pt x="845" y="984"/>
                  </a:lnTo>
                  <a:lnTo>
                    <a:pt x="853" y="989"/>
                  </a:lnTo>
                  <a:lnTo>
                    <a:pt x="860" y="995"/>
                  </a:lnTo>
                  <a:lnTo>
                    <a:pt x="868" y="999"/>
                  </a:lnTo>
                  <a:lnTo>
                    <a:pt x="875" y="1003"/>
                  </a:lnTo>
                  <a:lnTo>
                    <a:pt x="882" y="1004"/>
                  </a:lnTo>
                  <a:lnTo>
                    <a:pt x="883" y="1007"/>
                  </a:lnTo>
                  <a:lnTo>
                    <a:pt x="885" y="1011"/>
                  </a:lnTo>
                  <a:lnTo>
                    <a:pt x="891" y="1015"/>
                  </a:lnTo>
                  <a:lnTo>
                    <a:pt x="896" y="1019"/>
                  </a:lnTo>
                  <a:lnTo>
                    <a:pt x="903" y="1024"/>
                  </a:lnTo>
                  <a:lnTo>
                    <a:pt x="910" y="1027"/>
                  </a:lnTo>
                  <a:lnTo>
                    <a:pt x="916" y="1029"/>
                  </a:lnTo>
                  <a:lnTo>
                    <a:pt x="922" y="1031"/>
                  </a:lnTo>
                  <a:lnTo>
                    <a:pt x="923" y="1034"/>
                  </a:lnTo>
                  <a:lnTo>
                    <a:pt x="925" y="1037"/>
                  </a:lnTo>
                  <a:lnTo>
                    <a:pt x="929" y="1041"/>
                  </a:lnTo>
                  <a:lnTo>
                    <a:pt x="933" y="1044"/>
                  </a:lnTo>
                  <a:lnTo>
                    <a:pt x="944" y="1048"/>
                  </a:lnTo>
                  <a:lnTo>
                    <a:pt x="959" y="1052"/>
                  </a:lnTo>
                  <a:lnTo>
                    <a:pt x="973" y="1055"/>
                  </a:lnTo>
                  <a:lnTo>
                    <a:pt x="988" y="1056"/>
                  </a:lnTo>
                  <a:lnTo>
                    <a:pt x="1000" y="1057"/>
                  </a:lnTo>
                  <a:lnTo>
                    <a:pt x="1010" y="1057"/>
                  </a:lnTo>
                  <a:lnTo>
                    <a:pt x="1017" y="1051"/>
                  </a:lnTo>
                  <a:lnTo>
                    <a:pt x="1020" y="1041"/>
                  </a:lnTo>
                  <a:lnTo>
                    <a:pt x="1023" y="1031"/>
                  </a:lnTo>
                  <a:lnTo>
                    <a:pt x="1028" y="1031"/>
                  </a:lnTo>
                  <a:lnTo>
                    <a:pt x="1029" y="1029"/>
                  </a:lnTo>
                  <a:lnTo>
                    <a:pt x="1030" y="1028"/>
                  </a:lnTo>
                  <a:lnTo>
                    <a:pt x="1030" y="1027"/>
                  </a:lnTo>
                  <a:lnTo>
                    <a:pt x="1030" y="1026"/>
                  </a:lnTo>
                  <a:lnTo>
                    <a:pt x="1031" y="1025"/>
                  </a:lnTo>
                  <a:lnTo>
                    <a:pt x="1033" y="1024"/>
                  </a:lnTo>
                  <a:lnTo>
                    <a:pt x="1037" y="1024"/>
                  </a:lnTo>
                  <a:lnTo>
                    <a:pt x="1037" y="1019"/>
                  </a:lnTo>
                  <a:lnTo>
                    <a:pt x="1038" y="1015"/>
                  </a:lnTo>
                  <a:lnTo>
                    <a:pt x="1039" y="1012"/>
                  </a:lnTo>
                  <a:lnTo>
                    <a:pt x="1041" y="1008"/>
                  </a:lnTo>
                  <a:lnTo>
                    <a:pt x="1046" y="1002"/>
                  </a:lnTo>
                  <a:lnTo>
                    <a:pt x="1050" y="997"/>
                  </a:lnTo>
                  <a:lnTo>
                    <a:pt x="1050" y="984"/>
                  </a:lnTo>
                  <a:lnTo>
                    <a:pt x="1057" y="977"/>
                  </a:lnTo>
                  <a:lnTo>
                    <a:pt x="1071" y="977"/>
                  </a:lnTo>
                  <a:lnTo>
                    <a:pt x="1071" y="973"/>
                  </a:lnTo>
                  <a:lnTo>
                    <a:pt x="1073" y="968"/>
                  </a:lnTo>
                  <a:lnTo>
                    <a:pt x="1075" y="966"/>
                  </a:lnTo>
                  <a:lnTo>
                    <a:pt x="1078" y="964"/>
                  </a:lnTo>
                  <a:lnTo>
                    <a:pt x="1080" y="963"/>
                  </a:lnTo>
                  <a:lnTo>
                    <a:pt x="1083" y="960"/>
                  </a:lnTo>
                  <a:lnTo>
                    <a:pt x="1084" y="958"/>
                  </a:lnTo>
                  <a:lnTo>
                    <a:pt x="1085" y="956"/>
                  </a:lnTo>
                  <a:lnTo>
                    <a:pt x="1098" y="956"/>
                  </a:lnTo>
                  <a:lnTo>
                    <a:pt x="1105" y="949"/>
                  </a:lnTo>
                  <a:lnTo>
                    <a:pt x="1104" y="936"/>
                  </a:lnTo>
                  <a:lnTo>
                    <a:pt x="1102" y="920"/>
                  </a:lnTo>
                  <a:lnTo>
                    <a:pt x="1099" y="904"/>
                  </a:lnTo>
                  <a:lnTo>
                    <a:pt x="1098" y="896"/>
                  </a:lnTo>
                  <a:lnTo>
                    <a:pt x="1085" y="896"/>
                  </a:lnTo>
                  <a:lnTo>
                    <a:pt x="1084" y="893"/>
                  </a:lnTo>
                  <a:lnTo>
                    <a:pt x="1084" y="891"/>
                  </a:lnTo>
                  <a:lnTo>
                    <a:pt x="1081" y="890"/>
                  </a:lnTo>
                  <a:lnTo>
                    <a:pt x="1080" y="889"/>
                  </a:lnTo>
                  <a:lnTo>
                    <a:pt x="1076" y="889"/>
                  </a:lnTo>
                  <a:lnTo>
                    <a:pt x="1071" y="889"/>
                  </a:lnTo>
                  <a:lnTo>
                    <a:pt x="1069" y="886"/>
                  </a:lnTo>
                  <a:lnTo>
                    <a:pt x="1066" y="880"/>
                  </a:lnTo>
                  <a:lnTo>
                    <a:pt x="1060" y="874"/>
                  </a:lnTo>
                  <a:lnTo>
                    <a:pt x="1054" y="869"/>
                  </a:lnTo>
                  <a:lnTo>
                    <a:pt x="1046" y="863"/>
                  </a:lnTo>
                  <a:lnTo>
                    <a:pt x="1039" y="859"/>
                  </a:lnTo>
                  <a:lnTo>
                    <a:pt x="1033" y="855"/>
                  </a:lnTo>
                  <a:lnTo>
                    <a:pt x="1030" y="854"/>
                  </a:lnTo>
                  <a:lnTo>
                    <a:pt x="1030" y="839"/>
                  </a:lnTo>
                  <a:lnTo>
                    <a:pt x="1032" y="815"/>
                  </a:lnTo>
                  <a:lnTo>
                    <a:pt x="1033" y="805"/>
                  </a:lnTo>
                  <a:lnTo>
                    <a:pt x="1036" y="795"/>
                  </a:lnTo>
                  <a:lnTo>
                    <a:pt x="1038" y="792"/>
                  </a:lnTo>
                  <a:lnTo>
                    <a:pt x="1039" y="790"/>
                  </a:lnTo>
                  <a:lnTo>
                    <a:pt x="1041" y="787"/>
                  </a:lnTo>
                  <a:lnTo>
                    <a:pt x="1044" y="787"/>
                  </a:lnTo>
                  <a:lnTo>
                    <a:pt x="1044" y="733"/>
                  </a:lnTo>
                  <a:lnTo>
                    <a:pt x="1030" y="726"/>
                  </a:lnTo>
                  <a:lnTo>
                    <a:pt x="1030" y="721"/>
                  </a:lnTo>
                  <a:lnTo>
                    <a:pt x="1029" y="720"/>
                  </a:lnTo>
                  <a:lnTo>
                    <a:pt x="1028" y="719"/>
                  </a:lnTo>
                  <a:lnTo>
                    <a:pt x="1027" y="719"/>
                  </a:lnTo>
                  <a:lnTo>
                    <a:pt x="1026" y="719"/>
                  </a:lnTo>
                  <a:lnTo>
                    <a:pt x="1025" y="718"/>
                  </a:lnTo>
                  <a:lnTo>
                    <a:pt x="1023" y="716"/>
                  </a:lnTo>
                  <a:lnTo>
                    <a:pt x="1023" y="713"/>
                  </a:lnTo>
                  <a:lnTo>
                    <a:pt x="1017" y="710"/>
                  </a:lnTo>
                  <a:lnTo>
                    <a:pt x="1008" y="705"/>
                  </a:lnTo>
                  <a:lnTo>
                    <a:pt x="1003" y="701"/>
                  </a:lnTo>
                  <a:lnTo>
                    <a:pt x="1000" y="698"/>
                  </a:lnTo>
                  <a:lnTo>
                    <a:pt x="997" y="695"/>
                  </a:lnTo>
                  <a:lnTo>
                    <a:pt x="997" y="692"/>
                  </a:lnTo>
                  <a:lnTo>
                    <a:pt x="983" y="685"/>
                  </a:lnTo>
                  <a:lnTo>
                    <a:pt x="974" y="684"/>
                  </a:lnTo>
                  <a:lnTo>
                    <a:pt x="966" y="681"/>
                  </a:lnTo>
                  <a:lnTo>
                    <a:pt x="958" y="677"/>
                  </a:lnTo>
                  <a:lnTo>
                    <a:pt x="949" y="671"/>
                  </a:lnTo>
                  <a:lnTo>
                    <a:pt x="940" y="667"/>
                  </a:lnTo>
                  <a:lnTo>
                    <a:pt x="931" y="662"/>
                  </a:lnTo>
                  <a:lnTo>
                    <a:pt x="923" y="659"/>
                  </a:lnTo>
                  <a:lnTo>
                    <a:pt x="915" y="658"/>
                  </a:lnTo>
                  <a:lnTo>
                    <a:pt x="910" y="653"/>
                  </a:lnTo>
                  <a:lnTo>
                    <a:pt x="905" y="649"/>
                  </a:lnTo>
                  <a:lnTo>
                    <a:pt x="900" y="646"/>
                  </a:lnTo>
                  <a:lnTo>
                    <a:pt x="895" y="644"/>
                  </a:lnTo>
                  <a:lnTo>
                    <a:pt x="894" y="641"/>
                  </a:lnTo>
                  <a:lnTo>
                    <a:pt x="894" y="639"/>
                  </a:lnTo>
                  <a:lnTo>
                    <a:pt x="893" y="638"/>
                  </a:lnTo>
                  <a:lnTo>
                    <a:pt x="892" y="638"/>
                  </a:lnTo>
                  <a:lnTo>
                    <a:pt x="889" y="638"/>
                  </a:lnTo>
                  <a:lnTo>
                    <a:pt x="889" y="637"/>
                  </a:lnTo>
                  <a:lnTo>
                    <a:pt x="888" y="634"/>
                  </a:lnTo>
                  <a:lnTo>
                    <a:pt x="888" y="631"/>
                  </a:lnTo>
                  <a:lnTo>
                    <a:pt x="883" y="630"/>
                  </a:lnTo>
                  <a:lnTo>
                    <a:pt x="878" y="627"/>
                  </a:lnTo>
                  <a:lnTo>
                    <a:pt x="875" y="622"/>
                  </a:lnTo>
                  <a:lnTo>
                    <a:pt x="874" y="618"/>
                  </a:lnTo>
                  <a:lnTo>
                    <a:pt x="872" y="617"/>
                  </a:lnTo>
                  <a:lnTo>
                    <a:pt x="869" y="615"/>
                  </a:lnTo>
                  <a:lnTo>
                    <a:pt x="868" y="613"/>
                  </a:lnTo>
                  <a:lnTo>
                    <a:pt x="866" y="610"/>
                  </a:lnTo>
                  <a:lnTo>
                    <a:pt x="863" y="602"/>
                  </a:lnTo>
                  <a:lnTo>
                    <a:pt x="860" y="593"/>
                  </a:lnTo>
                  <a:lnTo>
                    <a:pt x="856" y="585"/>
                  </a:lnTo>
                  <a:lnTo>
                    <a:pt x="853" y="577"/>
                  </a:lnTo>
                  <a:lnTo>
                    <a:pt x="850" y="574"/>
                  </a:lnTo>
                  <a:lnTo>
                    <a:pt x="847" y="572"/>
                  </a:lnTo>
                  <a:lnTo>
                    <a:pt x="844" y="571"/>
                  </a:lnTo>
                  <a:lnTo>
                    <a:pt x="840" y="570"/>
                  </a:lnTo>
                  <a:lnTo>
                    <a:pt x="834" y="563"/>
                  </a:lnTo>
                  <a:lnTo>
                    <a:pt x="834" y="560"/>
                  </a:lnTo>
                  <a:lnTo>
                    <a:pt x="833" y="557"/>
                  </a:lnTo>
                  <a:lnTo>
                    <a:pt x="831" y="556"/>
                  </a:lnTo>
                  <a:lnTo>
                    <a:pt x="830" y="556"/>
                  </a:lnTo>
                  <a:lnTo>
                    <a:pt x="829" y="556"/>
                  </a:lnTo>
                  <a:lnTo>
                    <a:pt x="828" y="555"/>
                  </a:lnTo>
                  <a:lnTo>
                    <a:pt x="827" y="554"/>
                  </a:lnTo>
                  <a:lnTo>
                    <a:pt x="827" y="550"/>
                  </a:lnTo>
                  <a:lnTo>
                    <a:pt x="814" y="550"/>
                  </a:lnTo>
                  <a:lnTo>
                    <a:pt x="812" y="547"/>
                  </a:lnTo>
                  <a:lnTo>
                    <a:pt x="811" y="546"/>
                  </a:lnTo>
                  <a:lnTo>
                    <a:pt x="809" y="544"/>
                  </a:lnTo>
                  <a:lnTo>
                    <a:pt x="806" y="544"/>
                  </a:lnTo>
                  <a:lnTo>
                    <a:pt x="799" y="543"/>
                  </a:lnTo>
                  <a:lnTo>
                    <a:pt x="793" y="543"/>
                  </a:lnTo>
                  <a:lnTo>
                    <a:pt x="790" y="540"/>
                  </a:lnTo>
                  <a:lnTo>
                    <a:pt x="782" y="536"/>
                  </a:lnTo>
                  <a:lnTo>
                    <a:pt x="771" y="532"/>
                  </a:lnTo>
                  <a:lnTo>
                    <a:pt x="758" y="527"/>
                  </a:lnTo>
                  <a:lnTo>
                    <a:pt x="730" y="519"/>
                  </a:lnTo>
                  <a:lnTo>
                    <a:pt x="712" y="516"/>
                  </a:lnTo>
                  <a:lnTo>
                    <a:pt x="712" y="503"/>
                  </a:lnTo>
                  <a:lnTo>
                    <a:pt x="706" y="500"/>
                  </a:lnTo>
                  <a:lnTo>
                    <a:pt x="702" y="498"/>
                  </a:lnTo>
                  <a:lnTo>
                    <a:pt x="700" y="494"/>
                  </a:lnTo>
                  <a:lnTo>
                    <a:pt x="699" y="488"/>
                  </a:lnTo>
                  <a:lnTo>
                    <a:pt x="684" y="475"/>
                  </a:lnTo>
                  <a:lnTo>
                    <a:pt x="671" y="461"/>
                  </a:lnTo>
                  <a:lnTo>
                    <a:pt x="671" y="367"/>
                  </a:lnTo>
                  <a:lnTo>
                    <a:pt x="668" y="365"/>
                  </a:lnTo>
                  <a:lnTo>
                    <a:pt x="666" y="363"/>
                  </a:lnTo>
                  <a:lnTo>
                    <a:pt x="664" y="360"/>
                  </a:lnTo>
                  <a:lnTo>
                    <a:pt x="662" y="355"/>
                  </a:lnTo>
                  <a:lnTo>
                    <a:pt x="658" y="346"/>
                  </a:lnTo>
                  <a:lnTo>
                    <a:pt x="657" y="340"/>
                  </a:lnTo>
                  <a:lnTo>
                    <a:pt x="655" y="339"/>
                  </a:lnTo>
                  <a:lnTo>
                    <a:pt x="653" y="336"/>
                  </a:lnTo>
                  <a:lnTo>
                    <a:pt x="651" y="333"/>
                  </a:lnTo>
                  <a:lnTo>
                    <a:pt x="648" y="329"/>
                  </a:lnTo>
                  <a:lnTo>
                    <a:pt x="645" y="320"/>
                  </a:lnTo>
                  <a:lnTo>
                    <a:pt x="644" y="313"/>
                  </a:lnTo>
                  <a:lnTo>
                    <a:pt x="639" y="312"/>
                  </a:lnTo>
                  <a:lnTo>
                    <a:pt x="638" y="312"/>
                  </a:lnTo>
                  <a:lnTo>
                    <a:pt x="637" y="311"/>
                  </a:lnTo>
                  <a:lnTo>
                    <a:pt x="637" y="309"/>
                  </a:lnTo>
                  <a:lnTo>
                    <a:pt x="637" y="307"/>
                  </a:lnTo>
                  <a:lnTo>
                    <a:pt x="636" y="306"/>
                  </a:lnTo>
                  <a:lnTo>
                    <a:pt x="634" y="306"/>
                  </a:lnTo>
                  <a:lnTo>
                    <a:pt x="630" y="305"/>
                  </a:lnTo>
                  <a:lnTo>
                    <a:pt x="630" y="28"/>
                  </a:lnTo>
                  <a:lnTo>
                    <a:pt x="617" y="28"/>
                  </a:lnTo>
                  <a:lnTo>
                    <a:pt x="617" y="14"/>
                  </a:lnTo>
                  <a:lnTo>
                    <a:pt x="607" y="14"/>
                  </a:lnTo>
                  <a:lnTo>
                    <a:pt x="597" y="14"/>
                  </a:lnTo>
                  <a:lnTo>
                    <a:pt x="596" y="12"/>
                  </a:lnTo>
                  <a:lnTo>
                    <a:pt x="594" y="11"/>
                  </a:lnTo>
                  <a:lnTo>
                    <a:pt x="589" y="9"/>
                  </a:lnTo>
                  <a:lnTo>
                    <a:pt x="586" y="8"/>
                  </a:lnTo>
                  <a:lnTo>
                    <a:pt x="577" y="7"/>
                  </a:lnTo>
                  <a:lnTo>
                    <a:pt x="569" y="7"/>
                  </a:lnTo>
                  <a:lnTo>
                    <a:pt x="53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2" name="Freeform 28"/>
            <p:cNvSpPr>
              <a:spLocks noChangeAspect="1"/>
            </p:cNvSpPr>
            <p:nvPr/>
          </p:nvSpPr>
          <p:spPr bwMode="gray">
            <a:xfrm rot="355651">
              <a:off x="5549900" y="3573463"/>
              <a:ext cx="47609" cy="74522"/>
            </a:xfrm>
            <a:custGeom>
              <a:avLst/>
              <a:gdLst/>
              <a:ahLst/>
              <a:cxnLst>
                <a:cxn ang="0">
                  <a:pos x="12" y="42"/>
                </a:cxn>
                <a:cxn ang="0">
                  <a:pos x="0" y="65"/>
                </a:cxn>
                <a:cxn ang="0">
                  <a:pos x="0" y="93"/>
                </a:cxn>
                <a:cxn ang="0">
                  <a:pos x="13" y="122"/>
                </a:cxn>
                <a:cxn ang="0">
                  <a:pos x="20" y="133"/>
                </a:cxn>
                <a:cxn ang="0">
                  <a:pos x="27" y="166"/>
                </a:cxn>
                <a:cxn ang="0">
                  <a:pos x="27" y="211"/>
                </a:cxn>
                <a:cxn ang="0">
                  <a:pos x="44" y="254"/>
                </a:cxn>
                <a:cxn ang="0">
                  <a:pos x="54" y="276"/>
                </a:cxn>
                <a:cxn ang="0">
                  <a:pos x="75" y="309"/>
                </a:cxn>
                <a:cxn ang="0">
                  <a:pos x="81" y="313"/>
                </a:cxn>
                <a:cxn ang="0">
                  <a:pos x="88" y="316"/>
                </a:cxn>
                <a:cxn ang="0">
                  <a:pos x="122" y="356"/>
                </a:cxn>
                <a:cxn ang="0">
                  <a:pos x="137" y="383"/>
                </a:cxn>
                <a:cxn ang="0">
                  <a:pos x="148" y="397"/>
                </a:cxn>
                <a:cxn ang="0">
                  <a:pos x="173" y="420"/>
                </a:cxn>
                <a:cxn ang="0">
                  <a:pos x="185" y="429"/>
                </a:cxn>
                <a:cxn ang="0">
                  <a:pos x="194" y="436"/>
                </a:cxn>
                <a:cxn ang="0">
                  <a:pos x="213" y="448"/>
                </a:cxn>
                <a:cxn ang="0">
                  <a:pos x="230" y="459"/>
                </a:cxn>
                <a:cxn ang="0">
                  <a:pos x="278" y="444"/>
                </a:cxn>
                <a:cxn ang="0">
                  <a:pos x="278" y="421"/>
                </a:cxn>
                <a:cxn ang="0">
                  <a:pos x="278" y="404"/>
                </a:cxn>
                <a:cxn ang="0">
                  <a:pos x="278" y="384"/>
                </a:cxn>
                <a:cxn ang="0">
                  <a:pos x="278" y="367"/>
                </a:cxn>
                <a:cxn ang="0">
                  <a:pos x="278" y="349"/>
                </a:cxn>
                <a:cxn ang="0">
                  <a:pos x="278" y="302"/>
                </a:cxn>
                <a:cxn ang="0">
                  <a:pos x="278" y="261"/>
                </a:cxn>
                <a:cxn ang="0">
                  <a:pos x="278" y="234"/>
                </a:cxn>
                <a:cxn ang="0">
                  <a:pos x="269" y="206"/>
                </a:cxn>
                <a:cxn ang="0">
                  <a:pos x="265" y="193"/>
                </a:cxn>
                <a:cxn ang="0">
                  <a:pos x="258" y="185"/>
                </a:cxn>
                <a:cxn ang="0">
                  <a:pos x="254" y="181"/>
                </a:cxn>
                <a:cxn ang="0">
                  <a:pos x="241" y="156"/>
                </a:cxn>
                <a:cxn ang="0">
                  <a:pos x="228" y="142"/>
                </a:cxn>
                <a:cxn ang="0">
                  <a:pos x="218" y="132"/>
                </a:cxn>
                <a:cxn ang="0">
                  <a:pos x="215" y="127"/>
                </a:cxn>
                <a:cxn ang="0">
                  <a:pos x="205" y="113"/>
                </a:cxn>
                <a:cxn ang="0">
                  <a:pos x="203" y="108"/>
                </a:cxn>
                <a:cxn ang="0">
                  <a:pos x="196" y="96"/>
                </a:cxn>
                <a:cxn ang="0">
                  <a:pos x="175" y="77"/>
                </a:cxn>
                <a:cxn ang="0">
                  <a:pos x="166" y="69"/>
                </a:cxn>
                <a:cxn ang="0">
                  <a:pos x="155" y="51"/>
                </a:cxn>
                <a:cxn ang="0">
                  <a:pos x="122" y="45"/>
                </a:cxn>
                <a:cxn ang="0">
                  <a:pos x="118" y="38"/>
                </a:cxn>
                <a:cxn ang="0">
                  <a:pos x="115" y="31"/>
                </a:cxn>
                <a:cxn ang="0">
                  <a:pos x="99" y="25"/>
                </a:cxn>
                <a:cxn ang="0">
                  <a:pos x="95" y="21"/>
                </a:cxn>
                <a:cxn ang="0">
                  <a:pos x="78" y="10"/>
                </a:cxn>
                <a:cxn ang="0">
                  <a:pos x="40" y="0"/>
                </a:cxn>
              </a:cxnLst>
              <a:rect l="0" t="0" r="r" b="b"/>
              <a:pathLst>
                <a:path w="278" h="459">
                  <a:moveTo>
                    <a:pt x="40" y="0"/>
                  </a:moveTo>
                  <a:lnTo>
                    <a:pt x="30" y="13"/>
                  </a:lnTo>
                  <a:lnTo>
                    <a:pt x="21" y="29"/>
                  </a:lnTo>
                  <a:lnTo>
                    <a:pt x="12" y="42"/>
                  </a:lnTo>
                  <a:lnTo>
                    <a:pt x="7" y="51"/>
                  </a:lnTo>
                  <a:lnTo>
                    <a:pt x="7" y="65"/>
                  </a:lnTo>
                  <a:lnTo>
                    <a:pt x="3" y="65"/>
                  </a:lnTo>
                  <a:lnTo>
                    <a:pt x="0" y="65"/>
                  </a:lnTo>
                  <a:lnTo>
                    <a:pt x="0" y="71"/>
                  </a:lnTo>
                  <a:lnTo>
                    <a:pt x="0" y="75"/>
                  </a:lnTo>
                  <a:lnTo>
                    <a:pt x="0" y="79"/>
                  </a:lnTo>
                  <a:lnTo>
                    <a:pt x="0" y="93"/>
                  </a:lnTo>
                  <a:lnTo>
                    <a:pt x="0" y="106"/>
                  </a:lnTo>
                  <a:lnTo>
                    <a:pt x="7" y="106"/>
                  </a:lnTo>
                  <a:lnTo>
                    <a:pt x="10" y="113"/>
                  </a:lnTo>
                  <a:lnTo>
                    <a:pt x="13" y="122"/>
                  </a:lnTo>
                  <a:lnTo>
                    <a:pt x="14" y="126"/>
                  </a:lnTo>
                  <a:lnTo>
                    <a:pt x="16" y="129"/>
                  </a:lnTo>
                  <a:lnTo>
                    <a:pt x="18" y="132"/>
                  </a:lnTo>
                  <a:lnTo>
                    <a:pt x="20" y="133"/>
                  </a:lnTo>
                  <a:lnTo>
                    <a:pt x="20" y="146"/>
                  </a:lnTo>
                  <a:lnTo>
                    <a:pt x="20" y="160"/>
                  </a:lnTo>
                  <a:lnTo>
                    <a:pt x="27" y="160"/>
                  </a:lnTo>
                  <a:lnTo>
                    <a:pt x="27" y="166"/>
                  </a:lnTo>
                  <a:lnTo>
                    <a:pt x="27" y="174"/>
                  </a:lnTo>
                  <a:lnTo>
                    <a:pt x="27" y="188"/>
                  </a:lnTo>
                  <a:lnTo>
                    <a:pt x="27" y="201"/>
                  </a:lnTo>
                  <a:lnTo>
                    <a:pt x="27" y="211"/>
                  </a:lnTo>
                  <a:lnTo>
                    <a:pt x="27" y="221"/>
                  </a:lnTo>
                  <a:lnTo>
                    <a:pt x="33" y="234"/>
                  </a:lnTo>
                  <a:lnTo>
                    <a:pt x="40" y="248"/>
                  </a:lnTo>
                  <a:lnTo>
                    <a:pt x="44" y="254"/>
                  </a:lnTo>
                  <a:lnTo>
                    <a:pt x="47" y="261"/>
                  </a:lnTo>
                  <a:lnTo>
                    <a:pt x="47" y="269"/>
                  </a:lnTo>
                  <a:lnTo>
                    <a:pt x="50" y="272"/>
                  </a:lnTo>
                  <a:lnTo>
                    <a:pt x="54" y="276"/>
                  </a:lnTo>
                  <a:lnTo>
                    <a:pt x="60" y="282"/>
                  </a:lnTo>
                  <a:lnTo>
                    <a:pt x="67" y="289"/>
                  </a:lnTo>
                  <a:lnTo>
                    <a:pt x="70" y="299"/>
                  </a:lnTo>
                  <a:lnTo>
                    <a:pt x="75" y="309"/>
                  </a:lnTo>
                  <a:lnTo>
                    <a:pt x="78" y="309"/>
                  </a:lnTo>
                  <a:lnTo>
                    <a:pt x="80" y="310"/>
                  </a:lnTo>
                  <a:lnTo>
                    <a:pt x="80" y="311"/>
                  </a:lnTo>
                  <a:lnTo>
                    <a:pt x="81" y="313"/>
                  </a:lnTo>
                  <a:lnTo>
                    <a:pt x="81" y="314"/>
                  </a:lnTo>
                  <a:lnTo>
                    <a:pt x="81" y="315"/>
                  </a:lnTo>
                  <a:lnTo>
                    <a:pt x="84" y="316"/>
                  </a:lnTo>
                  <a:lnTo>
                    <a:pt x="88" y="316"/>
                  </a:lnTo>
                  <a:lnTo>
                    <a:pt x="95" y="329"/>
                  </a:lnTo>
                  <a:lnTo>
                    <a:pt x="102" y="343"/>
                  </a:lnTo>
                  <a:lnTo>
                    <a:pt x="115" y="349"/>
                  </a:lnTo>
                  <a:lnTo>
                    <a:pt x="122" y="356"/>
                  </a:lnTo>
                  <a:lnTo>
                    <a:pt x="122" y="371"/>
                  </a:lnTo>
                  <a:lnTo>
                    <a:pt x="127" y="375"/>
                  </a:lnTo>
                  <a:lnTo>
                    <a:pt x="132" y="379"/>
                  </a:lnTo>
                  <a:lnTo>
                    <a:pt x="137" y="383"/>
                  </a:lnTo>
                  <a:lnTo>
                    <a:pt x="142" y="384"/>
                  </a:lnTo>
                  <a:lnTo>
                    <a:pt x="142" y="391"/>
                  </a:lnTo>
                  <a:lnTo>
                    <a:pt x="145" y="394"/>
                  </a:lnTo>
                  <a:lnTo>
                    <a:pt x="148" y="397"/>
                  </a:lnTo>
                  <a:lnTo>
                    <a:pt x="155" y="404"/>
                  </a:lnTo>
                  <a:lnTo>
                    <a:pt x="162" y="411"/>
                  </a:lnTo>
                  <a:lnTo>
                    <a:pt x="167" y="415"/>
                  </a:lnTo>
                  <a:lnTo>
                    <a:pt x="173" y="420"/>
                  </a:lnTo>
                  <a:lnTo>
                    <a:pt x="177" y="423"/>
                  </a:lnTo>
                  <a:lnTo>
                    <a:pt x="183" y="424"/>
                  </a:lnTo>
                  <a:lnTo>
                    <a:pt x="183" y="426"/>
                  </a:lnTo>
                  <a:lnTo>
                    <a:pt x="185" y="429"/>
                  </a:lnTo>
                  <a:lnTo>
                    <a:pt x="186" y="430"/>
                  </a:lnTo>
                  <a:lnTo>
                    <a:pt x="190" y="432"/>
                  </a:lnTo>
                  <a:lnTo>
                    <a:pt x="192" y="434"/>
                  </a:lnTo>
                  <a:lnTo>
                    <a:pt x="194" y="436"/>
                  </a:lnTo>
                  <a:lnTo>
                    <a:pt x="195" y="440"/>
                  </a:lnTo>
                  <a:lnTo>
                    <a:pt x="196" y="444"/>
                  </a:lnTo>
                  <a:lnTo>
                    <a:pt x="210" y="444"/>
                  </a:lnTo>
                  <a:lnTo>
                    <a:pt x="213" y="448"/>
                  </a:lnTo>
                  <a:lnTo>
                    <a:pt x="217" y="451"/>
                  </a:lnTo>
                  <a:lnTo>
                    <a:pt x="223" y="459"/>
                  </a:lnTo>
                  <a:lnTo>
                    <a:pt x="227" y="459"/>
                  </a:lnTo>
                  <a:lnTo>
                    <a:pt x="230" y="459"/>
                  </a:lnTo>
                  <a:lnTo>
                    <a:pt x="237" y="459"/>
                  </a:lnTo>
                  <a:lnTo>
                    <a:pt x="250" y="459"/>
                  </a:lnTo>
                  <a:lnTo>
                    <a:pt x="265" y="459"/>
                  </a:lnTo>
                  <a:lnTo>
                    <a:pt x="278" y="444"/>
                  </a:lnTo>
                  <a:lnTo>
                    <a:pt x="278" y="438"/>
                  </a:lnTo>
                  <a:lnTo>
                    <a:pt x="278" y="431"/>
                  </a:lnTo>
                  <a:lnTo>
                    <a:pt x="278" y="424"/>
                  </a:lnTo>
                  <a:lnTo>
                    <a:pt x="278" y="421"/>
                  </a:lnTo>
                  <a:lnTo>
                    <a:pt x="278" y="417"/>
                  </a:lnTo>
                  <a:lnTo>
                    <a:pt x="278" y="411"/>
                  </a:lnTo>
                  <a:lnTo>
                    <a:pt x="278" y="407"/>
                  </a:lnTo>
                  <a:lnTo>
                    <a:pt x="278" y="404"/>
                  </a:lnTo>
                  <a:lnTo>
                    <a:pt x="278" y="397"/>
                  </a:lnTo>
                  <a:lnTo>
                    <a:pt x="278" y="394"/>
                  </a:lnTo>
                  <a:lnTo>
                    <a:pt x="278" y="391"/>
                  </a:lnTo>
                  <a:lnTo>
                    <a:pt x="278" y="384"/>
                  </a:lnTo>
                  <a:lnTo>
                    <a:pt x="278" y="381"/>
                  </a:lnTo>
                  <a:lnTo>
                    <a:pt x="278" y="377"/>
                  </a:lnTo>
                  <a:lnTo>
                    <a:pt x="278" y="371"/>
                  </a:lnTo>
                  <a:lnTo>
                    <a:pt x="278" y="367"/>
                  </a:lnTo>
                  <a:lnTo>
                    <a:pt x="278" y="364"/>
                  </a:lnTo>
                  <a:lnTo>
                    <a:pt x="278" y="356"/>
                  </a:lnTo>
                  <a:lnTo>
                    <a:pt x="278" y="353"/>
                  </a:lnTo>
                  <a:lnTo>
                    <a:pt x="278" y="349"/>
                  </a:lnTo>
                  <a:lnTo>
                    <a:pt x="278" y="336"/>
                  </a:lnTo>
                  <a:lnTo>
                    <a:pt x="278" y="323"/>
                  </a:lnTo>
                  <a:lnTo>
                    <a:pt x="278" y="313"/>
                  </a:lnTo>
                  <a:lnTo>
                    <a:pt x="278" y="302"/>
                  </a:lnTo>
                  <a:lnTo>
                    <a:pt x="278" y="289"/>
                  </a:lnTo>
                  <a:lnTo>
                    <a:pt x="278" y="276"/>
                  </a:lnTo>
                  <a:lnTo>
                    <a:pt x="278" y="269"/>
                  </a:lnTo>
                  <a:lnTo>
                    <a:pt x="278" y="261"/>
                  </a:lnTo>
                  <a:lnTo>
                    <a:pt x="278" y="248"/>
                  </a:lnTo>
                  <a:lnTo>
                    <a:pt x="278" y="244"/>
                  </a:lnTo>
                  <a:lnTo>
                    <a:pt x="278" y="241"/>
                  </a:lnTo>
                  <a:lnTo>
                    <a:pt x="278" y="234"/>
                  </a:lnTo>
                  <a:lnTo>
                    <a:pt x="278" y="228"/>
                  </a:lnTo>
                  <a:lnTo>
                    <a:pt x="275" y="218"/>
                  </a:lnTo>
                  <a:lnTo>
                    <a:pt x="271" y="208"/>
                  </a:lnTo>
                  <a:lnTo>
                    <a:pt x="269" y="206"/>
                  </a:lnTo>
                  <a:lnTo>
                    <a:pt x="267" y="205"/>
                  </a:lnTo>
                  <a:lnTo>
                    <a:pt x="266" y="203"/>
                  </a:lnTo>
                  <a:lnTo>
                    <a:pt x="265" y="200"/>
                  </a:lnTo>
                  <a:lnTo>
                    <a:pt x="265" y="193"/>
                  </a:lnTo>
                  <a:lnTo>
                    <a:pt x="265" y="188"/>
                  </a:lnTo>
                  <a:lnTo>
                    <a:pt x="260" y="186"/>
                  </a:lnTo>
                  <a:lnTo>
                    <a:pt x="258" y="186"/>
                  </a:lnTo>
                  <a:lnTo>
                    <a:pt x="258" y="185"/>
                  </a:lnTo>
                  <a:lnTo>
                    <a:pt x="257" y="184"/>
                  </a:lnTo>
                  <a:lnTo>
                    <a:pt x="257" y="183"/>
                  </a:lnTo>
                  <a:lnTo>
                    <a:pt x="257" y="182"/>
                  </a:lnTo>
                  <a:lnTo>
                    <a:pt x="254" y="181"/>
                  </a:lnTo>
                  <a:lnTo>
                    <a:pt x="250" y="181"/>
                  </a:lnTo>
                  <a:lnTo>
                    <a:pt x="250" y="160"/>
                  </a:lnTo>
                  <a:lnTo>
                    <a:pt x="246" y="158"/>
                  </a:lnTo>
                  <a:lnTo>
                    <a:pt x="241" y="156"/>
                  </a:lnTo>
                  <a:lnTo>
                    <a:pt x="238" y="152"/>
                  </a:lnTo>
                  <a:lnTo>
                    <a:pt x="237" y="146"/>
                  </a:lnTo>
                  <a:lnTo>
                    <a:pt x="232" y="145"/>
                  </a:lnTo>
                  <a:lnTo>
                    <a:pt x="228" y="142"/>
                  </a:lnTo>
                  <a:lnTo>
                    <a:pt x="224" y="138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8" y="132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7" y="128"/>
                  </a:lnTo>
                  <a:lnTo>
                    <a:pt x="215" y="127"/>
                  </a:lnTo>
                  <a:lnTo>
                    <a:pt x="213" y="126"/>
                  </a:lnTo>
                  <a:lnTo>
                    <a:pt x="210" y="126"/>
                  </a:lnTo>
                  <a:lnTo>
                    <a:pt x="210" y="113"/>
                  </a:lnTo>
                  <a:lnTo>
                    <a:pt x="205" y="113"/>
                  </a:lnTo>
                  <a:lnTo>
                    <a:pt x="204" y="112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8"/>
                  </a:lnTo>
                  <a:lnTo>
                    <a:pt x="202" y="107"/>
                  </a:lnTo>
                  <a:lnTo>
                    <a:pt x="200" y="106"/>
                  </a:lnTo>
                  <a:lnTo>
                    <a:pt x="196" y="106"/>
                  </a:lnTo>
                  <a:lnTo>
                    <a:pt x="196" y="96"/>
                  </a:lnTo>
                  <a:lnTo>
                    <a:pt x="196" y="86"/>
                  </a:lnTo>
                  <a:lnTo>
                    <a:pt x="186" y="83"/>
                  </a:lnTo>
                  <a:lnTo>
                    <a:pt x="176" y="79"/>
                  </a:lnTo>
                  <a:lnTo>
                    <a:pt x="175" y="77"/>
                  </a:lnTo>
                  <a:lnTo>
                    <a:pt x="174" y="75"/>
                  </a:lnTo>
                  <a:lnTo>
                    <a:pt x="172" y="73"/>
                  </a:lnTo>
                  <a:lnTo>
                    <a:pt x="169" y="71"/>
                  </a:lnTo>
                  <a:lnTo>
                    <a:pt x="166" y="69"/>
                  </a:lnTo>
                  <a:lnTo>
                    <a:pt x="164" y="66"/>
                  </a:lnTo>
                  <a:lnTo>
                    <a:pt x="163" y="63"/>
                  </a:lnTo>
                  <a:lnTo>
                    <a:pt x="162" y="58"/>
                  </a:lnTo>
                  <a:lnTo>
                    <a:pt x="155" y="51"/>
                  </a:lnTo>
                  <a:lnTo>
                    <a:pt x="148" y="51"/>
                  </a:lnTo>
                  <a:lnTo>
                    <a:pt x="142" y="51"/>
                  </a:lnTo>
                  <a:lnTo>
                    <a:pt x="132" y="48"/>
                  </a:lnTo>
                  <a:lnTo>
                    <a:pt x="122" y="45"/>
                  </a:lnTo>
                  <a:lnTo>
                    <a:pt x="122" y="41"/>
                  </a:lnTo>
                  <a:lnTo>
                    <a:pt x="121" y="39"/>
                  </a:lnTo>
                  <a:lnTo>
                    <a:pt x="119" y="38"/>
                  </a:lnTo>
                  <a:lnTo>
                    <a:pt x="118" y="38"/>
                  </a:lnTo>
                  <a:lnTo>
                    <a:pt x="117" y="38"/>
                  </a:lnTo>
                  <a:lnTo>
                    <a:pt x="116" y="37"/>
                  </a:lnTo>
                  <a:lnTo>
                    <a:pt x="115" y="36"/>
                  </a:lnTo>
                  <a:lnTo>
                    <a:pt x="115" y="31"/>
                  </a:lnTo>
                  <a:lnTo>
                    <a:pt x="102" y="31"/>
                  </a:lnTo>
                  <a:lnTo>
                    <a:pt x="102" y="28"/>
                  </a:lnTo>
                  <a:lnTo>
                    <a:pt x="100" y="26"/>
                  </a:lnTo>
                  <a:lnTo>
                    <a:pt x="99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6" y="23"/>
                  </a:lnTo>
                  <a:lnTo>
                    <a:pt x="95" y="21"/>
                  </a:lnTo>
                  <a:lnTo>
                    <a:pt x="95" y="18"/>
                  </a:lnTo>
                  <a:lnTo>
                    <a:pt x="81" y="18"/>
                  </a:lnTo>
                  <a:lnTo>
                    <a:pt x="80" y="13"/>
                  </a:lnTo>
                  <a:lnTo>
                    <a:pt x="78" y="10"/>
                  </a:lnTo>
                  <a:lnTo>
                    <a:pt x="75" y="8"/>
                  </a:lnTo>
                  <a:lnTo>
                    <a:pt x="70" y="7"/>
                  </a:lnTo>
                  <a:lnTo>
                    <a:pt x="58" y="4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3" name="Freeform 29"/>
            <p:cNvSpPr>
              <a:spLocks noChangeAspect="1"/>
            </p:cNvSpPr>
            <p:nvPr/>
          </p:nvSpPr>
          <p:spPr bwMode="gray">
            <a:xfrm rot="355651">
              <a:off x="5517135" y="3790950"/>
              <a:ext cx="118492" cy="108590"/>
            </a:xfrm>
            <a:custGeom>
              <a:avLst/>
              <a:gdLst/>
              <a:ahLst/>
              <a:cxnLst>
                <a:cxn ang="0">
                  <a:pos x="129" y="13"/>
                </a:cxn>
                <a:cxn ang="0">
                  <a:pos x="105" y="51"/>
                </a:cxn>
                <a:cxn ang="0">
                  <a:pos x="83" y="67"/>
                </a:cxn>
                <a:cxn ang="0">
                  <a:pos x="54" y="87"/>
                </a:cxn>
                <a:cxn ang="0">
                  <a:pos x="20" y="108"/>
                </a:cxn>
                <a:cxn ang="0">
                  <a:pos x="0" y="155"/>
                </a:cxn>
                <a:cxn ang="0">
                  <a:pos x="9" y="183"/>
                </a:cxn>
                <a:cxn ang="0">
                  <a:pos x="29" y="201"/>
                </a:cxn>
                <a:cxn ang="0">
                  <a:pos x="58" y="210"/>
                </a:cxn>
                <a:cxn ang="0">
                  <a:pos x="83" y="256"/>
                </a:cxn>
                <a:cxn ang="0">
                  <a:pos x="118" y="388"/>
                </a:cxn>
                <a:cxn ang="0">
                  <a:pos x="128" y="415"/>
                </a:cxn>
                <a:cxn ang="0">
                  <a:pos x="135" y="428"/>
                </a:cxn>
                <a:cxn ang="0">
                  <a:pos x="149" y="444"/>
                </a:cxn>
                <a:cxn ang="0">
                  <a:pos x="161" y="456"/>
                </a:cxn>
                <a:cxn ang="0">
                  <a:pos x="196" y="487"/>
                </a:cxn>
                <a:cxn ang="0">
                  <a:pos x="203" y="505"/>
                </a:cxn>
                <a:cxn ang="0">
                  <a:pos x="213" y="523"/>
                </a:cxn>
                <a:cxn ang="0">
                  <a:pos x="234" y="549"/>
                </a:cxn>
                <a:cxn ang="0">
                  <a:pos x="250" y="571"/>
                </a:cxn>
                <a:cxn ang="0">
                  <a:pos x="257" y="582"/>
                </a:cxn>
                <a:cxn ang="0">
                  <a:pos x="269" y="619"/>
                </a:cxn>
                <a:cxn ang="0">
                  <a:pos x="301" y="654"/>
                </a:cxn>
                <a:cxn ang="0">
                  <a:pos x="321" y="676"/>
                </a:cxn>
                <a:cxn ang="0">
                  <a:pos x="347" y="683"/>
                </a:cxn>
                <a:cxn ang="0">
                  <a:pos x="409" y="654"/>
                </a:cxn>
                <a:cxn ang="0">
                  <a:pos x="434" y="628"/>
                </a:cxn>
                <a:cxn ang="0">
                  <a:pos x="443" y="608"/>
                </a:cxn>
                <a:cxn ang="0">
                  <a:pos x="461" y="549"/>
                </a:cxn>
                <a:cxn ang="0">
                  <a:pos x="496" y="518"/>
                </a:cxn>
                <a:cxn ang="0">
                  <a:pos x="522" y="474"/>
                </a:cxn>
                <a:cxn ang="0">
                  <a:pos x="529" y="452"/>
                </a:cxn>
                <a:cxn ang="0">
                  <a:pos x="551" y="435"/>
                </a:cxn>
                <a:cxn ang="0">
                  <a:pos x="570" y="420"/>
                </a:cxn>
                <a:cxn ang="0">
                  <a:pos x="576" y="413"/>
                </a:cxn>
                <a:cxn ang="0">
                  <a:pos x="606" y="393"/>
                </a:cxn>
                <a:cxn ang="0">
                  <a:pos x="630" y="379"/>
                </a:cxn>
                <a:cxn ang="0">
                  <a:pos x="627" y="324"/>
                </a:cxn>
                <a:cxn ang="0">
                  <a:pos x="600" y="308"/>
                </a:cxn>
                <a:cxn ang="0">
                  <a:pos x="549" y="284"/>
                </a:cxn>
                <a:cxn ang="0">
                  <a:pos x="511" y="265"/>
                </a:cxn>
                <a:cxn ang="0">
                  <a:pos x="487" y="196"/>
                </a:cxn>
                <a:cxn ang="0">
                  <a:pos x="472" y="144"/>
                </a:cxn>
                <a:cxn ang="0">
                  <a:pos x="441" y="121"/>
                </a:cxn>
                <a:cxn ang="0">
                  <a:pos x="413" y="115"/>
                </a:cxn>
                <a:cxn ang="0">
                  <a:pos x="372" y="74"/>
                </a:cxn>
                <a:cxn ang="0">
                  <a:pos x="360" y="59"/>
                </a:cxn>
                <a:cxn ang="0">
                  <a:pos x="352" y="30"/>
                </a:cxn>
                <a:cxn ang="0">
                  <a:pos x="334" y="13"/>
                </a:cxn>
                <a:cxn ang="0">
                  <a:pos x="295" y="20"/>
                </a:cxn>
                <a:cxn ang="0">
                  <a:pos x="279" y="26"/>
                </a:cxn>
                <a:cxn ang="0">
                  <a:pos x="235" y="20"/>
                </a:cxn>
                <a:cxn ang="0">
                  <a:pos x="224" y="12"/>
                </a:cxn>
                <a:cxn ang="0">
                  <a:pos x="203" y="0"/>
                </a:cxn>
              </a:cxnLst>
              <a:rect l="0" t="0" r="r" b="b"/>
              <a:pathLst>
                <a:path w="644" h="684">
                  <a:moveTo>
                    <a:pt x="163" y="0"/>
                  </a:moveTo>
                  <a:lnTo>
                    <a:pt x="151" y="0"/>
                  </a:lnTo>
                  <a:lnTo>
                    <a:pt x="140" y="2"/>
                  </a:lnTo>
                  <a:lnTo>
                    <a:pt x="136" y="4"/>
                  </a:lnTo>
                  <a:lnTo>
                    <a:pt x="131" y="9"/>
                  </a:lnTo>
                  <a:lnTo>
                    <a:pt x="129" y="13"/>
                  </a:lnTo>
                  <a:lnTo>
                    <a:pt x="128" y="20"/>
                  </a:lnTo>
                  <a:lnTo>
                    <a:pt x="126" y="22"/>
                  </a:lnTo>
                  <a:lnTo>
                    <a:pt x="121" y="25"/>
                  </a:lnTo>
                  <a:lnTo>
                    <a:pt x="117" y="31"/>
                  </a:lnTo>
                  <a:lnTo>
                    <a:pt x="112" y="38"/>
                  </a:lnTo>
                  <a:lnTo>
                    <a:pt x="105" y="51"/>
                  </a:lnTo>
                  <a:lnTo>
                    <a:pt x="101" y="61"/>
                  </a:lnTo>
                  <a:lnTo>
                    <a:pt x="88" y="61"/>
                  </a:lnTo>
                  <a:lnTo>
                    <a:pt x="88" y="63"/>
                  </a:lnTo>
                  <a:lnTo>
                    <a:pt x="87" y="64"/>
                  </a:lnTo>
                  <a:lnTo>
                    <a:pt x="86" y="66"/>
                  </a:lnTo>
                  <a:lnTo>
                    <a:pt x="83" y="67"/>
                  </a:lnTo>
                  <a:lnTo>
                    <a:pt x="79" y="68"/>
                  </a:lnTo>
                  <a:lnTo>
                    <a:pt x="74" y="68"/>
                  </a:lnTo>
                  <a:lnTo>
                    <a:pt x="74" y="81"/>
                  </a:lnTo>
                  <a:lnTo>
                    <a:pt x="67" y="82"/>
                  </a:lnTo>
                  <a:lnTo>
                    <a:pt x="58" y="86"/>
                  </a:lnTo>
                  <a:lnTo>
                    <a:pt x="54" y="87"/>
                  </a:lnTo>
                  <a:lnTo>
                    <a:pt x="51" y="90"/>
                  </a:lnTo>
                  <a:lnTo>
                    <a:pt x="48" y="92"/>
                  </a:lnTo>
                  <a:lnTo>
                    <a:pt x="48" y="95"/>
                  </a:lnTo>
                  <a:lnTo>
                    <a:pt x="33" y="95"/>
                  </a:lnTo>
                  <a:lnTo>
                    <a:pt x="26" y="101"/>
                  </a:lnTo>
                  <a:lnTo>
                    <a:pt x="20" y="108"/>
                  </a:lnTo>
                  <a:lnTo>
                    <a:pt x="13" y="115"/>
                  </a:lnTo>
                  <a:lnTo>
                    <a:pt x="6" y="121"/>
                  </a:lnTo>
                  <a:lnTo>
                    <a:pt x="0" y="128"/>
                  </a:lnTo>
                  <a:lnTo>
                    <a:pt x="0" y="136"/>
                  </a:lnTo>
                  <a:lnTo>
                    <a:pt x="0" y="146"/>
                  </a:lnTo>
                  <a:lnTo>
                    <a:pt x="0" y="155"/>
                  </a:lnTo>
                  <a:lnTo>
                    <a:pt x="0" y="163"/>
                  </a:lnTo>
                  <a:lnTo>
                    <a:pt x="1" y="167"/>
                  </a:lnTo>
                  <a:lnTo>
                    <a:pt x="2" y="172"/>
                  </a:lnTo>
                  <a:lnTo>
                    <a:pt x="4" y="175"/>
                  </a:lnTo>
                  <a:lnTo>
                    <a:pt x="6" y="179"/>
                  </a:lnTo>
                  <a:lnTo>
                    <a:pt x="9" y="183"/>
                  </a:lnTo>
                  <a:lnTo>
                    <a:pt x="11" y="187"/>
                  </a:lnTo>
                  <a:lnTo>
                    <a:pt x="13" y="192"/>
                  </a:lnTo>
                  <a:lnTo>
                    <a:pt x="13" y="196"/>
                  </a:lnTo>
                  <a:lnTo>
                    <a:pt x="26" y="196"/>
                  </a:lnTo>
                  <a:lnTo>
                    <a:pt x="27" y="198"/>
                  </a:lnTo>
                  <a:lnTo>
                    <a:pt x="29" y="201"/>
                  </a:lnTo>
                  <a:lnTo>
                    <a:pt x="31" y="202"/>
                  </a:lnTo>
                  <a:lnTo>
                    <a:pt x="34" y="202"/>
                  </a:lnTo>
                  <a:lnTo>
                    <a:pt x="41" y="203"/>
                  </a:lnTo>
                  <a:lnTo>
                    <a:pt x="48" y="203"/>
                  </a:lnTo>
                  <a:lnTo>
                    <a:pt x="51" y="205"/>
                  </a:lnTo>
                  <a:lnTo>
                    <a:pt x="58" y="210"/>
                  </a:lnTo>
                  <a:lnTo>
                    <a:pt x="67" y="214"/>
                  </a:lnTo>
                  <a:lnTo>
                    <a:pt x="74" y="216"/>
                  </a:lnTo>
                  <a:lnTo>
                    <a:pt x="74" y="230"/>
                  </a:lnTo>
                  <a:lnTo>
                    <a:pt x="77" y="234"/>
                  </a:lnTo>
                  <a:lnTo>
                    <a:pt x="80" y="243"/>
                  </a:lnTo>
                  <a:lnTo>
                    <a:pt x="83" y="256"/>
                  </a:lnTo>
                  <a:lnTo>
                    <a:pt x="87" y="272"/>
                  </a:lnTo>
                  <a:lnTo>
                    <a:pt x="92" y="301"/>
                  </a:lnTo>
                  <a:lnTo>
                    <a:pt x="94" y="318"/>
                  </a:lnTo>
                  <a:lnTo>
                    <a:pt x="99" y="333"/>
                  </a:lnTo>
                  <a:lnTo>
                    <a:pt x="108" y="360"/>
                  </a:lnTo>
                  <a:lnTo>
                    <a:pt x="118" y="388"/>
                  </a:lnTo>
                  <a:lnTo>
                    <a:pt x="121" y="406"/>
                  </a:lnTo>
                  <a:lnTo>
                    <a:pt x="123" y="407"/>
                  </a:lnTo>
                  <a:lnTo>
                    <a:pt x="126" y="407"/>
                  </a:lnTo>
                  <a:lnTo>
                    <a:pt x="127" y="409"/>
                  </a:lnTo>
                  <a:lnTo>
                    <a:pt x="128" y="410"/>
                  </a:lnTo>
                  <a:lnTo>
                    <a:pt x="128" y="415"/>
                  </a:lnTo>
                  <a:lnTo>
                    <a:pt x="128" y="419"/>
                  </a:lnTo>
                  <a:lnTo>
                    <a:pt x="130" y="420"/>
                  </a:lnTo>
                  <a:lnTo>
                    <a:pt x="132" y="420"/>
                  </a:lnTo>
                  <a:lnTo>
                    <a:pt x="134" y="423"/>
                  </a:lnTo>
                  <a:lnTo>
                    <a:pt x="135" y="424"/>
                  </a:lnTo>
                  <a:lnTo>
                    <a:pt x="135" y="428"/>
                  </a:lnTo>
                  <a:lnTo>
                    <a:pt x="136" y="434"/>
                  </a:lnTo>
                  <a:lnTo>
                    <a:pt x="142" y="441"/>
                  </a:lnTo>
                  <a:lnTo>
                    <a:pt x="146" y="441"/>
                  </a:lnTo>
                  <a:lnTo>
                    <a:pt x="148" y="442"/>
                  </a:lnTo>
                  <a:lnTo>
                    <a:pt x="149" y="443"/>
                  </a:lnTo>
                  <a:lnTo>
                    <a:pt x="149" y="444"/>
                  </a:lnTo>
                  <a:lnTo>
                    <a:pt x="149" y="445"/>
                  </a:lnTo>
                  <a:lnTo>
                    <a:pt x="149" y="446"/>
                  </a:lnTo>
                  <a:lnTo>
                    <a:pt x="151" y="446"/>
                  </a:lnTo>
                  <a:lnTo>
                    <a:pt x="156" y="447"/>
                  </a:lnTo>
                  <a:lnTo>
                    <a:pt x="157" y="451"/>
                  </a:lnTo>
                  <a:lnTo>
                    <a:pt x="161" y="456"/>
                  </a:lnTo>
                  <a:lnTo>
                    <a:pt x="167" y="463"/>
                  </a:lnTo>
                  <a:lnTo>
                    <a:pt x="174" y="470"/>
                  </a:lnTo>
                  <a:lnTo>
                    <a:pt x="180" y="476"/>
                  </a:lnTo>
                  <a:lnTo>
                    <a:pt x="187" y="482"/>
                  </a:lnTo>
                  <a:lnTo>
                    <a:pt x="193" y="486"/>
                  </a:lnTo>
                  <a:lnTo>
                    <a:pt x="196" y="487"/>
                  </a:lnTo>
                  <a:lnTo>
                    <a:pt x="196" y="501"/>
                  </a:lnTo>
                  <a:lnTo>
                    <a:pt x="201" y="502"/>
                  </a:lnTo>
                  <a:lnTo>
                    <a:pt x="202" y="502"/>
                  </a:lnTo>
                  <a:lnTo>
                    <a:pt x="203" y="503"/>
                  </a:lnTo>
                  <a:lnTo>
                    <a:pt x="203" y="504"/>
                  </a:lnTo>
                  <a:lnTo>
                    <a:pt x="203" y="505"/>
                  </a:lnTo>
                  <a:lnTo>
                    <a:pt x="204" y="506"/>
                  </a:lnTo>
                  <a:lnTo>
                    <a:pt x="206" y="507"/>
                  </a:lnTo>
                  <a:lnTo>
                    <a:pt x="209" y="507"/>
                  </a:lnTo>
                  <a:lnTo>
                    <a:pt x="209" y="514"/>
                  </a:lnTo>
                  <a:lnTo>
                    <a:pt x="212" y="521"/>
                  </a:lnTo>
                  <a:lnTo>
                    <a:pt x="213" y="523"/>
                  </a:lnTo>
                  <a:lnTo>
                    <a:pt x="215" y="526"/>
                  </a:lnTo>
                  <a:lnTo>
                    <a:pt x="218" y="528"/>
                  </a:lnTo>
                  <a:lnTo>
                    <a:pt x="223" y="529"/>
                  </a:lnTo>
                  <a:lnTo>
                    <a:pt x="225" y="535"/>
                  </a:lnTo>
                  <a:lnTo>
                    <a:pt x="231" y="544"/>
                  </a:lnTo>
                  <a:lnTo>
                    <a:pt x="234" y="549"/>
                  </a:lnTo>
                  <a:lnTo>
                    <a:pt x="237" y="552"/>
                  </a:lnTo>
                  <a:lnTo>
                    <a:pt x="241" y="554"/>
                  </a:lnTo>
                  <a:lnTo>
                    <a:pt x="244" y="555"/>
                  </a:lnTo>
                  <a:lnTo>
                    <a:pt x="244" y="569"/>
                  </a:lnTo>
                  <a:lnTo>
                    <a:pt x="247" y="570"/>
                  </a:lnTo>
                  <a:lnTo>
                    <a:pt x="250" y="571"/>
                  </a:lnTo>
                  <a:lnTo>
                    <a:pt x="251" y="573"/>
                  </a:lnTo>
                  <a:lnTo>
                    <a:pt x="251" y="576"/>
                  </a:lnTo>
                  <a:lnTo>
                    <a:pt x="251" y="578"/>
                  </a:lnTo>
                  <a:lnTo>
                    <a:pt x="251" y="580"/>
                  </a:lnTo>
                  <a:lnTo>
                    <a:pt x="253" y="582"/>
                  </a:lnTo>
                  <a:lnTo>
                    <a:pt x="257" y="582"/>
                  </a:lnTo>
                  <a:lnTo>
                    <a:pt x="257" y="588"/>
                  </a:lnTo>
                  <a:lnTo>
                    <a:pt x="259" y="595"/>
                  </a:lnTo>
                  <a:lnTo>
                    <a:pt x="260" y="601"/>
                  </a:lnTo>
                  <a:lnTo>
                    <a:pt x="262" y="608"/>
                  </a:lnTo>
                  <a:lnTo>
                    <a:pt x="265" y="614"/>
                  </a:lnTo>
                  <a:lnTo>
                    <a:pt x="269" y="619"/>
                  </a:lnTo>
                  <a:lnTo>
                    <a:pt x="273" y="621"/>
                  </a:lnTo>
                  <a:lnTo>
                    <a:pt x="278" y="624"/>
                  </a:lnTo>
                  <a:lnTo>
                    <a:pt x="284" y="630"/>
                  </a:lnTo>
                  <a:lnTo>
                    <a:pt x="288" y="637"/>
                  </a:lnTo>
                  <a:lnTo>
                    <a:pt x="294" y="646"/>
                  </a:lnTo>
                  <a:lnTo>
                    <a:pt x="301" y="654"/>
                  </a:lnTo>
                  <a:lnTo>
                    <a:pt x="304" y="657"/>
                  </a:lnTo>
                  <a:lnTo>
                    <a:pt x="304" y="670"/>
                  </a:lnTo>
                  <a:lnTo>
                    <a:pt x="318" y="670"/>
                  </a:lnTo>
                  <a:lnTo>
                    <a:pt x="319" y="673"/>
                  </a:lnTo>
                  <a:lnTo>
                    <a:pt x="319" y="675"/>
                  </a:lnTo>
                  <a:lnTo>
                    <a:pt x="321" y="676"/>
                  </a:lnTo>
                  <a:lnTo>
                    <a:pt x="322" y="676"/>
                  </a:lnTo>
                  <a:lnTo>
                    <a:pt x="327" y="677"/>
                  </a:lnTo>
                  <a:lnTo>
                    <a:pt x="332" y="677"/>
                  </a:lnTo>
                  <a:lnTo>
                    <a:pt x="333" y="679"/>
                  </a:lnTo>
                  <a:lnTo>
                    <a:pt x="339" y="682"/>
                  </a:lnTo>
                  <a:lnTo>
                    <a:pt x="347" y="683"/>
                  </a:lnTo>
                  <a:lnTo>
                    <a:pt x="357" y="683"/>
                  </a:lnTo>
                  <a:lnTo>
                    <a:pt x="375" y="684"/>
                  </a:lnTo>
                  <a:lnTo>
                    <a:pt x="386" y="684"/>
                  </a:lnTo>
                  <a:lnTo>
                    <a:pt x="396" y="670"/>
                  </a:lnTo>
                  <a:lnTo>
                    <a:pt x="406" y="657"/>
                  </a:lnTo>
                  <a:lnTo>
                    <a:pt x="409" y="654"/>
                  </a:lnTo>
                  <a:lnTo>
                    <a:pt x="416" y="646"/>
                  </a:lnTo>
                  <a:lnTo>
                    <a:pt x="424" y="637"/>
                  </a:lnTo>
                  <a:lnTo>
                    <a:pt x="427" y="630"/>
                  </a:lnTo>
                  <a:lnTo>
                    <a:pt x="430" y="629"/>
                  </a:lnTo>
                  <a:lnTo>
                    <a:pt x="433" y="629"/>
                  </a:lnTo>
                  <a:lnTo>
                    <a:pt x="434" y="628"/>
                  </a:lnTo>
                  <a:lnTo>
                    <a:pt x="434" y="627"/>
                  </a:lnTo>
                  <a:lnTo>
                    <a:pt x="434" y="625"/>
                  </a:lnTo>
                  <a:lnTo>
                    <a:pt x="434" y="625"/>
                  </a:lnTo>
                  <a:lnTo>
                    <a:pt x="436" y="624"/>
                  </a:lnTo>
                  <a:lnTo>
                    <a:pt x="441" y="624"/>
                  </a:lnTo>
                  <a:lnTo>
                    <a:pt x="443" y="608"/>
                  </a:lnTo>
                  <a:lnTo>
                    <a:pt x="448" y="588"/>
                  </a:lnTo>
                  <a:lnTo>
                    <a:pt x="451" y="578"/>
                  </a:lnTo>
                  <a:lnTo>
                    <a:pt x="455" y="570"/>
                  </a:lnTo>
                  <a:lnTo>
                    <a:pt x="457" y="564"/>
                  </a:lnTo>
                  <a:lnTo>
                    <a:pt x="461" y="562"/>
                  </a:lnTo>
                  <a:lnTo>
                    <a:pt x="461" y="549"/>
                  </a:lnTo>
                  <a:lnTo>
                    <a:pt x="467" y="542"/>
                  </a:lnTo>
                  <a:lnTo>
                    <a:pt x="474" y="535"/>
                  </a:lnTo>
                  <a:lnTo>
                    <a:pt x="487" y="535"/>
                  </a:lnTo>
                  <a:lnTo>
                    <a:pt x="489" y="531"/>
                  </a:lnTo>
                  <a:lnTo>
                    <a:pt x="492" y="524"/>
                  </a:lnTo>
                  <a:lnTo>
                    <a:pt x="496" y="518"/>
                  </a:lnTo>
                  <a:lnTo>
                    <a:pt x="502" y="509"/>
                  </a:lnTo>
                  <a:lnTo>
                    <a:pt x="507" y="501"/>
                  </a:lnTo>
                  <a:lnTo>
                    <a:pt x="513" y="494"/>
                  </a:lnTo>
                  <a:lnTo>
                    <a:pt x="519" y="490"/>
                  </a:lnTo>
                  <a:lnTo>
                    <a:pt x="522" y="487"/>
                  </a:lnTo>
                  <a:lnTo>
                    <a:pt x="522" y="474"/>
                  </a:lnTo>
                  <a:lnTo>
                    <a:pt x="522" y="461"/>
                  </a:lnTo>
                  <a:lnTo>
                    <a:pt x="524" y="461"/>
                  </a:lnTo>
                  <a:lnTo>
                    <a:pt x="525" y="459"/>
                  </a:lnTo>
                  <a:lnTo>
                    <a:pt x="526" y="458"/>
                  </a:lnTo>
                  <a:lnTo>
                    <a:pt x="528" y="456"/>
                  </a:lnTo>
                  <a:lnTo>
                    <a:pt x="529" y="452"/>
                  </a:lnTo>
                  <a:lnTo>
                    <a:pt x="529" y="447"/>
                  </a:lnTo>
                  <a:lnTo>
                    <a:pt x="535" y="441"/>
                  </a:lnTo>
                  <a:lnTo>
                    <a:pt x="549" y="441"/>
                  </a:lnTo>
                  <a:lnTo>
                    <a:pt x="549" y="438"/>
                  </a:lnTo>
                  <a:lnTo>
                    <a:pt x="550" y="436"/>
                  </a:lnTo>
                  <a:lnTo>
                    <a:pt x="551" y="435"/>
                  </a:lnTo>
                  <a:lnTo>
                    <a:pt x="553" y="434"/>
                  </a:lnTo>
                  <a:lnTo>
                    <a:pt x="558" y="434"/>
                  </a:lnTo>
                  <a:lnTo>
                    <a:pt x="562" y="434"/>
                  </a:lnTo>
                  <a:lnTo>
                    <a:pt x="569" y="426"/>
                  </a:lnTo>
                  <a:lnTo>
                    <a:pt x="569" y="423"/>
                  </a:lnTo>
                  <a:lnTo>
                    <a:pt x="570" y="420"/>
                  </a:lnTo>
                  <a:lnTo>
                    <a:pt x="571" y="419"/>
                  </a:lnTo>
                  <a:lnTo>
                    <a:pt x="572" y="419"/>
                  </a:lnTo>
                  <a:lnTo>
                    <a:pt x="573" y="419"/>
                  </a:lnTo>
                  <a:lnTo>
                    <a:pt x="574" y="419"/>
                  </a:lnTo>
                  <a:lnTo>
                    <a:pt x="576" y="417"/>
                  </a:lnTo>
                  <a:lnTo>
                    <a:pt x="576" y="413"/>
                  </a:lnTo>
                  <a:lnTo>
                    <a:pt x="589" y="406"/>
                  </a:lnTo>
                  <a:lnTo>
                    <a:pt x="602" y="399"/>
                  </a:lnTo>
                  <a:lnTo>
                    <a:pt x="603" y="396"/>
                  </a:lnTo>
                  <a:lnTo>
                    <a:pt x="603" y="394"/>
                  </a:lnTo>
                  <a:lnTo>
                    <a:pt x="605" y="393"/>
                  </a:lnTo>
                  <a:lnTo>
                    <a:pt x="606" y="393"/>
                  </a:lnTo>
                  <a:lnTo>
                    <a:pt x="608" y="393"/>
                  </a:lnTo>
                  <a:lnTo>
                    <a:pt x="609" y="391"/>
                  </a:lnTo>
                  <a:lnTo>
                    <a:pt x="609" y="390"/>
                  </a:lnTo>
                  <a:lnTo>
                    <a:pt x="610" y="386"/>
                  </a:lnTo>
                  <a:lnTo>
                    <a:pt x="620" y="382"/>
                  </a:lnTo>
                  <a:lnTo>
                    <a:pt x="630" y="379"/>
                  </a:lnTo>
                  <a:lnTo>
                    <a:pt x="633" y="368"/>
                  </a:lnTo>
                  <a:lnTo>
                    <a:pt x="637" y="356"/>
                  </a:lnTo>
                  <a:lnTo>
                    <a:pt x="641" y="343"/>
                  </a:lnTo>
                  <a:lnTo>
                    <a:pt x="644" y="331"/>
                  </a:lnTo>
                  <a:lnTo>
                    <a:pt x="636" y="329"/>
                  </a:lnTo>
                  <a:lnTo>
                    <a:pt x="627" y="324"/>
                  </a:lnTo>
                  <a:lnTo>
                    <a:pt x="624" y="321"/>
                  </a:lnTo>
                  <a:lnTo>
                    <a:pt x="620" y="318"/>
                  </a:lnTo>
                  <a:lnTo>
                    <a:pt x="617" y="314"/>
                  </a:lnTo>
                  <a:lnTo>
                    <a:pt x="617" y="311"/>
                  </a:lnTo>
                  <a:lnTo>
                    <a:pt x="609" y="310"/>
                  </a:lnTo>
                  <a:lnTo>
                    <a:pt x="600" y="308"/>
                  </a:lnTo>
                  <a:lnTo>
                    <a:pt x="589" y="304"/>
                  </a:lnTo>
                  <a:lnTo>
                    <a:pt x="578" y="300"/>
                  </a:lnTo>
                  <a:lnTo>
                    <a:pt x="567" y="295"/>
                  </a:lnTo>
                  <a:lnTo>
                    <a:pt x="558" y="291"/>
                  </a:lnTo>
                  <a:lnTo>
                    <a:pt x="551" y="288"/>
                  </a:lnTo>
                  <a:lnTo>
                    <a:pt x="549" y="284"/>
                  </a:lnTo>
                  <a:lnTo>
                    <a:pt x="535" y="284"/>
                  </a:lnTo>
                  <a:lnTo>
                    <a:pt x="522" y="278"/>
                  </a:lnTo>
                  <a:lnTo>
                    <a:pt x="521" y="274"/>
                  </a:lnTo>
                  <a:lnTo>
                    <a:pt x="519" y="272"/>
                  </a:lnTo>
                  <a:lnTo>
                    <a:pt x="514" y="268"/>
                  </a:lnTo>
                  <a:lnTo>
                    <a:pt x="511" y="265"/>
                  </a:lnTo>
                  <a:lnTo>
                    <a:pt x="502" y="260"/>
                  </a:lnTo>
                  <a:lnTo>
                    <a:pt x="494" y="257"/>
                  </a:lnTo>
                  <a:lnTo>
                    <a:pt x="493" y="245"/>
                  </a:lnTo>
                  <a:lnTo>
                    <a:pt x="491" y="230"/>
                  </a:lnTo>
                  <a:lnTo>
                    <a:pt x="489" y="213"/>
                  </a:lnTo>
                  <a:lnTo>
                    <a:pt x="487" y="196"/>
                  </a:lnTo>
                  <a:lnTo>
                    <a:pt x="486" y="182"/>
                  </a:lnTo>
                  <a:lnTo>
                    <a:pt x="483" y="164"/>
                  </a:lnTo>
                  <a:lnTo>
                    <a:pt x="480" y="156"/>
                  </a:lnTo>
                  <a:lnTo>
                    <a:pt x="476" y="148"/>
                  </a:lnTo>
                  <a:lnTo>
                    <a:pt x="474" y="146"/>
                  </a:lnTo>
                  <a:lnTo>
                    <a:pt x="472" y="144"/>
                  </a:lnTo>
                  <a:lnTo>
                    <a:pt x="470" y="143"/>
                  </a:lnTo>
                  <a:lnTo>
                    <a:pt x="467" y="141"/>
                  </a:lnTo>
                  <a:lnTo>
                    <a:pt x="467" y="128"/>
                  </a:lnTo>
                  <a:lnTo>
                    <a:pt x="461" y="121"/>
                  </a:lnTo>
                  <a:lnTo>
                    <a:pt x="451" y="121"/>
                  </a:lnTo>
                  <a:lnTo>
                    <a:pt x="441" y="121"/>
                  </a:lnTo>
                  <a:lnTo>
                    <a:pt x="439" y="119"/>
                  </a:lnTo>
                  <a:lnTo>
                    <a:pt x="437" y="118"/>
                  </a:lnTo>
                  <a:lnTo>
                    <a:pt x="434" y="117"/>
                  </a:lnTo>
                  <a:lnTo>
                    <a:pt x="429" y="116"/>
                  </a:lnTo>
                  <a:lnTo>
                    <a:pt x="420" y="115"/>
                  </a:lnTo>
                  <a:lnTo>
                    <a:pt x="413" y="115"/>
                  </a:lnTo>
                  <a:lnTo>
                    <a:pt x="409" y="111"/>
                  </a:lnTo>
                  <a:lnTo>
                    <a:pt x="399" y="105"/>
                  </a:lnTo>
                  <a:lnTo>
                    <a:pt x="387" y="98"/>
                  </a:lnTo>
                  <a:lnTo>
                    <a:pt x="379" y="95"/>
                  </a:lnTo>
                  <a:lnTo>
                    <a:pt x="372" y="88"/>
                  </a:lnTo>
                  <a:lnTo>
                    <a:pt x="372" y="74"/>
                  </a:lnTo>
                  <a:lnTo>
                    <a:pt x="370" y="73"/>
                  </a:lnTo>
                  <a:lnTo>
                    <a:pt x="368" y="73"/>
                  </a:lnTo>
                  <a:lnTo>
                    <a:pt x="366" y="71"/>
                  </a:lnTo>
                  <a:lnTo>
                    <a:pt x="365" y="70"/>
                  </a:lnTo>
                  <a:lnTo>
                    <a:pt x="362" y="64"/>
                  </a:lnTo>
                  <a:lnTo>
                    <a:pt x="360" y="59"/>
                  </a:lnTo>
                  <a:lnTo>
                    <a:pt x="359" y="45"/>
                  </a:lnTo>
                  <a:lnTo>
                    <a:pt x="359" y="33"/>
                  </a:lnTo>
                  <a:lnTo>
                    <a:pt x="355" y="33"/>
                  </a:lnTo>
                  <a:lnTo>
                    <a:pt x="353" y="32"/>
                  </a:lnTo>
                  <a:lnTo>
                    <a:pt x="352" y="31"/>
                  </a:lnTo>
                  <a:lnTo>
                    <a:pt x="352" y="30"/>
                  </a:lnTo>
                  <a:lnTo>
                    <a:pt x="352" y="29"/>
                  </a:lnTo>
                  <a:lnTo>
                    <a:pt x="351" y="28"/>
                  </a:lnTo>
                  <a:lnTo>
                    <a:pt x="349" y="28"/>
                  </a:lnTo>
                  <a:lnTo>
                    <a:pt x="346" y="26"/>
                  </a:lnTo>
                  <a:lnTo>
                    <a:pt x="346" y="13"/>
                  </a:lnTo>
                  <a:lnTo>
                    <a:pt x="334" y="13"/>
                  </a:lnTo>
                  <a:lnTo>
                    <a:pt x="321" y="13"/>
                  </a:lnTo>
                  <a:lnTo>
                    <a:pt x="309" y="13"/>
                  </a:lnTo>
                  <a:lnTo>
                    <a:pt x="298" y="13"/>
                  </a:lnTo>
                  <a:lnTo>
                    <a:pt x="298" y="18"/>
                  </a:lnTo>
                  <a:lnTo>
                    <a:pt x="297" y="19"/>
                  </a:lnTo>
                  <a:lnTo>
                    <a:pt x="295" y="20"/>
                  </a:lnTo>
                  <a:lnTo>
                    <a:pt x="294" y="20"/>
                  </a:lnTo>
                  <a:lnTo>
                    <a:pt x="293" y="20"/>
                  </a:lnTo>
                  <a:lnTo>
                    <a:pt x="292" y="21"/>
                  </a:lnTo>
                  <a:lnTo>
                    <a:pt x="291" y="23"/>
                  </a:lnTo>
                  <a:lnTo>
                    <a:pt x="291" y="26"/>
                  </a:lnTo>
                  <a:lnTo>
                    <a:pt x="279" y="26"/>
                  </a:lnTo>
                  <a:lnTo>
                    <a:pt x="264" y="26"/>
                  </a:lnTo>
                  <a:lnTo>
                    <a:pt x="250" y="26"/>
                  </a:lnTo>
                  <a:lnTo>
                    <a:pt x="237" y="26"/>
                  </a:lnTo>
                  <a:lnTo>
                    <a:pt x="236" y="23"/>
                  </a:lnTo>
                  <a:lnTo>
                    <a:pt x="236" y="21"/>
                  </a:lnTo>
                  <a:lnTo>
                    <a:pt x="235" y="20"/>
                  </a:lnTo>
                  <a:lnTo>
                    <a:pt x="234" y="20"/>
                  </a:lnTo>
                  <a:lnTo>
                    <a:pt x="232" y="20"/>
                  </a:lnTo>
                  <a:lnTo>
                    <a:pt x="231" y="19"/>
                  </a:lnTo>
                  <a:lnTo>
                    <a:pt x="231" y="18"/>
                  </a:lnTo>
                  <a:lnTo>
                    <a:pt x="231" y="13"/>
                  </a:lnTo>
                  <a:lnTo>
                    <a:pt x="224" y="12"/>
                  </a:lnTo>
                  <a:lnTo>
                    <a:pt x="217" y="9"/>
                  </a:lnTo>
                  <a:lnTo>
                    <a:pt x="214" y="7"/>
                  </a:lnTo>
                  <a:lnTo>
                    <a:pt x="212" y="4"/>
                  </a:lnTo>
                  <a:lnTo>
                    <a:pt x="211" y="2"/>
                  </a:lnTo>
                  <a:lnTo>
                    <a:pt x="209" y="0"/>
                  </a:lnTo>
                  <a:lnTo>
                    <a:pt x="203" y="0"/>
                  </a:lnTo>
                  <a:lnTo>
                    <a:pt x="192" y="0"/>
                  </a:lnTo>
                  <a:lnTo>
                    <a:pt x="177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4" name="Freeform 30"/>
            <p:cNvSpPr>
              <a:spLocks noChangeAspect="1"/>
            </p:cNvSpPr>
            <p:nvPr/>
          </p:nvSpPr>
          <p:spPr bwMode="gray">
            <a:xfrm rot="355651">
              <a:off x="5522227" y="3327400"/>
              <a:ext cx="68769" cy="108590"/>
            </a:xfrm>
            <a:custGeom>
              <a:avLst/>
              <a:gdLst/>
              <a:ahLst/>
              <a:cxnLst>
                <a:cxn ang="0">
                  <a:pos x="173" y="9"/>
                </a:cxn>
                <a:cxn ang="0">
                  <a:pos x="162" y="36"/>
                </a:cxn>
                <a:cxn ang="0">
                  <a:pos x="160" y="45"/>
                </a:cxn>
                <a:cxn ang="0">
                  <a:pos x="157" y="51"/>
                </a:cxn>
                <a:cxn ang="0">
                  <a:pos x="148" y="73"/>
                </a:cxn>
                <a:cxn ang="0">
                  <a:pos x="128" y="107"/>
                </a:cxn>
                <a:cxn ang="0">
                  <a:pos x="119" y="114"/>
                </a:cxn>
                <a:cxn ang="0">
                  <a:pos x="95" y="134"/>
                </a:cxn>
                <a:cxn ang="0">
                  <a:pos x="80" y="145"/>
                </a:cxn>
                <a:cxn ang="0">
                  <a:pos x="62" y="161"/>
                </a:cxn>
                <a:cxn ang="0">
                  <a:pos x="54" y="177"/>
                </a:cxn>
                <a:cxn ang="0">
                  <a:pos x="48" y="208"/>
                </a:cxn>
                <a:cxn ang="0">
                  <a:pos x="45" y="215"/>
                </a:cxn>
                <a:cxn ang="0">
                  <a:pos x="43" y="244"/>
                </a:cxn>
                <a:cxn ang="0">
                  <a:pos x="35" y="261"/>
                </a:cxn>
                <a:cxn ang="0">
                  <a:pos x="28" y="291"/>
                </a:cxn>
                <a:cxn ang="0">
                  <a:pos x="23" y="320"/>
                </a:cxn>
                <a:cxn ang="0">
                  <a:pos x="14" y="345"/>
                </a:cxn>
                <a:cxn ang="0">
                  <a:pos x="5" y="373"/>
                </a:cxn>
                <a:cxn ang="0">
                  <a:pos x="1" y="403"/>
                </a:cxn>
                <a:cxn ang="0">
                  <a:pos x="0" y="471"/>
                </a:cxn>
                <a:cxn ang="0">
                  <a:pos x="6" y="515"/>
                </a:cxn>
                <a:cxn ang="0">
                  <a:pos x="16" y="545"/>
                </a:cxn>
                <a:cxn ang="0">
                  <a:pos x="23" y="563"/>
                </a:cxn>
                <a:cxn ang="0">
                  <a:pos x="36" y="578"/>
                </a:cxn>
                <a:cxn ang="0">
                  <a:pos x="46" y="590"/>
                </a:cxn>
                <a:cxn ang="0">
                  <a:pos x="62" y="603"/>
                </a:cxn>
                <a:cxn ang="0">
                  <a:pos x="88" y="606"/>
                </a:cxn>
                <a:cxn ang="0">
                  <a:pos x="145" y="637"/>
                </a:cxn>
                <a:cxn ang="0">
                  <a:pos x="155" y="651"/>
                </a:cxn>
                <a:cxn ang="0">
                  <a:pos x="188" y="665"/>
                </a:cxn>
                <a:cxn ang="0">
                  <a:pos x="219" y="666"/>
                </a:cxn>
                <a:cxn ang="0">
                  <a:pos x="253" y="657"/>
                </a:cxn>
                <a:cxn ang="0">
                  <a:pos x="276" y="631"/>
                </a:cxn>
                <a:cxn ang="0">
                  <a:pos x="284" y="587"/>
                </a:cxn>
                <a:cxn ang="0">
                  <a:pos x="288" y="557"/>
                </a:cxn>
                <a:cxn ang="0">
                  <a:pos x="293" y="540"/>
                </a:cxn>
                <a:cxn ang="0">
                  <a:pos x="327" y="494"/>
                </a:cxn>
                <a:cxn ang="0">
                  <a:pos x="349" y="453"/>
                </a:cxn>
                <a:cxn ang="0">
                  <a:pos x="360" y="431"/>
                </a:cxn>
                <a:cxn ang="0">
                  <a:pos x="370" y="394"/>
                </a:cxn>
                <a:cxn ang="0">
                  <a:pos x="368" y="356"/>
                </a:cxn>
                <a:cxn ang="0">
                  <a:pos x="351" y="328"/>
                </a:cxn>
                <a:cxn ang="0">
                  <a:pos x="342" y="311"/>
                </a:cxn>
                <a:cxn ang="0">
                  <a:pos x="335" y="285"/>
                </a:cxn>
                <a:cxn ang="0">
                  <a:pos x="330" y="167"/>
                </a:cxn>
                <a:cxn ang="0">
                  <a:pos x="323" y="154"/>
                </a:cxn>
                <a:cxn ang="0">
                  <a:pos x="305" y="135"/>
                </a:cxn>
                <a:cxn ang="0">
                  <a:pos x="284" y="115"/>
                </a:cxn>
                <a:cxn ang="0">
                  <a:pos x="268" y="98"/>
                </a:cxn>
                <a:cxn ang="0">
                  <a:pos x="253" y="88"/>
                </a:cxn>
                <a:cxn ang="0">
                  <a:pos x="244" y="79"/>
                </a:cxn>
                <a:cxn ang="0">
                  <a:pos x="236" y="58"/>
                </a:cxn>
                <a:cxn ang="0">
                  <a:pos x="230" y="31"/>
                </a:cxn>
                <a:cxn ang="0">
                  <a:pos x="227" y="26"/>
                </a:cxn>
                <a:cxn ang="0">
                  <a:pos x="217" y="9"/>
                </a:cxn>
                <a:cxn ang="0">
                  <a:pos x="190" y="0"/>
                </a:cxn>
              </a:cxnLst>
              <a:rect l="0" t="0" r="r" b="b"/>
              <a:pathLst>
                <a:path w="372" h="669">
                  <a:moveTo>
                    <a:pt x="190" y="0"/>
                  </a:moveTo>
                  <a:lnTo>
                    <a:pt x="186" y="1"/>
                  </a:lnTo>
                  <a:lnTo>
                    <a:pt x="179" y="4"/>
                  </a:lnTo>
                  <a:lnTo>
                    <a:pt x="173" y="9"/>
                  </a:lnTo>
                  <a:lnTo>
                    <a:pt x="169" y="13"/>
                  </a:lnTo>
                  <a:lnTo>
                    <a:pt x="167" y="22"/>
                  </a:lnTo>
                  <a:lnTo>
                    <a:pt x="164" y="36"/>
                  </a:lnTo>
                  <a:lnTo>
                    <a:pt x="162" y="36"/>
                  </a:lnTo>
                  <a:lnTo>
                    <a:pt x="161" y="37"/>
                  </a:lnTo>
                  <a:lnTo>
                    <a:pt x="161" y="38"/>
                  </a:lnTo>
                  <a:lnTo>
                    <a:pt x="160" y="40"/>
                  </a:lnTo>
                  <a:lnTo>
                    <a:pt x="160" y="45"/>
                  </a:lnTo>
                  <a:lnTo>
                    <a:pt x="160" y="48"/>
                  </a:lnTo>
                  <a:lnTo>
                    <a:pt x="158" y="49"/>
                  </a:lnTo>
                  <a:lnTo>
                    <a:pt x="157" y="50"/>
                  </a:lnTo>
                  <a:lnTo>
                    <a:pt x="157" y="51"/>
                  </a:lnTo>
                  <a:lnTo>
                    <a:pt x="155" y="54"/>
                  </a:lnTo>
                  <a:lnTo>
                    <a:pt x="155" y="58"/>
                  </a:lnTo>
                  <a:lnTo>
                    <a:pt x="155" y="61"/>
                  </a:lnTo>
                  <a:lnTo>
                    <a:pt x="148" y="73"/>
                  </a:lnTo>
                  <a:lnTo>
                    <a:pt x="139" y="89"/>
                  </a:lnTo>
                  <a:lnTo>
                    <a:pt x="134" y="97"/>
                  </a:lnTo>
                  <a:lnTo>
                    <a:pt x="130" y="104"/>
                  </a:lnTo>
                  <a:lnTo>
                    <a:pt x="128" y="107"/>
                  </a:lnTo>
                  <a:lnTo>
                    <a:pt x="124" y="108"/>
                  </a:lnTo>
                  <a:lnTo>
                    <a:pt x="122" y="111"/>
                  </a:lnTo>
                  <a:lnTo>
                    <a:pt x="120" y="111"/>
                  </a:lnTo>
                  <a:lnTo>
                    <a:pt x="119" y="114"/>
                  </a:lnTo>
                  <a:lnTo>
                    <a:pt x="115" y="118"/>
                  </a:lnTo>
                  <a:lnTo>
                    <a:pt x="111" y="123"/>
                  </a:lnTo>
                  <a:lnTo>
                    <a:pt x="105" y="127"/>
                  </a:lnTo>
                  <a:lnTo>
                    <a:pt x="95" y="134"/>
                  </a:lnTo>
                  <a:lnTo>
                    <a:pt x="88" y="137"/>
                  </a:lnTo>
                  <a:lnTo>
                    <a:pt x="87" y="141"/>
                  </a:lnTo>
                  <a:lnTo>
                    <a:pt x="84" y="143"/>
                  </a:lnTo>
                  <a:lnTo>
                    <a:pt x="80" y="145"/>
                  </a:lnTo>
                  <a:lnTo>
                    <a:pt x="75" y="146"/>
                  </a:lnTo>
                  <a:lnTo>
                    <a:pt x="72" y="152"/>
                  </a:lnTo>
                  <a:lnTo>
                    <a:pt x="66" y="156"/>
                  </a:lnTo>
                  <a:lnTo>
                    <a:pt x="62" y="161"/>
                  </a:lnTo>
                  <a:lnTo>
                    <a:pt x="57" y="164"/>
                  </a:lnTo>
                  <a:lnTo>
                    <a:pt x="57" y="172"/>
                  </a:lnTo>
                  <a:lnTo>
                    <a:pt x="56" y="174"/>
                  </a:lnTo>
                  <a:lnTo>
                    <a:pt x="54" y="177"/>
                  </a:lnTo>
                  <a:lnTo>
                    <a:pt x="53" y="183"/>
                  </a:lnTo>
                  <a:lnTo>
                    <a:pt x="52" y="189"/>
                  </a:lnTo>
                  <a:lnTo>
                    <a:pt x="49" y="201"/>
                  </a:lnTo>
                  <a:lnTo>
                    <a:pt x="48" y="208"/>
                  </a:lnTo>
                  <a:lnTo>
                    <a:pt x="47" y="209"/>
                  </a:lnTo>
                  <a:lnTo>
                    <a:pt x="46" y="210"/>
                  </a:lnTo>
                  <a:lnTo>
                    <a:pt x="45" y="212"/>
                  </a:lnTo>
                  <a:lnTo>
                    <a:pt x="45" y="215"/>
                  </a:lnTo>
                  <a:lnTo>
                    <a:pt x="44" y="221"/>
                  </a:lnTo>
                  <a:lnTo>
                    <a:pt x="44" y="225"/>
                  </a:lnTo>
                  <a:lnTo>
                    <a:pt x="44" y="236"/>
                  </a:lnTo>
                  <a:lnTo>
                    <a:pt x="43" y="244"/>
                  </a:lnTo>
                  <a:lnTo>
                    <a:pt x="42" y="249"/>
                  </a:lnTo>
                  <a:lnTo>
                    <a:pt x="40" y="253"/>
                  </a:lnTo>
                  <a:lnTo>
                    <a:pt x="38" y="258"/>
                  </a:lnTo>
                  <a:lnTo>
                    <a:pt x="35" y="261"/>
                  </a:lnTo>
                  <a:lnTo>
                    <a:pt x="35" y="279"/>
                  </a:lnTo>
                  <a:lnTo>
                    <a:pt x="33" y="282"/>
                  </a:lnTo>
                  <a:lnTo>
                    <a:pt x="30" y="287"/>
                  </a:lnTo>
                  <a:lnTo>
                    <a:pt x="28" y="291"/>
                  </a:lnTo>
                  <a:lnTo>
                    <a:pt x="28" y="297"/>
                  </a:lnTo>
                  <a:lnTo>
                    <a:pt x="27" y="308"/>
                  </a:lnTo>
                  <a:lnTo>
                    <a:pt x="27" y="318"/>
                  </a:lnTo>
                  <a:lnTo>
                    <a:pt x="23" y="320"/>
                  </a:lnTo>
                  <a:lnTo>
                    <a:pt x="18" y="323"/>
                  </a:lnTo>
                  <a:lnTo>
                    <a:pt x="17" y="330"/>
                  </a:lnTo>
                  <a:lnTo>
                    <a:pt x="16" y="338"/>
                  </a:lnTo>
                  <a:lnTo>
                    <a:pt x="14" y="345"/>
                  </a:lnTo>
                  <a:lnTo>
                    <a:pt x="11" y="352"/>
                  </a:lnTo>
                  <a:lnTo>
                    <a:pt x="8" y="358"/>
                  </a:lnTo>
                  <a:lnTo>
                    <a:pt x="7" y="365"/>
                  </a:lnTo>
                  <a:lnTo>
                    <a:pt x="5" y="373"/>
                  </a:lnTo>
                  <a:lnTo>
                    <a:pt x="5" y="381"/>
                  </a:lnTo>
                  <a:lnTo>
                    <a:pt x="2" y="384"/>
                  </a:lnTo>
                  <a:lnTo>
                    <a:pt x="1" y="392"/>
                  </a:lnTo>
                  <a:lnTo>
                    <a:pt x="1" y="403"/>
                  </a:lnTo>
                  <a:lnTo>
                    <a:pt x="0" y="417"/>
                  </a:lnTo>
                  <a:lnTo>
                    <a:pt x="0" y="444"/>
                  </a:lnTo>
                  <a:lnTo>
                    <a:pt x="0" y="460"/>
                  </a:lnTo>
                  <a:lnTo>
                    <a:pt x="0" y="471"/>
                  </a:lnTo>
                  <a:lnTo>
                    <a:pt x="2" y="482"/>
                  </a:lnTo>
                  <a:lnTo>
                    <a:pt x="4" y="493"/>
                  </a:lnTo>
                  <a:lnTo>
                    <a:pt x="5" y="504"/>
                  </a:lnTo>
                  <a:lnTo>
                    <a:pt x="6" y="515"/>
                  </a:lnTo>
                  <a:lnTo>
                    <a:pt x="9" y="525"/>
                  </a:lnTo>
                  <a:lnTo>
                    <a:pt x="11" y="535"/>
                  </a:lnTo>
                  <a:lnTo>
                    <a:pt x="14" y="545"/>
                  </a:lnTo>
                  <a:lnTo>
                    <a:pt x="16" y="545"/>
                  </a:lnTo>
                  <a:lnTo>
                    <a:pt x="17" y="547"/>
                  </a:lnTo>
                  <a:lnTo>
                    <a:pt x="18" y="550"/>
                  </a:lnTo>
                  <a:lnTo>
                    <a:pt x="18" y="554"/>
                  </a:lnTo>
                  <a:lnTo>
                    <a:pt x="23" y="563"/>
                  </a:lnTo>
                  <a:lnTo>
                    <a:pt x="27" y="565"/>
                  </a:lnTo>
                  <a:lnTo>
                    <a:pt x="31" y="567"/>
                  </a:lnTo>
                  <a:lnTo>
                    <a:pt x="35" y="575"/>
                  </a:lnTo>
                  <a:lnTo>
                    <a:pt x="36" y="578"/>
                  </a:lnTo>
                  <a:lnTo>
                    <a:pt x="38" y="581"/>
                  </a:lnTo>
                  <a:lnTo>
                    <a:pt x="40" y="584"/>
                  </a:lnTo>
                  <a:lnTo>
                    <a:pt x="44" y="584"/>
                  </a:lnTo>
                  <a:lnTo>
                    <a:pt x="46" y="590"/>
                  </a:lnTo>
                  <a:lnTo>
                    <a:pt x="48" y="597"/>
                  </a:lnTo>
                  <a:lnTo>
                    <a:pt x="57" y="597"/>
                  </a:lnTo>
                  <a:lnTo>
                    <a:pt x="58" y="600"/>
                  </a:lnTo>
                  <a:lnTo>
                    <a:pt x="62" y="603"/>
                  </a:lnTo>
                  <a:lnTo>
                    <a:pt x="65" y="604"/>
                  </a:lnTo>
                  <a:lnTo>
                    <a:pt x="69" y="605"/>
                  </a:lnTo>
                  <a:lnTo>
                    <a:pt x="80" y="606"/>
                  </a:lnTo>
                  <a:lnTo>
                    <a:pt x="88" y="606"/>
                  </a:lnTo>
                  <a:lnTo>
                    <a:pt x="103" y="615"/>
                  </a:lnTo>
                  <a:lnTo>
                    <a:pt x="125" y="625"/>
                  </a:lnTo>
                  <a:lnTo>
                    <a:pt x="136" y="632"/>
                  </a:lnTo>
                  <a:lnTo>
                    <a:pt x="145" y="637"/>
                  </a:lnTo>
                  <a:lnTo>
                    <a:pt x="150" y="641"/>
                  </a:lnTo>
                  <a:lnTo>
                    <a:pt x="152" y="644"/>
                  </a:lnTo>
                  <a:lnTo>
                    <a:pt x="154" y="647"/>
                  </a:lnTo>
                  <a:lnTo>
                    <a:pt x="155" y="651"/>
                  </a:lnTo>
                  <a:lnTo>
                    <a:pt x="163" y="653"/>
                  </a:lnTo>
                  <a:lnTo>
                    <a:pt x="176" y="660"/>
                  </a:lnTo>
                  <a:lnTo>
                    <a:pt x="182" y="663"/>
                  </a:lnTo>
                  <a:lnTo>
                    <a:pt x="188" y="665"/>
                  </a:lnTo>
                  <a:lnTo>
                    <a:pt x="193" y="667"/>
                  </a:lnTo>
                  <a:lnTo>
                    <a:pt x="199" y="669"/>
                  </a:lnTo>
                  <a:lnTo>
                    <a:pt x="209" y="667"/>
                  </a:lnTo>
                  <a:lnTo>
                    <a:pt x="219" y="666"/>
                  </a:lnTo>
                  <a:lnTo>
                    <a:pt x="227" y="664"/>
                  </a:lnTo>
                  <a:lnTo>
                    <a:pt x="235" y="664"/>
                  </a:lnTo>
                  <a:lnTo>
                    <a:pt x="242" y="662"/>
                  </a:lnTo>
                  <a:lnTo>
                    <a:pt x="253" y="657"/>
                  </a:lnTo>
                  <a:lnTo>
                    <a:pt x="263" y="653"/>
                  </a:lnTo>
                  <a:lnTo>
                    <a:pt x="270" y="651"/>
                  </a:lnTo>
                  <a:lnTo>
                    <a:pt x="275" y="642"/>
                  </a:lnTo>
                  <a:lnTo>
                    <a:pt x="276" y="631"/>
                  </a:lnTo>
                  <a:lnTo>
                    <a:pt x="279" y="619"/>
                  </a:lnTo>
                  <a:lnTo>
                    <a:pt x="282" y="608"/>
                  </a:lnTo>
                  <a:lnTo>
                    <a:pt x="284" y="597"/>
                  </a:lnTo>
                  <a:lnTo>
                    <a:pt x="284" y="587"/>
                  </a:lnTo>
                  <a:lnTo>
                    <a:pt x="285" y="573"/>
                  </a:lnTo>
                  <a:lnTo>
                    <a:pt x="286" y="565"/>
                  </a:lnTo>
                  <a:lnTo>
                    <a:pt x="287" y="559"/>
                  </a:lnTo>
                  <a:lnTo>
                    <a:pt x="288" y="557"/>
                  </a:lnTo>
                  <a:lnTo>
                    <a:pt x="289" y="555"/>
                  </a:lnTo>
                  <a:lnTo>
                    <a:pt x="290" y="554"/>
                  </a:lnTo>
                  <a:lnTo>
                    <a:pt x="293" y="554"/>
                  </a:lnTo>
                  <a:lnTo>
                    <a:pt x="293" y="540"/>
                  </a:lnTo>
                  <a:lnTo>
                    <a:pt x="299" y="531"/>
                  </a:lnTo>
                  <a:lnTo>
                    <a:pt x="308" y="521"/>
                  </a:lnTo>
                  <a:lnTo>
                    <a:pt x="318" y="508"/>
                  </a:lnTo>
                  <a:lnTo>
                    <a:pt x="327" y="494"/>
                  </a:lnTo>
                  <a:lnTo>
                    <a:pt x="336" y="480"/>
                  </a:lnTo>
                  <a:lnTo>
                    <a:pt x="343" y="467"/>
                  </a:lnTo>
                  <a:lnTo>
                    <a:pt x="346" y="460"/>
                  </a:lnTo>
                  <a:lnTo>
                    <a:pt x="349" y="453"/>
                  </a:lnTo>
                  <a:lnTo>
                    <a:pt x="350" y="448"/>
                  </a:lnTo>
                  <a:lnTo>
                    <a:pt x="350" y="442"/>
                  </a:lnTo>
                  <a:lnTo>
                    <a:pt x="359" y="439"/>
                  </a:lnTo>
                  <a:lnTo>
                    <a:pt x="360" y="431"/>
                  </a:lnTo>
                  <a:lnTo>
                    <a:pt x="361" y="424"/>
                  </a:lnTo>
                  <a:lnTo>
                    <a:pt x="363" y="416"/>
                  </a:lnTo>
                  <a:lnTo>
                    <a:pt x="365" y="410"/>
                  </a:lnTo>
                  <a:lnTo>
                    <a:pt x="370" y="394"/>
                  </a:lnTo>
                  <a:lnTo>
                    <a:pt x="372" y="381"/>
                  </a:lnTo>
                  <a:lnTo>
                    <a:pt x="371" y="373"/>
                  </a:lnTo>
                  <a:lnTo>
                    <a:pt x="370" y="364"/>
                  </a:lnTo>
                  <a:lnTo>
                    <a:pt x="368" y="356"/>
                  </a:lnTo>
                  <a:lnTo>
                    <a:pt x="364" y="348"/>
                  </a:lnTo>
                  <a:lnTo>
                    <a:pt x="360" y="342"/>
                  </a:lnTo>
                  <a:lnTo>
                    <a:pt x="355" y="335"/>
                  </a:lnTo>
                  <a:lnTo>
                    <a:pt x="351" y="328"/>
                  </a:lnTo>
                  <a:lnTo>
                    <a:pt x="345" y="323"/>
                  </a:lnTo>
                  <a:lnTo>
                    <a:pt x="345" y="314"/>
                  </a:lnTo>
                  <a:lnTo>
                    <a:pt x="344" y="314"/>
                  </a:lnTo>
                  <a:lnTo>
                    <a:pt x="342" y="311"/>
                  </a:lnTo>
                  <a:lnTo>
                    <a:pt x="341" y="309"/>
                  </a:lnTo>
                  <a:lnTo>
                    <a:pt x="340" y="305"/>
                  </a:lnTo>
                  <a:lnTo>
                    <a:pt x="337" y="296"/>
                  </a:lnTo>
                  <a:lnTo>
                    <a:pt x="335" y="285"/>
                  </a:lnTo>
                  <a:lnTo>
                    <a:pt x="333" y="262"/>
                  </a:lnTo>
                  <a:lnTo>
                    <a:pt x="332" y="248"/>
                  </a:lnTo>
                  <a:lnTo>
                    <a:pt x="332" y="169"/>
                  </a:lnTo>
                  <a:lnTo>
                    <a:pt x="330" y="167"/>
                  </a:lnTo>
                  <a:lnTo>
                    <a:pt x="328" y="165"/>
                  </a:lnTo>
                  <a:lnTo>
                    <a:pt x="327" y="163"/>
                  </a:lnTo>
                  <a:lnTo>
                    <a:pt x="327" y="160"/>
                  </a:lnTo>
                  <a:lnTo>
                    <a:pt x="323" y="154"/>
                  </a:lnTo>
                  <a:lnTo>
                    <a:pt x="317" y="148"/>
                  </a:lnTo>
                  <a:lnTo>
                    <a:pt x="312" y="142"/>
                  </a:lnTo>
                  <a:lnTo>
                    <a:pt x="309" y="137"/>
                  </a:lnTo>
                  <a:lnTo>
                    <a:pt x="305" y="135"/>
                  </a:lnTo>
                  <a:lnTo>
                    <a:pt x="299" y="129"/>
                  </a:lnTo>
                  <a:lnTo>
                    <a:pt x="294" y="124"/>
                  </a:lnTo>
                  <a:lnTo>
                    <a:pt x="293" y="119"/>
                  </a:lnTo>
                  <a:lnTo>
                    <a:pt x="284" y="115"/>
                  </a:lnTo>
                  <a:lnTo>
                    <a:pt x="279" y="111"/>
                  </a:lnTo>
                  <a:lnTo>
                    <a:pt x="279" y="102"/>
                  </a:lnTo>
                  <a:lnTo>
                    <a:pt x="270" y="102"/>
                  </a:lnTo>
                  <a:lnTo>
                    <a:pt x="268" y="98"/>
                  </a:lnTo>
                  <a:lnTo>
                    <a:pt x="265" y="96"/>
                  </a:lnTo>
                  <a:lnTo>
                    <a:pt x="260" y="94"/>
                  </a:lnTo>
                  <a:lnTo>
                    <a:pt x="257" y="93"/>
                  </a:lnTo>
                  <a:lnTo>
                    <a:pt x="253" y="88"/>
                  </a:lnTo>
                  <a:lnTo>
                    <a:pt x="251" y="85"/>
                  </a:lnTo>
                  <a:lnTo>
                    <a:pt x="249" y="83"/>
                  </a:lnTo>
                  <a:lnTo>
                    <a:pt x="247" y="80"/>
                  </a:lnTo>
                  <a:lnTo>
                    <a:pt x="244" y="79"/>
                  </a:lnTo>
                  <a:lnTo>
                    <a:pt x="241" y="70"/>
                  </a:lnTo>
                  <a:lnTo>
                    <a:pt x="239" y="61"/>
                  </a:lnTo>
                  <a:lnTo>
                    <a:pt x="237" y="60"/>
                  </a:lnTo>
                  <a:lnTo>
                    <a:pt x="236" y="58"/>
                  </a:lnTo>
                  <a:lnTo>
                    <a:pt x="235" y="55"/>
                  </a:lnTo>
                  <a:lnTo>
                    <a:pt x="234" y="49"/>
                  </a:lnTo>
                  <a:lnTo>
                    <a:pt x="231" y="39"/>
                  </a:lnTo>
                  <a:lnTo>
                    <a:pt x="230" y="31"/>
                  </a:lnTo>
                  <a:lnTo>
                    <a:pt x="229" y="30"/>
                  </a:lnTo>
                  <a:lnTo>
                    <a:pt x="228" y="29"/>
                  </a:lnTo>
                  <a:lnTo>
                    <a:pt x="227" y="28"/>
                  </a:lnTo>
                  <a:lnTo>
                    <a:pt x="227" y="26"/>
                  </a:lnTo>
                  <a:lnTo>
                    <a:pt x="226" y="21"/>
                  </a:lnTo>
                  <a:lnTo>
                    <a:pt x="226" y="18"/>
                  </a:lnTo>
                  <a:lnTo>
                    <a:pt x="221" y="13"/>
                  </a:lnTo>
                  <a:lnTo>
                    <a:pt x="217" y="9"/>
                  </a:lnTo>
                  <a:lnTo>
                    <a:pt x="213" y="9"/>
                  </a:lnTo>
                  <a:lnTo>
                    <a:pt x="209" y="8"/>
                  </a:lnTo>
                  <a:lnTo>
                    <a:pt x="201" y="4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5" name="Freeform 31"/>
            <p:cNvSpPr>
              <a:spLocks noChangeAspect="1"/>
            </p:cNvSpPr>
            <p:nvPr/>
          </p:nvSpPr>
          <p:spPr bwMode="gray">
            <a:xfrm rot="355651">
              <a:off x="5260052" y="2917825"/>
              <a:ext cx="201012" cy="212921"/>
            </a:xfrm>
            <a:custGeom>
              <a:avLst/>
              <a:gdLst/>
              <a:ahLst/>
              <a:cxnLst>
                <a:cxn ang="0">
                  <a:pos x="412" y="24"/>
                </a:cxn>
                <a:cxn ang="0">
                  <a:pos x="356" y="85"/>
                </a:cxn>
                <a:cxn ang="0">
                  <a:pos x="295" y="114"/>
                </a:cxn>
                <a:cxn ang="0">
                  <a:pos x="195" y="100"/>
                </a:cxn>
                <a:cxn ang="0">
                  <a:pos x="116" y="92"/>
                </a:cxn>
                <a:cxn ang="0">
                  <a:pos x="84" y="115"/>
                </a:cxn>
                <a:cxn ang="0">
                  <a:pos x="56" y="149"/>
                </a:cxn>
                <a:cxn ang="0">
                  <a:pos x="55" y="216"/>
                </a:cxn>
                <a:cxn ang="0">
                  <a:pos x="0" y="386"/>
                </a:cxn>
                <a:cxn ang="0">
                  <a:pos x="38" y="414"/>
                </a:cxn>
                <a:cxn ang="0">
                  <a:pos x="93" y="479"/>
                </a:cxn>
                <a:cxn ang="0">
                  <a:pos x="24" y="540"/>
                </a:cxn>
                <a:cxn ang="0">
                  <a:pos x="39" y="579"/>
                </a:cxn>
                <a:cxn ang="0">
                  <a:pos x="70" y="560"/>
                </a:cxn>
                <a:cxn ang="0">
                  <a:pos x="124" y="538"/>
                </a:cxn>
                <a:cxn ang="0">
                  <a:pos x="193" y="537"/>
                </a:cxn>
                <a:cxn ang="0">
                  <a:pos x="303" y="606"/>
                </a:cxn>
                <a:cxn ang="0">
                  <a:pos x="342" y="638"/>
                </a:cxn>
                <a:cxn ang="0">
                  <a:pos x="366" y="648"/>
                </a:cxn>
                <a:cxn ang="0">
                  <a:pos x="399" y="678"/>
                </a:cxn>
                <a:cxn ang="0">
                  <a:pos x="413" y="735"/>
                </a:cxn>
                <a:cxn ang="0">
                  <a:pos x="437" y="963"/>
                </a:cxn>
                <a:cxn ang="0">
                  <a:pos x="437" y="1028"/>
                </a:cxn>
                <a:cxn ang="0">
                  <a:pos x="390" y="1088"/>
                </a:cxn>
                <a:cxn ang="0">
                  <a:pos x="372" y="1100"/>
                </a:cxn>
                <a:cxn ang="0">
                  <a:pos x="349" y="1136"/>
                </a:cxn>
                <a:cxn ang="0">
                  <a:pos x="382" y="1178"/>
                </a:cxn>
                <a:cxn ang="0">
                  <a:pos x="419" y="1189"/>
                </a:cxn>
                <a:cxn ang="0">
                  <a:pos x="449" y="1136"/>
                </a:cxn>
                <a:cxn ang="0">
                  <a:pos x="470" y="1124"/>
                </a:cxn>
                <a:cxn ang="0">
                  <a:pos x="565" y="1158"/>
                </a:cxn>
                <a:cxn ang="0">
                  <a:pos x="581" y="1189"/>
                </a:cxn>
                <a:cxn ang="0">
                  <a:pos x="606" y="1229"/>
                </a:cxn>
                <a:cxn ang="0">
                  <a:pos x="642" y="1274"/>
                </a:cxn>
                <a:cxn ang="0">
                  <a:pos x="714" y="1290"/>
                </a:cxn>
                <a:cxn ang="0">
                  <a:pos x="835" y="1288"/>
                </a:cxn>
                <a:cxn ang="0">
                  <a:pos x="1091" y="1313"/>
                </a:cxn>
                <a:cxn ang="0">
                  <a:pos x="1013" y="1244"/>
                </a:cxn>
                <a:cxn ang="0">
                  <a:pos x="983" y="1229"/>
                </a:cxn>
                <a:cxn ang="0">
                  <a:pos x="951" y="1150"/>
                </a:cxn>
                <a:cxn ang="0">
                  <a:pos x="934" y="1095"/>
                </a:cxn>
                <a:cxn ang="0">
                  <a:pos x="916" y="1033"/>
                </a:cxn>
                <a:cxn ang="0">
                  <a:pos x="906" y="1003"/>
                </a:cxn>
                <a:cxn ang="0">
                  <a:pos x="867" y="927"/>
                </a:cxn>
                <a:cxn ang="0">
                  <a:pos x="793" y="894"/>
                </a:cxn>
                <a:cxn ang="0">
                  <a:pos x="758" y="873"/>
                </a:cxn>
                <a:cxn ang="0">
                  <a:pos x="721" y="802"/>
                </a:cxn>
                <a:cxn ang="0">
                  <a:pos x="739" y="721"/>
                </a:cxn>
                <a:cxn ang="0">
                  <a:pos x="748" y="647"/>
                </a:cxn>
                <a:cxn ang="0">
                  <a:pos x="736" y="539"/>
                </a:cxn>
                <a:cxn ang="0">
                  <a:pos x="673" y="525"/>
                </a:cxn>
                <a:cxn ang="0">
                  <a:pos x="619" y="502"/>
                </a:cxn>
                <a:cxn ang="0">
                  <a:pos x="593" y="489"/>
                </a:cxn>
                <a:cxn ang="0">
                  <a:pos x="574" y="477"/>
                </a:cxn>
                <a:cxn ang="0">
                  <a:pos x="522" y="408"/>
                </a:cxn>
                <a:cxn ang="0">
                  <a:pos x="550" y="376"/>
                </a:cxn>
                <a:cxn ang="0">
                  <a:pos x="563" y="352"/>
                </a:cxn>
                <a:cxn ang="0">
                  <a:pos x="574" y="333"/>
                </a:cxn>
                <a:cxn ang="0">
                  <a:pos x="587" y="258"/>
                </a:cxn>
                <a:cxn ang="0">
                  <a:pos x="577" y="192"/>
                </a:cxn>
                <a:cxn ang="0">
                  <a:pos x="560" y="175"/>
                </a:cxn>
                <a:cxn ang="0">
                  <a:pos x="534" y="134"/>
                </a:cxn>
                <a:cxn ang="0">
                  <a:pos x="548" y="41"/>
                </a:cxn>
              </a:cxnLst>
              <a:rect l="0" t="0" r="r" b="b"/>
              <a:pathLst>
                <a:path w="1091" h="1313">
                  <a:moveTo>
                    <a:pt x="457" y="0"/>
                  </a:moveTo>
                  <a:lnTo>
                    <a:pt x="452" y="0"/>
                  </a:lnTo>
                  <a:lnTo>
                    <a:pt x="446" y="2"/>
                  </a:lnTo>
                  <a:lnTo>
                    <a:pt x="439" y="5"/>
                  </a:lnTo>
                  <a:lnTo>
                    <a:pt x="430" y="9"/>
                  </a:lnTo>
                  <a:lnTo>
                    <a:pt x="423" y="14"/>
                  </a:lnTo>
                  <a:lnTo>
                    <a:pt x="417" y="19"/>
                  </a:lnTo>
                  <a:lnTo>
                    <a:pt x="413" y="22"/>
                  </a:lnTo>
                  <a:lnTo>
                    <a:pt x="412" y="24"/>
                  </a:lnTo>
                  <a:lnTo>
                    <a:pt x="411" y="28"/>
                  </a:lnTo>
                  <a:lnTo>
                    <a:pt x="410" y="30"/>
                  </a:lnTo>
                  <a:lnTo>
                    <a:pt x="399" y="34"/>
                  </a:lnTo>
                  <a:lnTo>
                    <a:pt x="387" y="38"/>
                  </a:lnTo>
                  <a:lnTo>
                    <a:pt x="380" y="46"/>
                  </a:lnTo>
                  <a:lnTo>
                    <a:pt x="372" y="53"/>
                  </a:lnTo>
                  <a:lnTo>
                    <a:pt x="372" y="69"/>
                  </a:lnTo>
                  <a:lnTo>
                    <a:pt x="356" y="69"/>
                  </a:lnTo>
                  <a:lnTo>
                    <a:pt x="356" y="85"/>
                  </a:lnTo>
                  <a:lnTo>
                    <a:pt x="349" y="92"/>
                  </a:lnTo>
                  <a:lnTo>
                    <a:pt x="341" y="100"/>
                  </a:lnTo>
                  <a:lnTo>
                    <a:pt x="333" y="108"/>
                  </a:lnTo>
                  <a:lnTo>
                    <a:pt x="322" y="108"/>
                  </a:lnTo>
                  <a:lnTo>
                    <a:pt x="310" y="108"/>
                  </a:lnTo>
                  <a:lnTo>
                    <a:pt x="308" y="110"/>
                  </a:lnTo>
                  <a:lnTo>
                    <a:pt x="306" y="112"/>
                  </a:lnTo>
                  <a:lnTo>
                    <a:pt x="302" y="114"/>
                  </a:lnTo>
                  <a:lnTo>
                    <a:pt x="295" y="114"/>
                  </a:lnTo>
                  <a:lnTo>
                    <a:pt x="281" y="115"/>
                  </a:lnTo>
                  <a:lnTo>
                    <a:pt x="264" y="114"/>
                  </a:lnTo>
                  <a:lnTo>
                    <a:pt x="231" y="110"/>
                  </a:lnTo>
                  <a:lnTo>
                    <a:pt x="217" y="108"/>
                  </a:lnTo>
                  <a:lnTo>
                    <a:pt x="216" y="105"/>
                  </a:lnTo>
                  <a:lnTo>
                    <a:pt x="214" y="104"/>
                  </a:lnTo>
                  <a:lnTo>
                    <a:pt x="209" y="101"/>
                  </a:lnTo>
                  <a:lnTo>
                    <a:pt x="205" y="101"/>
                  </a:lnTo>
                  <a:lnTo>
                    <a:pt x="195" y="100"/>
                  </a:lnTo>
                  <a:lnTo>
                    <a:pt x="186" y="100"/>
                  </a:lnTo>
                  <a:lnTo>
                    <a:pt x="186" y="98"/>
                  </a:lnTo>
                  <a:lnTo>
                    <a:pt x="183" y="97"/>
                  </a:lnTo>
                  <a:lnTo>
                    <a:pt x="180" y="96"/>
                  </a:lnTo>
                  <a:lnTo>
                    <a:pt x="177" y="96"/>
                  </a:lnTo>
                  <a:lnTo>
                    <a:pt x="167" y="94"/>
                  </a:lnTo>
                  <a:lnTo>
                    <a:pt x="154" y="94"/>
                  </a:lnTo>
                  <a:lnTo>
                    <a:pt x="131" y="92"/>
                  </a:lnTo>
                  <a:lnTo>
                    <a:pt x="116" y="92"/>
                  </a:lnTo>
                  <a:lnTo>
                    <a:pt x="115" y="95"/>
                  </a:lnTo>
                  <a:lnTo>
                    <a:pt x="114" y="97"/>
                  </a:lnTo>
                  <a:lnTo>
                    <a:pt x="111" y="98"/>
                  </a:lnTo>
                  <a:lnTo>
                    <a:pt x="107" y="99"/>
                  </a:lnTo>
                  <a:lnTo>
                    <a:pt x="100" y="100"/>
                  </a:lnTo>
                  <a:lnTo>
                    <a:pt x="93" y="100"/>
                  </a:lnTo>
                  <a:lnTo>
                    <a:pt x="85" y="108"/>
                  </a:lnTo>
                  <a:lnTo>
                    <a:pt x="85" y="112"/>
                  </a:lnTo>
                  <a:lnTo>
                    <a:pt x="84" y="115"/>
                  </a:lnTo>
                  <a:lnTo>
                    <a:pt x="83" y="115"/>
                  </a:lnTo>
                  <a:lnTo>
                    <a:pt x="82" y="116"/>
                  </a:lnTo>
                  <a:lnTo>
                    <a:pt x="81" y="116"/>
                  </a:lnTo>
                  <a:lnTo>
                    <a:pt x="80" y="116"/>
                  </a:lnTo>
                  <a:lnTo>
                    <a:pt x="78" y="118"/>
                  </a:lnTo>
                  <a:lnTo>
                    <a:pt x="78" y="123"/>
                  </a:lnTo>
                  <a:lnTo>
                    <a:pt x="63" y="123"/>
                  </a:lnTo>
                  <a:lnTo>
                    <a:pt x="55" y="130"/>
                  </a:lnTo>
                  <a:lnTo>
                    <a:pt x="56" y="149"/>
                  </a:lnTo>
                  <a:lnTo>
                    <a:pt x="58" y="168"/>
                  </a:lnTo>
                  <a:lnTo>
                    <a:pt x="62" y="186"/>
                  </a:lnTo>
                  <a:lnTo>
                    <a:pt x="63" y="201"/>
                  </a:lnTo>
                  <a:lnTo>
                    <a:pt x="59" y="201"/>
                  </a:lnTo>
                  <a:lnTo>
                    <a:pt x="58" y="202"/>
                  </a:lnTo>
                  <a:lnTo>
                    <a:pt x="56" y="203"/>
                  </a:lnTo>
                  <a:lnTo>
                    <a:pt x="56" y="205"/>
                  </a:lnTo>
                  <a:lnTo>
                    <a:pt x="55" y="210"/>
                  </a:lnTo>
                  <a:lnTo>
                    <a:pt x="55" y="216"/>
                  </a:lnTo>
                  <a:lnTo>
                    <a:pt x="32" y="216"/>
                  </a:lnTo>
                  <a:lnTo>
                    <a:pt x="24" y="223"/>
                  </a:lnTo>
                  <a:lnTo>
                    <a:pt x="16" y="231"/>
                  </a:lnTo>
                  <a:lnTo>
                    <a:pt x="8" y="239"/>
                  </a:lnTo>
                  <a:lnTo>
                    <a:pt x="0" y="246"/>
                  </a:lnTo>
                  <a:lnTo>
                    <a:pt x="0" y="279"/>
                  </a:lnTo>
                  <a:lnTo>
                    <a:pt x="0" y="317"/>
                  </a:lnTo>
                  <a:lnTo>
                    <a:pt x="0" y="354"/>
                  </a:lnTo>
                  <a:lnTo>
                    <a:pt x="0" y="386"/>
                  </a:lnTo>
                  <a:lnTo>
                    <a:pt x="8" y="394"/>
                  </a:lnTo>
                  <a:lnTo>
                    <a:pt x="24" y="394"/>
                  </a:lnTo>
                  <a:lnTo>
                    <a:pt x="25" y="398"/>
                  </a:lnTo>
                  <a:lnTo>
                    <a:pt x="26" y="403"/>
                  </a:lnTo>
                  <a:lnTo>
                    <a:pt x="28" y="406"/>
                  </a:lnTo>
                  <a:lnTo>
                    <a:pt x="32" y="408"/>
                  </a:lnTo>
                  <a:lnTo>
                    <a:pt x="34" y="410"/>
                  </a:lnTo>
                  <a:lnTo>
                    <a:pt x="37" y="412"/>
                  </a:lnTo>
                  <a:lnTo>
                    <a:pt x="38" y="414"/>
                  </a:lnTo>
                  <a:lnTo>
                    <a:pt x="39" y="417"/>
                  </a:lnTo>
                  <a:lnTo>
                    <a:pt x="55" y="421"/>
                  </a:lnTo>
                  <a:lnTo>
                    <a:pt x="71" y="425"/>
                  </a:lnTo>
                  <a:lnTo>
                    <a:pt x="71" y="440"/>
                  </a:lnTo>
                  <a:lnTo>
                    <a:pt x="85" y="440"/>
                  </a:lnTo>
                  <a:lnTo>
                    <a:pt x="93" y="447"/>
                  </a:lnTo>
                  <a:lnTo>
                    <a:pt x="93" y="456"/>
                  </a:lnTo>
                  <a:lnTo>
                    <a:pt x="93" y="467"/>
                  </a:lnTo>
                  <a:lnTo>
                    <a:pt x="93" y="479"/>
                  </a:lnTo>
                  <a:lnTo>
                    <a:pt x="93" y="486"/>
                  </a:lnTo>
                  <a:lnTo>
                    <a:pt x="85" y="494"/>
                  </a:lnTo>
                  <a:lnTo>
                    <a:pt x="78" y="502"/>
                  </a:lnTo>
                  <a:lnTo>
                    <a:pt x="71" y="510"/>
                  </a:lnTo>
                  <a:lnTo>
                    <a:pt x="63" y="518"/>
                  </a:lnTo>
                  <a:lnTo>
                    <a:pt x="55" y="525"/>
                  </a:lnTo>
                  <a:lnTo>
                    <a:pt x="39" y="525"/>
                  </a:lnTo>
                  <a:lnTo>
                    <a:pt x="32" y="532"/>
                  </a:lnTo>
                  <a:lnTo>
                    <a:pt x="24" y="540"/>
                  </a:lnTo>
                  <a:lnTo>
                    <a:pt x="24" y="556"/>
                  </a:lnTo>
                  <a:lnTo>
                    <a:pt x="22" y="557"/>
                  </a:lnTo>
                  <a:lnTo>
                    <a:pt x="19" y="557"/>
                  </a:lnTo>
                  <a:lnTo>
                    <a:pt x="18" y="559"/>
                  </a:lnTo>
                  <a:lnTo>
                    <a:pt x="17" y="561"/>
                  </a:lnTo>
                  <a:lnTo>
                    <a:pt x="16" y="566"/>
                  </a:lnTo>
                  <a:lnTo>
                    <a:pt x="16" y="571"/>
                  </a:lnTo>
                  <a:lnTo>
                    <a:pt x="24" y="579"/>
                  </a:lnTo>
                  <a:lnTo>
                    <a:pt x="39" y="579"/>
                  </a:lnTo>
                  <a:lnTo>
                    <a:pt x="55" y="579"/>
                  </a:lnTo>
                  <a:lnTo>
                    <a:pt x="63" y="571"/>
                  </a:lnTo>
                  <a:lnTo>
                    <a:pt x="63" y="567"/>
                  </a:lnTo>
                  <a:lnTo>
                    <a:pt x="64" y="565"/>
                  </a:lnTo>
                  <a:lnTo>
                    <a:pt x="65" y="563"/>
                  </a:lnTo>
                  <a:lnTo>
                    <a:pt x="66" y="563"/>
                  </a:lnTo>
                  <a:lnTo>
                    <a:pt x="67" y="563"/>
                  </a:lnTo>
                  <a:lnTo>
                    <a:pt x="68" y="562"/>
                  </a:lnTo>
                  <a:lnTo>
                    <a:pt x="70" y="560"/>
                  </a:lnTo>
                  <a:lnTo>
                    <a:pt x="71" y="556"/>
                  </a:lnTo>
                  <a:lnTo>
                    <a:pt x="85" y="556"/>
                  </a:lnTo>
                  <a:lnTo>
                    <a:pt x="87" y="553"/>
                  </a:lnTo>
                  <a:lnTo>
                    <a:pt x="91" y="550"/>
                  </a:lnTo>
                  <a:lnTo>
                    <a:pt x="96" y="548"/>
                  </a:lnTo>
                  <a:lnTo>
                    <a:pt x="102" y="546"/>
                  </a:lnTo>
                  <a:lnTo>
                    <a:pt x="115" y="542"/>
                  </a:lnTo>
                  <a:lnTo>
                    <a:pt x="124" y="540"/>
                  </a:lnTo>
                  <a:lnTo>
                    <a:pt x="124" y="538"/>
                  </a:lnTo>
                  <a:lnTo>
                    <a:pt x="125" y="535"/>
                  </a:lnTo>
                  <a:lnTo>
                    <a:pt x="128" y="533"/>
                  </a:lnTo>
                  <a:lnTo>
                    <a:pt x="130" y="532"/>
                  </a:lnTo>
                  <a:lnTo>
                    <a:pt x="138" y="530"/>
                  </a:lnTo>
                  <a:lnTo>
                    <a:pt x="147" y="530"/>
                  </a:lnTo>
                  <a:lnTo>
                    <a:pt x="157" y="530"/>
                  </a:lnTo>
                  <a:lnTo>
                    <a:pt x="168" y="532"/>
                  </a:lnTo>
                  <a:lnTo>
                    <a:pt x="181" y="534"/>
                  </a:lnTo>
                  <a:lnTo>
                    <a:pt x="193" y="537"/>
                  </a:lnTo>
                  <a:lnTo>
                    <a:pt x="241" y="549"/>
                  </a:lnTo>
                  <a:lnTo>
                    <a:pt x="264" y="556"/>
                  </a:lnTo>
                  <a:lnTo>
                    <a:pt x="264" y="571"/>
                  </a:lnTo>
                  <a:lnTo>
                    <a:pt x="279" y="571"/>
                  </a:lnTo>
                  <a:lnTo>
                    <a:pt x="286" y="579"/>
                  </a:lnTo>
                  <a:lnTo>
                    <a:pt x="294" y="587"/>
                  </a:lnTo>
                  <a:lnTo>
                    <a:pt x="294" y="602"/>
                  </a:lnTo>
                  <a:lnTo>
                    <a:pt x="298" y="604"/>
                  </a:lnTo>
                  <a:lnTo>
                    <a:pt x="303" y="606"/>
                  </a:lnTo>
                  <a:lnTo>
                    <a:pt x="307" y="610"/>
                  </a:lnTo>
                  <a:lnTo>
                    <a:pt x="313" y="615"/>
                  </a:lnTo>
                  <a:lnTo>
                    <a:pt x="317" y="620"/>
                  </a:lnTo>
                  <a:lnTo>
                    <a:pt x="322" y="625"/>
                  </a:lnTo>
                  <a:lnTo>
                    <a:pt x="324" y="629"/>
                  </a:lnTo>
                  <a:lnTo>
                    <a:pt x="325" y="633"/>
                  </a:lnTo>
                  <a:lnTo>
                    <a:pt x="341" y="633"/>
                  </a:lnTo>
                  <a:lnTo>
                    <a:pt x="341" y="636"/>
                  </a:lnTo>
                  <a:lnTo>
                    <a:pt x="342" y="638"/>
                  </a:lnTo>
                  <a:lnTo>
                    <a:pt x="343" y="639"/>
                  </a:lnTo>
                  <a:lnTo>
                    <a:pt x="345" y="640"/>
                  </a:lnTo>
                  <a:lnTo>
                    <a:pt x="351" y="640"/>
                  </a:lnTo>
                  <a:lnTo>
                    <a:pt x="356" y="640"/>
                  </a:lnTo>
                  <a:lnTo>
                    <a:pt x="356" y="644"/>
                  </a:lnTo>
                  <a:lnTo>
                    <a:pt x="358" y="645"/>
                  </a:lnTo>
                  <a:lnTo>
                    <a:pt x="359" y="647"/>
                  </a:lnTo>
                  <a:lnTo>
                    <a:pt x="361" y="647"/>
                  </a:lnTo>
                  <a:lnTo>
                    <a:pt x="366" y="648"/>
                  </a:lnTo>
                  <a:lnTo>
                    <a:pt x="372" y="648"/>
                  </a:lnTo>
                  <a:lnTo>
                    <a:pt x="380" y="656"/>
                  </a:lnTo>
                  <a:lnTo>
                    <a:pt x="380" y="659"/>
                  </a:lnTo>
                  <a:lnTo>
                    <a:pt x="382" y="663"/>
                  </a:lnTo>
                  <a:lnTo>
                    <a:pt x="384" y="667"/>
                  </a:lnTo>
                  <a:lnTo>
                    <a:pt x="388" y="671"/>
                  </a:lnTo>
                  <a:lnTo>
                    <a:pt x="392" y="674"/>
                  </a:lnTo>
                  <a:lnTo>
                    <a:pt x="395" y="677"/>
                  </a:lnTo>
                  <a:lnTo>
                    <a:pt x="399" y="678"/>
                  </a:lnTo>
                  <a:lnTo>
                    <a:pt x="402" y="679"/>
                  </a:lnTo>
                  <a:lnTo>
                    <a:pt x="402" y="695"/>
                  </a:lnTo>
                  <a:lnTo>
                    <a:pt x="406" y="696"/>
                  </a:lnTo>
                  <a:lnTo>
                    <a:pt x="407" y="700"/>
                  </a:lnTo>
                  <a:lnTo>
                    <a:pt x="409" y="705"/>
                  </a:lnTo>
                  <a:lnTo>
                    <a:pt x="409" y="712"/>
                  </a:lnTo>
                  <a:lnTo>
                    <a:pt x="410" y="724"/>
                  </a:lnTo>
                  <a:lnTo>
                    <a:pt x="410" y="734"/>
                  </a:lnTo>
                  <a:lnTo>
                    <a:pt x="413" y="735"/>
                  </a:lnTo>
                  <a:lnTo>
                    <a:pt x="414" y="740"/>
                  </a:lnTo>
                  <a:lnTo>
                    <a:pt x="416" y="746"/>
                  </a:lnTo>
                  <a:lnTo>
                    <a:pt x="417" y="754"/>
                  </a:lnTo>
                  <a:lnTo>
                    <a:pt x="418" y="770"/>
                  </a:lnTo>
                  <a:lnTo>
                    <a:pt x="418" y="780"/>
                  </a:lnTo>
                  <a:lnTo>
                    <a:pt x="433" y="957"/>
                  </a:lnTo>
                  <a:lnTo>
                    <a:pt x="435" y="958"/>
                  </a:lnTo>
                  <a:lnTo>
                    <a:pt x="436" y="960"/>
                  </a:lnTo>
                  <a:lnTo>
                    <a:pt x="437" y="963"/>
                  </a:lnTo>
                  <a:lnTo>
                    <a:pt x="438" y="966"/>
                  </a:lnTo>
                  <a:lnTo>
                    <a:pt x="439" y="975"/>
                  </a:lnTo>
                  <a:lnTo>
                    <a:pt x="440" y="985"/>
                  </a:lnTo>
                  <a:lnTo>
                    <a:pt x="441" y="1006"/>
                  </a:lnTo>
                  <a:lnTo>
                    <a:pt x="441" y="1020"/>
                  </a:lnTo>
                  <a:lnTo>
                    <a:pt x="440" y="1020"/>
                  </a:lnTo>
                  <a:lnTo>
                    <a:pt x="439" y="1022"/>
                  </a:lnTo>
                  <a:lnTo>
                    <a:pt x="438" y="1024"/>
                  </a:lnTo>
                  <a:lnTo>
                    <a:pt x="437" y="1028"/>
                  </a:lnTo>
                  <a:lnTo>
                    <a:pt x="436" y="1037"/>
                  </a:lnTo>
                  <a:lnTo>
                    <a:pt x="435" y="1048"/>
                  </a:lnTo>
                  <a:lnTo>
                    <a:pt x="433" y="1069"/>
                  </a:lnTo>
                  <a:lnTo>
                    <a:pt x="433" y="1081"/>
                  </a:lnTo>
                  <a:lnTo>
                    <a:pt x="394" y="1081"/>
                  </a:lnTo>
                  <a:lnTo>
                    <a:pt x="394" y="1083"/>
                  </a:lnTo>
                  <a:lnTo>
                    <a:pt x="393" y="1086"/>
                  </a:lnTo>
                  <a:lnTo>
                    <a:pt x="392" y="1087"/>
                  </a:lnTo>
                  <a:lnTo>
                    <a:pt x="390" y="1088"/>
                  </a:lnTo>
                  <a:lnTo>
                    <a:pt x="385" y="1089"/>
                  </a:lnTo>
                  <a:lnTo>
                    <a:pt x="380" y="1089"/>
                  </a:lnTo>
                  <a:lnTo>
                    <a:pt x="379" y="1094"/>
                  </a:lnTo>
                  <a:lnTo>
                    <a:pt x="378" y="1096"/>
                  </a:lnTo>
                  <a:lnTo>
                    <a:pt x="377" y="1097"/>
                  </a:lnTo>
                  <a:lnTo>
                    <a:pt x="375" y="1097"/>
                  </a:lnTo>
                  <a:lnTo>
                    <a:pt x="374" y="1097"/>
                  </a:lnTo>
                  <a:lnTo>
                    <a:pt x="373" y="1098"/>
                  </a:lnTo>
                  <a:lnTo>
                    <a:pt x="372" y="1100"/>
                  </a:lnTo>
                  <a:lnTo>
                    <a:pt x="372" y="1105"/>
                  </a:lnTo>
                  <a:lnTo>
                    <a:pt x="356" y="1105"/>
                  </a:lnTo>
                  <a:lnTo>
                    <a:pt x="356" y="1120"/>
                  </a:lnTo>
                  <a:lnTo>
                    <a:pt x="353" y="1120"/>
                  </a:lnTo>
                  <a:lnTo>
                    <a:pt x="352" y="1121"/>
                  </a:lnTo>
                  <a:lnTo>
                    <a:pt x="351" y="1123"/>
                  </a:lnTo>
                  <a:lnTo>
                    <a:pt x="350" y="1125"/>
                  </a:lnTo>
                  <a:lnTo>
                    <a:pt x="349" y="1130"/>
                  </a:lnTo>
                  <a:lnTo>
                    <a:pt x="349" y="1136"/>
                  </a:lnTo>
                  <a:lnTo>
                    <a:pt x="346" y="1137"/>
                  </a:lnTo>
                  <a:lnTo>
                    <a:pt x="344" y="1140"/>
                  </a:lnTo>
                  <a:lnTo>
                    <a:pt x="343" y="1146"/>
                  </a:lnTo>
                  <a:lnTo>
                    <a:pt x="342" y="1152"/>
                  </a:lnTo>
                  <a:lnTo>
                    <a:pt x="341" y="1165"/>
                  </a:lnTo>
                  <a:lnTo>
                    <a:pt x="341" y="1174"/>
                  </a:lnTo>
                  <a:lnTo>
                    <a:pt x="380" y="1174"/>
                  </a:lnTo>
                  <a:lnTo>
                    <a:pt x="380" y="1177"/>
                  </a:lnTo>
                  <a:lnTo>
                    <a:pt x="382" y="1178"/>
                  </a:lnTo>
                  <a:lnTo>
                    <a:pt x="384" y="1179"/>
                  </a:lnTo>
                  <a:lnTo>
                    <a:pt x="388" y="1181"/>
                  </a:lnTo>
                  <a:lnTo>
                    <a:pt x="395" y="1182"/>
                  </a:lnTo>
                  <a:lnTo>
                    <a:pt x="402" y="1182"/>
                  </a:lnTo>
                  <a:lnTo>
                    <a:pt x="403" y="1184"/>
                  </a:lnTo>
                  <a:lnTo>
                    <a:pt x="406" y="1186"/>
                  </a:lnTo>
                  <a:lnTo>
                    <a:pt x="408" y="1187"/>
                  </a:lnTo>
                  <a:lnTo>
                    <a:pt x="411" y="1188"/>
                  </a:lnTo>
                  <a:lnTo>
                    <a:pt x="419" y="1189"/>
                  </a:lnTo>
                  <a:lnTo>
                    <a:pt x="426" y="1189"/>
                  </a:lnTo>
                  <a:lnTo>
                    <a:pt x="426" y="1166"/>
                  </a:lnTo>
                  <a:lnTo>
                    <a:pt x="428" y="1165"/>
                  </a:lnTo>
                  <a:lnTo>
                    <a:pt x="430" y="1163"/>
                  </a:lnTo>
                  <a:lnTo>
                    <a:pt x="431" y="1158"/>
                  </a:lnTo>
                  <a:lnTo>
                    <a:pt x="432" y="1154"/>
                  </a:lnTo>
                  <a:lnTo>
                    <a:pt x="433" y="1144"/>
                  </a:lnTo>
                  <a:lnTo>
                    <a:pt x="433" y="1136"/>
                  </a:lnTo>
                  <a:lnTo>
                    <a:pt x="449" y="1136"/>
                  </a:lnTo>
                  <a:lnTo>
                    <a:pt x="449" y="1133"/>
                  </a:lnTo>
                  <a:lnTo>
                    <a:pt x="450" y="1131"/>
                  </a:lnTo>
                  <a:lnTo>
                    <a:pt x="451" y="1129"/>
                  </a:lnTo>
                  <a:lnTo>
                    <a:pt x="454" y="1129"/>
                  </a:lnTo>
                  <a:lnTo>
                    <a:pt x="459" y="1128"/>
                  </a:lnTo>
                  <a:lnTo>
                    <a:pt x="465" y="1128"/>
                  </a:lnTo>
                  <a:lnTo>
                    <a:pt x="465" y="1126"/>
                  </a:lnTo>
                  <a:lnTo>
                    <a:pt x="467" y="1125"/>
                  </a:lnTo>
                  <a:lnTo>
                    <a:pt x="470" y="1124"/>
                  </a:lnTo>
                  <a:lnTo>
                    <a:pt x="476" y="1124"/>
                  </a:lnTo>
                  <a:lnTo>
                    <a:pt x="487" y="1121"/>
                  </a:lnTo>
                  <a:lnTo>
                    <a:pt x="500" y="1121"/>
                  </a:lnTo>
                  <a:lnTo>
                    <a:pt x="526" y="1120"/>
                  </a:lnTo>
                  <a:lnTo>
                    <a:pt x="542" y="1120"/>
                  </a:lnTo>
                  <a:lnTo>
                    <a:pt x="550" y="1128"/>
                  </a:lnTo>
                  <a:lnTo>
                    <a:pt x="557" y="1136"/>
                  </a:lnTo>
                  <a:lnTo>
                    <a:pt x="565" y="1144"/>
                  </a:lnTo>
                  <a:lnTo>
                    <a:pt x="565" y="1158"/>
                  </a:lnTo>
                  <a:lnTo>
                    <a:pt x="570" y="1159"/>
                  </a:lnTo>
                  <a:lnTo>
                    <a:pt x="572" y="1159"/>
                  </a:lnTo>
                  <a:lnTo>
                    <a:pt x="573" y="1162"/>
                  </a:lnTo>
                  <a:lnTo>
                    <a:pt x="573" y="1163"/>
                  </a:lnTo>
                  <a:lnTo>
                    <a:pt x="573" y="1164"/>
                  </a:lnTo>
                  <a:lnTo>
                    <a:pt x="574" y="1165"/>
                  </a:lnTo>
                  <a:lnTo>
                    <a:pt x="576" y="1166"/>
                  </a:lnTo>
                  <a:lnTo>
                    <a:pt x="581" y="1166"/>
                  </a:lnTo>
                  <a:lnTo>
                    <a:pt x="581" y="1189"/>
                  </a:lnTo>
                  <a:lnTo>
                    <a:pt x="595" y="1197"/>
                  </a:lnTo>
                  <a:lnTo>
                    <a:pt x="595" y="1213"/>
                  </a:lnTo>
                  <a:lnTo>
                    <a:pt x="599" y="1213"/>
                  </a:lnTo>
                  <a:lnTo>
                    <a:pt x="600" y="1214"/>
                  </a:lnTo>
                  <a:lnTo>
                    <a:pt x="602" y="1215"/>
                  </a:lnTo>
                  <a:lnTo>
                    <a:pt x="603" y="1217"/>
                  </a:lnTo>
                  <a:lnTo>
                    <a:pt x="603" y="1223"/>
                  </a:lnTo>
                  <a:lnTo>
                    <a:pt x="603" y="1229"/>
                  </a:lnTo>
                  <a:lnTo>
                    <a:pt x="606" y="1229"/>
                  </a:lnTo>
                  <a:lnTo>
                    <a:pt x="608" y="1230"/>
                  </a:lnTo>
                  <a:lnTo>
                    <a:pt x="610" y="1231"/>
                  </a:lnTo>
                  <a:lnTo>
                    <a:pt x="610" y="1233"/>
                  </a:lnTo>
                  <a:lnTo>
                    <a:pt x="611" y="1237"/>
                  </a:lnTo>
                  <a:lnTo>
                    <a:pt x="611" y="1244"/>
                  </a:lnTo>
                  <a:lnTo>
                    <a:pt x="627" y="1244"/>
                  </a:lnTo>
                  <a:lnTo>
                    <a:pt x="631" y="1255"/>
                  </a:lnTo>
                  <a:lnTo>
                    <a:pt x="634" y="1267"/>
                  </a:lnTo>
                  <a:lnTo>
                    <a:pt x="642" y="1274"/>
                  </a:lnTo>
                  <a:lnTo>
                    <a:pt x="658" y="1274"/>
                  </a:lnTo>
                  <a:lnTo>
                    <a:pt x="658" y="1278"/>
                  </a:lnTo>
                  <a:lnTo>
                    <a:pt x="660" y="1281"/>
                  </a:lnTo>
                  <a:lnTo>
                    <a:pt x="662" y="1283"/>
                  </a:lnTo>
                  <a:lnTo>
                    <a:pt x="666" y="1285"/>
                  </a:lnTo>
                  <a:lnTo>
                    <a:pt x="675" y="1289"/>
                  </a:lnTo>
                  <a:lnTo>
                    <a:pt x="686" y="1290"/>
                  </a:lnTo>
                  <a:lnTo>
                    <a:pt x="699" y="1291"/>
                  </a:lnTo>
                  <a:lnTo>
                    <a:pt x="714" y="1290"/>
                  </a:lnTo>
                  <a:lnTo>
                    <a:pt x="730" y="1290"/>
                  </a:lnTo>
                  <a:lnTo>
                    <a:pt x="746" y="1288"/>
                  </a:lnTo>
                  <a:lnTo>
                    <a:pt x="779" y="1285"/>
                  </a:lnTo>
                  <a:lnTo>
                    <a:pt x="807" y="1283"/>
                  </a:lnTo>
                  <a:lnTo>
                    <a:pt x="819" y="1283"/>
                  </a:lnTo>
                  <a:lnTo>
                    <a:pt x="827" y="1284"/>
                  </a:lnTo>
                  <a:lnTo>
                    <a:pt x="831" y="1285"/>
                  </a:lnTo>
                  <a:lnTo>
                    <a:pt x="833" y="1287"/>
                  </a:lnTo>
                  <a:lnTo>
                    <a:pt x="835" y="1288"/>
                  </a:lnTo>
                  <a:lnTo>
                    <a:pt x="835" y="1290"/>
                  </a:lnTo>
                  <a:lnTo>
                    <a:pt x="865" y="1291"/>
                  </a:lnTo>
                  <a:lnTo>
                    <a:pt x="896" y="1293"/>
                  </a:lnTo>
                  <a:lnTo>
                    <a:pt x="928" y="1298"/>
                  </a:lnTo>
                  <a:lnTo>
                    <a:pt x="960" y="1301"/>
                  </a:lnTo>
                  <a:lnTo>
                    <a:pt x="993" y="1306"/>
                  </a:lnTo>
                  <a:lnTo>
                    <a:pt x="1026" y="1310"/>
                  </a:lnTo>
                  <a:lnTo>
                    <a:pt x="1059" y="1312"/>
                  </a:lnTo>
                  <a:lnTo>
                    <a:pt x="1091" y="1313"/>
                  </a:lnTo>
                  <a:lnTo>
                    <a:pt x="1091" y="1298"/>
                  </a:lnTo>
                  <a:lnTo>
                    <a:pt x="1084" y="1293"/>
                  </a:lnTo>
                  <a:lnTo>
                    <a:pt x="1070" y="1282"/>
                  </a:lnTo>
                  <a:lnTo>
                    <a:pt x="1061" y="1277"/>
                  </a:lnTo>
                  <a:lnTo>
                    <a:pt x="1052" y="1272"/>
                  </a:lnTo>
                  <a:lnTo>
                    <a:pt x="1043" y="1269"/>
                  </a:lnTo>
                  <a:lnTo>
                    <a:pt x="1036" y="1267"/>
                  </a:lnTo>
                  <a:lnTo>
                    <a:pt x="1025" y="1255"/>
                  </a:lnTo>
                  <a:lnTo>
                    <a:pt x="1013" y="1244"/>
                  </a:lnTo>
                  <a:lnTo>
                    <a:pt x="998" y="1244"/>
                  </a:lnTo>
                  <a:lnTo>
                    <a:pt x="997" y="1241"/>
                  </a:lnTo>
                  <a:lnTo>
                    <a:pt x="996" y="1237"/>
                  </a:lnTo>
                  <a:lnTo>
                    <a:pt x="995" y="1235"/>
                  </a:lnTo>
                  <a:lnTo>
                    <a:pt x="993" y="1233"/>
                  </a:lnTo>
                  <a:lnTo>
                    <a:pt x="990" y="1231"/>
                  </a:lnTo>
                  <a:lnTo>
                    <a:pt x="988" y="1230"/>
                  </a:lnTo>
                  <a:lnTo>
                    <a:pt x="985" y="1229"/>
                  </a:lnTo>
                  <a:lnTo>
                    <a:pt x="983" y="1229"/>
                  </a:lnTo>
                  <a:lnTo>
                    <a:pt x="975" y="1221"/>
                  </a:lnTo>
                  <a:lnTo>
                    <a:pt x="974" y="1212"/>
                  </a:lnTo>
                  <a:lnTo>
                    <a:pt x="970" y="1203"/>
                  </a:lnTo>
                  <a:lnTo>
                    <a:pt x="967" y="1194"/>
                  </a:lnTo>
                  <a:lnTo>
                    <a:pt x="963" y="1186"/>
                  </a:lnTo>
                  <a:lnTo>
                    <a:pt x="959" y="1177"/>
                  </a:lnTo>
                  <a:lnTo>
                    <a:pt x="955" y="1168"/>
                  </a:lnTo>
                  <a:lnTo>
                    <a:pt x="953" y="1159"/>
                  </a:lnTo>
                  <a:lnTo>
                    <a:pt x="951" y="1150"/>
                  </a:lnTo>
                  <a:lnTo>
                    <a:pt x="947" y="1150"/>
                  </a:lnTo>
                  <a:lnTo>
                    <a:pt x="945" y="1148"/>
                  </a:lnTo>
                  <a:lnTo>
                    <a:pt x="942" y="1145"/>
                  </a:lnTo>
                  <a:lnTo>
                    <a:pt x="940" y="1142"/>
                  </a:lnTo>
                  <a:lnTo>
                    <a:pt x="938" y="1131"/>
                  </a:lnTo>
                  <a:lnTo>
                    <a:pt x="937" y="1120"/>
                  </a:lnTo>
                  <a:lnTo>
                    <a:pt x="936" y="1109"/>
                  </a:lnTo>
                  <a:lnTo>
                    <a:pt x="935" y="1099"/>
                  </a:lnTo>
                  <a:lnTo>
                    <a:pt x="934" y="1095"/>
                  </a:lnTo>
                  <a:lnTo>
                    <a:pt x="932" y="1091"/>
                  </a:lnTo>
                  <a:lnTo>
                    <a:pt x="930" y="1090"/>
                  </a:lnTo>
                  <a:lnTo>
                    <a:pt x="928" y="1089"/>
                  </a:lnTo>
                  <a:lnTo>
                    <a:pt x="927" y="1077"/>
                  </a:lnTo>
                  <a:lnTo>
                    <a:pt x="925" y="1062"/>
                  </a:lnTo>
                  <a:lnTo>
                    <a:pt x="921" y="1048"/>
                  </a:lnTo>
                  <a:lnTo>
                    <a:pt x="920" y="1035"/>
                  </a:lnTo>
                  <a:lnTo>
                    <a:pt x="918" y="1034"/>
                  </a:lnTo>
                  <a:lnTo>
                    <a:pt x="916" y="1033"/>
                  </a:lnTo>
                  <a:lnTo>
                    <a:pt x="915" y="1032"/>
                  </a:lnTo>
                  <a:lnTo>
                    <a:pt x="913" y="1030"/>
                  </a:lnTo>
                  <a:lnTo>
                    <a:pt x="912" y="1025"/>
                  </a:lnTo>
                  <a:lnTo>
                    <a:pt x="912" y="1020"/>
                  </a:lnTo>
                  <a:lnTo>
                    <a:pt x="910" y="1019"/>
                  </a:lnTo>
                  <a:lnTo>
                    <a:pt x="908" y="1017"/>
                  </a:lnTo>
                  <a:lnTo>
                    <a:pt x="907" y="1014"/>
                  </a:lnTo>
                  <a:lnTo>
                    <a:pt x="906" y="1011"/>
                  </a:lnTo>
                  <a:lnTo>
                    <a:pt x="906" y="1003"/>
                  </a:lnTo>
                  <a:lnTo>
                    <a:pt x="905" y="996"/>
                  </a:lnTo>
                  <a:lnTo>
                    <a:pt x="902" y="994"/>
                  </a:lnTo>
                  <a:lnTo>
                    <a:pt x="898" y="989"/>
                  </a:lnTo>
                  <a:lnTo>
                    <a:pt x="894" y="981"/>
                  </a:lnTo>
                  <a:lnTo>
                    <a:pt x="890" y="972"/>
                  </a:lnTo>
                  <a:lnTo>
                    <a:pt x="884" y="954"/>
                  </a:lnTo>
                  <a:lnTo>
                    <a:pt x="882" y="942"/>
                  </a:lnTo>
                  <a:lnTo>
                    <a:pt x="874" y="935"/>
                  </a:lnTo>
                  <a:lnTo>
                    <a:pt x="867" y="927"/>
                  </a:lnTo>
                  <a:lnTo>
                    <a:pt x="859" y="919"/>
                  </a:lnTo>
                  <a:lnTo>
                    <a:pt x="850" y="917"/>
                  </a:lnTo>
                  <a:lnTo>
                    <a:pt x="836" y="912"/>
                  </a:lnTo>
                  <a:lnTo>
                    <a:pt x="825" y="906"/>
                  </a:lnTo>
                  <a:lnTo>
                    <a:pt x="820" y="904"/>
                  </a:lnTo>
                  <a:lnTo>
                    <a:pt x="796" y="904"/>
                  </a:lnTo>
                  <a:lnTo>
                    <a:pt x="796" y="899"/>
                  </a:lnTo>
                  <a:lnTo>
                    <a:pt x="795" y="896"/>
                  </a:lnTo>
                  <a:lnTo>
                    <a:pt x="793" y="894"/>
                  </a:lnTo>
                  <a:lnTo>
                    <a:pt x="791" y="892"/>
                  </a:lnTo>
                  <a:lnTo>
                    <a:pt x="785" y="888"/>
                  </a:lnTo>
                  <a:lnTo>
                    <a:pt x="777" y="885"/>
                  </a:lnTo>
                  <a:lnTo>
                    <a:pt x="771" y="884"/>
                  </a:lnTo>
                  <a:lnTo>
                    <a:pt x="764" y="880"/>
                  </a:lnTo>
                  <a:lnTo>
                    <a:pt x="762" y="879"/>
                  </a:lnTo>
                  <a:lnTo>
                    <a:pt x="759" y="877"/>
                  </a:lnTo>
                  <a:lnTo>
                    <a:pt x="758" y="876"/>
                  </a:lnTo>
                  <a:lnTo>
                    <a:pt x="758" y="873"/>
                  </a:lnTo>
                  <a:lnTo>
                    <a:pt x="743" y="873"/>
                  </a:lnTo>
                  <a:lnTo>
                    <a:pt x="735" y="865"/>
                  </a:lnTo>
                  <a:lnTo>
                    <a:pt x="735" y="849"/>
                  </a:lnTo>
                  <a:lnTo>
                    <a:pt x="719" y="841"/>
                  </a:lnTo>
                  <a:lnTo>
                    <a:pt x="719" y="833"/>
                  </a:lnTo>
                  <a:lnTo>
                    <a:pt x="719" y="822"/>
                  </a:lnTo>
                  <a:lnTo>
                    <a:pt x="719" y="811"/>
                  </a:lnTo>
                  <a:lnTo>
                    <a:pt x="719" y="803"/>
                  </a:lnTo>
                  <a:lnTo>
                    <a:pt x="721" y="802"/>
                  </a:lnTo>
                  <a:lnTo>
                    <a:pt x="723" y="800"/>
                  </a:lnTo>
                  <a:lnTo>
                    <a:pt x="724" y="797"/>
                  </a:lnTo>
                  <a:lnTo>
                    <a:pt x="725" y="792"/>
                  </a:lnTo>
                  <a:lnTo>
                    <a:pt x="728" y="781"/>
                  </a:lnTo>
                  <a:lnTo>
                    <a:pt x="730" y="768"/>
                  </a:lnTo>
                  <a:lnTo>
                    <a:pt x="734" y="741"/>
                  </a:lnTo>
                  <a:lnTo>
                    <a:pt x="735" y="726"/>
                  </a:lnTo>
                  <a:lnTo>
                    <a:pt x="737" y="724"/>
                  </a:lnTo>
                  <a:lnTo>
                    <a:pt x="739" y="721"/>
                  </a:lnTo>
                  <a:lnTo>
                    <a:pt x="740" y="715"/>
                  </a:lnTo>
                  <a:lnTo>
                    <a:pt x="742" y="710"/>
                  </a:lnTo>
                  <a:lnTo>
                    <a:pt x="743" y="696"/>
                  </a:lnTo>
                  <a:lnTo>
                    <a:pt x="743" y="687"/>
                  </a:lnTo>
                  <a:lnTo>
                    <a:pt x="744" y="686"/>
                  </a:lnTo>
                  <a:lnTo>
                    <a:pt x="745" y="682"/>
                  </a:lnTo>
                  <a:lnTo>
                    <a:pt x="746" y="676"/>
                  </a:lnTo>
                  <a:lnTo>
                    <a:pt x="747" y="667"/>
                  </a:lnTo>
                  <a:lnTo>
                    <a:pt x="748" y="647"/>
                  </a:lnTo>
                  <a:lnTo>
                    <a:pt x="749" y="624"/>
                  </a:lnTo>
                  <a:lnTo>
                    <a:pt x="750" y="577"/>
                  </a:lnTo>
                  <a:lnTo>
                    <a:pt x="750" y="548"/>
                  </a:lnTo>
                  <a:lnTo>
                    <a:pt x="747" y="548"/>
                  </a:lnTo>
                  <a:lnTo>
                    <a:pt x="745" y="547"/>
                  </a:lnTo>
                  <a:lnTo>
                    <a:pt x="742" y="546"/>
                  </a:lnTo>
                  <a:lnTo>
                    <a:pt x="739" y="543"/>
                  </a:lnTo>
                  <a:lnTo>
                    <a:pt x="738" y="541"/>
                  </a:lnTo>
                  <a:lnTo>
                    <a:pt x="736" y="539"/>
                  </a:lnTo>
                  <a:lnTo>
                    <a:pt x="735" y="535"/>
                  </a:lnTo>
                  <a:lnTo>
                    <a:pt x="735" y="532"/>
                  </a:lnTo>
                  <a:lnTo>
                    <a:pt x="711" y="532"/>
                  </a:lnTo>
                  <a:lnTo>
                    <a:pt x="710" y="530"/>
                  </a:lnTo>
                  <a:lnTo>
                    <a:pt x="707" y="528"/>
                  </a:lnTo>
                  <a:lnTo>
                    <a:pt x="701" y="527"/>
                  </a:lnTo>
                  <a:lnTo>
                    <a:pt x="696" y="525"/>
                  </a:lnTo>
                  <a:lnTo>
                    <a:pt x="682" y="525"/>
                  </a:lnTo>
                  <a:lnTo>
                    <a:pt x="673" y="525"/>
                  </a:lnTo>
                  <a:lnTo>
                    <a:pt x="672" y="522"/>
                  </a:lnTo>
                  <a:lnTo>
                    <a:pt x="670" y="521"/>
                  </a:lnTo>
                  <a:lnTo>
                    <a:pt x="668" y="519"/>
                  </a:lnTo>
                  <a:lnTo>
                    <a:pt x="665" y="518"/>
                  </a:lnTo>
                  <a:lnTo>
                    <a:pt x="657" y="518"/>
                  </a:lnTo>
                  <a:lnTo>
                    <a:pt x="650" y="518"/>
                  </a:lnTo>
                  <a:lnTo>
                    <a:pt x="642" y="502"/>
                  </a:lnTo>
                  <a:lnTo>
                    <a:pt x="631" y="502"/>
                  </a:lnTo>
                  <a:lnTo>
                    <a:pt x="619" y="502"/>
                  </a:lnTo>
                  <a:lnTo>
                    <a:pt x="619" y="500"/>
                  </a:lnTo>
                  <a:lnTo>
                    <a:pt x="617" y="498"/>
                  </a:lnTo>
                  <a:lnTo>
                    <a:pt x="613" y="496"/>
                  </a:lnTo>
                  <a:lnTo>
                    <a:pt x="610" y="495"/>
                  </a:lnTo>
                  <a:lnTo>
                    <a:pt x="603" y="494"/>
                  </a:lnTo>
                  <a:lnTo>
                    <a:pt x="595" y="494"/>
                  </a:lnTo>
                  <a:lnTo>
                    <a:pt x="595" y="492"/>
                  </a:lnTo>
                  <a:lnTo>
                    <a:pt x="594" y="490"/>
                  </a:lnTo>
                  <a:lnTo>
                    <a:pt x="593" y="489"/>
                  </a:lnTo>
                  <a:lnTo>
                    <a:pt x="591" y="487"/>
                  </a:lnTo>
                  <a:lnTo>
                    <a:pt x="586" y="486"/>
                  </a:lnTo>
                  <a:lnTo>
                    <a:pt x="581" y="486"/>
                  </a:lnTo>
                  <a:lnTo>
                    <a:pt x="580" y="482"/>
                  </a:lnTo>
                  <a:lnTo>
                    <a:pt x="580" y="480"/>
                  </a:lnTo>
                  <a:lnTo>
                    <a:pt x="577" y="479"/>
                  </a:lnTo>
                  <a:lnTo>
                    <a:pt x="576" y="479"/>
                  </a:lnTo>
                  <a:lnTo>
                    <a:pt x="575" y="479"/>
                  </a:lnTo>
                  <a:lnTo>
                    <a:pt x="574" y="477"/>
                  </a:lnTo>
                  <a:lnTo>
                    <a:pt x="573" y="475"/>
                  </a:lnTo>
                  <a:lnTo>
                    <a:pt x="573" y="471"/>
                  </a:lnTo>
                  <a:lnTo>
                    <a:pt x="550" y="471"/>
                  </a:lnTo>
                  <a:lnTo>
                    <a:pt x="546" y="469"/>
                  </a:lnTo>
                  <a:lnTo>
                    <a:pt x="537" y="463"/>
                  </a:lnTo>
                  <a:lnTo>
                    <a:pt x="526" y="457"/>
                  </a:lnTo>
                  <a:lnTo>
                    <a:pt x="518" y="455"/>
                  </a:lnTo>
                  <a:lnTo>
                    <a:pt x="518" y="409"/>
                  </a:lnTo>
                  <a:lnTo>
                    <a:pt x="522" y="408"/>
                  </a:lnTo>
                  <a:lnTo>
                    <a:pt x="524" y="406"/>
                  </a:lnTo>
                  <a:lnTo>
                    <a:pt x="527" y="404"/>
                  </a:lnTo>
                  <a:lnTo>
                    <a:pt x="529" y="400"/>
                  </a:lnTo>
                  <a:lnTo>
                    <a:pt x="533" y="393"/>
                  </a:lnTo>
                  <a:lnTo>
                    <a:pt x="534" y="386"/>
                  </a:lnTo>
                  <a:lnTo>
                    <a:pt x="542" y="378"/>
                  </a:lnTo>
                  <a:lnTo>
                    <a:pt x="546" y="378"/>
                  </a:lnTo>
                  <a:lnTo>
                    <a:pt x="548" y="377"/>
                  </a:lnTo>
                  <a:lnTo>
                    <a:pt x="550" y="376"/>
                  </a:lnTo>
                  <a:lnTo>
                    <a:pt x="550" y="375"/>
                  </a:lnTo>
                  <a:lnTo>
                    <a:pt x="550" y="373"/>
                  </a:lnTo>
                  <a:lnTo>
                    <a:pt x="551" y="371"/>
                  </a:lnTo>
                  <a:lnTo>
                    <a:pt x="553" y="370"/>
                  </a:lnTo>
                  <a:lnTo>
                    <a:pt x="557" y="370"/>
                  </a:lnTo>
                  <a:lnTo>
                    <a:pt x="557" y="355"/>
                  </a:lnTo>
                  <a:lnTo>
                    <a:pt x="560" y="355"/>
                  </a:lnTo>
                  <a:lnTo>
                    <a:pt x="562" y="354"/>
                  </a:lnTo>
                  <a:lnTo>
                    <a:pt x="563" y="352"/>
                  </a:lnTo>
                  <a:lnTo>
                    <a:pt x="564" y="350"/>
                  </a:lnTo>
                  <a:lnTo>
                    <a:pt x="565" y="345"/>
                  </a:lnTo>
                  <a:lnTo>
                    <a:pt x="565" y="339"/>
                  </a:lnTo>
                  <a:lnTo>
                    <a:pt x="570" y="339"/>
                  </a:lnTo>
                  <a:lnTo>
                    <a:pt x="572" y="338"/>
                  </a:lnTo>
                  <a:lnTo>
                    <a:pt x="573" y="337"/>
                  </a:lnTo>
                  <a:lnTo>
                    <a:pt x="573" y="336"/>
                  </a:lnTo>
                  <a:lnTo>
                    <a:pt x="573" y="335"/>
                  </a:lnTo>
                  <a:lnTo>
                    <a:pt x="574" y="333"/>
                  </a:lnTo>
                  <a:lnTo>
                    <a:pt x="576" y="332"/>
                  </a:lnTo>
                  <a:lnTo>
                    <a:pt x="581" y="331"/>
                  </a:lnTo>
                  <a:lnTo>
                    <a:pt x="581" y="285"/>
                  </a:lnTo>
                  <a:lnTo>
                    <a:pt x="582" y="284"/>
                  </a:lnTo>
                  <a:lnTo>
                    <a:pt x="583" y="283"/>
                  </a:lnTo>
                  <a:lnTo>
                    <a:pt x="584" y="280"/>
                  </a:lnTo>
                  <a:lnTo>
                    <a:pt x="585" y="277"/>
                  </a:lnTo>
                  <a:lnTo>
                    <a:pt x="586" y="268"/>
                  </a:lnTo>
                  <a:lnTo>
                    <a:pt x="587" y="258"/>
                  </a:lnTo>
                  <a:lnTo>
                    <a:pt x="587" y="236"/>
                  </a:lnTo>
                  <a:lnTo>
                    <a:pt x="589" y="223"/>
                  </a:lnTo>
                  <a:lnTo>
                    <a:pt x="585" y="223"/>
                  </a:lnTo>
                  <a:lnTo>
                    <a:pt x="584" y="220"/>
                  </a:lnTo>
                  <a:lnTo>
                    <a:pt x="582" y="216"/>
                  </a:lnTo>
                  <a:lnTo>
                    <a:pt x="581" y="211"/>
                  </a:lnTo>
                  <a:lnTo>
                    <a:pt x="581" y="201"/>
                  </a:lnTo>
                  <a:lnTo>
                    <a:pt x="581" y="193"/>
                  </a:lnTo>
                  <a:lnTo>
                    <a:pt x="577" y="192"/>
                  </a:lnTo>
                  <a:lnTo>
                    <a:pt x="574" y="192"/>
                  </a:lnTo>
                  <a:lnTo>
                    <a:pt x="572" y="190"/>
                  </a:lnTo>
                  <a:lnTo>
                    <a:pt x="570" y="187"/>
                  </a:lnTo>
                  <a:lnTo>
                    <a:pt x="567" y="185"/>
                  </a:lnTo>
                  <a:lnTo>
                    <a:pt x="566" y="183"/>
                  </a:lnTo>
                  <a:lnTo>
                    <a:pt x="565" y="181"/>
                  </a:lnTo>
                  <a:lnTo>
                    <a:pt x="565" y="177"/>
                  </a:lnTo>
                  <a:lnTo>
                    <a:pt x="562" y="176"/>
                  </a:lnTo>
                  <a:lnTo>
                    <a:pt x="560" y="175"/>
                  </a:lnTo>
                  <a:lnTo>
                    <a:pt x="556" y="172"/>
                  </a:lnTo>
                  <a:lnTo>
                    <a:pt x="554" y="168"/>
                  </a:lnTo>
                  <a:lnTo>
                    <a:pt x="551" y="160"/>
                  </a:lnTo>
                  <a:lnTo>
                    <a:pt x="550" y="154"/>
                  </a:lnTo>
                  <a:lnTo>
                    <a:pt x="544" y="153"/>
                  </a:lnTo>
                  <a:lnTo>
                    <a:pt x="541" y="150"/>
                  </a:lnTo>
                  <a:lnTo>
                    <a:pt x="537" y="146"/>
                  </a:lnTo>
                  <a:lnTo>
                    <a:pt x="535" y="140"/>
                  </a:lnTo>
                  <a:lnTo>
                    <a:pt x="534" y="134"/>
                  </a:lnTo>
                  <a:lnTo>
                    <a:pt x="534" y="127"/>
                  </a:lnTo>
                  <a:lnTo>
                    <a:pt x="534" y="119"/>
                  </a:lnTo>
                  <a:lnTo>
                    <a:pt x="534" y="110"/>
                  </a:lnTo>
                  <a:lnTo>
                    <a:pt x="538" y="79"/>
                  </a:lnTo>
                  <a:lnTo>
                    <a:pt x="542" y="61"/>
                  </a:lnTo>
                  <a:lnTo>
                    <a:pt x="544" y="60"/>
                  </a:lnTo>
                  <a:lnTo>
                    <a:pt x="546" y="56"/>
                  </a:lnTo>
                  <a:lnTo>
                    <a:pt x="547" y="49"/>
                  </a:lnTo>
                  <a:lnTo>
                    <a:pt x="548" y="41"/>
                  </a:lnTo>
                  <a:lnTo>
                    <a:pt x="550" y="25"/>
                  </a:lnTo>
                  <a:lnTo>
                    <a:pt x="550" y="15"/>
                  </a:lnTo>
                  <a:lnTo>
                    <a:pt x="537" y="12"/>
                  </a:lnTo>
                  <a:lnTo>
                    <a:pt x="515" y="8"/>
                  </a:lnTo>
                  <a:lnTo>
                    <a:pt x="500" y="4"/>
                  </a:lnTo>
                  <a:lnTo>
                    <a:pt x="486" y="2"/>
                  </a:lnTo>
                  <a:lnTo>
                    <a:pt x="471" y="0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6" name="Freeform 32"/>
            <p:cNvSpPr>
              <a:spLocks noChangeAspect="1"/>
            </p:cNvSpPr>
            <p:nvPr/>
          </p:nvSpPr>
          <p:spPr bwMode="gray">
            <a:xfrm rot="355651">
              <a:off x="5635626" y="3117850"/>
              <a:ext cx="239097" cy="211856"/>
            </a:xfrm>
            <a:custGeom>
              <a:avLst/>
              <a:gdLst/>
              <a:ahLst/>
              <a:cxnLst>
                <a:cxn ang="0">
                  <a:pos x="796" y="29"/>
                </a:cxn>
                <a:cxn ang="0">
                  <a:pos x="746" y="104"/>
                </a:cxn>
                <a:cxn ang="0">
                  <a:pos x="629" y="114"/>
                </a:cxn>
                <a:cxn ang="0">
                  <a:pos x="611" y="125"/>
                </a:cxn>
                <a:cxn ang="0">
                  <a:pos x="585" y="139"/>
                </a:cxn>
                <a:cxn ang="0">
                  <a:pos x="560" y="169"/>
                </a:cxn>
                <a:cxn ang="0">
                  <a:pos x="529" y="279"/>
                </a:cxn>
                <a:cxn ang="0">
                  <a:pos x="515" y="291"/>
                </a:cxn>
                <a:cxn ang="0">
                  <a:pos x="487" y="340"/>
                </a:cxn>
                <a:cxn ang="0">
                  <a:pos x="509" y="356"/>
                </a:cxn>
                <a:cxn ang="0">
                  <a:pos x="516" y="407"/>
                </a:cxn>
                <a:cxn ang="0">
                  <a:pos x="476" y="541"/>
                </a:cxn>
                <a:cxn ang="0">
                  <a:pos x="464" y="559"/>
                </a:cxn>
                <a:cxn ang="0">
                  <a:pos x="425" y="610"/>
                </a:cxn>
                <a:cxn ang="0">
                  <a:pos x="410" y="704"/>
                </a:cxn>
                <a:cxn ang="0">
                  <a:pos x="387" y="742"/>
                </a:cxn>
                <a:cxn ang="0">
                  <a:pos x="345" y="765"/>
                </a:cxn>
                <a:cxn ang="0">
                  <a:pos x="327" y="780"/>
                </a:cxn>
                <a:cxn ang="0">
                  <a:pos x="316" y="792"/>
                </a:cxn>
                <a:cxn ang="0">
                  <a:pos x="294" y="804"/>
                </a:cxn>
                <a:cxn ang="0">
                  <a:pos x="257" y="834"/>
                </a:cxn>
                <a:cxn ang="0">
                  <a:pos x="224" y="935"/>
                </a:cxn>
                <a:cxn ang="0">
                  <a:pos x="208" y="943"/>
                </a:cxn>
                <a:cxn ang="0">
                  <a:pos x="84" y="1019"/>
                </a:cxn>
                <a:cxn ang="0">
                  <a:pos x="30" y="1082"/>
                </a:cxn>
                <a:cxn ang="0">
                  <a:pos x="0" y="1195"/>
                </a:cxn>
                <a:cxn ang="0">
                  <a:pos x="137" y="1209"/>
                </a:cxn>
                <a:cxn ang="0">
                  <a:pos x="289" y="1185"/>
                </a:cxn>
                <a:cxn ang="0">
                  <a:pos x="404" y="1207"/>
                </a:cxn>
                <a:cxn ang="0">
                  <a:pos x="580" y="1225"/>
                </a:cxn>
                <a:cxn ang="0">
                  <a:pos x="647" y="1237"/>
                </a:cxn>
                <a:cxn ang="0">
                  <a:pos x="680" y="1291"/>
                </a:cxn>
                <a:cxn ang="0">
                  <a:pos x="717" y="1242"/>
                </a:cxn>
                <a:cxn ang="0">
                  <a:pos x="721" y="1127"/>
                </a:cxn>
                <a:cxn ang="0">
                  <a:pos x="834" y="1073"/>
                </a:cxn>
                <a:cxn ang="0">
                  <a:pos x="1015" y="1083"/>
                </a:cxn>
                <a:cxn ang="0">
                  <a:pos x="1108" y="1048"/>
                </a:cxn>
                <a:cxn ang="0">
                  <a:pos x="1207" y="906"/>
                </a:cxn>
                <a:cxn ang="0">
                  <a:pos x="1249" y="802"/>
                </a:cxn>
                <a:cxn ang="0">
                  <a:pos x="1303" y="702"/>
                </a:cxn>
                <a:cxn ang="0">
                  <a:pos x="1311" y="678"/>
                </a:cxn>
                <a:cxn ang="0">
                  <a:pos x="1286" y="596"/>
                </a:cxn>
                <a:cxn ang="0">
                  <a:pos x="1257" y="574"/>
                </a:cxn>
                <a:cxn ang="0">
                  <a:pos x="1226" y="543"/>
                </a:cxn>
                <a:cxn ang="0">
                  <a:pos x="1213" y="513"/>
                </a:cxn>
                <a:cxn ang="0">
                  <a:pos x="1198" y="467"/>
                </a:cxn>
                <a:cxn ang="0">
                  <a:pos x="1157" y="443"/>
                </a:cxn>
                <a:cxn ang="0">
                  <a:pos x="1137" y="431"/>
                </a:cxn>
                <a:cxn ang="0">
                  <a:pos x="1086" y="386"/>
                </a:cxn>
                <a:cxn ang="0">
                  <a:pos x="1059" y="356"/>
                </a:cxn>
                <a:cxn ang="0">
                  <a:pos x="1028" y="321"/>
                </a:cxn>
                <a:cxn ang="0">
                  <a:pos x="1005" y="290"/>
                </a:cxn>
                <a:cxn ang="0">
                  <a:pos x="949" y="262"/>
                </a:cxn>
                <a:cxn ang="0">
                  <a:pos x="915" y="232"/>
                </a:cxn>
                <a:cxn ang="0">
                  <a:pos x="889" y="199"/>
                </a:cxn>
                <a:cxn ang="0">
                  <a:pos x="879" y="169"/>
                </a:cxn>
                <a:cxn ang="0">
                  <a:pos x="874" y="84"/>
                </a:cxn>
                <a:cxn ang="0">
                  <a:pos x="873" y="0"/>
                </a:cxn>
              </a:cxnLst>
              <a:rect l="0" t="0" r="r" b="b"/>
              <a:pathLst>
                <a:path w="1313" h="1314">
                  <a:moveTo>
                    <a:pt x="858" y="15"/>
                  </a:moveTo>
                  <a:lnTo>
                    <a:pt x="851" y="14"/>
                  </a:lnTo>
                  <a:lnTo>
                    <a:pt x="842" y="11"/>
                  </a:lnTo>
                  <a:lnTo>
                    <a:pt x="833" y="6"/>
                  </a:lnTo>
                  <a:lnTo>
                    <a:pt x="826" y="0"/>
                  </a:lnTo>
                  <a:lnTo>
                    <a:pt x="803" y="0"/>
                  </a:lnTo>
                  <a:lnTo>
                    <a:pt x="796" y="7"/>
                  </a:lnTo>
                  <a:lnTo>
                    <a:pt x="796" y="29"/>
                  </a:lnTo>
                  <a:lnTo>
                    <a:pt x="796" y="54"/>
                  </a:lnTo>
                  <a:lnTo>
                    <a:pt x="796" y="80"/>
                  </a:lnTo>
                  <a:lnTo>
                    <a:pt x="796" y="100"/>
                  </a:lnTo>
                  <a:lnTo>
                    <a:pt x="765" y="100"/>
                  </a:lnTo>
                  <a:lnTo>
                    <a:pt x="764" y="102"/>
                  </a:lnTo>
                  <a:lnTo>
                    <a:pt x="759" y="103"/>
                  </a:lnTo>
                  <a:lnTo>
                    <a:pt x="754" y="104"/>
                  </a:lnTo>
                  <a:lnTo>
                    <a:pt x="746" y="104"/>
                  </a:lnTo>
                  <a:lnTo>
                    <a:pt x="727" y="107"/>
                  </a:lnTo>
                  <a:lnTo>
                    <a:pt x="705" y="107"/>
                  </a:lnTo>
                  <a:lnTo>
                    <a:pt x="660" y="108"/>
                  </a:lnTo>
                  <a:lnTo>
                    <a:pt x="633" y="108"/>
                  </a:lnTo>
                  <a:lnTo>
                    <a:pt x="633" y="111"/>
                  </a:lnTo>
                  <a:lnTo>
                    <a:pt x="632" y="112"/>
                  </a:lnTo>
                  <a:lnTo>
                    <a:pt x="631" y="114"/>
                  </a:lnTo>
                  <a:lnTo>
                    <a:pt x="629" y="114"/>
                  </a:lnTo>
                  <a:lnTo>
                    <a:pt x="623" y="116"/>
                  </a:lnTo>
                  <a:lnTo>
                    <a:pt x="618" y="116"/>
                  </a:lnTo>
                  <a:lnTo>
                    <a:pt x="618" y="120"/>
                  </a:lnTo>
                  <a:lnTo>
                    <a:pt x="617" y="122"/>
                  </a:lnTo>
                  <a:lnTo>
                    <a:pt x="615" y="123"/>
                  </a:lnTo>
                  <a:lnTo>
                    <a:pt x="614" y="123"/>
                  </a:lnTo>
                  <a:lnTo>
                    <a:pt x="612" y="123"/>
                  </a:lnTo>
                  <a:lnTo>
                    <a:pt x="611" y="125"/>
                  </a:lnTo>
                  <a:lnTo>
                    <a:pt x="611" y="127"/>
                  </a:lnTo>
                  <a:lnTo>
                    <a:pt x="610" y="131"/>
                  </a:lnTo>
                  <a:lnTo>
                    <a:pt x="594" y="131"/>
                  </a:lnTo>
                  <a:lnTo>
                    <a:pt x="594" y="133"/>
                  </a:lnTo>
                  <a:lnTo>
                    <a:pt x="593" y="136"/>
                  </a:lnTo>
                  <a:lnTo>
                    <a:pt x="592" y="137"/>
                  </a:lnTo>
                  <a:lnTo>
                    <a:pt x="590" y="138"/>
                  </a:lnTo>
                  <a:lnTo>
                    <a:pt x="585" y="139"/>
                  </a:lnTo>
                  <a:lnTo>
                    <a:pt x="580" y="139"/>
                  </a:lnTo>
                  <a:lnTo>
                    <a:pt x="579" y="142"/>
                  </a:lnTo>
                  <a:lnTo>
                    <a:pt x="576" y="147"/>
                  </a:lnTo>
                  <a:lnTo>
                    <a:pt x="574" y="152"/>
                  </a:lnTo>
                  <a:lnTo>
                    <a:pt x="571" y="157"/>
                  </a:lnTo>
                  <a:lnTo>
                    <a:pt x="566" y="162"/>
                  </a:lnTo>
                  <a:lnTo>
                    <a:pt x="563" y="166"/>
                  </a:lnTo>
                  <a:lnTo>
                    <a:pt x="560" y="169"/>
                  </a:lnTo>
                  <a:lnTo>
                    <a:pt x="556" y="170"/>
                  </a:lnTo>
                  <a:lnTo>
                    <a:pt x="556" y="263"/>
                  </a:lnTo>
                  <a:lnTo>
                    <a:pt x="548" y="271"/>
                  </a:lnTo>
                  <a:lnTo>
                    <a:pt x="533" y="271"/>
                  </a:lnTo>
                  <a:lnTo>
                    <a:pt x="533" y="275"/>
                  </a:lnTo>
                  <a:lnTo>
                    <a:pt x="532" y="277"/>
                  </a:lnTo>
                  <a:lnTo>
                    <a:pt x="531" y="279"/>
                  </a:lnTo>
                  <a:lnTo>
                    <a:pt x="529" y="279"/>
                  </a:lnTo>
                  <a:lnTo>
                    <a:pt x="527" y="279"/>
                  </a:lnTo>
                  <a:lnTo>
                    <a:pt x="526" y="280"/>
                  </a:lnTo>
                  <a:lnTo>
                    <a:pt x="525" y="282"/>
                  </a:lnTo>
                  <a:lnTo>
                    <a:pt x="525" y="286"/>
                  </a:lnTo>
                  <a:lnTo>
                    <a:pt x="523" y="286"/>
                  </a:lnTo>
                  <a:lnTo>
                    <a:pt x="519" y="287"/>
                  </a:lnTo>
                  <a:lnTo>
                    <a:pt x="517" y="289"/>
                  </a:lnTo>
                  <a:lnTo>
                    <a:pt x="515" y="291"/>
                  </a:lnTo>
                  <a:lnTo>
                    <a:pt x="513" y="293"/>
                  </a:lnTo>
                  <a:lnTo>
                    <a:pt x="510" y="295"/>
                  </a:lnTo>
                  <a:lnTo>
                    <a:pt x="510" y="299"/>
                  </a:lnTo>
                  <a:lnTo>
                    <a:pt x="509" y="301"/>
                  </a:lnTo>
                  <a:lnTo>
                    <a:pt x="502" y="309"/>
                  </a:lnTo>
                  <a:lnTo>
                    <a:pt x="487" y="317"/>
                  </a:lnTo>
                  <a:lnTo>
                    <a:pt x="487" y="329"/>
                  </a:lnTo>
                  <a:lnTo>
                    <a:pt x="487" y="340"/>
                  </a:lnTo>
                  <a:lnTo>
                    <a:pt x="492" y="341"/>
                  </a:lnTo>
                  <a:lnTo>
                    <a:pt x="496" y="342"/>
                  </a:lnTo>
                  <a:lnTo>
                    <a:pt x="498" y="344"/>
                  </a:lnTo>
                  <a:lnTo>
                    <a:pt x="502" y="348"/>
                  </a:lnTo>
                  <a:lnTo>
                    <a:pt x="503" y="351"/>
                  </a:lnTo>
                  <a:lnTo>
                    <a:pt x="505" y="353"/>
                  </a:lnTo>
                  <a:lnTo>
                    <a:pt x="507" y="354"/>
                  </a:lnTo>
                  <a:lnTo>
                    <a:pt x="509" y="356"/>
                  </a:lnTo>
                  <a:lnTo>
                    <a:pt x="509" y="371"/>
                  </a:lnTo>
                  <a:lnTo>
                    <a:pt x="513" y="371"/>
                  </a:lnTo>
                  <a:lnTo>
                    <a:pt x="515" y="372"/>
                  </a:lnTo>
                  <a:lnTo>
                    <a:pt x="516" y="375"/>
                  </a:lnTo>
                  <a:lnTo>
                    <a:pt x="517" y="378"/>
                  </a:lnTo>
                  <a:lnTo>
                    <a:pt x="518" y="386"/>
                  </a:lnTo>
                  <a:lnTo>
                    <a:pt x="518" y="396"/>
                  </a:lnTo>
                  <a:lnTo>
                    <a:pt x="516" y="407"/>
                  </a:lnTo>
                  <a:lnTo>
                    <a:pt x="514" y="420"/>
                  </a:lnTo>
                  <a:lnTo>
                    <a:pt x="510" y="435"/>
                  </a:lnTo>
                  <a:lnTo>
                    <a:pt x="506" y="450"/>
                  </a:lnTo>
                  <a:lnTo>
                    <a:pt x="497" y="481"/>
                  </a:lnTo>
                  <a:lnTo>
                    <a:pt x="488" y="507"/>
                  </a:lnTo>
                  <a:lnTo>
                    <a:pt x="481" y="530"/>
                  </a:lnTo>
                  <a:lnTo>
                    <a:pt x="479" y="541"/>
                  </a:lnTo>
                  <a:lnTo>
                    <a:pt x="476" y="541"/>
                  </a:lnTo>
                  <a:lnTo>
                    <a:pt x="475" y="542"/>
                  </a:lnTo>
                  <a:lnTo>
                    <a:pt x="473" y="544"/>
                  </a:lnTo>
                  <a:lnTo>
                    <a:pt x="473" y="545"/>
                  </a:lnTo>
                  <a:lnTo>
                    <a:pt x="471" y="551"/>
                  </a:lnTo>
                  <a:lnTo>
                    <a:pt x="471" y="556"/>
                  </a:lnTo>
                  <a:lnTo>
                    <a:pt x="467" y="556"/>
                  </a:lnTo>
                  <a:lnTo>
                    <a:pt x="465" y="558"/>
                  </a:lnTo>
                  <a:lnTo>
                    <a:pt x="464" y="559"/>
                  </a:lnTo>
                  <a:lnTo>
                    <a:pt x="464" y="560"/>
                  </a:lnTo>
                  <a:lnTo>
                    <a:pt x="464" y="562"/>
                  </a:lnTo>
                  <a:lnTo>
                    <a:pt x="462" y="563"/>
                  </a:lnTo>
                  <a:lnTo>
                    <a:pt x="460" y="564"/>
                  </a:lnTo>
                  <a:lnTo>
                    <a:pt x="456" y="564"/>
                  </a:lnTo>
                  <a:lnTo>
                    <a:pt x="456" y="580"/>
                  </a:lnTo>
                  <a:lnTo>
                    <a:pt x="440" y="596"/>
                  </a:lnTo>
                  <a:lnTo>
                    <a:pt x="425" y="610"/>
                  </a:lnTo>
                  <a:lnTo>
                    <a:pt x="423" y="627"/>
                  </a:lnTo>
                  <a:lnTo>
                    <a:pt x="421" y="650"/>
                  </a:lnTo>
                  <a:lnTo>
                    <a:pt x="418" y="675"/>
                  </a:lnTo>
                  <a:lnTo>
                    <a:pt x="417" y="696"/>
                  </a:lnTo>
                  <a:lnTo>
                    <a:pt x="414" y="696"/>
                  </a:lnTo>
                  <a:lnTo>
                    <a:pt x="412" y="698"/>
                  </a:lnTo>
                  <a:lnTo>
                    <a:pt x="411" y="700"/>
                  </a:lnTo>
                  <a:lnTo>
                    <a:pt x="410" y="704"/>
                  </a:lnTo>
                  <a:lnTo>
                    <a:pt x="409" y="712"/>
                  </a:lnTo>
                  <a:lnTo>
                    <a:pt x="409" y="718"/>
                  </a:lnTo>
                  <a:lnTo>
                    <a:pt x="402" y="725"/>
                  </a:lnTo>
                  <a:lnTo>
                    <a:pt x="394" y="731"/>
                  </a:lnTo>
                  <a:lnTo>
                    <a:pt x="391" y="733"/>
                  </a:lnTo>
                  <a:lnTo>
                    <a:pt x="389" y="736"/>
                  </a:lnTo>
                  <a:lnTo>
                    <a:pt x="387" y="739"/>
                  </a:lnTo>
                  <a:lnTo>
                    <a:pt x="387" y="742"/>
                  </a:lnTo>
                  <a:lnTo>
                    <a:pt x="371" y="742"/>
                  </a:lnTo>
                  <a:lnTo>
                    <a:pt x="371" y="757"/>
                  </a:lnTo>
                  <a:lnTo>
                    <a:pt x="355" y="757"/>
                  </a:lnTo>
                  <a:lnTo>
                    <a:pt x="354" y="760"/>
                  </a:lnTo>
                  <a:lnTo>
                    <a:pt x="354" y="762"/>
                  </a:lnTo>
                  <a:lnTo>
                    <a:pt x="352" y="763"/>
                  </a:lnTo>
                  <a:lnTo>
                    <a:pt x="350" y="764"/>
                  </a:lnTo>
                  <a:lnTo>
                    <a:pt x="345" y="765"/>
                  </a:lnTo>
                  <a:lnTo>
                    <a:pt x="340" y="765"/>
                  </a:lnTo>
                  <a:lnTo>
                    <a:pt x="340" y="769"/>
                  </a:lnTo>
                  <a:lnTo>
                    <a:pt x="339" y="771"/>
                  </a:lnTo>
                  <a:lnTo>
                    <a:pt x="336" y="773"/>
                  </a:lnTo>
                  <a:lnTo>
                    <a:pt x="335" y="775"/>
                  </a:lnTo>
                  <a:lnTo>
                    <a:pt x="333" y="777"/>
                  </a:lnTo>
                  <a:lnTo>
                    <a:pt x="330" y="780"/>
                  </a:lnTo>
                  <a:lnTo>
                    <a:pt x="327" y="780"/>
                  </a:lnTo>
                  <a:lnTo>
                    <a:pt x="324" y="781"/>
                  </a:lnTo>
                  <a:lnTo>
                    <a:pt x="324" y="785"/>
                  </a:lnTo>
                  <a:lnTo>
                    <a:pt x="323" y="787"/>
                  </a:lnTo>
                  <a:lnTo>
                    <a:pt x="322" y="789"/>
                  </a:lnTo>
                  <a:lnTo>
                    <a:pt x="321" y="789"/>
                  </a:lnTo>
                  <a:lnTo>
                    <a:pt x="318" y="789"/>
                  </a:lnTo>
                  <a:lnTo>
                    <a:pt x="317" y="790"/>
                  </a:lnTo>
                  <a:lnTo>
                    <a:pt x="316" y="792"/>
                  </a:lnTo>
                  <a:lnTo>
                    <a:pt x="316" y="796"/>
                  </a:lnTo>
                  <a:lnTo>
                    <a:pt x="301" y="796"/>
                  </a:lnTo>
                  <a:lnTo>
                    <a:pt x="301" y="801"/>
                  </a:lnTo>
                  <a:lnTo>
                    <a:pt x="299" y="803"/>
                  </a:lnTo>
                  <a:lnTo>
                    <a:pt x="298" y="803"/>
                  </a:lnTo>
                  <a:lnTo>
                    <a:pt x="297" y="804"/>
                  </a:lnTo>
                  <a:lnTo>
                    <a:pt x="296" y="804"/>
                  </a:lnTo>
                  <a:lnTo>
                    <a:pt x="294" y="804"/>
                  </a:lnTo>
                  <a:lnTo>
                    <a:pt x="294" y="808"/>
                  </a:lnTo>
                  <a:lnTo>
                    <a:pt x="293" y="811"/>
                  </a:lnTo>
                  <a:lnTo>
                    <a:pt x="278" y="811"/>
                  </a:lnTo>
                  <a:lnTo>
                    <a:pt x="272" y="819"/>
                  </a:lnTo>
                  <a:lnTo>
                    <a:pt x="266" y="825"/>
                  </a:lnTo>
                  <a:lnTo>
                    <a:pt x="264" y="830"/>
                  </a:lnTo>
                  <a:lnTo>
                    <a:pt x="260" y="832"/>
                  </a:lnTo>
                  <a:lnTo>
                    <a:pt x="257" y="834"/>
                  </a:lnTo>
                  <a:lnTo>
                    <a:pt x="255" y="834"/>
                  </a:lnTo>
                  <a:lnTo>
                    <a:pt x="255" y="858"/>
                  </a:lnTo>
                  <a:lnTo>
                    <a:pt x="239" y="866"/>
                  </a:lnTo>
                  <a:lnTo>
                    <a:pt x="238" y="882"/>
                  </a:lnTo>
                  <a:lnTo>
                    <a:pt x="235" y="899"/>
                  </a:lnTo>
                  <a:lnTo>
                    <a:pt x="233" y="915"/>
                  </a:lnTo>
                  <a:lnTo>
                    <a:pt x="231" y="927"/>
                  </a:lnTo>
                  <a:lnTo>
                    <a:pt x="224" y="935"/>
                  </a:lnTo>
                  <a:lnTo>
                    <a:pt x="219" y="936"/>
                  </a:lnTo>
                  <a:lnTo>
                    <a:pt x="217" y="936"/>
                  </a:lnTo>
                  <a:lnTo>
                    <a:pt x="216" y="938"/>
                  </a:lnTo>
                  <a:lnTo>
                    <a:pt x="216" y="939"/>
                  </a:lnTo>
                  <a:lnTo>
                    <a:pt x="216" y="940"/>
                  </a:lnTo>
                  <a:lnTo>
                    <a:pt x="215" y="941"/>
                  </a:lnTo>
                  <a:lnTo>
                    <a:pt x="212" y="943"/>
                  </a:lnTo>
                  <a:lnTo>
                    <a:pt x="208" y="943"/>
                  </a:lnTo>
                  <a:lnTo>
                    <a:pt x="208" y="958"/>
                  </a:lnTo>
                  <a:lnTo>
                    <a:pt x="199" y="967"/>
                  </a:lnTo>
                  <a:lnTo>
                    <a:pt x="178" y="985"/>
                  </a:lnTo>
                  <a:lnTo>
                    <a:pt x="157" y="1004"/>
                  </a:lnTo>
                  <a:lnTo>
                    <a:pt x="147" y="1013"/>
                  </a:lnTo>
                  <a:lnTo>
                    <a:pt x="128" y="1014"/>
                  </a:lnTo>
                  <a:lnTo>
                    <a:pt x="106" y="1016"/>
                  </a:lnTo>
                  <a:lnTo>
                    <a:pt x="84" y="1019"/>
                  </a:lnTo>
                  <a:lnTo>
                    <a:pt x="62" y="1020"/>
                  </a:lnTo>
                  <a:lnTo>
                    <a:pt x="54" y="1027"/>
                  </a:lnTo>
                  <a:lnTo>
                    <a:pt x="51" y="1040"/>
                  </a:lnTo>
                  <a:lnTo>
                    <a:pt x="45" y="1058"/>
                  </a:lnTo>
                  <a:lnTo>
                    <a:pt x="42" y="1066"/>
                  </a:lnTo>
                  <a:lnTo>
                    <a:pt x="37" y="1074"/>
                  </a:lnTo>
                  <a:lnTo>
                    <a:pt x="34" y="1080"/>
                  </a:lnTo>
                  <a:lnTo>
                    <a:pt x="30" y="1082"/>
                  </a:lnTo>
                  <a:lnTo>
                    <a:pt x="29" y="1091"/>
                  </a:lnTo>
                  <a:lnTo>
                    <a:pt x="26" y="1104"/>
                  </a:lnTo>
                  <a:lnTo>
                    <a:pt x="24" y="1110"/>
                  </a:lnTo>
                  <a:lnTo>
                    <a:pt x="20" y="1116"/>
                  </a:lnTo>
                  <a:lnTo>
                    <a:pt x="18" y="1119"/>
                  </a:lnTo>
                  <a:lnTo>
                    <a:pt x="15" y="1120"/>
                  </a:lnTo>
                  <a:lnTo>
                    <a:pt x="4" y="1195"/>
                  </a:lnTo>
                  <a:lnTo>
                    <a:pt x="0" y="1195"/>
                  </a:lnTo>
                  <a:lnTo>
                    <a:pt x="13" y="1194"/>
                  </a:lnTo>
                  <a:lnTo>
                    <a:pt x="37" y="1194"/>
                  </a:lnTo>
                  <a:lnTo>
                    <a:pt x="71" y="1196"/>
                  </a:lnTo>
                  <a:lnTo>
                    <a:pt x="89" y="1198"/>
                  </a:lnTo>
                  <a:lnTo>
                    <a:pt x="107" y="1204"/>
                  </a:lnTo>
                  <a:lnTo>
                    <a:pt x="118" y="1206"/>
                  </a:lnTo>
                  <a:lnTo>
                    <a:pt x="126" y="1208"/>
                  </a:lnTo>
                  <a:lnTo>
                    <a:pt x="137" y="1209"/>
                  </a:lnTo>
                  <a:lnTo>
                    <a:pt x="145" y="1210"/>
                  </a:lnTo>
                  <a:lnTo>
                    <a:pt x="173" y="1208"/>
                  </a:lnTo>
                  <a:lnTo>
                    <a:pt x="201" y="1205"/>
                  </a:lnTo>
                  <a:lnTo>
                    <a:pt x="227" y="1199"/>
                  </a:lnTo>
                  <a:lnTo>
                    <a:pt x="249" y="1195"/>
                  </a:lnTo>
                  <a:lnTo>
                    <a:pt x="269" y="1189"/>
                  </a:lnTo>
                  <a:lnTo>
                    <a:pt x="284" y="1186"/>
                  </a:lnTo>
                  <a:lnTo>
                    <a:pt x="289" y="1185"/>
                  </a:lnTo>
                  <a:lnTo>
                    <a:pt x="294" y="1184"/>
                  </a:lnTo>
                  <a:lnTo>
                    <a:pt x="296" y="1185"/>
                  </a:lnTo>
                  <a:lnTo>
                    <a:pt x="297" y="1185"/>
                  </a:lnTo>
                  <a:lnTo>
                    <a:pt x="307" y="1186"/>
                  </a:lnTo>
                  <a:lnTo>
                    <a:pt x="321" y="1188"/>
                  </a:lnTo>
                  <a:lnTo>
                    <a:pt x="337" y="1191"/>
                  </a:lnTo>
                  <a:lnTo>
                    <a:pt x="358" y="1196"/>
                  </a:lnTo>
                  <a:lnTo>
                    <a:pt x="404" y="1207"/>
                  </a:lnTo>
                  <a:lnTo>
                    <a:pt x="457" y="1221"/>
                  </a:lnTo>
                  <a:lnTo>
                    <a:pt x="468" y="1223"/>
                  </a:lnTo>
                  <a:lnTo>
                    <a:pt x="479" y="1224"/>
                  </a:lnTo>
                  <a:lnTo>
                    <a:pt x="492" y="1226"/>
                  </a:lnTo>
                  <a:lnTo>
                    <a:pt x="504" y="1226"/>
                  </a:lnTo>
                  <a:lnTo>
                    <a:pt x="529" y="1226"/>
                  </a:lnTo>
                  <a:lnTo>
                    <a:pt x="555" y="1226"/>
                  </a:lnTo>
                  <a:lnTo>
                    <a:pt x="580" y="1225"/>
                  </a:lnTo>
                  <a:lnTo>
                    <a:pt x="602" y="1225"/>
                  </a:lnTo>
                  <a:lnTo>
                    <a:pt x="612" y="1226"/>
                  </a:lnTo>
                  <a:lnTo>
                    <a:pt x="622" y="1226"/>
                  </a:lnTo>
                  <a:lnTo>
                    <a:pt x="631" y="1228"/>
                  </a:lnTo>
                  <a:lnTo>
                    <a:pt x="638" y="1231"/>
                  </a:lnTo>
                  <a:lnTo>
                    <a:pt x="642" y="1232"/>
                  </a:lnTo>
                  <a:lnTo>
                    <a:pt x="644" y="1234"/>
                  </a:lnTo>
                  <a:lnTo>
                    <a:pt x="647" y="1237"/>
                  </a:lnTo>
                  <a:lnTo>
                    <a:pt x="649" y="1241"/>
                  </a:lnTo>
                  <a:lnTo>
                    <a:pt x="651" y="1250"/>
                  </a:lnTo>
                  <a:lnTo>
                    <a:pt x="651" y="1258"/>
                  </a:lnTo>
                  <a:lnTo>
                    <a:pt x="650" y="1274"/>
                  </a:lnTo>
                  <a:lnTo>
                    <a:pt x="649" y="1283"/>
                  </a:lnTo>
                  <a:lnTo>
                    <a:pt x="657" y="1284"/>
                  </a:lnTo>
                  <a:lnTo>
                    <a:pt x="668" y="1286"/>
                  </a:lnTo>
                  <a:lnTo>
                    <a:pt x="680" y="1291"/>
                  </a:lnTo>
                  <a:lnTo>
                    <a:pt x="694" y="1295"/>
                  </a:lnTo>
                  <a:lnTo>
                    <a:pt x="706" y="1301"/>
                  </a:lnTo>
                  <a:lnTo>
                    <a:pt x="716" y="1305"/>
                  </a:lnTo>
                  <a:lnTo>
                    <a:pt x="724" y="1310"/>
                  </a:lnTo>
                  <a:lnTo>
                    <a:pt x="726" y="1314"/>
                  </a:lnTo>
                  <a:lnTo>
                    <a:pt x="728" y="1314"/>
                  </a:lnTo>
                  <a:lnTo>
                    <a:pt x="723" y="1277"/>
                  </a:lnTo>
                  <a:lnTo>
                    <a:pt x="717" y="1242"/>
                  </a:lnTo>
                  <a:lnTo>
                    <a:pt x="715" y="1225"/>
                  </a:lnTo>
                  <a:lnTo>
                    <a:pt x="714" y="1208"/>
                  </a:lnTo>
                  <a:lnTo>
                    <a:pt x="713" y="1193"/>
                  </a:lnTo>
                  <a:lnTo>
                    <a:pt x="713" y="1178"/>
                  </a:lnTo>
                  <a:lnTo>
                    <a:pt x="714" y="1164"/>
                  </a:lnTo>
                  <a:lnTo>
                    <a:pt x="715" y="1150"/>
                  </a:lnTo>
                  <a:lnTo>
                    <a:pt x="718" y="1138"/>
                  </a:lnTo>
                  <a:lnTo>
                    <a:pt x="721" y="1127"/>
                  </a:lnTo>
                  <a:lnTo>
                    <a:pt x="727" y="1118"/>
                  </a:lnTo>
                  <a:lnTo>
                    <a:pt x="734" y="1109"/>
                  </a:lnTo>
                  <a:lnTo>
                    <a:pt x="742" y="1102"/>
                  </a:lnTo>
                  <a:lnTo>
                    <a:pt x="750" y="1097"/>
                  </a:lnTo>
                  <a:lnTo>
                    <a:pt x="772" y="1088"/>
                  </a:lnTo>
                  <a:lnTo>
                    <a:pt x="793" y="1081"/>
                  </a:lnTo>
                  <a:lnTo>
                    <a:pt x="814" y="1077"/>
                  </a:lnTo>
                  <a:lnTo>
                    <a:pt x="834" y="1073"/>
                  </a:lnTo>
                  <a:lnTo>
                    <a:pt x="854" y="1072"/>
                  </a:lnTo>
                  <a:lnTo>
                    <a:pt x="873" y="1072"/>
                  </a:lnTo>
                  <a:lnTo>
                    <a:pt x="892" y="1072"/>
                  </a:lnTo>
                  <a:lnTo>
                    <a:pt x="911" y="1074"/>
                  </a:lnTo>
                  <a:lnTo>
                    <a:pt x="947" y="1078"/>
                  </a:lnTo>
                  <a:lnTo>
                    <a:pt x="982" y="1082"/>
                  </a:lnTo>
                  <a:lnTo>
                    <a:pt x="998" y="1083"/>
                  </a:lnTo>
                  <a:lnTo>
                    <a:pt x="1015" y="1083"/>
                  </a:lnTo>
                  <a:lnTo>
                    <a:pt x="1032" y="1082"/>
                  </a:lnTo>
                  <a:lnTo>
                    <a:pt x="1047" y="1080"/>
                  </a:lnTo>
                  <a:lnTo>
                    <a:pt x="1057" y="1077"/>
                  </a:lnTo>
                  <a:lnTo>
                    <a:pt x="1068" y="1073"/>
                  </a:lnTo>
                  <a:lnTo>
                    <a:pt x="1079" y="1069"/>
                  </a:lnTo>
                  <a:lnTo>
                    <a:pt x="1088" y="1062"/>
                  </a:lnTo>
                  <a:lnTo>
                    <a:pt x="1098" y="1055"/>
                  </a:lnTo>
                  <a:lnTo>
                    <a:pt x="1108" y="1048"/>
                  </a:lnTo>
                  <a:lnTo>
                    <a:pt x="1118" y="1039"/>
                  </a:lnTo>
                  <a:lnTo>
                    <a:pt x="1127" y="1029"/>
                  </a:lnTo>
                  <a:lnTo>
                    <a:pt x="1137" y="1017"/>
                  </a:lnTo>
                  <a:lnTo>
                    <a:pt x="1147" y="1004"/>
                  </a:lnTo>
                  <a:lnTo>
                    <a:pt x="1156" y="991"/>
                  </a:lnTo>
                  <a:lnTo>
                    <a:pt x="1166" y="976"/>
                  </a:lnTo>
                  <a:lnTo>
                    <a:pt x="1186" y="944"/>
                  </a:lnTo>
                  <a:lnTo>
                    <a:pt x="1207" y="906"/>
                  </a:lnTo>
                  <a:lnTo>
                    <a:pt x="1208" y="907"/>
                  </a:lnTo>
                  <a:lnTo>
                    <a:pt x="1212" y="906"/>
                  </a:lnTo>
                  <a:lnTo>
                    <a:pt x="1214" y="902"/>
                  </a:lnTo>
                  <a:lnTo>
                    <a:pt x="1216" y="898"/>
                  </a:lnTo>
                  <a:lnTo>
                    <a:pt x="1222" y="885"/>
                  </a:lnTo>
                  <a:lnTo>
                    <a:pt x="1227" y="868"/>
                  </a:lnTo>
                  <a:lnTo>
                    <a:pt x="1238" y="831"/>
                  </a:lnTo>
                  <a:lnTo>
                    <a:pt x="1249" y="802"/>
                  </a:lnTo>
                  <a:lnTo>
                    <a:pt x="1268" y="769"/>
                  </a:lnTo>
                  <a:lnTo>
                    <a:pt x="1284" y="742"/>
                  </a:lnTo>
                  <a:lnTo>
                    <a:pt x="1290" y="732"/>
                  </a:lnTo>
                  <a:lnTo>
                    <a:pt x="1294" y="722"/>
                  </a:lnTo>
                  <a:lnTo>
                    <a:pt x="1297" y="713"/>
                  </a:lnTo>
                  <a:lnTo>
                    <a:pt x="1299" y="704"/>
                  </a:lnTo>
                  <a:lnTo>
                    <a:pt x="1301" y="703"/>
                  </a:lnTo>
                  <a:lnTo>
                    <a:pt x="1303" y="702"/>
                  </a:lnTo>
                  <a:lnTo>
                    <a:pt x="1304" y="700"/>
                  </a:lnTo>
                  <a:lnTo>
                    <a:pt x="1305" y="698"/>
                  </a:lnTo>
                  <a:lnTo>
                    <a:pt x="1305" y="694"/>
                  </a:lnTo>
                  <a:lnTo>
                    <a:pt x="1306" y="688"/>
                  </a:lnTo>
                  <a:lnTo>
                    <a:pt x="1308" y="687"/>
                  </a:lnTo>
                  <a:lnTo>
                    <a:pt x="1309" y="685"/>
                  </a:lnTo>
                  <a:lnTo>
                    <a:pt x="1310" y="683"/>
                  </a:lnTo>
                  <a:lnTo>
                    <a:pt x="1311" y="678"/>
                  </a:lnTo>
                  <a:lnTo>
                    <a:pt x="1312" y="668"/>
                  </a:lnTo>
                  <a:lnTo>
                    <a:pt x="1313" y="656"/>
                  </a:lnTo>
                  <a:lnTo>
                    <a:pt x="1313" y="632"/>
                  </a:lnTo>
                  <a:lnTo>
                    <a:pt x="1313" y="618"/>
                  </a:lnTo>
                  <a:lnTo>
                    <a:pt x="1299" y="610"/>
                  </a:lnTo>
                  <a:lnTo>
                    <a:pt x="1291" y="603"/>
                  </a:lnTo>
                  <a:lnTo>
                    <a:pt x="1290" y="600"/>
                  </a:lnTo>
                  <a:lnTo>
                    <a:pt x="1286" y="596"/>
                  </a:lnTo>
                  <a:lnTo>
                    <a:pt x="1283" y="592"/>
                  </a:lnTo>
                  <a:lnTo>
                    <a:pt x="1277" y="589"/>
                  </a:lnTo>
                  <a:lnTo>
                    <a:pt x="1273" y="585"/>
                  </a:lnTo>
                  <a:lnTo>
                    <a:pt x="1267" y="582"/>
                  </a:lnTo>
                  <a:lnTo>
                    <a:pt x="1263" y="580"/>
                  </a:lnTo>
                  <a:lnTo>
                    <a:pt x="1260" y="580"/>
                  </a:lnTo>
                  <a:lnTo>
                    <a:pt x="1258" y="577"/>
                  </a:lnTo>
                  <a:lnTo>
                    <a:pt x="1257" y="574"/>
                  </a:lnTo>
                  <a:lnTo>
                    <a:pt x="1254" y="571"/>
                  </a:lnTo>
                  <a:lnTo>
                    <a:pt x="1251" y="569"/>
                  </a:lnTo>
                  <a:lnTo>
                    <a:pt x="1243" y="565"/>
                  </a:lnTo>
                  <a:lnTo>
                    <a:pt x="1236" y="564"/>
                  </a:lnTo>
                  <a:lnTo>
                    <a:pt x="1235" y="558"/>
                  </a:lnTo>
                  <a:lnTo>
                    <a:pt x="1232" y="550"/>
                  </a:lnTo>
                  <a:lnTo>
                    <a:pt x="1229" y="546"/>
                  </a:lnTo>
                  <a:lnTo>
                    <a:pt x="1226" y="543"/>
                  </a:lnTo>
                  <a:lnTo>
                    <a:pt x="1224" y="542"/>
                  </a:lnTo>
                  <a:lnTo>
                    <a:pt x="1220" y="541"/>
                  </a:lnTo>
                  <a:lnTo>
                    <a:pt x="1220" y="517"/>
                  </a:lnTo>
                  <a:lnTo>
                    <a:pt x="1216" y="517"/>
                  </a:lnTo>
                  <a:lnTo>
                    <a:pt x="1214" y="516"/>
                  </a:lnTo>
                  <a:lnTo>
                    <a:pt x="1214" y="515"/>
                  </a:lnTo>
                  <a:lnTo>
                    <a:pt x="1213" y="514"/>
                  </a:lnTo>
                  <a:lnTo>
                    <a:pt x="1213" y="513"/>
                  </a:lnTo>
                  <a:lnTo>
                    <a:pt x="1213" y="512"/>
                  </a:lnTo>
                  <a:lnTo>
                    <a:pt x="1210" y="511"/>
                  </a:lnTo>
                  <a:lnTo>
                    <a:pt x="1206" y="510"/>
                  </a:lnTo>
                  <a:lnTo>
                    <a:pt x="1206" y="472"/>
                  </a:lnTo>
                  <a:lnTo>
                    <a:pt x="1203" y="472"/>
                  </a:lnTo>
                  <a:lnTo>
                    <a:pt x="1201" y="471"/>
                  </a:lnTo>
                  <a:lnTo>
                    <a:pt x="1199" y="468"/>
                  </a:lnTo>
                  <a:lnTo>
                    <a:pt x="1198" y="467"/>
                  </a:lnTo>
                  <a:lnTo>
                    <a:pt x="1198" y="462"/>
                  </a:lnTo>
                  <a:lnTo>
                    <a:pt x="1198" y="456"/>
                  </a:lnTo>
                  <a:lnTo>
                    <a:pt x="1191" y="455"/>
                  </a:lnTo>
                  <a:lnTo>
                    <a:pt x="1185" y="454"/>
                  </a:lnTo>
                  <a:lnTo>
                    <a:pt x="1178" y="452"/>
                  </a:lnTo>
                  <a:lnTo>
                    <a:pt x="1170" y="448"/>
                  </a:lnTo>
                  <a:lnTo>
                    <a:pt x="1164" y="446"/>
                  </a:lnTo>
                  <a:lnTo>
                    <a:pt x="1157" y="443"/>
                  </a:lnTo>
                  <a:lnTo>
                    <a:pt x="1150" y="442"/>
                  </a:lnTo>
                  <a:lnTo>
                    <a:pt x="1143" y="440"/>
                  </a:lnTo>
                  <a:lnTo>
                    <a:pt x="1143" y="436"/>
                  </a:lnTo>
                  <a:lnTo>
                    <a:pt x="1142" y="434"/>
                  </a:lnTo>
                  <a:lnTo>
                    <a:pt x="1141" y="433"/>
                  </a:lnTo>
                  <a:lnTo>
                    <a:pt x="1140" y="433"/>
                  </a:lnTo>
                  <a:lnTo>
                    <a:pt x="1138" y="433"/>
                  </a:lnTo>
                  <a:lnTo>
                    <a:pt x="1137" y="431"/>
                  </a:lnTo>
                  <a:lnTo>
                    <a:pt x="1136" y="429"/>
                  </a:lnTo>
                  <a:lnTo>
                    <a:pt x="1136" y="425"/>
                  </a:lnTo>
                  <a:lnTo>
                    <a:pt x="1120" y="421"/>
                  </a:lnTo>
                  <a:lnTo>
                    <a:pt x="1105" y="417"/>
                  </a:lnTo>
                  <a:lnTo>
                    <a:pt x="1098" y="409"/>
                  </a:lnTo>
                  <a:lnTo>
                    <a:pt x="1098" y="395"/>
                  </a:lnTo>
                  <a:lnTo>
                    <a:pt x="1090" y="387"/>
                  </a:lnTo>
                  <a:lnTo>
                    <a:pt x="1086" y="386"/>
                  </a:lnTo>
                  <a:lnTo>
                    <a:pt x="1082" y="383"/>
                  </a:lnTo>
                  <a:lnTo>
                    <a:pt x="1079" y="381"/>
                  </a:lnTo>
                  <a:lnTo>
                    <a:pt x="1075" y="378"/>
                  </a:lnTo>
                  <a:lnTo>
                    <a:pt x="1072" y="375"/>
                  </a:lnTo>
                  <a:lnTo>
                    <a:pt x="1069" y="370"/>
                  </a:lnTo>
                  <a:lnTo>
                    <a:pt x="1066" y="367"/>
                  </a:lnTo>
                  <a:lnTo>
                    <a:pt x="1066" y="363"/>
                  </a:lnTo>
                  <a:lnTo>
                    <a:pt x="1059" y="356"/>
                  </a:lnTo>
                  <a:lnTo>
                    <a:pt x="1051" y="348"/>
                  </a:lnTo>
                  <a:lnTo>
                    <a:pt x="1047" y="347"/>
                  </a:lnTo>
                  <a:lnTo>
                    <a:pt x="1044" y="344"/>
                  </a:lnTo>
                  <a:lnTo>
                    <a:pt x="1040" y="340"/>
                  </a:lnTo>
                  <a:lnTo>
                    <a:pt x="1036" y="335"/>
                  </a:lnTo>
                  <a:lnTo>
                    <a:pt x="1033" y="330"/>
                  </a:lnTo>
                  <a:lnTo>
                    <a:pt x="1031" y="325"/>
                  </a:lnTo>
                  <a:lnTo>
                    <a:pt x="1028" y="321"/>
                  </a:lnTo>
                  <a:lnTo>
                    <a:pt x="1027" y="317"/>
                  </a:lnTo>
                  <a:lnTo>
                    <a:pt x="1024" y="315"/>
                  </a:lnTo>
                  <a:lnTo>
                    <a:pt x="1021" y="313"/>
                  </a:lnTo>
                  <a:lnTo>
                    <a:pt x="1017" y="309"/>
                  </a:lnTo>
                  <a:lnTo>
                    <a:pt x="1013" y="304"/>
                  </a:lnTo>
                  <a:lnTo>
                    <a:pt x="1009" y="299"/>
                  </a:lnTo>
                  <a:lnTo>
                    <a:pt x="1007" y="294"/>
                  </a:lnTo>
                  <a:lnTo>
                    <a:pt x="1005" y="290"/>
                  </a:lnTo>
                  <a:lnTo>
                    <a:pt x="1004" y="286"/>
                  </a:lnTo>
                  <a:lnTo>
                    <a:pt x="997" y="279"/>
                  </a:lnTo>
                  <a:lnTo>
                    <a:pt x="982" y="279"/>
                  </a:lnTo>
                  <a:lnTo>
                    <a:pt x="979" y="275"/>
                  </a:lnTo>
                  <a:lnTo>
                    <a:pt x="974" y="272"/>
                  </a:lnTo>
                  <a:lnTo>
                    <a:pt x="967" y="270"/>
                  </a:lnTo>
                  <a:lnTo>
                    <a:pt x="958" y="265"/>
                  </a:lnTo>
                  <a:lnTo>
                    <a:pt x="949" y="262"/>
                  </a:lnTo>
                  <a:lnTo>
                    <a:pt x="942" y="257"/>
                  </a:lnTo>
                  <a:lnTo>
                    <a:pt x="939" y="255"/>
                  </a:lnTo>
                  <a:lnTo>
                    <a:pt x="937" y="253"/>
                  </a:lnTo>
                  <a:lnTo>
                    <a:pt x="936" y="251"/>
                  </a:lnTo>
                  <a:lnTo>
                    <a:pt x="935" y="247"/>
                  </a:lnTo>
                  <a:lnTo>
                    <a:pt x="919" y="247"/>
                  </a:lnTo>
                  <a:lnTo>
                    <a:pt x="919" y="232"/>
                  </a:lnTo>
                  <a:lnTo>
                    <a:pt x="915" y="232"/>
                  </a:lnTo>
                  <a:lnTo>
                    <a:pt x="910" y="229"/>
                  </a:lnTo>
                  <a:lnTo>
                    <a:pt x="908" y="226"/>
                  </a:lnTo>
                  <a:lnTo>
                    <a:pt x="906" y="223"/>
                  </a:lnTo>
                  <a:lnTo>
                    <a:pt x="905" y="216"/>
                  </a:lnTo>
                  <a:lnTo>
                    <a:pt x="903" y="208"/>
                  </a:lnTo>
                  <a:lnTo>
                    <a:pt x="897" y="200"/>
                  </a:lnTo>
                  <a:lnTo>
                    <a:pt x="892" y="200"/>
                  </a:lnTo>
                  <a:lnTo>
                    <a:pt x="889" y="199"/>
                  </a:lnTo>
                  <a:lnTo>
                    <a:pt x="889" y="198"/>
                  </a:lnTo>
                  <a:lnTo>
                    <a:pt x="889" y="197"/>
                  </a:lnTo>
                  <a:lnTo>
                    <a:pt x="889" y="196"/>
                  </a:lnTo>
                  <a:lnTo>
                    <a:pt x="888" y="195"/>
                  </a:lnTo>
                  <a:lnTo>
                    <a:pt x="886" y="194"/>
                  </a:lnTo>
                  <a:lnTo>
                    <a:pt x="881" y="194"/>
                  </a:lnTo>
                  <a:lnTo>
                    <a:pt x="881" y="170"/>
                  </a:lnTo>
                  <a:lnTo>
                    <a:pt x="879" y="169"/>
                  </a:lnTo>
                  <a:lnTo>
                    <a:pt x="878" y="167"/>
                  </a:lnTo>
                  <a:lnTo>
                    <a:pt x="877" y="164"/>
                  </a:lnTo>
                  <a:lnTo>
                    <a:pt x="877" y="159"/>
                  </a:lnTo>
                  <a:lnTo>
                    <a:pt x="874" y="147"/>
                  </a:lnTo>
                  <a:lnTo>
                    <a:pt x="874" y="133"/>
                  </a:lnTo>
                  <a:lnTo>
                    <a:pt x="873" y="104"/>
                  </a:lnTo>
                  <a:lnTo>
                    <a:pt x="873" y="85"/>
                  </a:lnTo>
                  <a:lnTo>
                    <a:pt x="874" y="84"/>
                  </a:lnTo>
                  <a:lnTo>
                    <a:pt x="876" y="82"/>
                  </a:lnTo>
                  <a:lnTo>
                    <a:pt x="877" y="79"/>
                  </a:lnTo>
                  <a:lnTo>
                    <a:pt x="878" y="74"/>
                  </a:lnTo>
                  <a:lnTo>
                    <a:pt x="879" y="63"/>
                  </a:lnTo>
                  <a:lnTo>
                    <a:pt x="880" y="50"/>
                  </a:lnTo>
                  <a:lnTo>
                    <a:pt x="881" y="23"/>
                  </a:lnTo>
                  <a:lnTo>
                    <a:pt x="881" y="7"/>
                  </a:lnTo>
                  <a:lnTo>
                    <a:pt x="873" y="0"/>
                  </a:lnTo>
                  <a:lnTo>
                    <a:pt x="858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7" name="Freeform 33"/>
            <p:cNvSpPr>
              <a:spLocks noChangeAspect="1"/>
            </p:cNvSpPr>
            <p:nvPr/>
          </p:nvSpPr>
          <p:spPr bwMode="gray">
            <a:xfrm rot="355651">
              <a:off x="5838825" y="3267075"/>
              <a:ext cx="269779" cy="221439"/>
            </a:xfrm>
            <a:custGeom>
              <a:avLst/>
              <a:gdLst/>
              <a:ahLst/>
              <a:cxnLst>
                <a:cxn ang="0">
                  <a:pos x="103" y="132"/>
                </a:cxn>
                <a:cxn ang="0">
                  <a:pos x="167" y="93"/>
                </a:cxn>
                <a:cxn ang="0">
                  <a:pos x="205" y="80"/>
                </a:cxn>
                <a:cxn ang="0">
                  <a:pos x="405" y="74"/>
                </a:cxn>
                <a:cxn ang="0">
                  <a:pos x="454" y="51"/>
                </a:cxn>
                <a:cxn ang="0">
                  <a:pos x="504" y="30"/>
                </a:cxn>
                <a:cxn ang="0">
                  <a:pos x="582" y="28"/>
                </a:cxn>
                <a:cxn ang="0">
                  <a:pos x="617" y="37"/>
                </a:cxn>
                <a:cxn ang="0">
                  <a:pos x="676" y="25"/>
                </a:cxn>
                <a:cxn ang="0">
                  <a:pos x="688" y="13"/>
                </a:cxn>
                <a:cxn ang="0">
                  <a:pos x="774" y="32"/>
                </a:cxn>
                <a:cxn ang="0">
                  <a:pos x="790" y="54"/>
                </a:cxn>
                <a:cxn ang="0">
                  <a:pos x="826" y="85"/>
                </a:cxn>
                <a:cxn ang="0">
                  <a:pos x="883" y="101"/>
                </a:cxn>
                <a:cxn ang="0">
                  <a:pos x="915" y="114"/>
                </a:cxn>
                <a:cxn ang="0">
                  <a:pos x="962" y="144"/>
                </a:cxn>
                <a:cxn ang="0">
                  <a:pos x="1071" y="177"/>
                </a:cxn>
                <a:cxn ang="0">
                  <a:pos x="1104" y="211"/>
                </a:cxn>
                <a:cxn ang="0">
                  <a:pos x="1129" y="244"/>
                </a:cxn>
                <a:cxn ang="0">
                  <a:pos x="1157" y="276"/>
                </a:cxn>
                <a:cxn ang="0">
                  <a:pos x="1211" y="331"/>
                </a:cxn>
                <a:cxn ang="0">
                  <a:pos x="1287" y="383"/>
                </a:cxn>
                <a:cxn ang="0">
                  <a:pos x="1339" y="417"/>
                </a:cxn>
                <a:cxn ang="0">
                  <a:pos x="1363" y="431"/>
                </a:cxn>
                <a:cxn ang="0">
                  <a:pos x="1424" y="479"/>
                </a:cxn>
                <a:cxn ang="0">
                  <a:pos x="1378" y="513"/>
                </a:cxn>
                <a:cxn ang="0">
                  <a:pos x="1347" y="528"/>
                </a:cxn>
                <a:cxn ang="0">
                  <a:pos x="1315" y="538"/>
                </a:cxn>
                <a:cxn ang="0">
                  <a:pos x="1110" y="561"/>
                </a:cxn>
                <a:cxn ang="0">
                  <a:pos x="947" y="583"/>
                </a:cxn>
                <a:cxn ang="0">
                  <a:pos x="922" y="722"/>
                </a:cxn>
                <a:cxn ang="0">
                  <a:pos x="935" y="760"/>
                </a:cxn>
                <a:cxn ang="0">
                  <a:pos x="952" y="844"/>
                </a:cxn>
                <a:cxn ang="0">
                  <a:pos x="1020" y="882"/>
                </a:cxn>
                <a:cxn ang="0">
                  <a:pos x="1057" y="987"/>
                </a:cxn>
                <a:cxn ang="0">
                  <a:pos x="1095" y="1094"/>
                </a:cxn>
                <a:cxn ang="0">
                  <a:pos x="1117" y="1132"/>
                </a:cxn>
                <a:cxn ang="0">
                  <a:pos x="1137" y="1168"/>
                </a:cxn>
                <a:cxn ang="0">
                  <a:pos x="1148" y="1257"/>
                </a:cxn>
                <a:cxn ang="0">
                  <a:pos x="1031" y="1289"/>
                </a:cxn>
                <a:cxn ang="0">
                  <a:pos x="887" y="1308"/>
                </a:cxn>
                <a:cxn ang="0">
                  <a:pos x="811" y="1364"/>
                </a:cxn>
                <a:cxn ang="0">
                  <a:pos x="677" y="1365"/>
                </a:cxn>
                <a:cxn ang="0">
                  <a:pos x="469" y="1278"/>
                </a:cxn>
                <a:cxn ang="0">
                  <a:pos x="397" y="1246"/>
                </a:cxn>
                <a:cxn ang="0">
                  <a:pos x="370" y="1133"/>
                </a:cxn>
                <a:cxn ang="0">
                  <a:pos x="399" y="1012"/>
                </a:cxn>
                <a:cxn ang="0">
                  <a:pos x="497" y="962"/>
                </a:cxn>
                <a:cxn ang="0">
                  <a:pos x="533" y="940"/>
                </a:cxn>
                <a:cxn ang="0">
                  <a:pos x="456" y="868"/>
                </a:cxn>
                <a:cxn ang="0">
                  <a:pos x="372" y="842"/>
                </a:cxn>
                <a:cxn ang="0">
                  <a:pos x="204" y="684"/>
                </a:cxn>
                <a:cxn ang="0">
                  <a:pos x="50" y="519"/>
                </a:cxn>
                <a:cxn ang="0">
                  <a:pos x="69" y="468"/>
                </a:cxn>
                <a:cxn ang="0">
                  <a:pos x="85" y="408"/>
                </a:cxn>
                <a:cxn ang="0">
                  <a:pos x="64" y="327"/>
                </a:cxn>
                <a:cxn ang="0">
                  <a:pos x="20" y="205"/>
                </a:cxn>
              </a:cxnLst>
              <a:rect l="0" t="0" r="r" b="b"/>
              <a:pathLst>
                <a:path w="1464" h="1373">
                  <a:moveTo>
                    <a:pt x="0" y="154"/>
                  </a:moveTo>
                  <a:lnTo>
                    <a:pt x="1" y="147"/>
                  </a:lnTo>
                  <a:lnTo>
                    <a:pt x="1" y="140"/>
                  </a:lnTo>
                  <a:lnTo>
                    <a:pt x="94" y="140"/>
                  </a:lnTo>
                  <a:lnTo>
                    <a:pt x="94" y="137"/>
                  </a:lnTo>
                  <a:lnTo>
                    <a:pt x="96" y="135"/>
                  </a:lnTo>
                  <a:lnTo>
                    <a:pt x="97" y="133"/>
                  </a:lnTo>
                  <a:lnTo>
                    <a:pt x="99" y="133"/>
                  </a:lnTo>
                  <a:lnTo>
                    <a:pt x="103" y="132"/>
                  </a:lnTo>
                  <a:lnTo>
                    <a:pt x="109" y="132"/>
                  </a:lnTo>
                  <a:lnTo>
                    <a:pt x="121" y="120"/>
                  </a:lnTo>
                  <a:lnTo>
                    <a:pt x="132" y="109"/>
                  </a:lnTo>
                  <a:lnTo>
                    <a:pt x="148" y="105"/>
                  </a:lnTo>
                  <a:lnTo>
                    <a:pt x="164" y="101"/>
                  </a:lnTo>
                  <a:lnTo>
                    <a:pt x="164" y="96"/>
                  </a:lnTo>
                  <a:lnTo>
                    <a:pt x="165" y="94"/>
                  </a:lnTo>
                  <a:lnTo>
                    <a:pt x="166" y="93"/>
                  </a:lnTo>
                  <a:lnTo>
                    <a:pt x="167" y="93"/>
                  </a:lnTo>
                  <a:lnTo>
                    <a:pt x="169" y="93"/>
                  </a:lnTo>
                  <a:lnTo>
                    <a:pt x="170" y="92"/>
                  </a:lnTo>
                  <a:lnTo>
                    <a:pt x="170" y="90"/>
                  </a:lnTo>
                  <a:lnTo>
                    <a:pt x="171" y="85"/>
                  </a:lnTo>
                  <a:lnTo>
                    <a:pt x="195" y="85"/>
                  </a:lnTo>
                  <a:lnTo>
                    <a:pt x="195" y="83"/>
                  </a:lnTo>
                  <a:lnTo>
                    <a:pt x="197" y="82"/>
                  </a:lnTo>
                  <a:lnTo>
                    <a:pt x="200" y="81"/>
                  </a:lnTo>
                  <a:lnTo>
                    <a:pt x="205" y="80"/>
                  </a:lnTo>
                  <a:lnTo>
                    <a:pt x="216" y="78"/>
                  </a:lnTo>
                  <a:lnTo>
                    <a:pt x="232" y="77"/>
                  </a:lnTo>
                  <a:lnTo>
                    <a:pt x="270" y="77"/>
                  </a:lnTo>
                  <a:lnTo>
                    <a:pt x="314" y="78"/>
                  </a:lnTo>
                  <a:lnTo>
                    <a:pt x="337" y="78"/>
                  </a:lnTo>
                  <a:lnTo>
                    <a:pt x="358" y="78"/>
                  </a:lnTo>
                  <a:lnTo>
                    <a:pt x="378" y="77"/>
                  </a:lnTo>
                  <a:lnTo>
                    <a:pt x="397" y="75"/>
                  </a:lnTo>
                  <a:lnTo>
                    <a:pt x="405" y="74"/>
                  </a:lnTo>
                  <a:lnTo>
                    <a:pt x="411" y="73"/>
                  </a:lnTo>
                  <a:lnTo>
                    <a:pt x="418" y="71"/>
                  </a:lnTo>
                  <a:lnTo>
                    <a:pt x="424" y="68"/>
                  </a:lnTo>
                  <a:lnTo>
                    <a:pt x="428" y="65"/>
                  </a:lnTo>
                  <a:lnTo>
                    <a:pt x="432" y="62"/>
                  </a:lnTo>
                  <a:lnTo>
                    <a:pt x="434" y="58"/>
                  </a:lnTo>
                  <a:lnTo>
                    <a:pt x="434" y="54"/>
                  </a:lnTo>
                  <a:lnTo>
                    <a:pt x="445" y="53"/>
                  </a:lnTo>
                  <a:lnTo>
                    <a:pt x="454" y="51"/>
                  </a:lnTo>
                  <a:lnTo>
                    <a:pt x="463" y="48"/>
                  </a:lnTo>
                  <a:lnTo>
                    <a:pt x="473" y="47"/>
                  </a:lnTo>
                  <a:lnTo>
                    <a:pt x="474" y="44"/>
                  </a:lnTo>
                  <a:lnTo>
                    <a:pt x="476" y="42"/>
                  </a:lnTo>
                  <a:lnTo>
                    <a:pt x="481" y="38"/>
                  </a:lnTo>
                  <a:lnTo>
                    <a:pt x="485" y="36"/>
                  </a:lnTo>
                  <a:lnTo>
                    <a:pt x="495" y="33"/>
                  </a:lnTo>
                  <a:lnTo>
                    <a:pt x="504" y="32"/>
                  </a:lnTo>
                  <a:lnTo>
                    <a:pt x="504" y="30"/>
                  </a:lnTo>
                  <a:lnTo>
                    <a:pt x="506" y="28"/>
                  </a:lnTo>
                  <a:lnTo>
                    <a:pt x="510" y="28"/>
                  </a:lnTo>
                  <a:lnTo>
                    <a:pt x="514" y="27"/>
                  </a:lnTo>
                  <a:lnTo>
                    <a:pt x="526" y="26"/>
                  </a:lnTo>
                  <a:lnTo>
                    <a:pt x="540" y="25"/>
                  </a:lnTo>
                  <a:lnTo>
                    <a:pt x="565" y="24"/>
                  </a:lnTo>
                  <a:lnTo>
                    <a:pt x="581" y="24"/>
                  </a:lnTo>
                  <a:lnTo>
                    <a:pt x="581" y="26"/>
                  </a:lnTo>
                  <a:lnTo>
                    <a:pt x="582" y="28"/>
                  </a:lnTo>
                  <a:lnTo>
                    <a:pt x="583" y="29"/>
                  </a:lnTo>
                  <a:lnTo>
                    <a:pt x="586" y="30"/>
                  </a:lnTo>
                  <a:lnTo>
                    <a:pt x="591" y="32"/>
                  </a:lnTo>
                  <a:lnTo>
                    <a:pt x="597" y="32"/>
                  </a:lnTo>
                  <a:lnTo>
                    <a:pt x="597" y="33"/>
                  </a:lnTo>
                  <a:lnTo>
                    <a:pt x="599" y="34"/>
                  </a:lnTo>
                  <a:lnTo>
                    <a:pt x="602" y="35"/>
                  </a:lnTo>
                  <a:lnTo>
                    <a:pt x="606" y="36"/>
                  </a:lnTo>
                  <a:lnTo>
                    <a:pt x="617" y="37"/>
                  </a:lnTo>
                  <a:lnTo>
                    <a:pt x="628" y="38"/>
                  </a:lnTo>
                  <a:lnTo>
                    <a:pt x="651" y="39"/>
                  </a:lnTo>
                  <a:lnTo>
                    <a:pt x="666" y="39"/>
                  </a:lnTo>
                  <a:lnTo>
                    <a:pt x="666" y="36"/>
                  </a:lnTo>
                  <a:lnTo>
                    <a:pt x="667" y="34"/>
                  </a:lnTo>
                  <a:lnTo>
                    <a:pt x="668" y="30"/>
                  </a:lnTo>
                  <a:lnTo>
                    <a:pt x="670" y="28"/>
                  </a:lnTo>
                  <a:lnTo>
                    <a:pt x="673" y="26"/>
                  </a:lnTo>
                  <a:lnTo>
                    <a:pt x="676" y="25"/>
                  </a:lnTo>
                  <a:lnTo>
                    <a:pt x="678" y="24"/>
                  </a:lnTo>
                  <a:lnTo>
                    <a:pt x="682" y="24"/>
                  </a:lnTo>
                  <a:lnTo>
                    <a:pt x="682" y="19"/>
                  </a:lnTo>
                  <a:lnTo>
                    <a:pt x="683" y="17"/>
                  </a:lnTo>
                  <a:lnTo>
                    <a:pt x="684" y="16"/>
                  </a:lnTo>
                  <a:lnTo>
                    <a:pt x="685" y="16"/>
                  </a:lnTo>
                  <a:lnTo>
                    <a:pt x="687" y="16"/>
                  </a:lnTo>
                  <a:lnTo>
                    <a:pt x="688" y="15"/>
                  </a:lnTo>
                  <a:lnTo>
                    <a:pt x="688" y="13"/>
                  </a:lnTo>
                  <a:lnTo>
                    <a:pt x="689" y="8"/>
                  </a:lnTo>
                  <a:lnTo>
                    <a:pt x="698" y="7"/>
                  </a:lnTo>
                  <a:lnTo>
                    <a:pt x="713" y="4"/>
                  </a:lnTo>
                  <a:lnTo>
                    <a:pt x="730" y="1"/>
                  </a:lnTo>
                  <a:lnTo>
                    <a:pt x="743" y="0"/>
                  </a:lnTo>
                  <a:lnTo>
                    <a:pt x="751" y="8"/>
                  </a:lnTo>
                  <a:lnTo>
                    <a:pt x="759" y="16"/>
                  </a:lnTo>
                  <a:lnTo>
                    <a:pt x="766" y="24"/>
                  </a:lnTo>
                  <a:lnTo>
                    <a:pt x="774" y="32"/>
                  </a:lnTo>
                  <a:lnTo>
                    <a:pt x="774" y="47"/>
                  </a:lnTo>
                  <a:lnTo>
                    <a:pt x="779" y="47"/>
                  </a:lnTo>
                  <a:lnTo>
                    <a:pt x="781" y="48"/>
                  </a:lnTo>
                  <a:lnTo>
                    <a:pt x="782" y="49"/>
                  </a:lnTo>
                  <a:lnTo>
                    <a:pt x="782" y="51"/>
                  </a:lnTo>
                  <a:lnTo>
                    <a:pt x="782" y="52"/>
                  </a:lnTo>
                  <a:lnTo>
                    <a:pt x="783" y="53"/>
                  </a:lnTo>
                  <a:lnTo>
                    <a:pt x="785" y="54"/>
                  </a:lnTo>
                  <a:lnTo>
                    <a:pt x="790" y="54"/>
                  </a:lnTo>
                  <a:lnTo>
                    <a:pt x="790" y="70"/>
                  </a:lnTo>
                  <a:lnTo>
                    <a:pt x="801" y="70"/>
                  </a:lnTo>
                  <a:lnTo>
                    <a:pt x="813" y="70"/>
                  </a:lnTo>
                  <a:lnTo>
                    <a:pt x="820" y="77"/>
                  </a:lnTo>
                  <a:lnTo>
                    <a:pt x="821" y="82"/>
                  </a:lnTo>
                  <a:lnTo>
                    <a:pt x="822" y="84"/>
                  </a:lnTo>
                  <a:lnTo>
                    <a:pt x="823" y="85"/>
                  </a:lnTo>
                  <a:lnTo>
                    <a:pt x="824" y="85"/>
                  </a:lnTo>
                  <a:lnTo>
                    <a:pt x="826" y="85"/>
                  </a:lnTo>
                  <a:lnTo>
                    <a:pt x="827" y="86"/>
                  </a:lnTo>
                  <a:lnTo>
                    <a:pt x="828" y="89"/>
                  </a:lnTo>
                  <a:lnTo>
                    <a:pt x="828" y="93"/>
                  </a:lnTo>
                  <a:lnTo>
                    <a:pt x="859" y="93"/>
                  </a:lnTo>
                  <a:lnTo>
                    <a:pt x="860" y="95"/>
                  </a:lnTo>
                  <a:lnTo>
                    <a:pt x="862" y="97"/>
                  </a:lnTo>
                  <a:lnTo>
                    <a:pt x="867" y="99"/>
                  </a:lnTo>
                  <a:lnTo>
                    <a:pt x="871" y="100"/>
                  </a:lnTo>
                  <a:lnTo>
                    <a:pt x="883" y="101"/>
                  </a:lnTo>
                  <a:lnTo>
                    <a:pt x="890" y="101"/>
                  </a:lnTo>
                  <a:lnTo>
                    <a:pt x="890" y="103"/>
                  </a:lnTo>
                  <a:lnTo>
                    <a:pt x="893" y="105"/>
                  </a:lnTo>
                  <a:lnTo>
                    <a:pt x="895" y="106"/>
                  </a:lnTo>
                  <a:lnTo>
                    <a:pt x="899" y="107"/>
                  </a:lnTo>
                  <a:lnTo>
                    <a:pt x="906" y="109"/>
                  </a:lnTo>
                  <a:lnTo>
                    <a:pt x="914" y="109"/>
                  </a:lnTo>
                  <a:lnTo>
                    <a:pt x="914" y="112"/>
                  </a:lnTo>
                  <a:lnTo>
                    <a:pt x="915" y="114"/>
                  </a:lnTo>
                  <a:lnTo>
                    <a:pt x="916" y="116"/>
                  </a:lnTo>
                  <a:lnTo>
                    <a:pt x="918" y="120"/>
                  </a:lnTo>
                  <a:lnTo>
                    <a:pt x="920" y="121"/>
                  </a:lnTo>
                  <a:lnTo>
                    <a:pt x="923" y="123"/>
                  </a:lnTo>
                  <a:lnTo>
                    <a:pt x="926" y="124"/>
                  </a:lnTo>
                  <a:lnTo>
                    <a:pt x="928" y="124"/>
                  </a:lnTo>
                  <a:lnTo>
                    <a:pt x="936" y="140"/>
                  </a:lnTo>
                  <a:lnTo>
                    <a:pt x="947" y="141"/>
                  </a:lnTo>
                  <a:lnTo>
                    <a:pt x="962" y="144"/>
                  </a:lnTo>
                  <a:lnTo>
                    <a:pt x="979" y="149"/>
                  </a:lnTo>
                  <a:lnTo>
                    <a:pt x="996" y="155"/>
                  </a:lnTo>
                  <a:lnTo>
                    <a:pt x="1015" y="161"/>
                  </a:lnTo>
                  <a:lnTo>
                    <a:pt x="1034" y="166"/>
                  </a:lnTo>
                  <a:lnTo>
                    <a:pt x="1052" y="169"/>
                  </a:lnTo>
                  <a:lnTo>
                    <a:pt x="1068" y="170"/>
                  </a:lnTo>
                  <a:lnTo>
                    <a:pt x="1068" y="173"/>
                  </a:lnTo>
                  <a:lnTo>
                    <a:pt x="1069" y="174"/>
                  </a:lnTo>
                  <a:lnTo>
                    <a:pt x="1071" y="177"/>
                  </a:lnTo>
                  <a:lnTo>
                    <a:pt x="1072" y="177"/>
                  </a:lnTo>
                  <a:lnTo>
                    <a:pt x="1078" y="178"/>
                  </a:lnTo>
                  <a:lnTo>
                    <a:pt x="1083" y="178"/>
                  </a:lnTo>
                  <a:lnTo>
                    <a:pt x="1091" y="186"/>
                  </a:lnTo>
                  <a:lnTo>
                    <a:pt x="1091" y="191"/>
                  </a:lnTo>
                  <a:lnTo>
                    <a:pt x="1094" y="197"/>
                  </a:lnTo>
                  <a:lnTo>
                    <a:pt x="1097" y="202"/>
                  </a:lnTo>
                  <a:lnTo>
                    <a:pt x="1100" y="207"/>
                  </a:lnTo>
                  <a:lnTo>
                    <a:pt x="1104" y="211"/>
                  </a:lnTo>
                  <a:lnTo>
                    <a:pt x="1107" y="215"/>
                  </a:lnTo>
                  <a:lnTo>
                    <a:pt x="1111" y="216"/>
                  </a:lnTo>
                  <a:lnTo>
                    <a:pt x="1115" y="217"/>
                  </a:lnTo>
                  <a:lnTo>
                    <a:pt x="1115" y="232"/>
                  </a:lnTo>
                  <a:lnTo>
                    <a:pt x="1123" y="240"/>
                  </a:lnTo>
                  <a:lnTo>
                    <a:pt x="1126" y="240"/>
                  </a:lnTo>
                  <a:lnTo>
                    <a:pt x="1129" y="241"/>
                  </a:lnTo>
                  <a:lnTo>
                    <a:pt x="1129" y="243"/>
                  </a:lnTo>
                  <a:lnTo>
                    <a:pt x="1129" y="244"/>
                  </a:lnTo>
                  <a:lnTo>
                    <a:pt x="1130" y="245"/>
                  </a:lnTo>
                  <a:lnTo>
                    <a:pt x="1130" y="247"/>
                  </a:lnTo>
                  <a:lnTo>
                    <a:pt x="1133" y="247"/>
                  </a:lnTo>
                  <a:lnTo>
                    <a:pt x="1137" y="248"/>
                  </a:lnTo>
                  <a:lnTo>
                    <a:pt x="1138" y="253"/>
                  </a:lnTo>
                  <a:lnTo>
                    <a:pt x="1140" y="257"/>
                  </a:lnTo>
                  <a:lnTo>
                    <a:pt x="1143" y="262"/>
                  </a:lnTo>
                  <a:lnTo>
                    <a:pt x="1147" y="266"/>
                  </a:lnTo>
                  <a:lnTo>
                    <a:pt x="1157" y="276"/>
                  </a:lnTo>
                  <a:lnTo>
                    <a:pt x="1168" y="286"/>
                  </a:lnTo>
                  <a:lnTo>
                    <a:pt x="1179" y="296"/>
                  </a:lnTo>
                  <a:lnTo>
                    <a:pt x="1190" y="306"/>
                  </a:lnTo>
                  <a:lnTo>
                    <a:pt x="1194" y="312"/>
                  </a:lnTo>
                  <a:lnTo>
                    <a:pt x="1196" y="316"/>
                  </a:lnTo>
                  <a:lnTo>
                    <a:pt x="1198" y="321"/>
                  </a:lnTo>
                  <a:lnTo>
                    <a:pt x="1200" y="325"/>
                  </a:lnTo>
                  <a:lnTo>
                    <a:pt x="1204" y="326"/>
                  </a:lnTo>
                  <a:lnTo>
                    <a:pt x="1211" y="331"/>
                  </a:lnTo>
                  <a:lnTo>
                    <a:pt x="1220" y="337"/>
                  </a:lnTo>
                  <a:lnTo>
                    <a:pt x="1230" y="344"/>
                  </a:lnTo>
                  <a:lnTo>
                    <a:pt x="1240" y="352"/>
                  </a:lnTo>
                  <a:lnTo>
                    <a:pt x="1250" y="357"/>
                  </a:lnTo>
                  <a:lnTo>
                    <a:pt x="1256" y="362"/>
                  </a:lnTo>
                  <a:lnTo>
                    <a:pt x="1261" y="363"/>
                  </a:lnTo>
                  <a:lnTo>
                    <a:pt x="1269" y="379"/>
                  </a:lnTo>
                  <a:lnTo>
                    <a:pt x="1278" y="380"/>
                  </a:lnTo>
                  <a:lnTo>
                    <a:pt x="1287" y="383"/>
                  </a:lnTo>
                  <a:lnTo>
                    <a:pt x="1294" y="387"/>
                  </a:lnTo>
                  <a:lnTo>
                    <a:pt x="1302" y="391"/>
                  </a:lnTo>
                  <a:lnTo>
                    <a:pt x="1310" y="395"/>
                  </a:lnTo>
                  <a:lnTo>
                    <a:pt x="1318" y="399"/>
                  </a:lnTo>
                  <a:lnTo>
                    <a:pt x="1325" y="401"/>
                  </a:lnTo>
                  <a:lnTo>
                    <a:pt x="1330" y="402"/>
                  </a:lnTo>
                  <a:lnTo>
                    <a:pt x="1338" y="410"/>
                  </a:lnTo>
                  <a:lnTo>
                    <a:pt x="1339" y="414"/>
                  </a:lnTo>
                  <a:lnTo>
                    <a:pt x="1339" y="417"/>
                  </a:lnTo>
                  <a:lnTo>
                    <a:pt x="1341" y="418"/>
                  </a:lnTo>
                  <a:lnTo>
                    <a:pt x="1342" y="418"/>
                  </a:lnTo>
                  <a:lnTo>
                    <a:pt x="1344" y="418"/>
                  </a:lnTo>
                  <a:lnTo>
                    <a:pt x="1345" y="419"/>
                  </a:lnTo>
                  <a:lnTo>
                    <a:pt x="1346" y="421"/>
                  </a:lnTo>
                  <a:lnTo>
                    <a:pt x="1346" y="426"/>
                  </a:lnTo>
                  <a:lnTo>
                    <a:pt x="1361" y="426"/>
                  </a:lnTo>
                  <a:lnTo>
                    <a:pt x="1361" y="428"/>
                  </a:lnTo>
                  <a:lnTo>
                    <a:pt x="1363" y="431"/>
                  </a:lnTo>
                  <a:lnTo>
                    <a:pt x="1365" y="433"/>
                  </a:lnTo>
                  <a:lnTo>
                    <a:pt x="1366" y="436"/>
                  </a:lnTo>
                  <a:lnTo>
                    <a:pt x="1369" y="438"/>
                  </a:lnTo>
                  <a:lnTo>
                    <a:pt x="1371" y="440"/>
                  </a:lnTo>
                  <a:lnTo>
                    <a:pt x="1374" y="440"/>
                  </a:lnTo>
                  <a:lnTo>
                    <a:pt x="1377" y="441"/>
                  </a:lnTo>
                  <a:lnTo>
                    <a:pt x="1393" y="457"/>
                  </a:lnTo>
                  <a:lnTo>
                    <a:pt x="1408" y="471"/>
                  </a:lnTo>
                  <a:lnTo>
                    <a:pt x="1424" y="479"/>
                  </a:lnTo>
                  <a:lnTo>
                    <a:pt x="1438" y="487"/>
                  </a:lnTo>
                  <a:lnTo>
                    <a:pt x="1454" y="495"/>
                  </a:lnTo>
                  <a:lnTo>
                    <a:pt x="1459" y="501"/>
                  </a:lnTo>
                  <a:lnTo>
                    <a:pt x="1464" y="508"/>
                  </a:lnTo>
                  <a:lnTo>
                    <a:pt x="1442" y="509"/>
                  </a:lnTo>
                  <a:lnTo>
                    <a:pt x="1421" y="510"/>
                  </a:lnTo>
                  <a:lnTo>
                    <a:pt x="1399" y="512"/>
                  </a:lnTo>
                  <a:lnTo>
                    <a:pt x="1379" y="512"/>
                  </a:lnTo>
                  <a:lnTo>
                    <a:pt x="1378" y="513"/>
                  </a:lnTo>
                  <a:lnTo>
                    <a:pt x="1377" y="515"/>
                  </a:lnTo>
                  <a:lnTo>
                    <a:pt x="1376" y="515"/>
                  </a:lnTo>
                  <a:lnTo>
                    <a:pt x="1373" y="516"/>
                  </a:lnTo>
                  <a:lnTo>
                    <a:pt x="1367" y="517"/>
                  </a:lnTo>
                  <a:lnTo>
                    <a:pt x="1363" y="517"/>
                  </a:lnTo>
                  <a:lnTo>
                    <a:pt x="1360" y="523"/>
                  </a:lnTo>
                  <a:lnTo>
                    <a:pt x="1357" y="528"/>
                  </a:lnTo>
                  <a:lnTo>
                    <a:pt x="1352" y="528"/>
                  </a:lnTo>
                  <a:lnTo>
                    <a:pt x="1347" y="528"/>
                  </a:lnTo>
                  <a:lnTo>
                    <a:pt x="1345" y="529"/>
                  </a:lnTo>
                  <a:lnTo>
                    <a:pt x="1342" y="530"/>
                  </a:lnTo>
                  <a:lnTo>
                    <a:pt x="1341" y="532"/>
                  </a:lnTo>
                  <a:lnTo>
                    <a:pt x="1340" y="534"/>
                  </a:lnTo>
                  <a:lnTo>
                    <a:pt x="1323" y="534"/>
                  </a:lnTo>
                  <a:lnTo>
                    <a:pt x="1323" y="535"/>
                  </a:lnTo>
                  <a:lnTo>
                    <a:pt x="1321" y="536"/>
                  </a:lnTo>
                  <a:lnTo>
                    <a:pt x="1318" y="537"/>
                  </a:lnTo>
                  <a:lnTo>
                    <a:pt x="1315" y="538"/>
                  </a:lnTo>
                  <a:lnTo>
                    <a:pt x="1308" y="538"/>
                  </a:lnTo>
                  <a:lnTo>
                    <a:pt x="1301" y="539"/>
                  </a:lnTo>
                  <a:lnTo>
                    <a:pt x="1293" y="542"/>
                  </a:lnTo>
                  <a:lnTo>
                    <a:pt x="1272" y="545"/>
                  </a:lnTo>
                  <a:lnTo>
                    <a:pt x="1241" y="548"/>
                  </a:lnTo>
                  <a:lnTo>
                    <a:pt x="1205" y="552"/>
                  </a:lnTo>
                  <a:lnTo>
                    <a:pt x="1168" y="555"/>
                  </a:lnTo>
                  <a:lnTo>
                    <a:pt x="1136" y="558"/>
                  </a:lnTo>
                  <a:lnTo>
                    <a:pt x="1110" y="561"/>
                  </a:lnTo>
                  <a:lnTo>
                    <a:pt x="1097" y="561"/>
                  </a:lnTo>
                  <a:lnTo>
                    <a:pt x="1091" y="563"/>
                  </a:lnTo>
                  <a:lnTo>
                    <a:pt x="1077" y="565"/>
                  </a:lnTo>
                  <a:lnTo>
                    <a:pt x="1057" y="567"/>
                  </a:lnTo>
                  <a:lnTo>
                    <a:pt x="1033" y="568"/>
                  </a:lnTo>
                  <a:lnTo>
                    <a:pt x="984" y="571"/>
                  </a:lnTo>
                  <a:lnTo>
                    <a:pt x="953" y="572"/>
                  </a:lnTo>
                  <a:lnTo>
                    <a:pt x="950" y="577"/>
                  </a:lnTo>
                  <a:lnTo>
                    <a:pt x="947" y="583"/>
                  </a:lnTo>
                  <a:lnTo>
                    <a:pt x="936" y="583"/>
                  </a:lnTo>
                  <a:lnTo>
                    <a:pt x="934" y="587"/>
                  </a:lnTo>
                  <a:lnTo>
                    <a:pt x="927" y="597"/>
                  </a:lnTo>
                  <a:lnTo>
                    <a:pt x="924" y="602"/>
                  </a:lnTo>
                  <a:lnTo>
                    <a:pt x="919" y="606"/>
                  </a:lnTo>
                  <a:lnTo>
                    <a:pt x="916" y="610"/>
                  </a:lnTo>
                  <a:lnTo>
                    <a:pt x="914" y="611"/>
                  </a:lnTo>
                  <a:lnTo>
                    <a:pt x="919" y="721"/>
                  </a:lnTo>
                  <a:lnTo>
                    <a:pt x="922" y="722"/>
                  </a:lnTo>
                  <a:lnTo>
                    <a:pt x="923" y="725"/>
                  </a:lnTo>
                  <a:lnTo>
                    <a:pt x="924" y="729"/>
                  </a:lnTo>
                  <a:lnTo>
                    <a:pt x="924" y="734"/>
                  </a:lnTo>
                  <a:lnTo>
                    <a:pt x="925" y="743"/>
                  </a:lnTo>
                  <a:lnTo>
                    <a:pt x="925" y="749"/>
                  </a:lnTo>
                  <a:lnTo>
                    <a:pt x="928" y="750"/>
                  </a:lnTo>
                  <a:lnTo>
                    <a:pt x="931" y="753"/>
                  </a:lnTo>
                  <a:lnTo>
                    <a:pt x="933" y="756"/>
                  </a:lnTo>
                  <a:lnTo>
                    <a:pt x="935" y="760"/>
                  </a:lnTo>
                  <a:lnTo>
                    <a:pt x="937" y="772"/>
                  </a:lnTo>
                  <a:lnTo>
                    <a:pt x="939" y="785"/>
                  </a:lnTo>
                  <a:lnTo>
                    <a:pt x="942" y="813"/>
                  </a:lnTo>
                  <a:lnTo>
                    <a:pt x="942" y="833"/>
                  </a:lnTo>
                  <a:lnTo>
                    <a:pt x="944" y="833"/>
                  </a:lnTo>
                  <a:lnTo>
                    <a:pt x="946" y="834"/>
                  </a:lnTo>
                  <a:lnTo>
                    <a:pt x="947" y="836"/>
                  </a:lnTo>
                  <a:lnTo>
                    <a:pt x="950" y="839"/>
                  </a:lnTo>
                  <a:lnTo>
                    <a:pt x="952" y="844"/>
                  </a:lnTo>
                  <a:lnTo>
                    <a:pt x="953" y="849"/>
                  </a:lnTo>
                  <a:lnTo>
                    <a:pt x="967" y="852"/>
                  </a:lnTo>
                  <a:lnTo>
                    <a:pt x="986" y="854"/>
                  </a:lnTo>
                  <a:lnTo>
                    <a:pt x="998" y="860"/>
                  </a:lnTo>
                  <a:lnTo>
                    <a:pt x="1013" y="865"/>
                  </a:lnTo>
                  <a:lnTo>
                    <a:pt x="1013" y="876"/>
                  </a:lnTo>
                  <a:lnTo>
                    <a:pt x="1015" y="878"/>
                  </a:lnTo>
                  <a:lnTo>
                    <a:pt x="1018" y="880"/>
                  </a:lnTo>
                  <a:lnTo>
                    <a:pt x="1020" y="882"/>
                  </a:lnTo>
                  <a:lnTo>
                    <a:pt x="1021" y="885"/>
                  </a:lnTo>
                  <a:lnTo>
                    <a:pt x="1023" y="893"/>
                  </a:lnTo>
                  <a:lnTo>
                    <a:pt x="1024" y="899"/>
                  </a:lnTo>
                  <a:lnTo>
                    <a:pt x="1035" y="904"/>
                  </a:lnTo>
                  <a:lnTo>
                    <a:pt x="1035" y="916"/>
                  </a:lnTo>
                  <a:lnTo>
                    <a:pt x="1039" y="922"/>
                  </a:lnTo>
                  <a:lnTo>
                    <a:pt x="1044" y="938"/>
                  </a:lnTo>
                  <a:lnTo>
                    <a:pt x="1050" y="961"/>
                  </a:lnTo>
                  <a:lnTo>
                    <a:pt x="1057" y="987"/>
                  </a:lnTo>
                  <a:lnTo>
                    <a:pt x="1069" y="1037"/>
                  </a:lnTo>
                  <a:lnTo>
                    <a:pt x="1075" y="1059"/>
                  </a:lnTo>
                  <a:lnTo>
                    <a:pt x="1077" y="1062"/>
                  </a:lnTo>
                  <a:lnTo>
                    <a:pt x="1081" y="1067"/>
                  </a:lnTo>
                  <a:lnTo>
                    <a:pt x="1086" y="1074"/>
                  </a:lnTo>
                  <a:lnTo>
                    <a:pt x="1091" y="1076"/>
                  </a:lnTo>
                  <a:lnTo>
                    <a:pt x="1091" y="1093"/>
                  </a:lnTo>
                  <a:lnTo>
                    <a:pt x="1092" y="1093"/>
                  </a:lnTo>
                  <a:lnTo>
                    <a:pt x="1095" y="1094"/>
                  </a:lnTo>
                  <a:lnTo>
                    <a:pt x="1096" y="1096"/>
                  </a:lnTo>
                  <a:lnTo>
                    <a:pt x="1096" y="1099"/>
                  </a:lnTo>
                  <a:lnTo>
                    <a:pt x="1097" y="1104"/>
                  </a:lnTo>
                  <a:lnTo>
                    <a:pt x="1097" y="1110"/>
                  </a:lnTo>
                  <a:lnTo>
                    <a:pt x="1102" y="1115"/>
                  </a:lnTo>
                  <a:lnTo>
                    <a:pt x="1108" y="1118"/>
                  </a:lnTo>
                  <a:lnTo>
                    <a:pt x="1114" y="1121"/>
                  </a:lnTo>
                  <a:lnTo>
                    <a:pt x="1114" y="1132"/>
                  </a:lnTo>
                  <a:lnTo>
                    <a:pt x="1117" y="1132"/>
                  </a:lnTo>
                  <a:lnTo>
                    <a:pt x="1120" y="1135"/>
                  </a:lnTo>
                  <a:lnTo>
                    <a:pt x="1124" y="1139"/>
                  </a:lnTo>
                  <a:lnTo>
                    <a:pt x="1126" y="1143"/>
                  </a:lnTo>
                  <a:lnTo>
                    <a:pt x="1129" y="1152"/>
                  </a:lnTo>
                  <a:lnTo>
                    <a:pt x="1130" y="1159"/>
                  </a:lnTo>
                  <a:lnTo>
                    <a:pt x="1131" y="1160"/>
                  </a:lnTo>
                  <a:lnTo>
                    <a:pt x="1134" y="1161"/>
                  </a:lnTo>
                  <a:lnTo>
                    <a:pt x="1136" y="1164"/>
                  </a:lnTo>
                  <a:lnTo>
                    <a:pt x="1137" y="1168"/>
                  </a:lnTo>
                  <a:lnTo>
                    <a:pt x="1140" y="1177"/>
                  </a:lnTo>
                  <a:lnTo>
                    <a:pt x="1143" y="1188"/>
                  </a:lnTo>
                  <a:lnTo>
                    <a:pt x="1148" y="1208"/>
                  </a:lnTo>
                  <a:lnTo>
                    <a:pt x="1152" y="1220"/>
                  </a:lnTo>
                  <a:lnTo>
                    <a:pt x="1152" y="1237"/>
                  </a:lnTo>
                  <a:lnTo>
                    <a:pt x="1164" y="1236"/>
                  </a:lnTo>
                  <a:lnTo>
                    <a:pt x="1185" y="1235"/>
                  </a:lnTo>
                  <a:lnTo>
                    <a:pt x="1166" y="1247"/>
                  </a:lnTo>
                  <a:lnTo>
                    <a:pt x="1148" y="1257"/>
                  </a:lnTo>
                  <a:lnTo>
                    <a:pt x="1138" y="1263"/>
                  </a:lnTo>
                  <a:lnTo>
                    <a:pt x="1128" y="1267"/>
                  </a:lnTo>
                  <a:lnTo>
                    <a:pt x="1118" y="1272"/>
                  </a:lnTo>
                  <a:lnTo>
                    <a:pt x="1107" y="1276"/>
                  </a:lnTo>
                  <a:lnTo>
                    <a:pt x="1095" y="1279"/>
                  </a:lnTo>
                  <a:lnTo>
                    <a:pt x="1081" y="1283"/>
                  </a:lnTo>
                  <a:lnTo>
                    <a:pt x="1066" y="1285"/>
                  </a:lnTo>
                  <a:lnTo>
                    <a:pt x="1049" y="1287"/>
                  </a:lnTo>
                  <a:lnTo>
                    <a:pt x="1031" y="1289"/>
                  </a:lnTo>
                  <a:lnTo>
                    <a:pt x="1011" y="1291"/>
                  </a:lnTo>
                  <a:lnTo>
                    <a:pt x="989" y="1292"/>
                  </a:lnTo>
                  <a:lnTo>
                    <a:pt x="963" y="1292"/>
                  </a:lnTo>
                  <a:lnTo>
                    <a:pt x="943" y="1292"/>
                  </a:lnTo>
                  <a:lnTo>
                    <a:pt x="926" y="1294"/>
                  </a:lnTo>
                  <a:lnTo>
                    <a:pt x="913" y="1296"/>
                  </a:lnTo>
                  <a:lnTo>
                    <a:pt x="901" y="1299"/>
                  </a:lnTo>
                  <a:lnTo>
                    <a:pt x="894" y="1304"/>
                  </a:lnTo>
                  <a:lnTo>
                    <a:pt x="887" y="1308"/>
                  </a:lnTo>
                  <a:lnTo>
                    <a:pt x="881" y="1314"/>
                  </a:lnTo>
                  <a:lnTo>
                    <a:pt x="877" y="1318"/>
                  </a:lnTo>
                  <a:lnTo>
                    <a:pt x="869" y="1331"/>
                  </a:lnTo>
                  <a:lnTo>
                    <a:pt x="861" y="1342"/>
                  </a:lnTo>
                  <a:lnTo>
                    <a:pt x="856" y="1346"/>
                  </a:lnTo>
                  <a:lnTo>
                    <a:pt x="849" y="1351"/>
                  </a:lnTo>
                  <a:lnTo>
                    <a:pt x="840" y="1355"/>
                  </a:lnTo>
                  <a:lnTo>
                    <a:pt x="828" y="1359"/>
                  </a:lnTo>
                  <a:lnTo>
                    <a:pt x="811" y="1364"/>
                  </a:lnTo>
                  <a:lnTo>
                    <a:pt x="794" y="1368"/>
                  </a:lnTo>
                  <a:lnTo>
                    <a:pt x="779" y="1371"/>
                  </a:lnTo>
                  <a:lnTo>
                    <a:pt x="763" y="1372"/>
                  </a:lnTo>
                  <a:lnTo>
                    <a:pt x="747" y="1373"/>
                  </a:lnTo>
                  <a:lnTo>
                    <a:pt x="732" y="1373"/>
                  </a:lnTo>
                  <a:lnTo>
                    <a:pt x="717" y="1372"/>
                  </a:lnTo>
                  <a:lnTo>
                    <a:pt x="704" y="1371"/>
                  </a:lnTo>
                  <a:lnTo>
                    <a:pt x="691" y="1369"/>
                  </a:lnTo>
                  <a:lnTo>
                    <a:pt x="677" y="1365"/>
                  </a:lnTo>
                  <a:lnTo>
                    <a:pt x="664" y="1362"/>
                  </a:lnTo>
                  <a:lnTo>
                    <a:pt x="650" y="1359"/>
                  </a:lnTo>
                  <a:lnTo>
                    <a:pt x="626" y="1350"/>
                  </a:lnTo>
                  <a:lnTo>
                    <a:pt x="602" y="1339"/>
                  </a:lnTo>
                  <a:lnTo>
                    <a:pt x="559" y="1317"/>
                  </a:lnTo>
                  <a:lnTo>
                    <a:pt x="517" y="1296"/>
                  </a:lnTo>
                  <a:lnTo>
                    <a:pt x="499" y="1287"/>
                  </a:lnTo>
                  <a:lnTo>
                    <a:pt x="478" y="1280"/>
                  </a:lnTo>
                  <a:lnTo>
                    <a:pt x="469" y="1278"/>
                  </a:lnTo>
                  <a:lnTo>
                    <a:pt x="459" y="1276"/>
                  </a:lnTo>
                  <a:lnTo>
                    <a:pt x="451" y="1275"/>
                  </a:lnTo>
                  <a:lnTo>
                    <a:pt x="440" y="1275"/>
                  </a:lnTo>
                  <a:lnTo>
                    <a:pt x="433" y="1274"/>
                  </a:lnTo>
                  <a:lnTo>
                    <a:pt x="424" y="1272"/>
                  </a:lnTo>
                  <a:lnTo>
                    <a:pt x="417" y="1267"/>
                  </a:lnTo>
                  <a:lnTo>
                    <a:pt x="409" y="1261"/>
                  </a:lnTo>
                  <a:lnTo>
                    <a:pt x="403" y="1255"/>
                  </a:lnTo>
                  <a:lnTo>
                    <a:pt x="397" y="1246"/>
                  </a:lnTo>
                  <a:lnTo>
                    <a:pt x="391" y="1237"/>
                  </a:lnTo>
                  <a:lnTo>
                    <a:pt x="387" y="1226"/>
                  </a:lnTo>
                  <a:lnTo>
                    <a:pt x="382" y="1215"/>
                  </a:lnTo>
                  <a:lnTo>
                    <a:pt x="379" y="1202"/>
                  </a:lnTo>
                  <a:lnTo>
                    <a:pt x="376" y="1190"/>
                  </a:lnTo>
                  <a:lnTo>
                    <a:pt x="373" y="1176"/>
                  </a:lnTo>
                  <a:lnTo>
                    <a:pt x="371" y="1162"/>
                  </a:lnTo>
                  <a:lnTo>
                    <a:pt x="370" y="1148"/>
                  </a:lnTo>
                  <a:lnTo>
                    <a:pt x="370" y="1133"/>
                  </a:lnTo>
                  <a:lnTo>
                    <a:pt x="370" y="1119"/>
                  </a:lnTo>
                  <a:lnTo>
                    <a:pt x="371" y="1104"/>
                  </a:lnTo>
                  <a:lnTo>
                    <a:pt x="372" y="1090"/>
                  </a:lnTo>
                  <a:lnTo>
                    <a:pt x="375" y="1075"/>
                  </a:lnTo>
                  <a:lnTo>
                    <a:pt x="378" y="1062"/>
                  </a:lnTo>
                  <a:lnTo>
                    <a:pt x="382" y="1048"/>
                  </a:lnTo>
                  <a:lnTo>
                    <a:pt x="387" y="1035"/>
                  </a:lnTo>
                  <a:lnTo>
                    <a:pt x="392" y="1023"/>
                  </a:lnTo>
                  <a:lnTo>
                    <a:pt x="399" y="1012"/>
                  </a:lnTo>
                  <a:lnTo>
                    <a:pt x="407" y="1001"/>
                  </a:lnTo>
                  <a:lnTo>
                    <a:pt x="415" y="991"/>
                  </a:lnTo>
                  <a:lnTo>
                    <a:pt x="424" y="984"/>
                  </a:lnTo>
                  <a:lnTo>
                    <a:pt x="434" y="976"/>
                  </a:lnTo>
                  <a:lnTo>
                    <a:pt x="445" y="970"/>
                  </a:lnTo>
                  <a:lnTo>
                    <a:pt x="456" y="967"/>
                  </a:lnTo>
                  <a:lnTo>
                    <a:pt x="469" y="964"/>
                  </a:lnTo>
                  <a:lnTo>
                    <a:pt x="483" y="962"/>
                  </a:lnTo>
                  <a:lnTo>
                    <a:pt x="497" y="962"/>
                  </a:lnTo>
                  <a:lnTo>
                    <a:pt x="510" y="961"/>
                  </a:lnTo>
                  <a:lnTo>
                    <a:pt x="519" y="960"/>
                  </a:lnTo>
                  <a:lnTo>
                    <a:pt x="526" y="959"/>
                  </a:lnTo>
                  <a:lnTo>
                    <a:pt x="532" y="957"/>
                  </a:lnTo>
                  <a:lnTo>
                    <a:pt x="535" y="953"/>
                  </a:lnTo>
                  <a:lnTo>
                    <a:pt x="536" y="950"/>
                  </a:lnTo>
                  <a:lnTo>
                    <a:pt x="536" y="947"/>
                  </a:lnTo>
                  <a:lnTo>
                    <a:pt x="535" y="943"/>
                  </a:lnTo>
                  <a:lnTo>
                    <a:pt x="533" y="940"/>
                  </a:lnTo>
                  <a:lnTo>
                    <a:pt x="529" y="936"/>
                  </a:lnTo>
                  <a:lnTo>
                    <a:pt x="524" y="931"/>
                  </a:lnTo>
                  <a:lnTo>
                    <a:pt x="512" y="922"/>
                  </a:lnTo>
                  <a:lnTo>
                    <a:pt x="499" y="913"/>
                  </a:lnTo>
                  <a:lnTo>
                    <a:pt x="490" y="907"/>
                  </a:lnTo>
                  <a:lnTo>
                    <a:pt x="481" y="898"/>
                  </a:lnTo>
                  <a:lnTo>
                    <a:pt x="473" y="888"/>
                  </a:lnTo>
                  <a:lnTo>
                    <a:pt x="465" y="876"/>
                  </a:lnTo>
                  <a:lnTo>
                    <a:pt x="456" y="868"/>
                  </a:lnTo>
                  <a:lnTo>
                    <a:pt x="448" y="860"/>
                  </a:lnTo>
                  <a:lnTo>
                    <a:pt x="445" y="856"/>
                  </a:lnTo>
                  <a:lnTo>
                    <a:pt x="440" y="854"/>
                  </a:lnTo>
                  <a:lnTo>
                    <a:pt x="436" y="852"/>
                  </a:lnTo>
                  <a:lnTo>
                    <a:pt x="433" y="852"/>
                  </a:lnTo>
                  <a:lnTo>
                    <a:pt x="416" y="851"/>
                  </a:lnTo>
                  <a:lnTo>
                    <a:pt x="400" y="850"/>
                  </a:lnTo>
                  <a:lnTo>
                    <a:pt x="386" y="846"/>
                  </a:lnTo>
                  <a:lnTo>
                    <a:pt x="372" y="842"/>
                  </a:lnTo>
                  <a:lnTo>
                    <a:pt x="359" y="837"/>
                  </a:lnTo>
                  <a:lnTo>
                    <a:pt x="348" y="831"/>
                  </a:lnTo>
                  <a:lnTo>
                    <a:pt x="337" y="823"/>
                  </a:lnTo>
                  <a:lnTo>
                    <a:pt x="327" y="813"/>
                  </a:lnTo>
                  <a:lnTo>
                    <a:pt x="302" y="787"/>
                  </a:lnTo>
                  <a:lnTo>
                    <a:pt x="280" y="763"/>
                  </a:lnTo>
                  <a:lnTo>
                    <a:pt x="259" y="740"/>
                  </a:lnTo>
                  <a:lnTo>
                    <a:pt x="237" y="718"/>
                  </a:lnTo>
                  <a:lnTo>
                    <a:pt x="204" y="684"/>
                  </a:lnTo>
                  <a:lnTo>
                    <a:pt x="163" y="642"/>
                  </a:lnTo>
                  <a:lnTo>
                    <a:pt x="120" y="600"/>
                  </a:lnTo>
                  <a:lnTo>
                    <a:pt x="87" y="567"/>
                  </a:lnTo>
                  <a:lnTo>
                    <a:pt x="78" y="557"/>
                  </a:lnTo>
                  <a:lnTo>
                    <a:pt x="69" y="548"/>
                  </a:lnTo>
                  <a:lnTo>
                    <a:pt x="62" y="539"/>
                  </a:lnTo>
                  <a:lnTo>
                    <a:pt x="58" y="533"/>
                  </a:lnTo>
                  <a:lnTo>
                    <a:pt x="53" y="525"/>
                  </a:lnTo>
                  <a:lnTo>
                    <a:pt x="50" y="519"/>
                  </a:lnTo>
                  <a:lnTo>
                    <a:pt x="49" y="514"/>
                  </a:lnTo>
                  <a:lnTo>
                    <a:pt x="48" y="508"/>
                  </a:lnTo>
                  <a:lnTo>
                    <a:pt x="48" y="504"/>
                  </a:lnTo>
                  <a:lnTo>
                    <a:pt x="48" y="498"/>
                  </a:lnTo>
                  <a:lnTo>
                    <a:pt x="49" y="495"/>
                  </a:lnTo>
                  <a:lnTo>
                    <a:pt x="51" y="490"/>
                  </a:lnTo>
                  <a:lnTo>
                    <a:pt x="56" y="482"/>
                  </a:lnTo>
                  <a:lnTo>
                    <a:pt x="62" y="475"/>
                  </a:lnTo>
                  <a:lnTo>
                    <a:pt x="69" y="468"/>
                  </a:lnTo>
                  <a:lnTo>
                    <a:pt x="75" y="459"/>
                  </a:lnTo>
                  <a:lnTo>
                    <a:pt x="79" y="455"/>
                  </a:lnTo>
                  <a:lnTo>
                    <a:pt x="81" y="449"/>
                  </a:lnTo>
                  <a:lnTo>
                    <a:pt x="83" y="443"/>
                  </a:lnTo>
                  <a:lnTo>
                    <a:pt x="85" y="438"/>
                  </a:lnTo>
                  <a:lnTo>
                    <a:pt x="87" y="431"/>
                  </a:lnTo>
                  <a:lnTo>
                    <a:pt x="87" y="424"/>
                  </a:lnTo>
                  <a:lnTo>
                    <a:pt x="87" y="417"/>
                  </a:lnTo>
                  <a:lnTo>
                    <a:pt x="85" y="408"/>
                  </a:lnTo>
                  <a:lnTo>
                    <a:pt x="83" y="398"/>
                  </a:lnTo>
                  <a:lnTo>
                    <a:pt x="80" y="388"/>
                  </a:lnTo>
                  <a:lnTo>
                    <a:pt x="75" y="376"/>
                  </a:lnTo>
                  <a:lnTo>
                    <a:pt x="70" y="364"/>
                  </a:lnTo>
                  <a:lnTo>
                    <a:pt x="66" y="357"/>
                  </a:lnTo>
                  <a:lnTo>
                    <a:pt x="65" y="351"/>
                  </a:lnTo>
                  <a:lnTo>
                    <a:pt x="63" y="345"/>
                  </a:lnTo>
                  <a:lnTo>
                    <a:pt x="63" y="339"/>
                  </a:lnTo>
                  <a:lnTo>
                    <a:pt x="64" y="327"/>
                  </a:lnTo>
                  <a:lnTo>
                    <a:pt x="66" y="317"/>
                  </a:lnTo>
                  <a:lnTo>
                    <a:pt x="74" y="301"/>
                  </a:lnTo>
                  <a:lnTo>
                    <a:pt x="78" y="287"/>
                  </a:lnTo>
                  <a:lnTo>
                    <a:pt x="78" y="276"/>
                  </a:lnTo>
                  <a:lnTo>
                    <a:pt x="77" y="268"/>
                  </a:lnTo>
                  <a:lnTo>
                    <a:pt x="73" y="260"/>
                  </a:lnTo>
                  <a:lnTo>
                    <a:pt x="68" y="254"/>
                  </a:lnTo>
                  <a:lnTo>
                    <a:pt x="50" y="235"/>
                  </a:lnTo>
                  <a:lnTo>
                    <a:pt x="20" y="205"/>
                  </a:lnTo>
                  <a:lnTo>
                    <a:pt x="16" y="200"/>
                  </a:lnTo>
                  <a:lnTo>
                    <a:pt x="14" y="195"/>
                  </a:lnTo>
                  <a:lnTo>
                    <a:pt x="12" y="189"/>
                  </a:lnTo>
                  <a:lnTo>
                    <a:pt x="11" y="182"/>
                  </a:lnTo>
                  <a:lnTo>
                    <a:pt x="10" y="174"/>
                  </a:lnTo>
                  <a:lnTo>
                    <a:pt x="7" y="168"/>
                  </a:lnTo>
                  <a:lnTo>
                    <a:pt x="4" y="161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8" name="Freeform 34"/>
            <p:cNvSpPr>
              <a:spLocks noChangeAspect="1"/>
            </p:cNvSpPr>
            <p:nvPr/>
          </p:nvSpPr>
          <p:spPr bwMode="gray">
            <a:xfrm rot="355651">
              <a:off x="5852507" y="3152775"/>
              <a:ext cx="336430" cy="201210"/>
            </a:xfrm>
            <a:custGeom>
              <a:avLst/>
              <a:gdLst/>
              <a:ahLst/>
              <a:cxnLst>
                <a:cxn ang="0">
                  <a:pos x="124" y="322"/>
                </a:cxn>
                <a:cxn ang="0">
                  <a:pos x="183" y="354"/>
                </a:cxn>
                <a:cxn ang="0">
                  <a:pos x="294" y="407"/>
                </a:cxn>
                <a:cxn ang="0">
                  <a:pos x="355" y="380"/>
                </a:cxn>
                <a:cxn ang="0">
                  <a:pos x="393" y="331"/>
                </a:cxn>
                <a:cxn ang="0">
                  <a:pos x="502" y="312"/>
                </a:cxn>
                <a:cxn ang="0">
                  <a:pos x="520" y="274"/>
                </a:cxn>
                <a:cxn ang="0">
                  <a:pos x="635" y="235"/>
                </a:cxn>
                <a:cxn ang="0">
                  <a:pos x="757" y="198"/>
                </a:cxn>
                <a:cxn ang="0">
                  <a:pos x="874" y="93"/>
                </a:cxn>
                <a:cxn ang="0">
                  <a:pos x="993" y="75"/>
                </a:cxn>
                <a:cxn ang="0">
                  <a:pos x="1151" y="28"/>
                </a:cxn>
                <a:cxn ang="0">
                  <a:pos x="1508" y="0"/>
                </a:cxn>
                <a:cxn ang="0">
                  <a:pos x="1585" y="34"/>
                </a:cxn>
                <a:cxn ang="0">
                  <a:pos x="1628" y="141"/>
                </a:cxn>
                <a:cxn ang="0">
                  <a:pos x="1738" y="175"/>
                </a:cxn>
                <a:cxn ang="0">
                  <a:pos x="1847" y="233"/>
                </a:cxn>
                <a:cxn ang="0">
                  <a:pos x="1778" y="283"/>
                </a:cxn>
                <a:cxn ang="0">
                  <a:pos x="1741" y="444"/>
                </a:cxn>
                <a:cxn ang="0">
                  <a:pos x="1701" y="720"/>
                </a:cxn>
                <a:cxn ang="0">
                  <a:pos x="1662" y="726"/>
                </a:cxn>
                <a:cxn ang="0">
                  <a:pos x="1634" y="760"/>
                </a:cxn>
                <a:cxn ang="0">
                  <a:pos x="1615" y="825"/>
                </a:cxn>
                <a:cxn ang="0">
                  <a:pos x="1586" y="864"/>
                </a:cxn>
                <a:cxn ang="0">
                  <a:pos x="1548" y="918"/>
                </a:cxn>
                <a:cxn ang="0">
                  <a:pos x="1518" y="1126"/>
                </a:cxn>
                <a:cxn ang="0">
                  <a:pos x="1576" y="1178"/>
                </a:cxn>
                <a:cxn ang="0">
                  <a:pos x="1582" y="1210"/>
                </a:cxn>
                <a:cxn ang="0">
                  <a:pos x="1498" y="1242"/>
                </a:cxn>
                <a:cxn ang="0">
                  <a:pos x="1380" y="1176"/>
                </a:cxn>
                <a:cxn ang="0">
                  <a:pos x="1352" y="1157"/>
                </a:cxn>
                <a:cxn ang="0">
                  <a:pos x="1331" y="1137"/>
                </a:cxn>
                <a:cxn ang="0">
                  <a:pos x="1262" y="1098"/>
                </a:cxn>
                <a:cxn ang="0">
                  <a:pos x="1202" y="1052"/>
                </a:cxn>
                <a:cxn ang="0">
                  <a:pos x="1144" y="989"/>
                </a:cxn>
                <a:cxn ang="0">
                  <a:pos x="1129" y="976"/>
                </a:cxn>
                <a:cxn ang="0">
                  <a:pos x="1097" y="927"/>
                </a:cxn>
                <a:cxn ang="0">
                  <a:pos x="1058" y="905"/>
                </a:cxn>
                <a:cxn ang="0">
                  <a:pos x="932" y="860"/>
                </a:cxn>
                <a:cxn ang="0">
                  <a:pos x="905" y="843"/>
                </a:cxn>
                <a:cxn ang="0">
                  <a:pos x="866" y="831"/>
                </a:cxn>
                <a:cxn ang="0">
                  <a:pos x="827" y="818"/>
                </a:cxn>
                <a:cxn ang="0">
                  <a:pos x="788" y="787"/>
                </a:cxn>
                <a:cxn ang="0">
                  <a:pos x="749" y="736"/>
                </a:cxn>
                <a:cxn ang="0">
                  <a:pos x="690" y="752"/>
                </a:cxn>
                <a:cxn ang="0">
                  <a:pos x="673" y="770"/>
                </a:cxn>
                <a:cxn ang="0">
                  <a:pos x="603" y="769"/>
                </a:cxn>
                <a:cxn ang="0">
                  <a:pos x="546" y="761"/>
                </a:cxn>
                <a:cxn ang="0">
                  <a:pos x="487" y="774"/>
                </a:cxn>
                <a:cxn ang="0">
                  <a:pos x="438" y="798"/>
                </a:cxn>
                <a:cxn ang="0">
                  <a:pos x="343" y="814"/>
                </a:cxn>
                <a:cxn ang="0">
                  <a:pos x="201" y="821"/>
                </a:cxn>
                <a:cxn ang="0">
                  <a:pos x="170" y="837"/>
                </a:cxn>
                <a:cxn ang="0">
                  <a:pos x="100" y="873"/>
                </a:cxn>
                <a:cxn ang="0">
                  <a:pos x="84" y="711"/>
                </a:cxn>
                <a:cxn ang="0">
                  <a:pos x="100" y="667"/>
                </a:cxn>
                <a:cxn ang="0">
                  <a:pos x="93" y="589"/>
                </a:cxn>
                <a:cxn ang="0">
                  <a:pos x="54" y="559"/>
                </a:cxn>
                <a:cxn ang="0">
                  <a:pos x="23" y="525"/>
                </a:cxn>
                <a:cxn ang="0">
                  <a:pos x="7" y="492"/>
                </a:cxn>
              </a:cxnLst>
              <a:rect l="0" t="0" r="r" b="b"/>
              <a:pathLst>
                <a:path w="1854" h="1242">
                  <a:moveTo>
                    <a:pt x="0" y="457"/>
                  </a:moveTo>
                  <a:lnTo>
                    <a:pt x="21" y="435"/>
                  </a:lnTo>
                  <a:lnTo>
                    <a:pt x="41" y="412"/>
                  </a:lnTo>
                  <a:lnTo>
                    <a:pt x="59" y="388"/>
                  </a:lnTo>
                  <a:lnTo>
                    <a:pt x="77" y="367"/>
                  </a:lnTo>
                  <a:lnTo>
                    <a:pt x="94" y="348"/>
                  </a:lnTo>
                  <a:lnTo>
                    <a:pt x="109" y="332"/>
                  </a:lnTo>
                  <a:lnTo>
                    <a:pt x="117" y="327"/>
                  </a:lnTo>
                  <a:lnTo>
                    <a:pt x="124" y="322"/>
                  </a:lnTo>
                  <a:lnTo>
                    <a:pt x="132" y="320"/>
                  </a:lnTo>
                  <a:lnTo>
                    <a:pt x="138" y="319"/>
                  </a:lnTo>
                  <a:lnTo>
                    <a:pt x="151" y="320"/>
                  </a:lnTo>
                  <a:lnTo>
                    <a:pt x="160" y="322"/>
                  </a:lnTo>
                  <a:lnTo>
                    <a:pt x="167" y="327"/>
                  </a:lnTo>
                  <a:lnTo>
                    <a:pt x="173" y="332"/>
                  </a:lnTo>
                  <a:lnTo>
                    <a:pt x="177" y="339"/>
                  </a:lnTo>
                  <a:lnTo>
                    <a:pt x="181" y="346"/>
                  </a:lnTo>
                  <a:lnTo>
                    <a:pt x="183" y="354"/>
                  </a:lnTo>
                  <a:lnTo>
                    <a:pt x="184" y="361"/>
                  </a:lnTo>
                  <a:lnTo>
                    <a:pt x="185" y="377"/>
                  </a:lnTo>
                  <a:lnTo>
                    <a:pt x="187" y="390"/>
                  </a:lnTo>
                  <a:lnTo>
                    <a:pt x="189" y="396"/>
                  </a:lnTo>
                  <a:lnTo>
                    <a:pt x="192" y="400"/>
                  </a:lnTo>
                  <a:lnTo>
                    <a:pt x="195" y="403"/>
                  </a:lnTo>
                  <a:lnTo>
                    <a:pt x="201" y="404"/>
                  </a:lnTo>
                  <a:lnTo>
                    <a:pt x="262" y="404"/>
                  </a:lnTo>
                  <a:lnTo>
                    <a:pt x="294" y="407"/>
                  </a:lnTo>
                  <a:lnTo>
                    <a:pt x="323" y="409"/>
                  </a:lnTo>
                  <a:lnTo>
                    <a:pt x="329" y="409"/>
                  </a:lnTo>
                  <a:lnTo>
                    <a:pt x="336" y="408"/>
                  </a:lnTo>
                  <a:lnTo>
                    <a:pt x="342" y="407"/>
                  </a:lnTo>
                  <a:lnTo>
                    <a:pt x="346" y="404"/>
                  </a:lnTo>
                  <a:lnTo>
                    <a:pt x="349" y="400"/>
                  </a:lnTo>
                  <a:lnTo>
                    <a:pt x="353" y="395"/>
                  </a:lnTo>
                  <a:lnTo>
                    <a:pt x="354" y="389"/>
                  </a:lnTo>
                  <a:lnTo>
                    <a:pt x="355" y="380"/>
                  </a:lnTo>
                  <a:lnTo>
                    <a:pt x="355" y="373"/>
                  </a:lnTo>
                  <a:lnTo>
                    <a:pt x="357" y="365"/>
                  </a:lnTo>
                  <a:lnTo>
                    <a:pt x="359" y="359"/>
                  </a:lnTo>
                  <a:lnTo>
                    <a:pt x="362" y="352"/>
                  </a:lnTo>
                  <a:lnTo>
                    <a:pt x="366" y="348"/>
                  </a:lnTo>
                  <a:lnTo>
                    <a:pt x="369" y="343"/>
                  </a:lnTo>
                  <a:lnTo>
                    <a:pt x="375" y="339"/>
                  </a:lnTo>
                  <a:lnTo>
                    <a:pt x="381" y="336"/>
                  </a:lnTo>
                  <a:lnTo>
                    <a:pt x="393" y="331"/>
                  </a:lnTo>
                  <a:lnTo>
                    <a:pt x="406" y="327"/>
                  </a:lnTo>
                  <a:lnTo>
                    <a:pt x="421" y="325"/>
                  </a:lnTo>
                  <a:lnTo>
                    <a:pt x="436" y="323"/>
                  </a:lnTo>
                  <a:lnTo>
                    <a:pt x="451" y="321"/>
                  </a:lnTo>
                  <a:lnTo>
                    <a:pt x="465" y="320"/>
                  </a:lnTo>
                  <a:lnTo>
                    <a:pt x="480" y="318"/>
                  </a:lnTo>
                  <a:lnTo>
                    <a:pt x="492" y="316"/>
                  </a:lnTo>
                  <a:lnTo>
                    <a:pt x="498" y="313"/>
                  </a:lnTo>
                  <a:lnTo>
                    <a:pt x="502" y="312"/>
                  </a:lnTo>
                  <a:lnTo>
                    <a:pt x="507" y="309"/>
                  </a:lnTo>
                  <a:lnTo>
                    <a:pt x="510" y="306"/>
                  </a:lnTo>
                  <a:lnTo>
                    <a:pt x="513" y="302"/>
                  </a:lnTo>
                  <a:lnTo>
                    <a:pt x="516" y="299"/>
                  </a:lnTo>
                  <a:lnTo>
                    <a:pt x="517" y="293"/>
                  </a:lnTo>
                  <a:lnTo>
                    <a:pt x="517" y="288"/>
                  </a:lnTo>
                  <a:lnTo>
                    <a:pt x="518" y="283"/>
                  </a:lnTo>
                  <a:lnTo>
                    <a:pt x="519" y="279"/>
                  </a:lnTo>
                  <a:lnTo>
                    <a:pt x="520" y="274"/>
                  </a:lnTo>
                  <a:lnTo>
                    <a:pt x="522" y="270"/>
                  </a:lnTo>
                  <a:lnTo>
                    <a:pt x="528" y="263"/>
                  </a:lnTo>
                  <a:lnTo>
                    <a:pt x="535" y="256"/>
                  </a:lnTo>
                  <a:lnTo>
                    <a:pt x="545" y="252"/>
                  </a:lnTo>
                  <a:lnTo>
                    <a:pt x="555" y="248"/>
                  </a:lnTo>
                  <a:lnTo>
                    <a:pt x="567" y="244"/>
                  </a:lnTo>
                  <a:lnTo>
                    <a:pt x="579" y="241"/>
                  </a:lnTo>
                  <a:lnTo>
                    <a:pt x="606" y="236"/>
                  </a:lnTo>
                  <a:lnTo>
                    <a:pt x="635" y="235"/>
                  </a:lnTo>
                  <a:lnTo>
                    <a:pt x="662" y="234"/>
                  </a:lnTo>
                  <a:lnTo>
                    <a:pt x="688" y="234"/>
                  </a:lnTo>
                  <a:lnTo>
                    <a:pt x="694" y="234"/>
                  </a:lnTo>
                  <a:lnTo>
                    <a:pt x="702" y="232"/>
                  </a:lnTo>
                  <a:lnTo>
                    <a:pt x="709" y="231"/>
                  </a:lnTo>
                  <a:lnTo>
                    <a:pt x="715" y="227"/>
                  </a:lnTo>
                  <a:lnTo>
                    <a:pt x="730" y="220"/>
                  </a:lnTo>
                  <a:lnTo>
                    <a:pt x="743" y="210"/>
                  </a:lnTo>
                  <a:lnTo>
                    <a:pt x="757" y="198"/>
                  </a:lnTo>
                  <a:lnTo>
                    <a:pt x="770" y="185"/>
                  </a:lnTo>
                  <a:lnTo>
                    <a:pt x="785" y="172"/>
                  </a:lnTo>
                  <a:lnTo>
                    <a:pt x="798" y="157"/>
                  </a:lnTo>
                  <a:lnTo>
                    <a:pt x="813" y="143"/>
                  </a:lnTo>
                  <a:lnTo>
                    <a:pt x="827" y="128"/>
                  </a:lnTo>
                  <a:lnTo>
                    <a:pt x="843" y="116"/>
                  </a:lnTo>
                  <a:lnTo>
                    <a:pt x="858" y="104"/>
                  </a:lnTo>
                  <a:lnTo>
                    <a:pt x="866" y="98"/>
                  </a:lnTo>
                  <a:lnTo>
                    <a:pt x="874" y="93"/>
                  </a:lnTo>
                  <a:lnTo>
                    <a:pt x="883" y="90"/>
                  </a:lnTo>
                  <a:lnTo>
                    <a:pt x="891" y="86"/>
                  </a:lnTo>
                  <a:lnTo>
                    <a:pt x="900" y="83"/>
                  </a:lnTo>
                  <a:lnTo>
                    <a:pt x="909" y="81"/>
                  </a:lnTo>
                  <a:lnTo>
                    <a:pt x="918" y="80"/>
                  </a:lnTo>
                  <a:lnTo>
                    <a:pt x="926" y="79"/>
                  </a:lnTo>
                  <a:lnTo>
                    <a:pt x="952" y="79"/>
                  </a:lnTo>
                  <a:lnTo>
                    <a:pt x="973" y="77"/>
                  </a:lnTo>
                  <a:lnTo>
                    <a:pt x="993" y="75"/>
                  </a:lnTo>
                  <a:lnTo>
                    <a:pt x="1010" y="71"/>
                  </a:lnTo>
                  <a:lnTo>
                    <a:pt x="1026" y="67"/>
                  </a:lnTo>
                  <a:lnTo>
                    <a:pt x="1040" y="62"/>
                  </a:lnTo>
                  <a:lnTo>
                    <a:pt x="1054" y="58"/>
                  </a:lnTo>
                  <a:lnTo>
                    <a:pt x="1067" y="52"/>
                  </a:lnTo>
                  <a:lnTo>
                    <a:pt x="1093" y="42"/>
                  </a:lnTo>
                  <a:lnTo>
                    <a:pt x="1120" y="34"/>
                  </a:lnTo>
                  <a:lnTo>
                    <a:pt x="1134" y="30"/>
                  </a:lnTo>
                  <a:lnTo>
                    <a:pt x="1151" y="28"/>
                  </a:lnTo>
                  <a:lnTo>
                    <a:pt x="1169" y="27"/>
                  </a:lnTo>
                  <a:lnTo>
                    <a:pt x="1190" y="25"/>
                  </a:lnTo>
                  <a:lnTo>
                    <a:pt x="1229" y="23"/>
                  </a:lnTo>
                  <a:lnTo>
                    <a:pt x="1284" y="19"/>
                  </a:lnTo>
                  <a:lnTo>
                    <a:pt x="1348" y="12"/>
                  </a:lnTo>
                  <a:lnTo>
                    <a:pt x="1415" y="6"/>
                  </a:lnTo>
                  <a:lnTo>
                    <a:pt x="1449" y="3"/>
                  </a:lnTo>
                  <a:lnTo>
                    <a:pt x="1480" y="1"/>
                  </a:lnTo>
                  <a:lnTo>
                    <a:pt x="1508" y="0"/>
                  </a:lnTo>
                  <a:lnTo>
                    <a:pt x="1534" y="0"/>
                  </a:lnTo>
                  <a:lnTo>
                    <a:pt x="1554" y="0"/>
                  </a:lnTo>
                  <a:lnTo>
                    <a:pt x="1571" y="2"/>
                  </a:lnTo>
                  <a:lnTo>
                    <a:pt x="1576" y="3"/>
                  </a:lnTo>
                  <a:lnTo>
                    <a:pt x="1581" y="5"/>
                  </a:lnTo>
                  <a:lnTo>
                    <a:pt x="1583" y="8"/>
                  </a:lnTo>
                  <a:lnTo>
                    <a:pt x="1584" y="10"/>
                  </a:lnTo>
                  <a:lnTo>
                    <a:pt x="1584" y="22"/>
                  </a:lnTo>
                  <a:lnTo>
                    <a:pt x="1585" y="34"/>
                  </a:lnTo>
                  <a:lnTo>
                    <a:pt x="1587" y="47"/>
                  </a:lnTo>
                  <a:lnTo>
                    <a:pt x="1590" y="60"/>
                  </a:lnTo>
                  <a:lnTo>
                    <a:pt x="1593" y="73"/>
                  </a:lnTo>
                  <a:lnTo>
                    <a:pt x="1597" y="86"/>
                  </a:lnTo>
                  <a:lnTo>
                    <a:pt x="1602" y="98"/>
                  </a:lnTo>
                  <a:lnTo>
                    <a:pt x="1607" y="110"/>
                  </a:lnTo>
                  <a:lnTo>
                    <a:pt x="1613" y="121"/>
                  </a:lnTo>
                  <a:lnTo>
                    <a:pt x="1621" y="131"/>
                  </a:lnTo>
                  <a:lnTo>
                    <a:pt x="1628" y="141"/>
                  </a:lnTo>
                  <a:lnTo>
                    <a:pt x="1636" y="149"/>
                  </a:lnTo>
                  <a:lnTo>
                    <a:pt x="1645" y="156"/>
                  </a:lnTo>
                  <a:lnTo>
                    <a:pt x="1655" y="160"/>
                  </a:lnTo>
                  <a:lnTo>
                    <a:pt x="1665" y="164"/>
                  </a:lnTo>
                  <a:lnTo>
                    <a:pt x="1677" y="165"/>
                  </a:lnTo>
                  <a:lnTo>
                    <a:pt x="1693" y="165"/>
                  </a:lnTo>
                  <a:lnTo>
                    <a:pt x="1709" y="167"/>
                  </a:lnTo>
                  <a:lnTo>
                    <a:pt x="1725" y="171"/>
                  </a:lnTo>
                  <a:lnTo>
                    <a:pt x="1738" y="175"/>
                  </a:lnTo>
                  <a:lnTo>
                    <a:pt x="1751" y="181"/>
                  </a:lnTo>
                  <a:lnTo>
                    <a:pt x="1764" y="186"/>
                  </a:lnTo>
                  <a:lnTo>
                    <a:pt x="1775" y="193"/>
                  </a:lnTo>
                  <a:lnTo>
                    <a:pt x="1786" y="200"/>
                  </a:lnTo>
                  <a:lnTo>
                    <a:pt x="1806" y="212"/>
                  </a:lnTo>
                  <a:lnTo>
                    <a:pt x="1824" y="223"/>
                  </a:lnTo>
                  <a:lnTo>
                    <a:pt x="1832" y="227"/>
                  </a:lnTo>
                  <a:lnTo>
                    <a:pt x="1840" y="231"/>
                  </a:lnTo>
                  <a:lnTo>
                    <a:pt x="1847" y="233"/>
                  </a:lnTo>
                  <a:lnTo>
                    <a:pt x="1854" y="234"/>
                  </a:lnTo>
                  <a:lnTo>
                    <a:pt x="1842" y="235"/>
                  </a:lnTo>
                  <a:lnTo>
                    <a:pt x="1831" y="237"/>
                  </a:lnTo>
                  <a:lnTo>
                    <a:pt x="1821" y="242"/>
                  </a:lnTo>
                  <a:lnTo>
                    <a:pt x="1811" y="248"/>
                  </a:lnTo>
                  <a:lnTo>
                    <a:pt x="1802" y="254"/>
                  </a:lnTo>
                  <a:lnTo>
                    <a:pt x="1793" y="263"/>
                  </a:lnTo>
                  <a:lnTo>
                    <a:pt x="1785" y="272"/>
                  </a:lnTo>
                  <a:lnTo>
                    <a:pt x="1778" y="283"/>
                  </a:lnTo>
                  <a:lnTo>
                    <a:pt x="1773" y="296"/>
                  </a:lnTo>
                  <a:lnTo>
                    <a:pt x="1767" y="309"/>
                  </a:lnTo>
                  <a:lnTo>
                    <a:pt x="1761" y="323"/>
                  </a:lnTo>
                  <a:lnTo>
                    <a:pt x="1757" y="338"/>
                  </a:lnTo>
                  <a:lnTo>
                    <a:pt x="1754" y="354"/>
                  </a:lnTo>
                  <a:lnTo>
                    <a:pt x="1750" y="370"/>
                  </a:lnTo>
                  <a:lnTo>
                    <a:pt x="1747" y="388"/>
                  </a:lnTo>
                  <a:lnTo>
                    <a:pt x="1745" y="406"/>
                  </a:lnTo>
                  <a:lnTo>
                    <a:pt x="1741" y="444"/>
                  </a:lnTo>
                  <a:lnTo>
                    <a:pt x="1739" y="483"/>
                  </a:lnTo>
                  <a:lnTo>
                    <a:pt x="1738" y="523"/>
                  </a:lnTo>
                  <a:lnTo>
                    <a:pt x="1738" y="563"/>
                  </a:lnTo>
                  <a:lnTo>
                    <a:pt x="1740" y="643"/>
                  </a:lnTo>
                  <a:lnTo>
                    <a:pt x="1744" y="715"/>
                  </a:lnTo>
                  <a:lnTo>
                    <a:pt x="1707" y="715"/>
                  </a:lnTo>
                  <a:lnTo>
                    <a:pt x="1706" y="717"/>
                  </a:lnTo>
                  <a:lnTo>
                    <a:pt x="1703" y="718"/>
                  </a:lnTo>
                  <a:lnTo>
                    <a:pt x="1701" y="720"/>
                  </a:lnTo>
                  <a:lnTo>
                    <a:pt x="1698" y="721"/>
                  </a:lnTo>
                  <a:lnTo>
                    <a:pt x="1690" y="721"/>
                  </a:lnTo>
                  <a:lnTo>
                    <a:pt x="1684" y="721"/>
                  </a:lnTo>
                  <a:lnTo>
                    <a:pt x="1683" y="723"/>
                  </a:lnTo>
                  <a:lnTo>
                    <a:pt x="1681" y="724"/>
                  </a:lnTo>
                  <a:lnTo>
                    <a:pt x="1679" y="725"/>
                  </a:lnTo>
                  <a:lnTo>
                    <a:pt x="1676" y="726"/>
                  </a:lnTo>
                  <a:lnTo>
                    <a:pt x="1668" y="726"/>
                  </a:lnTo>
                  <a:lnTo>
                    <a:pt x="1662" y="726"/>
                  </a:lnTo>
                  <a:lnTo>
                    <a:pt x="1661" y="730"/>
                  </a:lnTo>
                  <a:lnTo>
                    <a:pt x="1659" y="732"/>
                  </a:lnTo>
                  <a:lnTo>
                    <a:pt x="1655" y="732"/>
                  </a:lnTo>
                  <a:lnTo>
                    <a:pt x="1651" y="732"/>
                  </a:lnTo>
                  <a:lnTo>
                    <a:pt x="1649" y="737"/>
                  </a:lnTo>
                  <a:lnTo>
                    <a:pt x="1645" y="743"/>
                  </a:lnTo>
                  <a:lnTo>
                    <a:pt x="1640" y="746"/>
                  </a:lnTo>
                  <a:lnTo>
                    <a:pt x="1634" y="749"/>
                  </a:lnTo>
                  <a:lnTo>
                    <a:pt x="1634" y="760"/>
                  </a:lnTo>
                  <a:lnTo>
                    <a:pt x="1633" y="766"/>
                  </a:lnTo>
                  <a:lnTo>
                    <a:pt x="1629" y="782"/>
                  </a:lnTo>
                  <a:lnTo>
                    <a:pt x="1625" y="800"/>
                  </a:lnTo>
                  <a:lnTo>
                    <a:pt x="1623" y="810"/>
                  </a:lnTo>
                  <a:lnTo>
                    <a:pt x="1622" y="811"/>
                  </a:lnTo>
                  <a:lnTo>
                    <a:pt x="1620" y="813"/>
                  </a:lnTo>
                  <a:lnTo>
                    <a:pt x="1619" y="817"/>
                  </a:lnTo>
                  <a:lnTo>
                    <a:pt x="1617" y="821"/>
                  </a:lnTo>
                  <a:lnTo>
                    <a:pt x="1615" y="825"/>
                  </a:lnTo>
                  <a:lnTo>
                    <a:pt x="1613" y="828"/>
                  </a:lnTo>
                  <a:lnTo>
                    <a:pt x="1611" y="831"/>
                  </a:lnTo>
                  <a:lnTo>
                    <a:pt x="1606" y="832"/>
                  </a:lnTo>
                  <a:lnTo>
                    <a:pt x="1606" y="842"/>
                  </a:lnTo>
                  <a:lnTo>
                    <a:pt x="1603" y="843"/>
                  </a:lnTo>
                  <a:lnTo>
                    <a:pt x="1598" y="847"/>
                  </a:lnTo>
                  <a:lnTo>
                    <a:pt x="1595" y="850"/>
                  </a:lnTo>
                  <a:lnTo>
                    <a:pt x="1592" y="855"/>
                  </a:lnTo>
                  <a:lnTo>
                    <a:pt x="1586" y="864"/>
                  </a:lnTo>
                  <a:lnTo>
                    <a:pt x="1585" y="870"/>
                  </a:lnTo>
                  <a:lnTo>
                    <a:pt x="1574" y="876"/>
                  </a:lnTo>
                  <a:lnTo>
                    <a:pt x="1574" y="887"/>
                  </a:lnTo>
                  <a:lnTo>
                    <a:pt x="1568" y="893"/>
                  </a:lnTo>
                  <a:lnTo>
                    <a:pt x="1563" y="898"/>
                  </a:lnTo>
                  <a:lnTo>
                    <a:pt x="1557" y="902"/>
                  </a:lnTo>
                  <a:lnTo>
                    <a:pt x="1552" y="904"/>
                  </a:lnTo>
                  <a:lnTo>
                    <a:pt x="1552" y="915"/>
                  </a:lnTo>
                  <a:lnTo>
                    <a:pt x="1548" y="918"/>
                  </a:lnTo>
                  <a:lnTo>
                    <a:pt x="1546" y="929"/>
                  </a:lnTo>
                  <a:lnTo>
                    <a:pt x="1542" y="944"/>
                  </a:lnTo>
                  <a:lnTo>
                    <a:pt x="1538" y="962"/>
                  </a:lnTo>
                  <a:lnTo>
                    <a:pt x="1532" y="996"/>
                  </a:lnTo>
                  <a:lnTo>
                    <a:pt x="1529" y="1020"/>
                  </a:lnTo>
                  <a:lnTo>
                    <a:pt x="1527" y="1045"/>
                  </a:lnTo>
                  <a:lnTo>
                    <a:pt x="1524" y="1072"/>
                  </a:lnTo>
                  <a:lnTo>
                    <a:pt x="1520" y="1099"/>
                  </a:lnTo>
                  <a:lnTo>
                    <a:pt x="1518" y="1126"/>
                  </a:lnTo>
                  <a:lnTo>
                    <a:pt x="1525" y="1131"/>
                  </a:lnTo>
                  <a:lnTo>
                    <a:pt x="1534" y="1139"/>
                  </a:lnTo>
                  <a:lnTo>
                    <a:pt x="1543" y="1147"/>
                  </a:lnTo>
                  <a:lnTo>
                    <a:pt x="1546" y="1153"/>
                  </a:lnTo>
                  <a:lnTo>
                    <a:pt x="1552" y="1158"/>
                  </a:lnTo>
                  <a:lnTo>
                    <a:pt x="1563" y="1158"/>
                  </a:lnTo>
                  <a:lnTo>
                    <a:pt x="1565" y="1165"/>
                  </a:lnTo>
                  <a:lnTo>
                    <a:pt x="1571" y="1172"/>
                  </a:lnTo>
                  <a:lnTo>
                    <a:pt x="1576" y="1178"/>
                  </a:lnTo>
                  <a:lnTo>
                    <a:pt x="1580" y="1181"/>
                  </a:lnTo>
                  <a:lnTo>
                    <a:pt x="1580" y="1192"/>
                  </a:lnTo>
                  <a:lnTo>
                    <a:pt x="1581" y="1193"/>
                  </a:lnTo>
                  <a:lnTo>
                    <a:pt x="1582" y="1194"/>
                  </a:lnTo>
                  <a:lnTo>
                    <a:pt x="1583" y="1195"/>
                  </a:lnTo>
                  <a:lnTo>
                    <a:pt x="1584" y="1198"/>
                  </a:lnTo>
                  <a:lnTo>
                    <a:pt x="1584" y="1204"/>
                  </a:lnTo>
                  <a:lnTo>
                    <a:pt x="1585" y="1208"/>
                  </a:lnTo>
                  <a:lnTo>
                    <a:pt x="1582" y="1210"/>
                  </a:lnTo>
                  <a:lnTo>
                    <a:pt x="1580" y="1212"/>
                  </a:lnTo>
                  <a:lnTo>
                    <a:pt x="1577" y="1216"/>
                  </a:lnTo>
                  <a:lnTo>
                    <a:pt x="1574" y="1221"/>
                  </a:lnTo>
                  <a:lnTo>
                    <a:pt x="1569" y="1230"/>
                  </a:lnTo>
                  <a:lnTo>
                    <a:pt x="1568" y="1236"/>
                  </a:lnTo>
                  <a:lnTo>
                    <a:pt x="1563" y="1242"/>
                  </a:lnTo>
                  <a:lnTo>
                    <a:pt x="1548" y="1242"/>
                  </a:lnTo>
                  <a:lnTo>
                    <a:pt x="1526" y="1242"/>
                  </a:lnTo>
                  <a:lnTo>
                    <a:pt x="1498" y="1242"/>
                  </a:lnTo>
                  <a:lnTo>
                    <a:pt x="1467" y="1242"/>
                  </a:lnTo>
                  <a:lnTo>
                    <a:pt x="1463" y="1236"/>
                  </a:lnTo>
                  <a:lnTo>
                    <a:pt x="1460" y="1231"/>
                  </a:lnTo>
                  <a:lnTo>
                    <a:pt x="1444" y="1223"/>
                  </a:lnTo>
                  <a:lnTo>
                    <a:pt x="1430" y="1215"/>
                  </a:lnTo>
                  <a:lnTo>
                    <a:pt x="1414" y="1207"/>
                  </a:lnTo>
                  <a:lnTo>
                    <a:pt x="1399" y="1193"/>
                  </a:lnTo>
                  <a:lnTo>
                    <a:pt x="1383" y="1177"/>
                  </a:lnTo>
                  <a:lnTo>
                    <a:pt x="1380" y="1176"/>
                  </a:lnTo>
                  <a:lnTo>
                    <a:pt x="1377" y="1176"/>
                  </a:lnTo>
                  <a:lnTo>
                    <a:pt x="1375" y="1174"/>
                  </a:lnTo>
                  <a:lnTo>
                    <a:pt x="1372" y="1172"/>
                  </a:lnTo>
                  <a:lnTo>
                    <a:pt x="1371" y="1169"/>
                  </a:lnTo>
                  <a:lnTo>
                    <a:pt x="1369" y="1167"/>
                  </a:lnTo>
                  <a:lnTo>
                    <a:pt x="1367" y="1164"/>
                  </a:lnTo>
                  <a:lnTo>
                    <a:pt x="1367" y="1162"/>
                  </a:lnTo>
                  <a:lnTo>
                    <a:pt x="1352" y="1162"/>
                  </a:lnTo>
                  <a:lnTo>
                    <a:pt x="1352" y="1157"/>
                  </a:lnTo>
                  <a:lnTo>
                    <a:pt x="1351" y="1155"/>
                  </a:lnTo>
                  <a:lnTo>
                    <a:pt x="1350" y="1154"/>
                  </a:lnTo>
                  <a:lnTo>
                    <a:pt x="1348" y="1154"/>
                  </a:lnTo>
                  <a:lnTo>
                    <a:pt x="1347" y="1154"/>
                  </a:lnTo>
                  <a:lnTo>
                    <a:pt x="1345" y="1153"/>
                  </a:lnTo>
                  <a:lnTo>
                    <a:pt x="1345" y="1150"/>
                  </a:lnTo>
                  <a:lnTo>
                    <a:pt x="1344" y="1146"/>
                  </a:lnTo>
                  <a:lnTo>
                    <a:pt x="1336" y="1138"/>
                  </a:lnTo>
                  <a:lnTo>
                    <a:pt x="1331" y="1137"/>
                  </a:lnTo>
                  <a:lnTo>
                    <a:pt x="1324" y="1135"/>
                  </a:lnTo>
                  <a:lnTo>
                    <a:pt x="1316" y="1131"/>
                  </a:lnTo>
                  <a:lnTo>
                    <a:pt x="1308" y="1127"/>
                  </a:lnTo>
                  <a:lnTo>
                    <a:pt x="1300" y="1123"/>
                  </a:lnTo>
                  <a:lnTo>
                    <a:pt x="1293" y="1119"/>
                  </a:lnTo>
                  <a:lnTo>
                    <a:pt x="1284" y="1116"/>
                  </a:lnTo>
                  <a:lnTo>
                    <a:pt x="1275" y="1115"/>
                  </a:lnTo>
                  <a:lnTo>
                    <a:pt x="1267" y="1099"/>
                  </a:lnTo>
                  <a:lnTo>
                    <a:pt x="1262" y="1098"/>
                  </a:lnTo>
                  <a:lnTo>
                    <a:pt x="1256" y="1093"/>
                  </a:lnTo>
                  <a:lnTo>
                    <a:pt x="1246" y="1088"/>
                  </a:lnTo>
                  <a:lnTo>
                    <a:pt x="1236" y="1080"/>
                  </a:lnTo>
                  <a:lnTo>
                    <a:pt x="1226" y="1073"/>
                  </a:lnTo>
                  <a:lnTo>
                    <a:pt x="1217" y="1067"/>
                  </a:lnTo>
                  <a:lnTo>
                    <a:pt x="1210" y="1062"/>
                  </a:lnTo>
                  <a:lnTo>
                    <a:pt x="1206" y="1061"/>
                  </a:lnTo>
                  <a:lnTo>
                    <a:pt x="1204" y="1057"/>
                  </a:lnTo>
                  <a:lnTo>
                    <a:pt x="1202" y="1052"/>
                  </a:lnTo>
                  <a:lnTo>
                    <a:pt x="1200" y="1048"/>
                  </a:lnTo>
                  <a:lnTo>
                    <a:pt x="1196" y="1042"/>
                  </a:lnTo>
                  <a:lnTo>
                    <a:pt x="1185" y="1032"/>
                  </a:lnTo>
                  <a:lnTo>
                    <a:pt x="1174" y="1022"/>
                  </a:lnTo>
                  <a:lnTo>
                    <a:pt x="1163" y="1012"/>
                  </a:lnTo>
                  <a:lnTo>
                    <a:pt x="1153" y="1002"/>
                  </a:lnTo>
                  <a:lnTo>
                    <a:pt x="1149" y="998"/>
                  </a:lnTo>
                  <a:lnTo>
                    <a:pt x="1146" y="993"/>
                  </a:lnTo>
                  <a:lnTo>
                    <a:pt x="1144" y="989"/>
                  </a:lnTo>
                  <a:lnTo>
                    <a:pt x="1143" y="984"/>
                  </a:lnTo>
                  <a:lnTo>
                    <a:pt x="1139" y="983"/>
                  </a:lnTo>
                  <a:lnTo>
                    <a:pt x="1136" y="983"/>
                  </a:lnTo>
                  <a:lnTo>
                    <a:pt x="1136" y="981"/>
                  </a:lnTo>
                  <a:lnTo>
                    <a:pt x="1135" y="980"/>
                  </a:lnTo>
                  <a:lnTo>
                    <a:pt x="1135" y="979"/>
                  </a:lnTo>
                  <a:lnTo>
                    <a:pt x="1135" y="977"/>
                  </a:lnTo>
                  <a:lnTo>
                    <a:pt x="1132" y="976"/>
                  </a:lnTo>
                  <a:lnTo>
                    <a:pt x="1129" y="976"/>
                  </a:lnTo>
                  <a:lnTo>
                    <a:pt x="1121" y="968"/>
                  </a:lnTo>
                  <a:lnTo>
                    <a:pt x="1121" y="953"/>
                  </a:lnTo>
                  <a:lnTo>
                    <a:pt x="1117" y="952"/>
                  </a:lnTo>
                  <a:lnTo>
                    <a:pt x="1113" y="951"/>
                  </a:lnTo>
                  <a:lnTo>
                    <a:pt x="1110" y="947"/>
                  </a:lnTo>
                  <a:lnTo>
                    <a:pt x="1106" y="943"/>
                  </a:lnTo>
                  <a:lnTo>
                    <a:pt x="1103" y="938"/>
                  </a:lnTo>
                  <a:lnTo>
                    <a:pt x="1100" y="933"/>
                  </a:lnTo>
                  <a:lnTo>
                    <a:pt x="1097" y="927"/>
                  </a:lnTo>
                  <a:lnTo>
                    <a:pt x="1097" y="922"/>
                  </a:lnTo>
                  <a:lnTo>
                    <a:pt x="1089" y="914"/>
                  </a:lnTo>
                  <a:lnTo>
                    <a:pt x="1084" y="914"/>
                  </a:lnTo>
                  <a:lnTo>
                    <a:pt x="1078" y="913"/>
                  </a:lnTo>
                  <a:lnTo>
                    <a:pt x="1077" y="913"/>
                  </a:lnTo>
                  <a:lnTo>
                    <a:pt x="1075" y="910"/>
                  </a:lnTo>
                  <a:lnTo>
                    <a:pt x="1074" y="909"/>
                  </a:lnTo>
                  <a:lnTo>
                    <a:pt x="1074" y="906"/>
                  </a:lnTo>
                  <a:lnTo>
                    <a:pt x="1058" y="905"/>
                  </a:lnTo>
                  <a:lnTo>
                    <a:pt x="1040" y="902"/>
                  </a:lnTo>
                  <a:lnTo>
                    <a:pt x="1021" y="897"/>
                  </a:lnTo>
                  <a:lnTo>
                    <a:pt x="1002" y="891"/>
                  </a:lnTo>
                  <a:lnTo>
                    <a:pt x="985" y="885"/>
                  </a:lnTo>
                  <a:lnTo>
                    <a:pt x="968" y="880"/>
                  </a:lnTo>
                  <a:lnTo>
                    <a:pt x="953" y="877"/>
                  </a:lnTo>
                  <a:lnTo>
                    <a:pt x="942" y="876"/>
                  </a:lnTo>
                  <a:lnTo>
                    <a:pt x="934" y="860"/>
                  </a:lnTo>
                  <a:lnTo>
                    <a:pt x="932" y="860"/>
                  </a:lnTo>
                  <a:lnTo>
                    <a:pt x="929" y="859"/>
                  </a:lnTo>
                  <a:lnTo>
                    <a:pt x="926" y="857"/>
                  </a:lnTo>
                  <a:lnTo>
                    <a:pt x="924" y="856"/>
                  </a:lnTo>
                  <a:lnTo>
                    <a:pt x="922" y="852"/>
                  </a:lnTo>
                  <a:lnTo>
                    <a:pt x="921" y="850"/>
                  </a:lnTo>
                  <a:lnTo>
                    <a:pt x="920" y="848"/>
                  </a:lnTo>
                  <a:lnTo>
                    <a:pt x="920" y="845"/>
                  </a:lnTo>
                  <a:lnTo>
                    <a:pt x="912" y="845"/>
                  </a:lnTo>
                  <a:lnTo>
                    <a:pt x="905" y="843"/>
                  </a:lnTo>
                  <a:lnTo>
                    <a:pt x="901" y="842"/>
                  </a:lnTo>
                  <a:lnTo>
                    <a:pt x="899" y="841"/>
                  </a:lnTo>
                  <a:lnTo>
                    <a:pt x="896" y="839"/>
                  </a:lnTo>
                  <a:lnTo>
                    <a:pt x="896" y="837"/>
                  </a:lnTo>
                  <a:lnTo>
                    <a:pt x="889" y="837"/>
                  </a:lnTo>
                  <a:lnTo>
                    <a:pt x="877" y="836"/>
                  </a:lnTo>
                  <a:lnTo>
                    <a:pt x="873" y="835"/>
                  </a:lnTo>
                  <a:lnTo>
                    <a:pt x="868" y="833"/>
                  </a:lnTo>
                  <a:lnTo>
                    <a:pt x="866" y="831"/>
                  </a:lnTo>
                  <a:lnTo>
                    <a:pt x="865" y="829"/>
                  </a:lnTo>
                  <a:lnTo>
                    <a:pt x="834" y="829"/>
                  </a:lnTo>
                  <a:lnTo>
                    <a:pt x="834" y="825"/>
                  </a:lnTo>
                  <a:lnTo>
                    <a:pt x="833" y="822"/>
                  </a:lnTo>
                  <a:lnTo>
                    <a:pt x="832" y="821"/>
                  </a:lnTo>
                  <a:lnTo>
                    <a:pt x="830" y="821"/>
                  </a:lnTo>
                  <a:lnTo>
                    <a:pt x="829" y="821"/>
                  </a:lnTo>
                  <a:lnTo>
                    <a:pt x="828" y="820"/>
                  </a:lnTo>
                  <a:lnTo>
                    <a:pt x="827" y="818"/>
                  </a:lnTo>
                  <a:lnTo>
                    <a:pt x="826" y="813"/>
                  </a:lnTo>
                  <a:lnTo>
                    <a:pt x="819" y="806"/>
                  </a:lnTo>
                  <a:lnTo>
                    <a:pt x="807" y="806"/>
                  </a:lnTo>
                  <a:lnTo>
                    <a:pt x="796" y="806"/>
                  </a:lnTo>
                  <a:lnTo>
                    <a:pt x="796" y="790"/>
                  </a:lnTo>
                  <a:lnTo>
                    <a:pt x="791" y="790"/>
                  </a:lnTo>
                  <a:lnTo>
                    <a:pt x="789" y="789"/>
                  </a:lnTo>
                  <a:lnTo>
                    <a:pt x="788" y="788"/>
                  </a:lnTo>
                  <a:lnTo>
                    <a:pt x="788" y="787"/>
                  </a:lnTo>
                  <a:lnTo>
                    <a:pt x="788" y="785"/>
                  </a:lnTo>
                  <a:lnTo>
                    <a:pt x="787" y="784"/>
                  </a:lnTo>
                  <a:lnTo>
                    <a:pt x="785" y="783"/>
                  </a:lnTo>
                  <a:lnTo>
                    <a:pt x="780" y="783"/>
                  </a:lnTo>
                  <a:lnTo>
                    <a:pt x="780" y="768"/>
                  </a:lnTo>
                  <a:lnTo>
                    <a:pt x="772" y="760"/>
                  </a:lnTo>
                  <a:lnTo>
                    <a:pt x="765" y="752"/>
                  </a:lnTo>
                  <a:lnTo>
                    <a:pt x="757" y="744"/>
                  </a:lnTo>
                  <a:lnTo>
                    <a:pt x="749" y="736"/>
                  </a:lnTo>
                  <a:lnTo>
                    <a:pt x="736" y="737"/>
                  </a:lnTo>
                  <a:lnTo>
                    <a:pt x="719" y="740"/>
                  </a:lnTo>
                  <a:lnTo>
                    <a:pt x="704" y="743"/>
                  </a:lnTo>
                  <a:lnTo>
                    <a:pt x="695" y="744"/>
                  </a:lnTo>
                  <a:lnTo>
                    <a:pt x="694" y="749"/>
                  </a:lnTo>
                  <a:lnTo>
                    <a:pt x="694" y="751"/>
                  </a:lnTo>
                  <a:lnTo>
                    <a:pt x="693" y="752"/>
                  </a:lnTo>
                  <a:lnTo>
                    <a:pt x="691" y="752"/>
                  </a:lnTo>
                  <a:lnTo>
                    <a:pt x="690" y="752"/>
                  </a:lnTo>
                  <a:lnTo>
                    <a:pt x="689" y="753"/>
                  </a:lnTo>
                  <a:lnTo>
                    <a:pt x="688" y="755"/>
                  </a:lnTo>
                  <a:lnTo>
                    <a:pt x="688" y="760"/>
                  </a:lnTo>
                  <a:lnTo>
                    <a:pt x="684" y="760"/>
                  </a:lnTo>
                  <a:lnTo>
                    <a:pt x="682" y="761"/>
                  </a:lnTo>
                  <a:lnTo>
                    <a:pt x="679" y="762"/>
                  </a:lnTo>
                  <a:lnTo>
                    <a:pt x="676" y="764"/>
                  </a:lnTo>
                  <a:lnTo>
                    <a:pt x="674" y="766"/>
                  </a:lnTo>
                  <a:lnTo>
                    <a:pt x="673" y="770"/>
                  </a:lnTo>
                  <a:lnTo>
                    <a:pt x="672" y="772"/>
                  </a:lnTo>
                  <a:lnTo>
                    <a:pt x="672" y="775"/>
                  </a:lnTo>
                  <a:lnTo>
                    <a:pt x="657" y="775"/>
                  </a:lnTo>
                  <a:lnTo>
                    <a:pt x="634" y="774"/>
                  </a:lnTo>
                  <a:lnTo>
                    <a:pt x="623" y="773"/>
                  </a:lnTo>
                  <a:lnTo>
                    <a:pt x="612" y="772"/>
                  </a:lnTo>
                  <a:lnTo>
                    <a:pt x="608" y="771"/>
                  </a:lnTo>
                  <a:lnTo>
                    <a:pt x="605" y="770"/>
                  </a:lnTo>
                  <a:lnTo>
                    <a:pt x="603" y="769"/>
                  </a:lnTo>
                  <a:lnTo>
                    <a:pt x="603" y="768"/>
                  </a:lnTo>
                  <a:lnTo>
                    <a:pt x="597" y="768"/>
                  </a:lnTo>
                  <a:lnTo>
                    <a:pt x="592" y="766"/>
                  </a:lnTo>
                  <a:lnTo>
                    <a:pt x="589" y="765"/>
                  </a:lnTo>
                  <a:lnTo>
                    <a:pt x="588" y="764"/>
                  </a:lnTo>
                  <a:lnTo>
                    <a:pt x="587" y="762"/>
                  </a:lnTo>
                  <a:lnTo>
                    <a:pt x="587" y="760"/>
                  </a:lnTo>
                  <a:lnTo>
                    <a:pt x="571" y="760"/>
                  </a:lnTo>
                  <a:lnTo>
                    <a:pt x="546" y="761"/>
                  </a:lnTo>
                  <a:lnTo>
                    <a:pt x="532" y="762"/>
                  </a:lnTo>
                  <a:lnTo>
                    <a:pt x="520" y="763"/>
                  </a:lnTo>
                  <a:lnTo>
                    <a:pt x="516" y="764"/>
                  </a:lnTo>
                  <a:lnTo>
                    <a:pt x="512" y="764"/>
                  </a:lnTo>
                  <a:lnTo>
                    <a:pt x="510" y="766"/>
                  </a:lnTo>
                  <a:lnTo>
                    <a:pt x="510" y="768"/>
                  </a:lnTo>
                  <a:lnTo>
                    <a:pt x="501" y="769"/>
                  </a:lnTo>
                  <a:lnTo>
                    <a:pt x="491" y="772"/>
                  </a:lnTo>
                  <a:lnTo>
                    <a:pt x="487" y="774"/>
                  </a:lnTo>
                  <a:lnTo>
                    <a:pt x="482" y="778"/>
                  </a:lnTo>
                  <a:lnTo>
                    <a:pt x="480" y="780"/>
                  </a:lnTo>
                  <a:lnTo>
                    <a:pt x="479" y="783"/>
                  </a:lnTo>
                  <a:lnTo>
                    <a:pt x="469" y="784"/>
                  </a:lnTo>
                  <a:lnTo>
                    <a:pt x="460" y="787"/>
                  </a:lnTo>
                  <a:lnTo>
                    <a:pt x="451" y="789"/>
                  </a:lnTo>
                  <a:lnTo>
                    <a:pt x="440" y="790"/>
                  </a:lnTo>
                  <a:lnTo>
                    <a:pt x="440" y="794"/>
                  </a:lnTo>
                  <a:lnTo>
                    <a:pt x="438" y="798"/>
                  </a:lnTo>
                  <a:lnTo>
                    <a:pt x="434" y="801"/>
                  </a:lnTo>
                  <a:lnTo>
                    <a:pt x="430" y="804"/>
                  </a:lnTo>
                  <a:lnTo>
                    <a:pt x="424" y="807"/>
                  </a:lnTo>
                  <a:lnTo>
                    <a:pt x="417" y="809"/>
                  </a:lnTo>
                  <a:lnTo>
                    <a:pt x="411" y="810"/>
                  </a:lnTo>
                  <a:lnTo>
                    <a:pt x="403" y="811"/>
                  </a:lnTo>
                  <a:lnTo>
                    <a:pt x="384" y="813"/>
                  </a:lnTo>
                  <a:lnTo>
                    <a:pt x="364" y="814"/>
                  </a:lnTo>
                  <a:lnTo>
                    <a:pt x="343" y="814"/>
                  </a:lnTo>
                  <a:lnTo>
                    <a:pt x="320" y="814"/>
                  </a:lnTo>
                  <a:lnTo>
                    <a:pt x="276" y="813"/>
                  </a:lnTo>
                  <a:lnTo>
                    <a:pt x="238" y="813"/>
                  </a:lnTo>
                  <a:lnTo>
                    <a:pt x="222" y="814"/>
                  </a:lnTo>
                  <a:lnTo>
                    <a:pt x="211" y="816"/>
                  </a:lnTo>
                  <a:lnTo>
                    <a:pt x="206" y="817"/>
                  </a:lnTo>
                  <a:lnTo>
                    <a:pt x="203" y="818"/>
                  </a:lnTo>
                  <a:lnTo>
                    <a:pt x="201" y="819"/>
                  </a:lnTo>
                  <a:lnTo>
                    <a:pt x="201" y="821"/>
                  </a:lnTo>
                  <a:lnTo>
                    <a:pt x="177" y="821"/>
                  </a:lnTo>
                  <a:lnTo>
                    <a:pt x="176" y="826"/>
                  </a:lnTo>
                  <a:lnTo>
                    <a:pt x="176" y="828"/>
                  </a:lnTo>
                  <a:lnTo>
                    <a:pt x="175" y="829"/>
                  </a:lnTo>
                  <a:lnTo>
                    <a:pt x="173" y="829"/>
                  </a:lnTo>
                  <a:lnTo>
                    <a:pt x="172" y="829"/>
                  </a:lnTo>
                  <a:lnTo>
                    <a:pt x="171" y="830"/>
                  </a:lnTo>
                  <a:lnTo>
                    <a:pt x="170" y="832"/>
                  </a:lnTo>
                  <a:lnTo>
                    <a:pt x="170" y="837"/>
                  </a:lnTo>
                  <a:lnTo>
                    <a:pt x="154" y="841"/>
                  </a:lnTo>
                  <a:lnTo>
                    <a:pt x="138" y="845"/>
                  </a:lnTo>
                  <a:lnTo>
                    <a:pt x="127" y="856"/>
                  </a:lnTo>
                  <a:lnTo>
                    <a:pt x="115" y="868"/>
                  </a:lnTo>
                  <a:lnTo>
                    <a:pt x="109" y="868"/>
                  </a:lnTo>
                  <a:lnTo>
                    <a:pt x="105" y="869"/>
                  </a:lnTo>
                  <a:lnTo>
                    <a:pt x="103" y="869"/>
                  </a:lnTo>
                  <a:lnTo>
                    <a:pt x="102" y="871"/>
                  </a:lnTo>
                  <a:lnTo>
                    <a:pt x="100" y="873"/>
                  </a:lnTo>
                  <a:lnTo>
                    <a:pt x="100" y="876"/>
                  </a:lnTo>
                  <a:lnTo>
                    <a:pt x="11" y="876"/>
                  </a:lnTo>
                  <a:lnTo>
                    <a:pt x="19" y="855"/>
                  </a:lnTo>
                  <a:lnTo>
                    <a:pt x="27" y="828"/>
                  </a:lnTo>
                  <a:lnTo>
                    <a:pt x="35" y="801"/>
                  </a:lnTo>
                  <a:lnTo>
                    <a:pt x="43" y="781"/>
                  </a:lnTo>
                  <a:lnTo>
                    <a:pt x="62" y="748"/>
                  </a:lnTo>
                  <a:lnTo>
                    <a:pt x="78" y="721"/>
                  </a:lnTo>
                  <a:lnTo>
                    <a:pt x="84" y="711"/>
                  </a:lnTo>
                  <a:lnTo>
                    <a:pt x="88" y="701"/>
                  </a:lnTo>
                  <a:lnTo>
                    <a:pt x="91" y="692"/>
                  </a:lnTo>
                  <a:lnTo>
                    <a:pt x="93" y="683"/>
                  </a:lnTo>
                  <a:lnTo>
                    <a:pt x="95" y="682"/>
                  </a:lnTo>
                  <a:lnTo>
                    <a:pt x="97" y="681"/>
                  </a:lnTo>
                  <a:lnTo>
                    <a:pt x="98" y="679"/>
                  </a:lnTo>
                  <a:lnTo>
                    <a:pt x="99" y="677"/>
                  </a:lnTo>
                  <a:lnTo>
                    <a:pt x="99" y="673"/>
                  </a:lnTo>
                  <a:lnTo>
                    <a:pt x="100" y="667"/>
                  </a:lnTo>
                  <a:lnTo>
                    <a:pt x="102" y="666"/>
                  </a:lnTo>
                  <a:lnTo>
                    <a:pt x="103" y="664"/>
                  </a:lnTo>
                  <a:lnTo>
                    <a:pt x="104" y="662"/>
                  </a:lnTo>
                  <a:lnTo>
                    <a:pt x="105" y="657"/>
                  </a:lnTo>
                  <a:lnTo>
                    <a:pt x="106" y="647"/>
                  </a:lnTo>
                  <a:lnTo>
                    <a:pt x="107" y="635"/>
                  </a:lnTo>
                  <a:lnTo>
                    <a:pt x="107" y="611"/>
                  </a:lnTo>
                  <a:lnTo>
                    <a:pt x="107" y="597"/>
                  </a:lnTo>
                  <a:lnTo>
                    <a:pt x="93" y="589"/>
                  </a:lnTo>
                  <a:lnTo>
                    <a:pt x="85" y="582"/>
                  </a:lnTo>
                  <a:lnTo>
                    <a:pt x="84" y="579"/>
                  </a:lnTo>
                  <a:lnTo>
                    <a:pt x="80" y="575"/>
                  </a:lnTo>
                  <a:lnTo>
                    <a:pt x="77" y="571"/>
                  </a:lnTo>
                  <a:lnTo>
                    <a:pt x="71" y="568"/>
                  </a:lnTo>
                  <a:lnTo>
                    <a:pt x="67" y="564"/>
                  </a:lnTo>
                  <a:lnTo>
                    <a:pt x="61" y="561"/>
                  </a:lnTo>
                  <a:lnTo>
                    <a:pt x="57" y="559"/>
                  </a:lnTo>
                  <a:lnTo>
                    <a:pt x="54" y="559"/>
                  </a:lnTo>
                  <a:lnTo>
                    <a:pt x="52" y="556"/>
                  </a:lnTo>
                  <a:lnTo>
                    <a:pt x="51" y="553"/>
                  </a:lnTo>
                  <a:lnTo>
                    <a:pt x="48" y="550"/>
                  </a:lnTo>
                  <a:lnTo>
                    <a:pt x="45" y="548"/>
                  </a:lnTo>
                  <a:lnTo>
                    <a:pt x="37" y="544"/>
                  </a:lnTo>
                  <a:lnTo>
                    <a:pt x="30" y="543"/>
                  </a:lnTo>
                  <a:lnTo>
                    <a:pt x="29" y="537"/>
                  </a:lnTo>
                  <a:lnTo>
                    <a:pt x="26" y="529"/>
                  </a:lnTo>
                  <a:lnTo>
                    <a:pt x="23" y="525"/>
                  </a:lnTo>
                  <a:lnTo>
                    <a:pt x="20" y="522"/>
                  </a:lnTo>
                  <a:lnTo>
                    <a:pt x="18" y="521"/>
                  </a:lnTo>
                  <a:lnTo>
                    <a:pt x="14" y="520"/>
                  </a:lnTo>
                  <a:lnTo>
                    <a:pt x="14" y="496"/>
                  </a:lnTo>
                  <a:lnTo>
                    <a:pt x="10" y="496"/>
                  </a:lnTo>
                  <a:lnTo>
                    <a:pt x="8" y="495"/>
                  </a:lnTo>
                  <a:lnTo>
                    <a:pt x="8" y="494"/>
                  </a:lnTo>
                  <a:lnTo>
                    <a:pt x="7" y="493"/>
                  </a:lnTo>
                  <a:lnTo>
                    <a:pt x="7" y="492"/>
                  </a:lnTo>
                  <a:lnTo>
                    <a:pt x="7" y="491"/>
                  </a:lnTo>
                  <a:lnTo>
                    <a:pt x="4" y="490"/>
                  </a:lnTo>
                  <a:lnTo>
                    <a:pt x="0" y="489"/>
                  </a:lnTo>
                  <a:lnTo>
                    <a:pt x="0" y="45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9" name="Freeform 35"/>
            <p:cNvSpPr>
              <a:spLocks noChangeAspect="1"/>
            </p:cNvSpPr>
            <p:nvPr/>
          </p:nvSpPr>
          <p:spPr bwMode="gray">
            <a:xfrm rot="355651">
              <a:off x="5470525" y="3136900"/>
              <a:ext cx="266605" cy="186306"/>
            </a:xfrm>
            <a:custGeom>
              <a:avLst/>
              <a:gdLst/>
              <a:ahLst/>
              <a:cxnLst>
                <a:cxn ang="0">
                  <a:pos x="1271" y="34"/>
                </a:cxn>
                <a:cxn ang="0">
                  <a:pos x="1242" y="75"/>
                </a:cxn>
                <a:cxn ang="0">
                  <a:pos x="1203" y="113"/>
                </a:cxn>
                <a:cxn ang="0">
                  <a:pos x="1185" y="126"/>
                </a:cxn>
                <a:cxn ang="0">
                  <a:pos x="1164" y="162"/>
                </a:cxn>
                <a:cxn ang="0">
                  <a:pos x="1109" y="162"/>
                </a:cxn>
                <a:cxn ang="0">
                  <a:pos x="957" y="101"/>
                </a:cxn>
                <a:cxn ang="0">
                  <a:pos x="943" y="112"/>
                </a:cxn>
                <a:cxn ang="0">
                  <a:pos x="894" y="112"/>
                </a:cxn>
                <a:cxn ang="0">
                  <a:pos x="879" y="126"/>
                </a:cxn>
                <a:cxn ang="0">
                  <a:pos x="851" y="161"/>
                </a:cxn>
                <a:cxn ang="0">
                  <a:pos x="742" y="185"/>
                </a:cxn>
                <a:cxn ang="0">
                  <a:pos x="630" y="207"/>
                </a:cxn>
                <a:cxn ang="0">
                  <a:pos x="506" y="228"/>
                </a:cxn>
                <a:cxn ang="0">
                  <a:pos x="385" y="250"/>
                </a:cxn>
                <a:cxn ang="0">
                  <a:pos x="374" y="252"/>
                </a:cxn>
                <a:cxn ang="0">
                  <a:pos x="281" y="170"/>
                </a:cxn>
                <a:cxn ang="0">
                  <a:pos x="174" y="129"/>
                </a:cxn>
                <a:cxn ang="0">
                  <a:pos x="14" y="119"/>
                </a:cxn>
                <a:cxn ang="0">
                  <a:pos x="3" y="132"/>
                </a:cxn>
                <a:cxn ang="0">
                  <a:pos x="4" y="227"/>
                </a:cxn>
                <a:cxn ang="0">
                  <a:pos x="159" y="233"/>
                </a:cxn>
                <a:cxn ang="0">
                  <a:pos x="260" y="231"/>
                </a:cxn>
                <a:cxn ang="0">
                  <a:pos x="281" y="250"/>
                </a:cxn>
                <a:cxn ang="0">
                  <a:pos x="323" y="294"/>
                </a:cxn>
                <a:cxn ang="0">
                  <a:pos x="371" y="416"/>
                </a:cxn>
                <a:cxn ang="0">
                  <a:pos x="387" y="464"/>
                </a:cxn>
                <a:cxn ang="0">
                  <a:pos x="461" y="580"/>
                </a:cxn>
                <a:cxn ang="0">
                  <a:pos x="554" y="686"/>
                </a:cxn>
                <a:cxn ang="0">
                  <a:pos x="636" y="818"/>
                </a:cxn>
                <a:cxn ang="0">
                  <a:pos x="657" y="859"/>
                </a:cxn>
                <a:cxn ang="0">
                  <a:pos x="673" y="892"/>
                </a:cxn>
                <a:cxn ang="0">
                  <a:pos x="692" y="950"/>
                </a:cxn>
                <a:cxn ang="0">
                  <a:pos x="721" y="996"/>
                </a:cxn>
                <a:cxn ang="0">
                  <a:pos x="751" y="968"/>
                </a:cxn>
                <a:cxn ang="0">
                  <a:pos x="759" y="931"/>
                </a:cxn>
                <a:cxn ang="0">
                  <a:pos x="799" y="879"/>
                </a:cxn>
                <a:cxn ang="0">
                  <a:pos x="871" y="789"/>
                </a:cxn>
                <a:cxn ang="0">
                  <a:pos x="888" y="747"/>
                </a:cxn>
                <a:cxn ang="0">
                  <a:pos x="935" y="692"/>
                </a:cxn>
                <a:cxn ang="0">
                  <a:pos x="1050" y="640"/>
                </a:cxn>
                <a:cxn ang="0">
                  <a:pos x="1067" y="612"/>
                </a:cxn>
                <a:cxn ang="0">
                  <a:pos x="1084" y="588"/>
                </a:cxn>
                <a:cxn ang="0">
                  <a:pos x="1108" y="507"/>
                </a:cxn>
                <a:cxn ang="0">
                  <a:pos x="1144" y="484"/>
                </a:cxn>
                <a:cxn ang="0">
                  <a:pos x="1150" y="476"/>
                </a:cxn>
                <a:cxn ang="0">
                  <a:pos x="1169" y="462"/>
                </a:cxn>
                <a:cxn ang="0">
                  <a:pos x="1178" y="453"/>
                </a:cxn>
                <a:cxn ang="0">
                  <a:pos x="1191" y="442"/>
                </a:cxn>
                <a:cxn ang="0">
                  <a:pos x="1205" y="433"/>
                </a:cxn>
                <a:cxn ang="0">
                  <a:pos x="1240" y="409"/>
                </a:cxn>
                <a:cxn ang="0">
                  <a:pos x="1261" y="377"/>
                </a:cxn>
                <a:cxn ang="0">
                  <a:pos x="1272" y="323"/>
                </a:cxn>
                <a:cxn ang="0">
                  <a:pos x="1311" y="237"/>
                </a:cxn>
                <a:cxn ang="0">
                  <a:pos x="1318" y="229"/>
                </a:cxn>
                <a:cxn ang="0">
                  <a:pos x="1327" y="214"/>
                </a:cxn>
                <a:cxn ang="0">
                  <a:pos x="1361" y="108"/>
                </a:cxn>
                <a:cxn ang="0">
                  <a:pos x="1367" y="48"/>
                </a:cxn>
                <a:cxn ang="0">
                  <a:pos x="1356" y="26"/>
                </a:cxn>
                <a:cxn ang="0">
                  <a:pos x="1338" y="13"/>
                </a:cxn>
              </a:cxnLst>
              <a:rect l="0" t="0" r="r" b="b"/>
              <a:pathLst>
                <a:path w="1369" h="996">
                  <a:moveTo>
                    <a:pt x="1338" y="0"/>
                  </a:moveTo>
                  <a:lnTo>
                    <a:pt x="1320" y="3"/>
                  </a:lnTo>
                  <a:lnTo>
                    <a:pt x="1306" y="4"/>
                  </a:lnTo>
                  <a:lnTo>
                    <a:pt x="1272" y="13"/>
                  </a:lnTo>
                  <a:lnTo>
                    <a:pt x="1272" y="23"/>
                  </a:lnTo>
                  <a:lnTo>
                    <a:pt x="1271" y="34"/>
                  </a:lnTo>
                  <a:lnTo>
                    <a:pt x="1270" y="44"/>
                  </a:lnTo>
                  <a:lnTo>
                    <a:pt x="1270" y="53"/>
                  </a:lnTo>
                  <a:lnTo>
                    <a:pt x="1262" y="56"/>
                  </a:lnTo>
                  <a:lnTo>
                    <a:pt x="1252" y="67"/>
                  </a:lnTo>
                  <a:lnTo>
                    <a:pt x="1248" y="71"/>
                  </a:lnTo>
                  <a:lnTo>
                    <a:pt x="1242" y="75"/>
                  </a:lnTo>
                  <a:lnTo>
                    <a:pt x="1238" y="79"/>
                  </a:lnTo>
                  <a:lnTo>
                    <a:pt x="1233" y="80"/>
                  </a:lnTo>
                  <a:lnTo>
                    <a:pt x="1229" y="85"/>
                  </a:lnTo>
                  <a:lnTo>
                    <a:pt x="1220" y="96"/>
                  </a:lnTo>
                  <a:lnTo>
                    <a:pt x="1209" y="106"/>
                  </a:lnTo>
                  <a:lnTo>
                    <a:pt x="1203" y="113"/>
                  </a:lnTo>
                  <a:lnTo>
                    <a:pt x="1198" y="113"/>
                  </a:lnTo>
                  <a:lnTo>
                    <a:pt x="1194" y="116"/>
                  </a:lnTo>
                  <a:lnTo>
                    <a:pt x="1192" y="117"/>
                  </a:lnTo>
                  <a:lnTo>
                    <a:pt x="1191" y="119"/>
                  </a:lnTo>
                  <a:lnTo>
                    <a:pt x="1185" y="119"/>
                  </a:lnTo>
                  <a:lnTo>
                    <a:pt x="1185" y="126"/>
                  </a:lnTo>
                  <a:lnTo>
                    <a:pt x="1178" y="135"/>
                  </a:lnTo>
                  <a:lnTo>
                    <a:pt x="1173" y="144"/>
                  </a:lnTo>
                  <a:lnTo>
                    <a:pt x="1172" y="150"/>
                  </a:lnTo>
                  <a:lnTo>
                    <a:pt x="1171" y="155"/>
                  </a:lnTo>
                  <a:lnTo>
                    <a:pt x="1167" y="159"/>
                  </a:lnTo>
                  <a:lnTo>
                    <a:pt x="1164" y="162"/>
                  </a:lnTo>
                  <a:lnTo>
                    <a:pt x="1159" y="165"/>
                  </a:lnTo>
                  <a:lnTo>
                    <a:pt x="1154" y="167"/>
                  </a:lnTo>
                  <a:lnTo>
                    <a:pt x="1148" y="167"/>
                  </a:lnTo>
                  <a:lnTo>
                    <a:pt x="1142" y="168"/>
                  </a:lnTo>
                  <a:lnTo>
                    <a:pt x="1126" y="166"/>
                  </a:lnTo>
                  <a:lnTo>
                    <a:pt x="1109" y="162"/>
                  </a:lnTo>
                  <a:lnTo>
                    <a:pt x="1091" y="157"/>
                  </a:lnTo>
                  <a:lnTo>
                    <a:pt x="1072" y="149"/>
                  </a:lnTo>
                  <a:lnTo>
                    <a:pt x="1033" y="133"/>
                  </a:lnTo>
                  <a:lnTo>
                    <a:pt x="999" y="118"/>
                  </a:lnTo>
                  <a:lnTo>
                    <a:pt x="972" y="106"/>
                  </a:lnTo>
                  <a:lnTo>
                    <a:pt x="957" y="101"/>
                  </a:lnTo>
                  <a:lnTo>
                    <a:pt x="956" y="103"/>
                  </a:lnTo>
                  <a:lnTo>
                    <a:pt x="954" y="107"/>
                  </a:lnTo>
                  <a:lnTo>
                    <a:pt x="950" y="109"/>
                  </a:lnTo>
                  <a:lnTo>
                    <a:pt x="945" y="110"/>
                  </a:lnTo>
                  <a:lnTo>
                    <a:pt x="944" y="111"/>
                  </a:lnTo>
                  <a:lnTo>
                    <a:pt x="943" y="112"/>
                  </a:lnTo>
                  <a:lnTo>
                    <a:pt x="940" y="113"/>
                  </a:lnTo>
                  <a:lnTo>
                    <a:pt x="936" y="113"/>
                  </a:lnTo>
                  <a:lnTo>
                    <a:pt x="926" y="112"/>
                  </a:lnTo>
                  <a:lnTo>
                    <a:pt x="915" y="112"/>
                  </a:lnTo>
                  <a:lnTo>
                    <a:pt x="904" y="111"/>
                  </a:lnTo>
                  <a:lnTo>
                    <a:pt x="894" y="112"/>
                  </a:lnTo>
                  <a:lnTo>
                    <a:pt x="890" y="115"/>
                  </a:lnTo>
                  <a:lnTo>
                    <a:pt x="887" y="116"/>
                  </a:lnTo>
                  <a:lnTo>
                    <a:pt x="885" y="119"/>
                  </a:lnTo>
                  <a:lnTo>
                    <a:pt x="885" y="122"/>
                  </a:lnTo>
                  <a:lnTo>
                    <a:pt x="881" y="123"/>
                  </a:lnTo>
                  <a:lnTo>
                    <a:pt x="879" y="126"/>
                  </a:lnTo>
                  <a:lnTo>
                    <a:pt x="877" y="128"/>
                  </a:lnTo>
                  <a:lnTo>
                    <a:pt x="875" y="132"/>
                  </a:lnTo>
                  <a:lnTo>
                    <a:pt x="871" y="139"/>
                  </a:lnTo>
                  <a:lnTo>
                    <a:pt x="869" y="144"/>
                  </a:lnTo>
                  <a:lnTo>
                    <a:pt x="859" y="152"/>
                  </a:lnTo>
                  <a:lnTo>
                    <a:pt x="851" y="161"/>
                  </a:lnTo>
                  <a:lnTo>
                    <a:pt x="835" y="162"/>
                  </a:lnTo>
                  <a:lnTo>
                    <a:pt x="819" y="164"/>
                  </a:lnTo>
                  <a:lnTo>
                    <a:pt x="806" y="166"/>
                  </a:lnTo>
                  <a:lnTo>
                    <a:pt x="791" y="169"/>
                  </a:lnTo>
                  <a:lnTo>
                    <a:pt x="766" y="176"/>
                  </a:lnTo>
                  <a:lnTo>
                    <a:pt x="742" y="185"/>
                  </a:lnTo>
                  <a:lnTo>
                    <a:pt x="717" y="193"/>
                  </a:lnTo>
                  <a:lnTo>
                    <a:pt x="692" y="200"/>
                  </a:lnTo>
                  <a:lnTo>
                    <a:pt x="677" y="203"/>
                  </a:lnTo>
                  <a:lnTo>
                    <a:pt x="663" y="205"/>
                  </a:lnTo>
                  <a:lnTo>
                    <a:pt x="647" y="207"/>
                  </a:lnTo>
                  <a:lnTo>
                    <a:pt x="630" y="207"/>
                  </a:lnTo>
                  <a:lnTo>
                    <a:pt x="615" y="208"/>
                  </a:lnTo>
                  <a:lnTo>
                    <a:pt x="599" y="209"/>
                  </a:lnTo>
                  <a:lnTo>
                    <a:pt x="583" y="212"/>
                  </a:lnTo>
                  <a:lnTo>
                    <a:pt x="568" y="214"/>
                  </a:lnTo>
                  <a:lnTo>
                    <a:pt x="537" y="221"/>
                  </a:lnTo>
                  <a:lnTo>
                    <a:pt x="506" y="228"/>
                  </a:lnTo>
                  <a:lnTo>
                    <a:pt x="475" y="236"/>
                  </a:lnTo>
                  <a:lnTo>
                    <a:pt x="445" y="243"/>
                  </a:lnTo>
                  <a:lnTo>
                    <a:pt x="429" y="246"/>
                  </a:lnTo>
                  <a:lnTo>
                    <a:pt x="414" y="247"/>
                  </a:lnTo>
                  <a:lnTo>
                    <a:pt x="399" y="250"/>
                  </a:lnTo>
                  <a:lnTo>
                    <a:pt x="385" y="250"/>
                  </a:lnTo>
                  <a:lnTo>
                    <a:pt x="384" y="252"/>
                  </a:lnTo>
                  <a:lnTo>
                    <a:pt x="384" y="253"/>
                  </a:lnTo>
                  <a:lnTo>
                    <a:pt x="382" y="254"/>
                  </a:lnTo>
                  <a:lnTo>
                    <a:pt x="381" y="254"/>
                  </a:lnTo>
                  <a:lnTo>
                    <a:pt x="378" y="254"/>
                  </a:lnTo>
                  <a:lnTo>
                    <a:pt x="374" y="252"/>
                  </a:lnTo>
                  <a:lnTo>
                    <a:pt x="362" y="244"/>
                  </a:lnTo>
                  <a:lnTo>
                    <a:pt x="349" y="233"/>
                  </a:lnTo>
                  <a:lnTo>
                    <a:pt x="324" y="208"/>
                  </a:lnTo>
                  <a:lnTo>
                    <a:pt x="312" y="195"/>
                  </a:lnTo>
                  <a:lnTo>
                    <a:pt x="297" y="181"/>
                  </a:lnTo>
                  <a:lnTo>
                    <a:pt x="281" y="170"/>
                  </a:lnTo>
                  <a:lnTo>
                    <a:pt x="265" y="160"/>
                  </a:lnTo>
                  <a:lnTo>
                    <a:pt x="247" y="151"/>
                  </a:lnTo>
                  <a:lnTo>
                    <a:pt x="230" y="144"/>
                  </a:lnTo>
                  <a:lnTo>
                    <a:pt x="212" y="138"/>
                  </a:lnTo>
                  <a:lnTo>
                    <a:pt x="193" y="132"/>
                  </a:lnTo>
                  <a:lnTo>
                    <a:pt x="174" y="129"/>
                  </a:lnTo>
                  <a:lnTo>
                    <a:pt x="154" y="126"/>
                  </a:lnTo>
                  <a:lnTo>
                    <a:pt x="134" y="123"/>
                  </a:lnTo>
                  <a:lnTo>
                    <a:pt x="113" y="121"/>
                  </a:lnTo>
                  <a:lnTo>
                    <a:pt x="93" y="120"/>
                  </a:lnTo>
                  <a:lnTo>
                    <a:pt x="54" y="119"/>
                  </a:lnTo>
                  <a:lnTo>
                    <a:pt x="14" y="119"/>
                  </a:lnTo>
                  <a:lnTo>
                    <a:pt x="13" y="121"/>
                  </a:lnTo>
                  <a:lnTo>
                    <a:pt x="11" y="123"/>
                  </a:lnTo>
                  <a:lnTo>
                    <a:pt x="9" y="125"/>
                  </a:lnTo>
                  <a:lnTo>
                    <a:pt x="5" y="126"/>
                  </a:lnTo>
                  <a:lnTo>
                    <a:pt x="5" y="131"/>
                  </a:lnTo>
                  <a:lnTo>
                    <a:pt x="3" y="132"/>
                  </a:lnTo>
                  <a:lnTo>
                    <a:pt x="2" y="136"/>
                  </a:lnTo>
                  <a:lnTo>
                    <a:pt x="1" y="141"/>
                  </a:lnTo>
                  <a:lnTo>
                    <a:pt x="1" y="148"/>
                  </a:lnTo>
                  <a:lnTo>
                    <a:pt x="0" y="166"/>
                  </a:lnTo>
                  <a:lnTo>
                    <a:pt x="1" y="186"/>
                  </a:lnTo>
                  <a:lnTo>
                    <a:pt x="4" y="227"/>
                  </a:lnTo>
                  <a:lnTo>
                    <a:pt x="5" y="253"/>
                  </a:lnTo>
                  <a:lnTo>
                    <a:pt x="9" y="256"/>
                  </a:lnTo>
                  <a:lnTo>
                    <a:pt x="32" y="253"/>
                  </a:lnTo>
                  <a:lnTo>
                    <a:pt x="68" y="247"/>
                  </a:lnTo>
                  <a:lnTo>
                    <a:pt x="112" y="241"/>
                  </a:lnTo>
                  <a:lnTo>
                    <a:pt x="159" y="233"/>
                  </a:lnTo>
                  <a:lnTo>
                    <a:pt x="183" y="231"/>
                  </a:lnTo>
                  <a:lnTo>
                    <a:pt x="205" y="229"/>
                  </a:lnTo>
                  <a:lnTo>
                    <a:pt x="226" y="228"/>
                  </a:lnTo>
                  <a:lnTo>
                    <a:pt x="244" y="228"/>
                  </a:lnTo>
                  <a:lnTo>
                    <a:pt x="252" y="229"/>
                  </a:lnTo>
                  <a:lnTo>
                    <a:pt x="260" y="231"/>
                  </a:lnTo>
                  <a:lnTo>
                    <a:pt x="265" y="233"/>
                  </a:lnTo>
                  <a:lnTo>
                    <a:pt x="271" y="235"/>
                  </a:lnTo>
                  <a:lnTo>
                    <a:pt x="275" y="238"/>
                  </a:lnTo>
                  <a:lnTo>
                    <a:pt x="279" y="242"/>
                  </a:lnTo>
                  <a:lnTo>
                    <a:pt x="281" y="245"/>
                  </a:lnTo>
                  <a:lnTo>
                    <a:pt x="281" y="250"/>
                  </a:lnTo>
                  <a:lnTo>
                    <a:pt x="288" y="250"/>
                  </a:lnTo>
                  <a:lnTo>
                    <a:pt x="301" y="262"/>
                  </a:lnTo>
                  <a:lnTo>
                    <a:pt x="314" y="274"/>
                  </a:lnTo>
                  <a:lnTo>
                    <a:pt x="321" y="274"/>
                  </a:lnTo>
                  <a:lnTo>
                    <a:pt x="321" y="283"/>
                  </a:lnTo>
                  <a:lnTo>
                    <a:pt x="323" y="294"/>
                  </a:lnTo>
                  <a:lnTo>
                    <a:pt x="327" y="305"/>
                  </a:lnTo>
                  <a:lnTo>
                    <a:pt x="330" y="317"/>
                  </a:lnTo>
                  <a:lnTo>
                    <a:pt x="340" y="341"/>
                  </a:lnTo>
                  <a:lnTo>
                    <a:pt x="351" y="367"/>
                  </a:lnTo>
                  <a:lnTo>
                    <a:pt x="362" y="391"/>
                  </a:lnTo>
                  <a:lnTo>
                    <a:pt x="371" y="416"/>
                  </a:lnTo>
                  <a:lnTo>
                    <a:pt x="376" y="428"/>
                  </a:lnTo>
                  <a:lnTo>
                    <a:pt x="379" y="439"/>
                  </a:lnTo>
                  <a:lnTo>
                    <a:pt x="380" y="449"/>
                  </a:lnTo>
                  <a:lnTo>
                    <a:pt x="381" y="458"/>
                  </a:lnTo>
                  <a:lnTo>
                    <a:pt x="384" y="460"/>
                  </a:lnTo>
                  <a:lnTo>
                    <a:pt x="387" y="464"/>
                  </a:lnTo>
                  <a:lnTo>
                    <a:pt x="391" y="469"/>
                  </a:lnTo>
                  <a:lnTo>
                    <a:pt x="397" y="477"/>
                  </a:lnTo>
                  <a:lnTo>
                    <a:pt x="408" y="495"/>
                  </a:lnTo>
                  <a:lnTo>
                    <a:pt x="422" y="517"/>
                  </a:lnTo>
                  <a:lnTo>
                    <a:pt x="446" y="559"/>
                  </a:lnTo>
                  <a:lnTo>
                    <a:pt x="461" y="580"/>
                  </a:lnTo>
                  <a:lnTo>
                    <a:pt x="480" y="600"/>
                  </a:lnTo>
                  <a:lnTo>
                    <a:pt x="512" y="635"/>
                  </a:lnTo>
                  <a:lnTo>
                    <a:pt x="528" y="651"/>
                  </a:lnTo>
                  <a:lnTo>
                    <a:pt x="541" y="667"/>
                  </a:lnTo>
                  <a:lnTo>
                    <a:pt x="551" y="679"/>
                  </a:lnTo>
                  <a:lnTo>
                    <a:pt x="554" y="686"/>
                  </a:lnTo>
                  <a:lnTo>
                    <a:pt x="559" y="693"/>
                  </a:lnTo>
                  <a:lnTo>
                    <a:pt x="570" y="709"/>
                  </a:lnTo>
                  <a:lnTo>
                    <a:pt x="586" y="733"/>
                  </a:lnTo>
                  <a:lnTo>
                    <a:pt x="604" y="762"/>
                  </a:lnTo>
                  <a:lnTo>
                    <a:pt x="621" y="791"/>
                  </a:lnTo>
                  <a:lnTo>
                    <a:pt x="636" y="818"/>
                  </a:lnTo>
                  <a:lnTo>
                    <a:pt x="643" y="830"/>
                  </a:lnTo>
                  <a:lnTo>
                    <a:pt x="647" y="840"/>
                  </a:lnTo>
                  <a:lnTo>
                    <a:pt x="650" y="848"/>
                  </a:lnTo>
                  <a:lnTo>
                    <a:pt x="652" y="853"/>
                  </a:lnTo>
                  <a:lnTo>
                    <a:pt x="655" y="854"/>
                  </a:lnTo>
                  <a:lnTo>
                    <a:pt x="657" y="859"/>
                  </a:lnTo>
                  <a:lnTo>
                    <a:pt x="660" y="866"/>
                  </a:lnTo>
                  <a:lnTo>
                    <a:pt x="663" y="872"/>
                  </a:lnTo>
                  <a:lnTo>
                    <a:pt x="665" y="880"/>
                  </a:lnTo>
                  <a:lnTo>
                    <a:pt x="668" y="886"/>
                  </a:lnTo>
                  <a:lnTo>
                    <a:pt x="670" y="890"/>
                  </a:lnTo>
                  <a:lnTo>
                    <a:pt x="673" y="892"/>
                  </a:lnTo>
                  <a:lnTo>
                    <a:pt x="673" y="899"/>
                  </a:lnTo>
                  <a:lnTo>
                    <a:pt x="674" y="907"/>
                  </a:lnTo>
                  <a:lnTo>
                    <a:pt x="676" y="914"/>
                  </a:lnTo>
                  <a:lnTo>
                    <a:pt x="678" y="921"/>
                  </a:lnTo>
                  <a:lnTo>
                    <a:pt x="685" y="937"/>
                  </a:lnTo>
                  <a:lnTo>
                    <a:pt x="692" y="950"/>
                  </a:lnTo>
                  <a:lnTo>
                    <a:pt x="705" y="975"/>
                  </a:lnTo>
                  <a:lnTo>
                    <a:pt x="712" y="989"/>
                  </a:lnTo>
                  <a:lnTo>
                    <a:pt x="717" y="989"/>
                  </a:lnTo>
                  <a:lnTo>
                    <a:pt x="718" y="993"/>
                  </a:lnTo>
                  <a:lnTo>
                    <a:pt x="720" y="995"/>
                  </a:lnTo>
                  <a:lnTo>
                    <a:pt x="721" y="996"/>
                  </a:lnTo>
                  <a:lnTo>
                    <a:pt x="724" y="996"/>
                  </a:lnTo>
                  <a:lnTo>
                    <a:pt x="730" y="994"/>
                  </a:lnTo>
                  <a:lnTo>
                    <a:pt x="736" y="989"/>
                  </a:lnTo>
                  <a:lnTo>
                    <a:pt x="743" y="982"/>
                  </a:lnTo>
                  <a:lnTo>
                    <a:pt x="749" y="973"/>
                  </a:lnTo>
                  <a:lnTo>
                    <a:pt x="751" y="968"/>
                  </a:lnTo>
                  <a:lnTo>
                    <a:pt x="753" y="963"/>
                  </a:lnTo>
                  <a:lnTo>
                    <a:pt x="754" y="958"/>
                  </a:lnTo>
                  <a:lnTo>
                    <a:pt x="754" y="953"/>
                  </a:lnTo>
                  <a:lnTo>
                    <a:pt x="754" y="946"/>
                  </a:lnTo>
                  <a:lnTo>
                    <a:pt x="756" y="938"/>
                  </a:lnTo>
                  <a:lnTo>
                    <a:pt x="759" y="931"/>
                  </a:lnTo>
                  <a:lnTo>
                    <a:pt x="762" y="924"/>
                  </a:lnTo>
                  <a:lnTo>
                    <a:pt x="766" y="916"/>
                  </a:lnTo>
                  <a:lnTo>
                    <a:pt x="771" y="909"/>
                  </a:lnTo>
                  <a:lnTo>
                    <a:pt x="778" y="901"/>
                  </a:lnTo>
                  <a:lnTo>
                    <a:pt x="784" y="894"/>
                  </a:lnTo>
                  <a:lnTo>
                    <a:pt x="799" y="879"/>
                  </a:lnTo>
                  <a:lnTo>
                    <a:pt x="817" y="864"/>
                  </a:lnTo>
                  <a:lnTo>
                    <a:pt x="837" y="850"/>
                  </a:lnTo>
                  <a:lnTo>
                    <a:pt x="859" y="835"/>
                  </a:lnTo>
                  <a:lnTo>
                    <a:pt x="866" y="793"/>
                  </a:lnTo>
                  <a:lnTo>
                    <a:pt x="869" y="792"/>
                  </a:lnTo>
                  <a:lnTo>
                    <a:pt x="871" y="789"/>
                  </a:lnTo>
                  <a:lnTo>
                    <a:pt x="875" y="783"/>
                  </a:lnTo>
                  <a:lnTo>
                    <a:pt x="877" y="777"/>
                  </a:lnTo>
                  <a:lnTo>
                    <a:pt x="880" y="764"/>
                  </a:lnTo>
                  <a:lnTo>
                    <a:pt x="881" y="755"/>
                  </a:lnTo>
                  <a:lnTo>
                    <a:pt x="885" y="753"/>
                  </a:lnTo>
                  <a:lnTo>
                    <a:pt x="888" y="747"/>
                  </a:lnTo>
                  <a:lnTo>
                    <a:pt x="893" y="739"/>
                  </a:lnTo>
                  <a:lnTo>
                    <a:pt x="896" y="731"/>
                  </a:lnTo>
                  <a:lnTo>
                    <a:pt x="902" y="713"/>
                  </a:lnTo>
                  <a:lnTo>
                    <a:pt x="905" y="700"/>
                  </a:lnTo>
                  <a:lnTo>
                    <a:pt x="913" y="693"/>
                  </a:lnTo>
                  <a:lnTo>
                    <a:pt x="935" y="692"/>
                  </a:lnTo>
                  <a:lnTo>
                    <a:pt x="957" y="689"/>
                  </a:lnTo>
                  <a:lnTo>
                    <a:pt x="979" y="687"/>
                  </a:lnTo>
                  <a:lnTo>
                    <a:pt x="998" y="686"/>
                  </a:lnTo>
                  <a:lnTo>
                    <a:pt x="1008" y="677"/>
                  </a:lnTo>
                  <a:lnTo>
                    <a:pt x="1029" y="658"/>
                  </a:lnTo>
                  <a:lnTo>
                    <a:pt x="1050" y="640"/>
                  </a:lnTo>
                  <a:lnTo>
                    <a:pt x="1059" y="631"/>
                  </a:lnTo>
                  <a:lnTo>
                    <a:pt x="1059" y="616"/>
                  </a:lnTo>
                  <a:lnTo>
                    <a:pt x="1063" y="616"/>
                  </a:lnTo>
                  <a:lnTo>
                    <a:pt x="1066" y="614"/>
                  </a:lnTo>
                  <a:lnTo>
                    <a:pt x="1067" y="613"/>
                  </a:lnTo>
                  <a:lnTo>
                    <a:pt x="1067" y="612"/>
                  </a:lnTo>
                  <a:lnTo>
                    <a:pt x="1067" y="611"/>
                  </a:lnTo>
                  <a:lnTo>
                    <a:pt x="1068" y="609"/>
                  </a:lnTo>
                  <a:lnTo>
                    <a:pt x="1070" y="609"/>
                  </a:lnTo>
                  <a:lnTo>
                    <a:pt x="1075" y="608"/>
                  </a:lnTo>
                  <a:lnTo>
                    <a:pt x="1082" y="600"/>
                  </a:lnTo>
                  <a:lnTo>
                    <a:pt x="1084" y="588"/>
                  </a:lnTo>
                  <a:lnTo>
                    <a:pt x="1086" y="572"/>
                  </a:lnTo>
                  <a:lnTo>
                    <a:pt x="1089" y="555"/>
                  </a:lnTo>
                  <a:lnTo>
                    <a:pt x="1090" y="539"/>
                  </a:lnTo>
                  <a:lnTo>
                    <a:pt x="1106" y="531"/>
                  </a:lnTo>
                  <a:lnTo>
                    <a:pt x="1106" y="507"/>
                  </a:lnTo>
                  <a:lnTo>
                    <a:pt x="1108" y="507"/>
                  </a:lnTo>
                  <a:lnTo>
                    <a:pt x="1111" y="505"/>
                  </a:lnTo>
                  <a:lnTo>
                    <a:pt x="1115" y="503"/>
                  </a:lnTo>
                  <a:lnTo>
                    <a:pt x="1117" y="498"/>
                  </a:lnTo>
                  <a:lnTo>
                    <a:pt x="1123" y="492"/>
                  </a:lnTo>
                  <a:lnTo>
                    <a:pt x="1129" y="484"/>
                  </a:lnTo>
                  <a:lnTo>
                    <a:pt x="1144" y="484"/>
                  </a:lnTo>
                  <a:lnTo>
                    <a:pt x="1145" y="481"/>
                  </a:lnTo>
                  <a:lnTo>
                    <a:pt x="1145" y="477"/>
                  </a:lnTo>
                  <a:lnTo>
                    <a:pt x="1147" y="477"/>
                  </a:lnTo>
                  <a:lnTo>
                    <a:pt x="1148" y="477"/>
                  </a:lnTo>
                  <a:lnTo>
                    <a:pt x="1149" y="476"/>
                  </a:lnTo>
                  <a:lnTo>
                    <a:pt x="1150" y="476"/>
                  </a:lnTo>
                  <a:lnTo>
                    <a:pt x="1152" y="474"/>
                  </a:lnTo>
                  <a:lnTo>
                    <a:pt x="1152" y="469"/>
                  </a:lnTo>
                  <a:lnTo>
                    <a:pt x="1167" y="469"/>
                  </a:lnTo>
                  <a:lnTo>
                    <a:pt x="1167" y="465"/>
                  </a:lnTo>
                  <a:lnTo>
                    <a:pt x="1168" y="463"/>
                  </a:lnTo>
                  <a:lnTo>
                    <a:pt x="1169" y="462"/>
                  </a:lnTo>
                  <a:lnTo>
                    <a:pt x="1172" y="462"/>
                  </a:lnTo>
                  <a:lnTo>
                    <a:pt x="1173" y="462"/>
                  </a:lnTo>
                  <a:lnTo>
                    <a:pt x="1174" y="460"/>
                  </a:lnTo>
                  <a:lnTo>
                    <a:pt x="1175" y="458"/>
                  </a:lnTo>
                  <a:lnTo>
                    <a:pt x="1175" y="454"/>
                  </a:lnTo>
                  <a:lnTo>
                    <a:pt x="1178" y="453"/>
                  </a:lnTo>
                  <a:lnTo>
                    <a:pt x="1181" y="453"/>
                  </a:lnTo>
                  <a:lnTo>
                    <a:pt x="1184" y="450"/>
                  </a:lnTo>
                  <a:lnTo>
                    <a:pt x="1186" y="448"/>
                  </a:lnTo>
                  <a:lnTo>
                    <a:pt x="1187" y="446"/>
                  </a:lnTo>
                  <a:lnTo>
                    <a:pt x="1190" y="444"/>
                  </a:lnTo>
                  <a:lnTo>
                    <a:pt x="1191" y="442"/>
                  </a:lnTo>
                  <a:lnTo>
                    <a:pt x="1191" y="438"/>
                  </a:lnTo>
                  <a:lnTo>
                    <a:pt x="1196" y="438"/>
                  </a:lnTo>
                  <a:lnTo>
                    <a:pt x="1201" y="437"/>
                  </a:lnTo>
                  <a:lnTo>
                    <a:pt x="1203" y="436"/>
                  </a:lnTo>
                  <a:lnTo>
                    <a:pt x="1205" y="435"/>
                  </a:lnTo>
                  <a:lnTo>
                    <a:pt x="1205" y="433"/>
                  </a:lnTo>
                  <a:lnTo>
                    <a:pt x="1206" y="430"/>
                  </a:lnTo>
                  <a:lnTo>
                    <a:pt x="1222" y="430"/>
                  </a:lnTo>
                  <a:lnTo>
                    <a:pt x="1222" y="415"/>
                  </a:lnTo>
                  <a:lnTo>
                    <a:pt x="1238" y="415"/>
                  </a:lnTo>
                  <a:lnTo>
                    <a:pt x="1238" y="412"/>
                  </a:lnTo>
                  <a:lnTo>
                    <a:pt x="1240" y="409"/>
                  </a:lnTo>
                  <a:lnTo>
                    <a:pt x="1242" y="406"/>
                  </a:lnTo>
                  <a:lnTo>
                    <a:pt x="1245" y="404"/>
                  </a:lnTo>
                  <a:lnTo>
                    <a:pt x="1253" y="398"/>
                  </a:lnTo>
                  <a:lnTo>
                    <a:pt x="1260" y="391"/>
                  </a:lnTo>
                  <a:lnTo>
                    <a:pt x="1260" y="385"/>
                  </a:lnTo>
                  <a:lnTo>
                    <a:pt x="1261" y="377"/>
                  </a:lnTo>
                  <a:lnTo>
                    <a:pt x="1262" y="373"/>
                  </a:lnTo>
                  <a:lnTo>
                    <a:pt x="1263" y="371"/>
                  </a:lnTo>
                  <a:lnTo>
                    <a:pt x="1265" y="369"/>
                  </a:lnTo>
                  <a:lnTo>
                    <a:pt x="1268" y="369"/>
                  </a:lnTo>
                  <a:lnTo>
                    <a:pt x="1269" y="348"/>
                  </a:lnTo>
                  <a:lnTo>
                    <a:pt x="1272" y="323"/>
                  </a:lnTo>
                  <a:lnTo>
                    <a:pt x="1274" y="300"/>
                  </a:lnTo>
                  <a:lnTo>
                    <a:pt x="1276" y="283"/>
                  </a:lnTo>
                  <a:lnTo>
                    <a:pt x="1291" y="269"/>
                  </a:lnTo>
                  <a:lnTo>
                    <a:pt x="1307" y="253"/>
                  </a:lnTo>
                  <a:lnTo>
                    <a:pt x="1307" y="237"/>
                  </a:lnTo>
                  <a:lnTo>
                    <a:pt x="1311" y="237"/>
                  </a:lnTo>
                  <a:lnTo>
                    <a:pt x="1313" y="236"/>
                  </a:lnTo>
                  <a:lnTo>
                    <a:pt x="1315" y="235"/>
                  </a:lnTo>
                  <a:lnTo>
                    <a:pt x="1315" y="233"/>
                  </a:lnTo>
                  <a:lnTo>
                    <a:pt x="1315" y="232"/>
                  </a:lnTo>
                  <a:lnTo>
                    <a:pt x="1316" y="231"/>
                  </a:lnTo>
                  <a:lnTo>
                    <a:pt x="1318" y="229"/>
                  </a:lnTo>
                  <a:lnTo>
                    <a:pt x="1322" y="229"/>
                  </a:lnTo>
                  <a:lnTo>
                    <a:pt x="1322" y="224"/>
                  </a:lnTo>
                  <a:lnTo>
                    <a:pt x="1324" y="218"/>
                  </a:lnTo>
                  <a:lnTo>
                    <a:pt x="1324" y="217"/>
                  </a:lnTo>
                  <a:lnTo>
                    <a:pt x="1326" y="215"/>
                  </a:lnTo>
                  <a:lnTo>
                    <a:pt x="1327" y="214"/>
                  </a:lnTo>
                  <a:lnTo>
                    <a:pt x="1330" y="214"/>
                  </a:lnTo>
                  <a:lnTo>
                    <a:pt x="1332" y="203"/>
                  </a:lnTo>
                  <a:lnTo>
                    <a:pt x="1339" y="180"/>
                  </a:lnTo>
                  <a:lnTo>
                    <a:pt x="1348" y="154"/>
                  </a:lnTo>
                  <a:lnTo>
                    <a:pt x="1357" y="123"/>
                  </a:lnTo>
                  <a:lnTo>
                    <a:pt x="1361" y="108"/>
                  </a:lnTo>
                  <a:lnTo>
                    <a:pt x="1365" y="93"/>
                  </a:lnTo>
                  <a:lnTo>
                    <a:pt x="1367" y="80"/>
                  </a:lnTo>
                  <a:lnTo>
                    <a:pt x="1369" y="69"/>
                  </a:lnTo>
                  <a:lnTo>
                    <a:pt x="1369" y="59"/>
                  </a:lnTo>
                  <a:lnTo>
                    <a:pt x="1368" y="51"/>
                  </a:lnTo>
                  <a:lnTo>
                    <a:pt x="1367" y="48"/>
                  </a:lnTo>
                  <a:lnTo>
                    <a:pt x="1366" y="45"/>
                  </a:lnTo>
                  <a:lnTo>
                    <a:pt x="1364" y="44"/>
                  </a:lnTo>
                  <a:lnTo>
                    <a:pt x="1360" y="44"/>
                  </a:lnTo>
                  <a:lnTo>
                    <a:pt x="1360" y="29"/>
                  </a:lnTo>
                  <a:lnTo>
                    <a:pt x="1358" y="27"/>
                  </a:lnTo>
                  <a:lnTo>
                    <a:pt x="1356" y="26"/>
                  </a:lnTo>
                  <a:lnTo>
                    <a:pt x="1354" y="24"/>
                  </a:lnTo>
                  <a:lnTo>
                    <a:pt x="1353" y="21"/>
                  </a:lnTo>
                  <a:lnTo>
                    <a:pt x="1349" y="17"/>
                  </a:lnTo>
                  <a:lnTo>
                    <a:pt x="1347" y="15"/>
                  </a:lnTo>
                  <a:lnTo>
                    <a:pt x="1343" y="14"/>
                  </a:lnTo>
                  <a:lnTo>
                    <a:pt x="1338" y="13"/>
                  </a:lnTo>
                  <a:lnTo>
                    <a:pt x="133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0" name="Freeform 36"/>
            <p:cNvSpPr>
              <a:spLocks noChangeAspect="1"/>
            </p:cNvSpPr>
            <p:nvPr/>
          </p:nvSpPr>
          <p:spPr bwMode="gray">
            <a:xfrm rot="355651">
              <a:off x="5783740" y="3006725"/>
              <a:ext cx="373458" cy="212921"/>
            </a:xfrm>
            <a:custGeom>
              <a:avLst/>
              <a:gdLst/>
              <a:ahLst/>
              <a:cxnLst>
                <a:cxn ang="0">
                  <a:pos x="249" y="127"/>
                </a:cxn>
                <a:cxn ang="0">
                  <a:pos x="262" y="192"/>
                </a:cxn>
                <a:cxn ang="0">
                  <a:pos x="258" y="259"/>
                </a:cxn>
                <a:cxn ang="0">
                  <a:pos x="229" y="334"/>
                </a:cxn>
                <a:cxn ang="0">
                  <a:pos x="192" y="419"/>
                </a:cxn>
                <a:cxn ang="0">
                  <a:pos x="117" y="457"/>
                </a:cxn>
                <a:cxn ang="0">
                  <a:pos x="56" y="482"/>
                </a:cxn>
                <a:cxn ang="0">
                  <a:pos x="11" y="517"/>
                </a:cxn>
                <a:cxn ang="0">
                  <a:pos x="12" y="569"/>
                </a:cxn>
                <a:cxn ang="0">
                  <a:pos x="44" y="585"/>
                </a:cxn>
                <a:cxn ang="0">
                  <a:pos x="86" y="604"/>
                </a:cxn>
                <a:cxn ang="0">
                  <a:pos x="115" y="703"/>
                </a:cxn>
                <a:cxn ang="0">
                  <a:pos x="125" y="913"/>
                </a:cxn>
                <a:cxn ang="0">
                  <a:pos x="123" y="1014"/>
                </a:cxn>
                <a:cxn ang="0">
                  <a:pos x="135" y="1049"/>
                </a:cxn>
                <a:cxn ang="0">
                  <a:pos x="165" y="1097"/>
                </a:cxn>
                <a:cxn ang="0">
                  <a:pos x="225" y="1125"/>
                </a:cxn>
                <a:cxn ang="0">
                  <a:pos x="270" y="1165"/>
                </a:cxn>
                <a:cxn ang="0">
                  <a:pos x="305" y="1206"/>
                </a:cxn>
                <a:cxn ang="0">
                  <a:pos x="344" y="1245"/>
                </a:cxn>
                <a:cxn ang="0">
                  <a:pos x="388" y="1284"/>
                </a:cxn>
                <a:cxn ang="0">
                  <a:pos x="444" y="1306"/>
                </a:cxn>
                <a:cxn ang="0">
                  <a:pos x="511" y="1259"/>
                </a:cxn>
                <a:cxn ang="0">
                  <a:pos x="619" y="1198"/>
                </a:cxn>
                <a:cxn ang="0">
                  <a:pos x="647" y="1274"/>
                </a:cxn>
                <a:cxn ang="0">
                  <a:pos x="805" y="1266"/>
                </a:cxn>
                <a:cxn ang="0">
                  <a:pos x="833" y="1207"/>
                </a:cxn>
                <a:cxn ang="0">
                  <a:pos x="954" y="1183"/>
                </a:cxn>
                <a:cxn ang="0">
                  <a:pos x="974" y="1141"/>
                </a:cxn>
                <a:cxn ang="0">
                  <a:pos x="1140" y="1105"/>
                </a:cxn>
                <a:cxn ang="0">
                  <a:pos x="1250" y="1028"/>
                </a:cxn>
                <a:cxn ang="0">
                  <a:pos x="1361" y="952"/>
                </a:cxn>
                <a:cxn ang="0">
                  <a:pos x="1519" y="923"/>
                </a:cxn>
                <a:cxn ang="0">
                  <a:pos x="1821" y="881"/>
                </a:cxn>
                <a:cxn ang="0">
                  <a:pos x="2048" y="855"/>
                </a:cxn>
                <a:cxn ang="0">
                  <a:pos x="2036" y="755"/>
                </a:cxn>
                <a:cxn ang="0">
                  <a:pos x="2006" y="714"/>
                </a:cxn>
                <a:cxn ang="0">
                  <a:pos x="1940" y="644"/>
                </a:cxn>
                <a:cxn ang="0">
                  <a:pos x="1886" y="572"/>
                </a:cxn>
                <a:cxn ang="0">
                  <a:pos x="1866" y="511"/>
                </a:cxn>
                <a:cxn ang="0">
                  <a:pos x="1824" y="454"/>
                </a:cxn>
                <a:cxn ang="0">
                  <a:pos x="1757" y="449"/>
                </a:cxn>
                <a:cxn ang="0">
                  <a:pos x="1712" y="459"/>
                </a:cxn>
                <a:cxn ang="0">
                  <a:pos x="1621" y="433"/>
                </a:cxn>
                <a:cxn ang="0">
                  <a:pos x="1583" y="381"/>
                </a:cxn>
                <a:cxn ang="0">
                  <a:pos x="1555" y="315"/>
                </a:cxn>
                <a:cxn ang="0">
                  <a:pos x="1514" y="211"/>
                </a:cxn>
                <a:cxn ang="0">
                  <a:pos x="1451" y="119"/>
                </a:cxn>
                <a:cxn ang="0">
                  <a:pos x="1430" y="134"/>
                </a:cxn>
                <a:cxn ang="0">
                  <a:pos x="1294" y="130"/>
                </a:cxn>
                <a:cxn ang="0">
                  <a:pos x="964" y="81"/>
                </a:cxn>
                <a:cxn ang="0">
                  <a:pos x="887" y="71"/>
                </a:cxn>
                <a:cxn ang="0">
                  <a:pos x="839" y="36"/>
                </a:cxn>
                <a:cxn ang="0">
                  <a:pos x="577" y="57"/>
                </a:cxn>
                <a:cxn ang="0">
                  <a:pos x="523" y="94"/>
                </a:cxn>
                <a:cxn ang="0">
                  <a:pos x="441" y="75"/>
                </a:cxn>
                <a:cxn ang="0">
                  <a:pos x="407" y="86"/>
                </a:cxn>
                <a:cxn ang="0">
                  <a:pos x="341" y="85"/>
                </a:cxn>
              </a:cxnLst>
              <a:rect l="0" t="0" r="r" b="b"/>
              <a:pathLst>
                <a:path w="2057" h="1328">
                  <a:moveTo>
                    <a:pt x="334" y="71"/>
                  </a:moveTo>
                  <a:lnTo>
                    <a:pt x="314" y="81"/>
                  </a:lnTo>
                  <a:lnTo>
                    <a:pt x="289" y="93"/>
                  </a:lnTo>
                  <a:lnTo>
                    <a:pt x="277" y="101"/>
                  </a:lnTo>
                  <a:lnTo>
                    <a:pt x="267" y="108"/>
                  </a:lnTo>
                  <a:lnTo>
                    <a:pt x="263" y="112"/>
                  </a:lnTo>
                  <a:lnTo>
                    <a:pt x="260" y="115"/>
                  </a:lnTo>
                  <a:lnTo>
                    <a:pt x="259" y="120"/>
                  </a:lnTo>
                  <a:lnTo>
                    <a:pt x="258" y="123"/>
                  </a:lnTo>
                  <a:lnTo>
                    <a:pt x="249" y="127"/>
                  </a:lnTo>
                  <a:lnTo>
                    <a:pt x="249" y="136"/>
                  </a:lnTo>
                  <a:lnTo>
                    <a:pt x="249" y="149"/>
                  </a:lnTo>
                  <a:lnTo>
                    <a:pt x="249" y="161"/>
                  </a:lnTo>
                  <a:lnTo>
                    <a:pt x="249" y="170"/>
                  </a:lnTo>
                  <a:lnTo>
                    <a:pt x="252" y="173"/>
                  </a:lnTo>
                  <a:lnTo>
                    <a:pt x="255" y="178"/>
                  </a:lnTo>
                  <a:lnTo>
                    <a:pt x="257" y="182"/>
                  </a:lnTo>
                  <a:lnTo>
                    <a:pt x="258" y="189"/>
                  </a:lnTo>
                  <a:lnTo>
                    <a:pt x="260" y="190"/>
                  </a:lnTo>
                  <a:lnTo>
                    <a:pt x="262" y="192"/>
                  </a:lnTo>
                  <a:lnTo>
                    <a:pt x="264" y="194"/>
                  </a:lnTo>
                  <a:lnTo>
                    <a:pt x="266" y="198"/>
                  </a:lnTo>
                  <a:lnTo>
                    <a:pt x="269" y="204"/>
                  </a:lnTo>
                  <a:lnTo>
                    <a:pt x="270" y="213"/>
                  </a:lnTo>
                  <a:lnTo>
                    <a:pt x="272" y="232"/>
                  </a:lnTo>
                  <a:lnTo>
                    <a:pt x="272" y="249"/>
                  </a:lnTo>
                  <a:lnTo>
                    <a:pt x="269" y="252"/>
                  </a:lnTo>
                  <a:lnTo>
                    <a:pt x="264" y="256"/>
                  </a:lnTo>
                  <a:lnTo>
                    <a:pt x="261" y="258"/>
                  </a:lnTo>
                  <a:lnTo>
                    <a:pt x="258" y="259"/>
                  </a:lnTo>
                  <a:lnTo>
                    <a:pt x="258" y="268"/>
                  </a:lnTo>
                  <a:lnTo>
                    <a:pt x="253" y="270"/>
                  </a:lnTo>
                  <a:lnTo>
                    <a:pt x="249" y="273"/>
                  </a:lnTo>
                  <a:lnTo>
                    <a:pt x="248" y="277"/>
                  </a:lnTo>
                  <a:lnTo>
                    <a:pt x="245" y="281"/>
                  </a:lnTo>
                  <a:lnTo>
                    <a:pt x="242" y="286"/>
                  </a:lnTo>
                  <a:lnTo>
                    <a:pt x="239" y="287"/>
                  </a:lnTo>
                  <a:lnTo>
                    <a:pt x="234" y="292"/>
                  </a:lnTo>
                  <a:lnTo>
                    <a:pt x="233" y="305"/>
                  </a:lnTo>
                  <a:lnTo>
                    <a:pt x="229" y="334"/>
                  </a:lnTo>
                  <a:lnTo>
                    <a:pt x="226" y="350"/>
                  </a:lnTo>
                  <a:lnTo>
                    <a:pt x="224" y="363"/>
                  </a:lnTo>
                  <a:lnTo>
                    <a:pt x="222" y="373"/>
                  </a:lnTo>
                  <a:lnTo>
                    <a:pt x="221" y="376"/>
                  </a:lnTo>
                  <a:lnTo>
                    <a:pt x="221" y="400"/>
                  </a:lnTo>
                  <a:lnTo>
                    <a:pt x="215" y="404"/>
                  </a:lnTo>
                  <a:lnTo>
                    <a:pt x="211" y="406"/>
                  </a:lnTo>
                  <a:lnTo>
                    <a:pt x="206" y="409"/>
                  </a:lnTo>
                  <a:lnTo>
                    <a:pt x="202" y="419"/>
                  </a:lnTo>
                  <a:lnTo>
                    <a:pt x="192" y="419"/>
                  </a:lnTo>
                  <a:lnTo>
                    <a:pt x="187" y="422"/>
                  </a:lnTo>
                  <a:lnTo>
                    <a:pt x="180" y="427"/>
                  </a:lnTo>
                  <a:lnTo>
                    <a:pt x="171" y="432"/>
                  </a:lnTo>
                  <a:lnTo>
                    <a:pt x="161" y="437"/>
                  </a:lnTo>
                  <a:lnTo>
                    <a:pt x="151" y="440"/>
                  </a:lnTo>
                  <a:lnTo>
                    <a:pt x="142" y="443"/>
                  </a:lnTo>
                  <a:lnTo>
                    <a:pt x="133" y="446"/>
                  </a:lnTo>
                  <a:lnTo>
                    <a:pt x="126" y="447"/>
                  </a:lnTo>
                  <a:lnTo>
                    <a:pt x="122" y="451"/>
                  </a:lnTo>
                  <a:lnTo>
                    <a:pt x="117" y="457"/>
                  </a:lnTo>
                  <a:lnTo>
                    <a:pt x="103" y="457"/>
                  </a:lnTo>
                  <a:lnTo>
                    <a:pt x="101" y="458"/>
                  </a:lnTo>
                  <a:lnTo>
                    <a:pt x="98" y="460"/>
                  </a:lnTo>
                  <a:lnTo>
                    <a:pt x="94" y="462"/>
                  </a:lnTo>
                  <a:lnTo>
                    <a:pt x="88" y="465"/>
                  </a:lnTo>
                  <a:lnTo>
                    <a:pt x="77" y="469"/>
                  </a:lnTo>
                  <a:lnTo>
                    <a:pt x="70" y="470"/>
                  </a:lnTo>
                  <a:lnTo>
                    <a:pt x="68" y="475"/>
                  </a:lnTo>
                  <a:lnTo>
                    <a:pt x="66" y="480"/>
                  </a:lnTo>
                  <a:lnTo>
                    <a:pt x="56" y="482"/>
                  </a:lnTo>
                  <a:lnTo>
                    <a:pt x="42" y="485"/>
                  </a:lnTo>
                  <a:lnTo>
                    <a:pt x="41" y="487"/>
                  </a:lnTo>
                  <a:lnTo>
                    <a:pt x="39" y="489"/>
                  </a:lnTo>
                  <a:lnTo>
                    <a:pt x="36" y="489"/>
                  </a:lnTo>
                  <a:lnTo>
                    <a:pt x="32" y="489"/>
                  </a:lnTo>
                  <a:lnTo>
                    <a:pt x="28" y="494"/>
                  </a:lnTo>
                  <a:lnTo>
                    <a:pt x="28" y="504"/>
                  </a:lnTo>
                  <a:lnTo>
                    <a:pt x="21" y="506"/>
                  </a:lnTo>
                  <a:lnTo>
                    <a:pt x="13" y="508"/>
                  </a:lnTo>
                  <a:lnTo>
                    <a:pt x="11" y="517"/>
                  </a:lnTo>
                  <a:lnTo>
                    <a:pt x="9" y="527"/>
                  </a:lnTo>
                  <a:lnTo>
                    <a:pt x="5" y="528"/>
                  </a:lnTo>
                  <a:lnTo>
                    <a:pt x="3" y="530"/>
                  </a:lnTo>
                  <a:lnTo>
                    <a:pt x="2" y="535"/>
                  </a:lnTo>
                  <a:lnTo>
                    <a:pt x="1" y="539"/>
                  </a:lnTo>
                  <a:lnTo>
                    <a:pt x="0" y="550"/>
                  </a:lnTo>
                  <a:lnTo>
                    <a:pt x="0" y="559"/>
                  </a:lnTo>
                  <a:lnTo>
                    <a:pt x="3" y="562"/>
                  </a:lnTo>
                  <a:lnTo>
                    <a:pt x="9" y="565"/>
                  </a:lnTo>
                  <a:lnTo>
                    <a:pt x="12" y="569"/>
                  </a:lnTo>
                  <a:lnTo>
                    <a:pt x="13" y="574"/>
                  </a:lnTo>
                  <a:lnTo>
                    <a:pt x="23" y="574"/>
                  </a:lnTo>
                  <a:lnTo>
                    <a:pt x="23" y="576"/>
                  </a:lnTo>
                  <a:lnTo>
                    <a:pt x="26" y="577"/>
                  </a:lnTo>
                  <a:lnTo>
                    <a:pt x="29" y="578"/>
                  </a:lnTo>
                  <a:lnTo>
                    <a:pt x="32" y="578"/>
                  </a:lnTo>
                  <a:lnTo>
                    <a:pt x="33" y="581"/>
                  </a:lnTo>
                  <a:lnTo>
                    <a:pt x="37" y="582"/>
                  </a:lnTo>
                  <a:lnTo>
                    <a:pt x="40" y="584"/>
                  </a:lnTo>
                  <a:lnTo>
                    <a:pt x="44" y="585"/>
                  </a:lnTo>
                  <a:lnTo>
                    <a:pt x="55" y="587"/>
                  </a:lnTo>
                  <a:lnTo>
                    <a:pt x="60" y="587"/>
                  </a:lnTo>
                  <a:lnTo>
                    <a:pt x="61" y="590"/>
                  </a:lnTo>
                  <a:lnTo>
                    <a:pt x="62" y="591"/>
                  </a:lnTo>
                  <a:lnTo>
                    <a:pt x="63" y="592"/>
                  </a:lnTo>
                  <a:lnTo>
                    <a:pt x="66" y="592"/>
                  </a:lnTo>
                  <a:lnTo>
                    <a:pt x="70" y="593"/>
                  </a:lnTo>
                  <a:lnTo>
                    <a:pt x="75" y="593"/>
                  </a:lnTo>
                  <a:lnTo>
                    <a:pt x="79" y="597"/>
                  </a:lnTo>
                  <a:lnTo>
                    <a:pt x="86" y="604"/>
                  </a:lnTo>
                  <a:lnTo>
                    <a:pt x="91" y="611"/>
                  </a:lnTo>
                  <a:lnTo>
                    <a:pt x="94" y="616"/>
                  </a:lnTo>
                  <a:lnTo>
                    <a:pt x="97" y="617"/>
                  </a:lnTo>
                  <a:lnTo>
                    <a:pt x="99" y="621"/>
                  </a:lnTo>
                  <a:lnTo>
                    <a:pt x="103" y="626"/>
                  </a:lnTo>
                  <a:lnTo>
                    <a:pt x="105" y="632"/>
                  </a:lnTo>
                  <a:lnTo>
                    <a:pt x="108" y="644"/>
                  </a:lnTo>
                  <a:lnTo>
                    <a:pt x="113" y="649"/>
                  </a:lnTo>
                  <a:lnTo>
                    <a:pt x="113" y="675"/>
                  </a:lnTo>
                  <a:lnTo>
                    <a:pt x="115" y="703"/>
                  </a:lnTo>
                  <a:lnTo>
                    <a:pt x="116" y="730"/>
                  </a:lnTo>
                  <a:lnTo>
                    <a:pt x="119" y="756"/>
                  </a:lnTo>
                  <a:lnTo>
                    <a:pt x="122" y="783"/>
                  </a:lnTo>
                  <a:lnTo>
                    <a:pt x="124" y="808"/>
                  </a:lnTo>
                  <a:lnTo>
                    <a:pt x="125" y="833"/>
                  </a:lnTo>
                  <a:lnTo>
                    <a:pt x="126" y="857"/>
                  </a:lnTo>
                  <a:lnTo>
                    <a:pt x="127" y="857"/>
                  </a:lnTo>
                  <a:lnTo>
                    <a:pt x="127" y="873"/>
                  </a:lnTo>
                  <a:lnTo>
                    <a:pt x="126" y="900"/>
                  </a:lnTo>
                  <a:lnTo>
                    <a:pt x="125" y="913"/>
                  </a:lnTo>
                  <a:lnTo>
                    <a:pt x="124" y="924"/>
                  </a:lnTo>
                  <a:lnTo>
                    <a:pt x="123" y="929"/>
                  </a:lnTo>
                  <a:lnTo>
                    <a:pt x="122" y="932"/>
                  </a:lnTo>
                  <a:lnTo>
                    <a:pt x="120" y="934"/>
                  </a:lnTo>
                  <a:lnTo>
                    <a:pt x="119" y="935"/>
                  </a:lnTo>
                  <a:lnTo>
                    <a:pt x="119" y="954"/>
                  </a:lnTo>
                  <a:lnTo>
                    <a:pt x="120" y="983"/>
                  </a:lnTo>
                  <a:lnTo>
                    <a:pt x="120" y="997"/>
                  </a:lnTo>
                  <a:lnTo>
                    <a:pt x="123" y="1009"/>
                  </a:lnTo>
                  <a:lnTo>
                    <a:pt x="123" y="1014"/>
                  </a:lnTo>
                  <a:lnTo>
                    <a:pt x="124" y="1017"/>
                  </a:lnTo>
                  <a:lnTo>
                    <a:pt x="125" y="1019"/>
                  </a:lnTo>
                  <a:lnTo>
                    <a:pt x="127" y="1020"/>
                  </a:lnTo>
                  <a:lnTo>
                    <a:pt x="127" y="1044"/>
                  </a:lnTo>
                  <a:lnTo>
                    <a:pt x="132" y="1044"/>
                  </a:lnTo>
                  <a:lnTo>
                    <a:pt x="134" y="1045"/>
                  </a:lnTo>
                  <a:lnTo>
                    <a:pt x="135" y="1046"/>
                  </a:lnTo>
                  <a:lnTo>
                    <a:pt x="135" y="1047"/>
                  </a:lnTo>
                  <a:lnTo>
                    <a:pt x="135" y="1048"/>
                  </a:lnTo>
                  <a:lnTo>
                    <a:pt x="135" y="1049"/>
                  </a:lnTo>
                  <a:lnTo>
                    <a:pt x="138" y="1050"/>
                  </a:lnTo>
                  <a:lnTo>
                    <a:pt x="143" y="1050"/>
                  </a:lnTo>
                  <a:lnTo>
                    <a:pt x="149" y="1058"/>
                  </a:lnTo>
                  <a:lnTo>
                    <a:pt x="151" y="1066"/>
                  </a:lnTo>
                  <a:lnTo>
                    <a:pt x="152" y="1073"/>
                  </a:lnTo>
                  <a:lnTo>
                    <a:pt x="154" y="1076"/>
                  </a:lnTo>
                  <a:lnTo>
                    <a:pt x="156" y="1079"/>
                  </a:lnTo>
                  <a:lnTo>
                    <a:pt x="161" y="1082"/>
                  </a:lnTo>
                  <a:lnTo>
                    <a:pt x="165" y="1082"/>
                  </a:lnTo>
                  <a:lnTo>
                    <a:pt x="165" y="1097"/>
                  </a:lnTo>
                  <a:lnTo>
                    <a:pt x="181" y="1097"/>
                  </a:lnTo>
                  <a:lnTo>
                    <a:pt x="182" y="1101"/>
                  </a:lnTo>
                  <a:lnTo>
                    <a:pt x="183" y="1103"/>
                  </a:lnTo>
                  <a:lnTo>
                    <a:pt x="185" y="1105"/>
                  </a:lnTo>
                  <a:lnTo>
                    <a:pt x="188" y="1107"/>
                  </a:lnTo>
                  <a:lnTo>
                    <a:pt x="195" y="1112"/>
                  </a:lnTo>
                  <a:lnTo>
                    <a:pt x="204" y="1115"/>
                  </a:lnTo>
                  <a:lnTo>
                    <a:pt x="213" y="1120"/>
                  </a:lnTo>
                  <a:lnTo>
                    <a:pt x="220" y="1122"/>
                  </a:lnTo>
                  <a:lnTo>
                    <a:pt x="225" y="1125"/>
                  </a:lnTo>
                  <a:lnTo>
                    <a:pt x="228" y="1129"/>
                  </a:lnTo>
                  <a:lnTo>
                    <a:pt x="243" y="1129"/>
                  </a:lnTo>
                  <a:lnTo>
                    <a:pt x="250" y="1136"/>
                  </a:lnTo>
                  <a:lnTo>
                    <a:pt x="251" y="1140"/>
                  </a:lnTo>
                  <a:lnTo>
                    <a:pt x="253" y="1144"/>
                  </a:lnTo>
                  <a:lnTo>
                    <a:pt x="255" y="1149"/>
                  </a:lnTo>
                  <a:lnTo>
                    <a:pt x="259" y="1154"/>
                  </a:lnTo>
                  <a:lnTo>
                    <a:pt x="263" y="1159"/>
                  </a:lnTo>
                  <a:lnTo>
                    <a:pt x="267" y="1163"/>
                  </a:lnTo>
                  <a:lnTo>
                    <a:pt x="270" y="1165"/>
                  </a:lnTo>
                  <a:lnTo>
                    <a:pt x="273" y="1167"/>
                  </a:lnTo>
                  <a:lnTo>
                    <a:pt x="274" y="1171"/>
                  </a:lnTo>
                  <a:lnTo>
                    <a:pt x="277" y="1175"/>
                  </a:lnTo>
                  <a:lnTo>
                    <a:pt x="279" y="1180"/>
                  </a:lnTo>
                  <a:lnTo>
                    <a:pt x="282" y="1185"/>
                  </a:lnTo>
                  <a:lnTo>
                    <a:pt x="286" y="1190"/>
                  </a:lnTo>
                  <a:lnTo>
                    <a:pt x="290" y="1194"/>
                  </a:lnTo>
                  <a:lnTo>
                    <a:pt x="293" y="1197"/>
                  </a:lnTo>
                  <a:lnTo>
                    <a:pt x="297" y="1198"/>
                  </a:lnTo>
                  <a:lnTo>
                    <a:pt x="305" y="1206"/>
                  </a:lnTo>
                  <a:lnTo>
                    <a:pt x="312" y="1213"/>
                  </a:lnTo>
                  <a:lnTo>
                    <a:pt x="312" y="1217"/>
                  </a:lnTo>
                  <a:lnTo>
                    <a:pt x="315" y="1220"/>
                  </a:lnTo>
                  <a:lnTo>
                    <a:pt x="318" y="1225"/>
                  </a:lnTo>
                  <a:lnTo>
                    <a:pt x="321" y="1228"/>
                  </a:lnTo>
                  <a:lnTo>
                    <a:pt x="325" y="1231"/>
                  </a:lnTo>
                  <a:lnTo>
                    <a:pt x="328" y="1233"/>
                  </a:lnTo>
                  <a:lnTo>
                    <a:pt x="332" y="1236"/>
                  </a:lnTo>
                  <a:lnTo>
                    <a:pt x="336" y="1237"/>
                  </a:lnTo>
                  <a:lnTo>
                    <a:pt x="344" y="1245"/>
                  </a:lnTo>
                  <a:lnTo>
                    <a:pt x="344" y="1259"/>
                  </a:lnTo>
                  <a:lnTo>
                    <a:pt x="351" y="1267"/>
                  </a:lnTo>
                  <a:lnTo>
                    <a:pt x="366" y="1271"/>
                  </a:lnTo>
                  <a:lnTo>
                    <a:pt x="382" y="1275"/>
                  </a:lnTo>
                  <a:lnTo>
                    <a:pt x="382" y="1279"/>
                  </a:lnTo>
                  <a:lnTo>
                    <a:pt x="383" y="1281"/>
                  </a:lnTo>
                  <a:lnTo>
                    <a:pt x="384" y="1283"/>
                  </a:lnTo>
                  <a:lnTo>
                    <a:pt x="386" y="1283"/>
                  </a:lnTo>
                  <a:lnTo>
                    <a:pt x="387" y="1283"/>
                  </a:lnTo>
                  <a:lnTo>
                    <a:pt x="388" y="1284"/>
                  </a:lnTo>
                  <a:lnTo>
                    <a:pt x="389" y="1286"/>
                  </a:lnTo>
                  <a:lnTo>
                    <a:pt x="389" y="1290"/>
                  </a:lnTo>
                  <a:lnTo>
                    <a:pt x="396" y="1292"/>
                  </a:lnTo>
                  <a:lnTo>
                    <a:pt x="403" y="1293"/>
                  </a:lnTo>
                  <a:lnTo>
                    <a:pt x="410" y="1296"/>
                  </a:lnTo>
                  <a:lnTo>
                    <a:pt x="416" y="1298"/>
                  </a:lnTo>
                  <a:lnTo>
                    <a:pt x="424" y="1302"/>
                  </a:lnTo>
                  <a:lnTo>
                    <a:pt x="431" y="1304"/>
                  </a:lnTo>
                  <a:lnTo>
                    <a:pt x="437" y="1305"/>
                  </a:lnTo>
                  <a:lnTo>
                    <a:pt x="444" y="1306"/>
                  </a:lnTo>
                  <a:lnTo>
                    <a:pt x="444" y="1312"/>
                  </a:lnTo>
                  <a:lnTo>
                    <a:pt x="444" y="1317"/>
                  </a:lnTo>
                  <a:lnTo>
                    <a:pt x="445" y="1318"/>
                  </a:lnTo>
                  <a:lnTo>
                    <a:pt x="447" y="1321"/>
                  </a:lnTo>
                  <a:lnTo>
                    <a:pt x="449" y="1322"/>
                  </a:lnTo>
                  <a:lnTo>
                    <a:pt x="452" y="1322"/>
                  </a:lnTo>
                  <a:lnTo>
                    <a:pt x="452" y="1328"/>
                  </a:lnTo>
                  <a:lnTo>
                    <a:pt x="473" y="1306"/>
                  </a:lnTo>
                  <a:lnTo>
                    <a:pt x="493" y="1283"/>
                  </a:lnTo>
                  <a:lnTo>
                    <a:pt x="511" y="1259"/>
                  </a:lnTo>
                  <a:lnTo>
                    <a:pt x="529" y="1238"/>
                  </a:lnTo>
                  <a:lnTo>
                    <a:pt x="546" y="1219"/>
                  </a:lnTo>
                  <a:lnTo>
                    <a:pt x="561" y="1203"/>
                  </a:lnTo>
                  <a:lnTo>
                    <a:pt x="569" y="1198"/>
                  </a:lnTo>
                  <a:lnTo>
                    <a:pt x="576" y="1193"/>
                  </a:lnTo>
                  <a:lnTo>
                    <a:pt x="584" y="1191"/>
                  </a:lnTo>
                  <a:lnTo>
                    <a:pt x="590" y="1190"/>
                  </a:lnTo>
                  <a:lnTo>
                    <a:pt x="603" y="1191"/>
                  </a:lnTo>
                  <a:lnTo>
                    <a:pt x="612" y="1193"/>
                  </a:lnTo>
                  <a:lnTo>
                    <a:pt x="619" y="1198"/>
                  </a:lnTo>
                  <a:lnTo>
                    <a:pt x="625" y="1203"/>
                  </a:lnTo>
                  <a:lnTo>
                    <a:pt x="629" y="1210"/>
                  </a:lnTo>
                  <a:lnTo>
                    <a:pt x="633" y="1217"/>
                  </a:lnTo>
                  <a:lnTo>
                    <a:pt x="635" y="1225"/>
                  </a:lnTo>
                  <a:lnTo>
                    <a:pt x="636" y="1232"/>
                  </a:lnTo>
                  <a:lnTo>
                    <a:pt x="637" y="1248"/>
                  </a:lnTo>
                  <a:lnTo>
                    <a:pt x="639" y="1261"/>
                  </a:lnTo>
                  <a:lnTo>
                    <a:pt x="641" y="1267"/>
                  </a:lnTo>
                  <a:lnTo>
                    <a:pt x="644" y="1271"/>
                  </a:lnTo>
                  <a:lnTo>
                    <a:pt x="647" y="1274"/>
                  </a:lnTo>
                  <a:lnTo>
                    <a:pt x="653" y="1275"/>
                  </a:lnTo>
                  <a:lnTo>
                    <a:pt x="714" y="1275"/>
                  </a:lnTo>
                  <a:lnTo>
                    <a:pt x="746" y="1278"/>
                  </a:lnTo>
                  <a:lnTo>
                    <a:pt x="775" y="1280"/>
                  </a:lnTo>
                  <a:lnTo>
                    <a:pt x="781" y="1280"/>
                  </a:lnTo>
                  <a:lnTo>
                    <a:pt x="788" y="1279"/>
                  </a:lnTo>
                  <a:lnTo>
                    <a:pt x="794" y="1278"/>
                  </a:lnTo>
                  <a:lnTo>
                    <a:pt x="798" y="1275"/>
                  </a:lnTo>
                  <a:lnTo>
                    <a:pt x="801" y="1271"/>
                  </a:lnTo>
                  <a:lnTo>
                    <a:pt x="805" y="1266"/>
                  </a:lnTo>
                  <a:lnTo>
                    <a:pt x="806" y="1260"/>
                  </a:lnTo>
                  <a:lnTo>
                    <a:pt x="807" y="1251"/>
                  </a:lnTo>
                  <a:lnTo>
                    <a:pt x="807" y="1244"/>
                  </a:lnTo>
                  <a:lnTo>
                    <a:pt x="809" y="1236"/>
                  </a:lnTo>
                  <a:lnTo>
                    <a:pt x="811" y="1230"/>
                  </a:lnTo>
                  <a:lnTo>
                    <a:pt x="814" y="1223"/>
                  </a:lnTo>
                  <a:lnTo>
                    <a:pt x="818" y="1219"/>
                  </a:lnTo>
                  <a:lnTo>
                    <a:pt x="821" y="1214"/>
                  </a:lnTo>
                  <a:lnTo>
                    <a:pt x="827" y="1210"/>
                  </a:lnTo>
                  <a:lnTo>
                    <a:pt x="833" y="1207"/>
                  </a:lnTo>
                  <a:lnTo>
                    <a:pt x="845" y="1202"/>
                  </a:lnTo>
                  <a:lnTo>
                    <a:pt x="858" y="1198"/>
                  </a:lnTo>
                  <a:lnTo>
                    <a:pt x="873" y="1196"/>
                  </a:lnTo>
                  <a:lnTo>
                    <a:pt x="888" y="1194"/>
                  </a:lnTo>
                  <a:lnTo>
                    <a:pt x="903" y="1192"/>
                  </a:lnTo>
                  <a:lnTo>
                    <a:pt x="917" y="1191"/>
                  </a:lnTo>
                  <a:lnTo>
                    <a:pt x="932" y="1189"/>
                  </a:lnTo>
                  <a:lnTo>
                    <a:pt x="944" y="1187"/>
                  </a:lnTo>
                  <a:lnTo>
                    <a:pt x="950" y="1184"/>
                  </a:lnTo>
                  <a:lnTo>
                    <a:pt x="954" y="1183"/>
                  </a:lnTo>
                  <a:lnTo>
                    <a:pt x="959" y="1180"/>
                  </a:lnTo>
                  <a:lnTo>
                    <a:pt x="962" y="1177"/>
                  </a:lnTo>
                  <a:lnTo>
                    <a:pt x="965" y="1173"/>
                  </a:lnTo>
                  <a:lnTo>
                    <a:pt x="968" y="1170"/>
                  </a:lnTo>
                  <a:lnTo>
                    <a:pt x="969" y="1164"/>
                  </a:lnTo>
                  <a:lnTo>
                    <a:pt x="969" y="1159"/>
                  </a:lnTo>
                  <a:lnTo>
                    <a:pt x="970" y="1154"/>
                  </a:lnTo>
                  <a:lnTo>
                    <a:pt x="971" y="1150"/>
                  </a:lnTo>
                  <a:lnTo>
                    <a:pt x="972" y="1145"/>
                  </a:lnTo>
                  <a:lnTo>
                    <a:pt x="974" y="1141"/>
                  </a:lnTo>
                  <a:lnTo>
                    <a:pt x="980" y="1134"/>
                  </a:lnTo>
                  <a:lnTo>
                    <a:pt x="987" y="1127"/>
                  </a:lnTo>
                  <a:lnTo>
                    <a:pt x="997" y="1123"/>
                  </a:lnTo>
                  <a:lnTo>
                    <a:pt x="1007" y="1119"/>
                  </a:lnTo>
                  <a:lnTo>
                    <a:pt x="1019" y="1115"/>
                  </a:lnTo>
                  <a:lnTo>
                    <a:pt x="1031" y="1112"/>
                  </a:lnTo>
                  <a:lnTo>
                    <a:pt x="1058" y="1107"/>
                  </a:lnTo>
                  <a:lnTo>
                    <a:pt x="1087" y="1106"/>
                  </a:lnTo>
                  <a:lnTo>
                    <a:pt x="1114" y="1105"/>
                  </a:lnTo>
                  <a:lnTo>
                    <a:pt x="1140" y="1105"/>
                  </a:lnTo>
                  <a:lnTo>
                    <a:pt x="1146" y="1105"/>
                  </a:lnTo>
                  <a:lnTo>
                    <a:pt x="1154" y="1103"/>
                  </a:lnTo>
                  <a:lnTo>
                    <a:pt x="1161" y="1102"/>
                  </a:lnTo>
                  <a:lnTo>
                    <a:pt x="1167" y="1098"/>
                  </a:lnTo>
                  <a:lnTo>
                    <a:pt x="1182" y="1091"/>
                  </a:lnTo>
                  <a:lnTo>
                    <a:pt x="1195" y="1081"/>
                  </a:lnTo>
                  <a:lnTo>
                    <a:pt x="1209" y="1069"/>
                  </a:lnTo>
                  <a:lnTo>
                    <a:pt x="1222" y="1056"/>
                  </a:lnTo>
                  <a:lnTo>
                    <a:pt x="1237" y="1043"/>
                  </a:lnTo>
                  <a:lnTo>
                    <a:pt x="1250" y="1028"/>
                  </a:lnTo>
                  <a:lnTo>
                    <a:pt x="1265" y="1014"/>
                  </a:lnTo>
                  <a:lnTo>
                    <a:pt x="1279" y="999"/>
                  </a:lnTo>
                  <a:lnTo>
                    <a:pt x="1295" y="987"/>
                  </a:lnTo>
                  <a:lnTo>
                    <a:pt x="1310" y="975"/>
                  </a:lnTo>
                  <a:lnTo>
                    <a:pt x="1318" y="969"/>
                  </a:lnTo>
                  <a:lnTo>
                    <a:pt x="1326" y="964"/>
                  </a:lnTo>
                  <a:lnTo>
                    <a:pt x="1335" y="961"/>
                  </a:lnTo>
                  <a:lnTo>
                    <a:pt x="1343" y="957"/>
                  </a:lnTo>
                  <a:lnTo>
                    <a:pt x="1352" y="954"/>
                  </a:lnTo>
                  <a:lnTo>
                    <a:pt x="1361" y="952"/>
                  </a:lnTo>
                  <a:lnTo>
                    <a:pt x="1370" y="951"/>
                  </a:lnTo>
                  <a:lnTo>
                    <a:pt x="1378" y="950"/>
                  </a:lnTo>
                  <a:lnTo>
                    <a:pt x="1404" y="950"/>
                  </a:lnTo>
                  <a:lnTo>
                    <a:pt x="1425" y="948"/>
                  </a:lnTo>
                  <a:lnTo>
                    <a:pt x="1445" y="946"/>
                  </a:lnTo>
                  <a:lnTo>
                    <a:pt x="1462" y="942"/>
                  </a:lnTo>
                  <a:lnTo>
                    <a:pt x="1478" y="938"/>
                  </a:lnTo>
                  <a:lnTo>
                    <a:pt x="1492" y="933"/>
                  </a:lnTo>
                  <a:lnTo>
                    <a:pt x="1506" y="929"/>
                  </a:lnTo>
                  <a:lnTo>
                    <a:pt x="1519" y="923"/>
                  </a:lnTo>
                  <a:lnTo>
                    <a:pt x="1545" y="913"/>
                  </a:lnTo>
                  <a:lnTo>
                    <a:pt x="1572" y="905"/>
                  </a:lnTo>
                  <a:lnTo>
                    <a:pt x="1586" y="901"/>
                  </a:lnTo>
                  <a:lnTo>
                    <a:pt x="1603" y="899"/>
                  </a:lnTo>
                  <a:lnTo>
                    <a:pt x="1621" y="898"/>
                  </a:lnTo>
                  <a:lnTo>
                    <a:pt x="1642" y="896"/>
                  </a:lnTo>
                  <a:lnTo>
                    <a:pt x="1673" y="895"/>
                  </a:lnTo>
                  <a:lnTo>
                    <a:pt x="1716" y="892"/>
                  </a:lnTo>
                  <a:lnTo>
                    <a:pt x="1766" y="886"/>
                  </a:lnTo>
                  <a:lnTo>
                    <a:pt x="1821" y="881"/>
                  </a:lnTo>
                  <a:lnTo>
                    <a:pt x="1876" y="876"/>
                  </a:lnTo>
                  <a:lnTo>
                    <a:pt x="1929" y="872"/>
                  </a:lnTo>
                  <a:lnTo>
                    <a:pt x="1952" y="871"/>
                  </a:lnTo>
                  <a:lnTo>
                    <a:pt x="1975" y="871"/>
                  </a:lnTo>
                  <a:lnTo>
                    <a:pt x="1994" y="871"/>
                  </a:lnTo>
                  <a:lnTo>
                    <a:pt x="2010" y="871"/>
                  </a:lnTo>
                  <a:lnTo>
                    <a:pt x="2016" y="865"/>
                  </a:lnTo>
                  <a:lnTo>
                    <a:pt x="2019" y="861"/>
                  </a:lnTo>
                  <a:lnTo>
                    <a:pt x="2034" y="857"/>
                  </a:lnTo>
                  <a:lnTo>
                    <a:pt x="2048" y="855"/>
                  </a:lnTo>
                  <a:lnTo>
                    <a:pt x="2048" y="852"/>
                  </a:lnTo>
                  <a:lnTo>
                    <a:pt x="2050" y="850"/>
                  </a:lnTo>
                  <a:lnTo>
                    <a:pt x="2054" y="847"/>
                  </a:lnTo>
                  <a:lnTo>
                    <a:pt x="2057" y="846"/>
                  </a:lnTo>
                  <a:lnTo>
                    <a:pt x="2056" y="824"/>
                  </a:lnTo>
                  <a:lnTo>
                    <a:pt x="2053" y="803"/>
                  </a:lnTo>
                  <a:lnTo>
                    <a:pt x="2049" y="783"/>
                  </a:lnTo>
                  <a:lnTo>
                    <a:pt x="2048" y="766"/>
                  </a:lnTo>
                  <a:lnTo>
                    <a:pt x="2038" y="761"/>
                  </a:lnTo>
                  <a:lnTo>
                    <a:pt x="2036" y="755"/>
                  </a:lnTo>
                  <a:lnTo>
                    <a:pt x="2034" y="748"/>
                  </a:lnTo>
                  <a:lnTo>
                    <a:pt x="2032" y="747"/>
                  </a:lnTo>
                  <a:lnTo>
                    <a:pt x="2029" y="745"/>
                  </a:lnTo>
                  <a:lnTo>
                    <a:pt x="2026" y="741"/>
                  </a:lnTo>
                  <a:lnTo>
                    <a:pt x="2023" y="737"/>
                  </a:lnTo>
                  <a:lnTo>
                    <a:pt x="2019" y="732"/>
                  </a:lnTo>
                  <a:lnTo>
                    <a:pt x="2017" y="728"/>
                  </a:lnTo>
                  <a:lnTo>
                    <a:pt x="2016" y="723"/>
                  </a:lnTo>
                  <a:lnTo>
                    <a:pt x="2015" y="719"/>
                  </a:lnTo>
                  <a:lnTo>
                    <a:pt x="2006" y="714"/>
                  </a:lnTo>
                  <a:lnTo>
                    <a:pt x="2000" y="706"/>
                  </a:lnTo>
                  <a:lnTo>
                    <a:pt x="1989" y="692"/>
                  </a:lnTo>
                  <a:lnTo>
                    <a:pt x="1976" y="679"/>
                  </a:lnTo>
                  <a:lnTo>
                    <a:pt x="1968" y="672"/>
                  </a:lnTo>
                  <a:lnTo>
                    <a:pt x="1963" y="668"/>
                  </a:lnTo>
                  <a:lnTo>
                    <a:pt x="1954" y="660"/>
                  </a:lnTo>
                  <a:lnTo>
                    <a:pt x="1949" y="656"/>
                  </a:lnTo>
                  <a:lnTo>
                    <a:pt x="1944" y="652"/>
                  </a:lnTo>
                  <a:lnTo>
                    <a:pt x="1941" y="648"/>
                  </a:lnTo>
                  <a:lnTo>
                    <a:pt x="1940" y="644"/>
                  </a:lnTo>
                  <a:lnTo>
                    <a:pt x="1931" y="640"/>
                  </a:lnTo>
                  <a:lnTo>
                    <a:pt x="1921" y="635"/>
                  </a:lnTo>
                  <a:lnTo>
                    <a:pt x="1912" y="630"/>
                  </a:lnTo>
                  <a:lnTo>
                    <a:pt x="1910" y="625"/>
                  </a:lnTo>
                  <a:lnTo>
                    <a:pt x="1906" y="619"/>
                  </a:lnTo>
                  <a:lnTo>
                    <a:pt x="1902" y="612"/>
                  </a:lnTo>
                  <a:lnTo>
                    <a:pt x="1898" y="606"/>
                  </a:lnTo>
                  <a:lnTo>
                    <a:pt x="1898" y="597"/>
                  </a:lnTo>
                  <a:lnTo>
                    <a:pt x="1889" y="587"/>
                  </a:lnTo>
                  <a:lnTo>
                    <a:pt x="1886" y="572"/>
                  </a:lnTo>
                  <a:lnTo>
                    <a:pt x="1881" y="555"/>
                  </a:lnTo>
                  <a:lnTo>
                    <a:pt x="1879" y="546"/>
                  </a:lnTo>
                  <a:lnTo>
                    <a:pt x="1876" y="537"/>
                  </a:lnTo>
                  <a:lnTo>
                    <a:pt x="1875" y="529"/>
                  </a:lnTo>
                  <a:lnTo>
                    <a:pt x="1874" y="523"/>
                  </a:lnTo>
                  <a:lnTo>
                    <a:pt x="1872" y="521"/>
                  </a:lnTo>
                  <a:lnTo>
                    <a:pt x="1870" y="519"/>
                  </a:lnTo>
                  <a:lnTo>
                    <a:pt x="1870" y="516"/>
                  </a:lnTo>
                  <a:lnTo>
                    <a:pt x="1870" y="512"/>
                  </a:lnTo>
                  <a:lnTo>
                    <a:pt x="1866" y="511"/>
                  </a:lnTo>
                  <a:lnTo>
                    <a:pt x="1865" y="509"/>
                  </a:lnTo>
                  <a:lnTo>
                    <a:pt x="1865" y="507"/>
                  </a:lnTo>
                  <a:lnTo>
                    <a:pt x="1865" y="504"/>
                  </a:lnTo>
                  <a:lnTo>
                    <a:pt x="1857" y="496"/>
                  </a:lnTo>
                  <a:lnTo>
                    <a:pt x="1851" y="485"/>
                  </a:lnTo>
                  <a:lnTo>
                    <a:pt x="1842" y="475"/>
                  </a:lnTo>
                  <a:lnTo>
                    <a:pt x="1832" y="461"/>
                  </a:lnTo>
                  <a:lnTo>
                    <a:pt x="1831" y="460"/>
                  </a:lnTo>
                  <a:lnTo>
                    <a:pt x="1827" y="458"/>
                  </a:lnTo>
                  <a:lnTo>
                    <a:pt x="1824" y="454"/>
                  </a:lnTo>
                  <a:lnTo>
                    <a:pt x="1823" y="451"/>
                  </a:lnTo>
                  <a:lnTo>
                    <a:pt x="1813" y="451"/>
                  </a:lnTo>
                  <a:lnTo>
                    <a:pt x="1812" y="450"/>
                  </a:lnTo>
                  <a:lnTo>
                    <a:pt x="1808" y="449"/>
                  </a:lnTo>
                  <a:lnTo>
                    <a:pt x="1804" y="448"/>
                  </a:lnTo>
                  <a:lnTo>
                    <a:pt x="1798" y="448"/>
                  </a:lnTo>
                  <a:lnTo>
                    <a:pt x="1787" y="447"/>
                  </a:lnTo>
                  <a:lnTo>
                    <a:pt x="1780" y="447"/>
                  </a:lnTo>
                  <a:lnTo>
                    <a:pt x="1769" y="448"/>
                  </a:lnTo>
                  <a:lnTo>
                    <a:pt x="1757" y="449"/>
                  </a:lnTo>
                  <a:lnTo>
                    <a:pt x="1747" y="451"/>
                  </a:lnTo>
                  <a:lnTo>
                    <a:pt x="1738" y="451"/>
                  </a:lnTo>
                  <a:lnTo>
                    <a:pt x="1737" y="453"/>
                  </a:lnTo>
                  <a:lnTo>
                    <a:pt x="1736" y="454"/>
                  </a:lnTo>
                  <a:lnTo>
                    <a:pt x="1733" y="456"/>
                  </a:lnTo>
                  <a:lnTo>
                    <a:pt x="1730" y="456"/>
                  </a:lnTo>
                  <a:lnTo>
                    <a:pt x="1725" y="457"/>
                  </a:lnTo>
                  <a:lnTo>
                    <a:pt x="1719" y="457"/>
                  </a:lnTo>
                  <a:lnTo>
                    <a:pt x="1717" y="458"/>
                  </a:lnTo>
                  <a:lnTo>
                    <a:pt x="1712" y="459"/>
                  </a:lnTo>
                  <a:lnTo>
                    <a:pt x="1706" y="460"/>
                  </a:lnTo>
                  <a:lnTo>
                    <a:pt x="1697" y="460"/>
                  </a:lnTo>
                  <a:lnTo>
                    <a:pt x="1680" y="461"/>
                  </a:lnTo>
                  <a:lnTo>
                    <a:pt x="1668" y="461"/>
                  </a:lnTo>
                  <a:lnTo>
                    <a:pt x="1653" y="451"/>
                  </a:lnTo>
                  <a:lnTo>
                    <a:pt x="1634" y="442"/>
                  </a:lnTo>
                  <a:lnTo>
                    <a:pt x="1633" y="439"/>
                  </a:lnTo>
                  <a:lnTo>
                    <a:pt x="1630" y="435"/>
                  </a:lnTo>
                  <a:lnTo>
                    <a:pt x="1624" y="433"/>
                  </a:lnTo>
                  <a:lnTo>
                    <a:pt x="1621" y="433"/>
                  </a:lnTo>
                  <a:lnTo>
                    <a:pt x="1616" y="428"/>
                  </a:lnTo>
                  <a:lnTo>
                    <a:pt x="1608" y="418"/>
                  </a:lnTo>
                  <a:lnTo>
                    <a:pt x="1602" y="404"/>
                  </a:lnTo>
                  <a:lnTo>
                    <a:pt x="1596" y="404"/>
                  </a:lnTo>
                  <a:lnTo>
                    <a:pt x="1594" y="403"/>
                  </a:lnTo>
                  <a:lnTo>
                    <a:pt x="1593" y="401"/>
                  </a:lnTo>
                  <a:lnTo>
                    <a:pt x="1592" y="395"/>
                  </a:lnTo>
                  <a:lnTo>
                    <a:pt x="1587" y="393"/>
                  </a:lnTo>
                  <a:lnTo>
                    <a:pt x="1583" y="391"/>
                  </a:lnTo>
                  <a:lnTo>
                    <a:pt x="1583" y="381"/>
                  </a:lnTo>
                  <a:lnTo>
                    <a:pt x="1574" y="376"/>
                  </a:lnTo>
                  <a:lnTo>
                    <a:pt x="1572" y="365"/>
                  </a:lnTo>
                  <a:lnTo>
                    <a:pt x="1568" y="353"/>
                  </a:lnTo>
                  <a:lnTo>
                    <a:pt x="1567" y="352"/>
                  </a:lnTo>
                  <a:lnTo>
                    <a:pt x="1565" y="350"/>
                  </a:lnTo>
                  <a:lnTo>
                    <a:pt x="1563" y="345"/>
                  </a:lnTo>
                  <a:lnTo>
                    <a:pt x="1560" y="341"/>
                  </a:lnTo>
                  <a:lnTo>
                    <a:pt x="1556" y="333"/>
                  </a:lnTo>
                  <a:lnTo>
                    <a:pt x="1555" y="329"/>
                  </a:lnTo>
                  <a:lnTo>
                    <a:pt x="1555" y="315"/>
                  </a:lnTo>
                  <a:lnTo>
                    <a:pt x="1547" y="308"/>
                  </a:lnTo>
                  <a:lnTo>
                    <a:pt x="1540" y="302"/>
                  </a:lnTo>
                  <a:lnTo>
                    <a:pt x="1540" y="287"/>
                  </a:lnTo>
                  <a:lnTo>
                    <a:pt x="1534" y="279"/>
                  </a:lnTo>
                  <a:lnTo>
                    <a:pt x="1528" y="270"/>
                  </a:lnTo>
                  <a:lnTo>
                    <a:pt x="1524" y="260"/>
                  </a:lnTo>
                  <a:lnTo>
                    <a:pt x="1520" y="249"/>
                  </a:lnTo>
                  <a:lnTo>
                    <a:pt x="1517" y="237"/>
                  </a:lnTo>
                  <a:lnTo>
                    <a:pt x="1515" y="225"/>
                  </a:lnTo>
                  <a:lnTo>
                    <a:pt x="1514" y="211"/>
                  </a:lnTo>
                  <a:lnTo>
                    <a:pt x="1512" y="198"/>
                  </a:lnTo>
                  <a:lnTo>
                    <a:pt x="1511" y="170"/>
                  </a:lnTo>
                  <a:lnTo>
                    <a:pt x="1511" y="143"/>
                  </a:lnTo>
                  <a:lnTo>
                    <a:pt x="1512" y="117"/>
                  </a:lnTo>
                  <a:lnTo>
                    <a:pt x="1512" y="94"/>
                  </a:lnTo>
                  <a:lnTo>
                    <a:pt x="1485" y="94"/>
                  </a:lnTo>
                  <a:lnTo>
                    <a:pt x="1470" y="104"/>
                  </a:lnTo>
                  <a:lnTo>
                    <a:pt x="1466" y="113"/>
                  </a:lnTo>
                  <a:lnTo>
                    <a:pt x="1461" y="119"/>
                  </a:lnTo>
                  <a:lnTo>
                    <a:pt x="1451" y="119"/>
                  </a:lnTo>
                  <a:lnTo>
                    <a:pt x="1451" y="121"/>
                  </a:lnTo>
                  <a:lnTo>
                    <a:pt x="1450" y="123"/>
                  </a:lnTo>
                  <a:lnTo>
                    <a:pt x="1448" y="125"/>
                  </a:lnTo>
                  <a:lnTo>
                    <a:pt x="1445" y="126"/>
                  </a:lnTo>
                  <a:lnTo>
                    <a:pt x="1441" y="127"/>
                  </a:lnTo>
                  <a:lnTo>
                    <a:pt x="1438" y="127"/>
                  </a:lnTo>
                  <a:lnTo>
                    <a:pt x="1437" y="130"/>
                  </a:lnTo>
                  <a:lnTo>
                    <a:pt x="1435" y="131"/>
                  </a:lnTo>
                  <a:lnTo>
                    <a:pt x="1432" y="132"/>
                  </a:lnTo>
                  <a:lnTo>
                    <a:pt x="1430" y="134"/>
                  </a:lnTo>
                  <a:lnTo>
                    <a:pt x="1423" y="136"/>
                  </a:lnTo>
                  <a:lnTo>
                    <a:pt x="1419" y="136"/>
                  </a:lnTo>
                  <a:lnTo>
                    <a:pt x="1418" y="139"/>
                  </a:lnTo>
                  <a:lnTo>
                    <a:pt x="1415" y="140"/>
                  </a:lnTo>
                  <a:lnTo>
                    <a:pt x="1412" y="141"/>
                  </a:lnTo>
                  <a:lnTo>
                    <a:pt x="1408" y="141"/>
                  </a:lnTo>
                  <a:lnTo>
                    <a:pt x="1396" y="141"/>
                  </a:lnTo>
                  <a:lnTo>
                    <a:pt x="1381" y="141"/>
                  </a:lnTo>
                  <a:lnTo>
                    <a:pt x="1341" y="136"/>
                  </a:lnTo>
                  <a:lnTo>
                    <a:pt x="1294" y="130"/>
                  </a:lnTo>
                  <a:lnTo>
                    <a:pt x="1246" y="123"/>
                  </a:lnTo>
                  <a:lnTo>
                    <a:pt x="1200" y="115"/>
                  </a:lnTo>
                  <a:lnTo>
                    <a:pt x="1164" y="111"/>
                  </a:lnTo>
                  <a:lnTo>
                    <a:pt x="1141" y="108"/>
                  </a:lnTo>
                  <a:lnTo>
                    <a:pt x="1114" y="107"/>
                  </a:lnTo>
                  <a:lnTo>
                    <a:pt x="1086" y="104"/>
                  </a:lnTo>
                  <a:lnTo>
                    <a:pt x="1057" y="98"/>
                  </a:lnTo>
                  <a:lnTo>
                    <a:pt x="1027" y="92"/>
                  </a:lnTo>
                  <a:lnTo>
                    <a:pt x="996" y="86"/>
                  </a:lnTo>
                  <a:lnTo>
                    <a:pt x="964" y="81"/>
                  </a:lnTo>
                  <a:lnTo>
                    <a:pt x="949" y="78"/>
                  </a:lnTo>
                  <a:lnTo>
                    <a:pt x="933" y="77"/>
                  </a:lnTo>
                  <a:lnTo>
                    <a:pt x="917" y="76"/>
                  </a:lnTo>
                  <a:lnTo>
                    <a:pt x="902" y="76"/>
                  </a:lnTo>
                  <a:lnTo>
                    <a:pt x="901" y="74"/>
                  </a:lnTo>
                  <a:lnTo>
                    <a:pt x="900" y="73"/>
                  </a:lnTo>
                  <a:lnTo>
                    <a:pt x="898" y="73"/>
                  </a:lnTo>
                  <a:lnTo>
                    <a:pt x="896" y="72"/>
                  </a:lnTo>
                  <a:lnTo>
                    <a:pt x="892" y="72"/>
                  </a:lnTo>
                  <a:lnTo>
                    <a:pt x="887" y="71"/>
                  </a:lnTo>
                  <a:lnTo>
                    <a:pt x="883" y="66"/>
                  </a:lnTo>
                  <a:lnTo>
                    <a:pt x="878" y="57"/>
                  </a:lnTo>
                  <a:lnTo>
                    <a:pt x="871" y="55"/>
                  </a:lnTo>
                  <a:lnTo>
                    <a:pt x="864" y="53"/>
                  </a:lnTo>
                  <a:lnTo>
                    <a:pt x="862" y="47"/>
                  </a:lnTo>
                  <a:lnTo>
                    <a:pt x="859" y="43"/>
                  </a:lnTo>
                  <a:lnTo>
                    <a:pt x="849" y="40"/>
                  </a:lnTo>
                  <a:lnTo>
                    <a:pt x="840" y="38"/>
                  </a:lnTo>
                  <a:lnTo>
                    <a:pt x="840" y="37"/>
                  </a:lnTo>
                  <a:lnTo>
                    <a:pt x="839" y="36"/>
                  </a:lnTo>
                  <a:lnTo>
                    <a:pt x="837" y="35"/>
                  </a:lnTo>
                  <a:lnTo>
                    <a:pt x="835" y="34"/>
                  </a:lnTo>
                  <a:lnTo>
                    <a:pt x="830" y="34"/>
                  </a:lnTo>
                  <a:lnTo>
                    <a:pt x="826" y="34"/>
                  </a:lnTo>
                  <a:lnTo>
                    <a:pt x="610" y="0"/>
                  </a:lnTo>
                  <a:lnTo>
                    <a:pt x="600" y="12"/>
                  </a:lnTo>
                  <a:lnTo>
                    <a:pt x="591" y="29"/>
                  </a:lnTo>
                  <a:lnTo>
                    <a:pt x="583" y="34"/>
                  </a:lnTo>
                  <a:lnTo>
                    <a:pt x="580" y="44"/>
                  </a:lnTo>
                  <a:lnTo>
                    <a:pt x="577" y="57"/>
                  </a:lnTo>
                  <a:lnTo>
                    <a:pt x="574" y="71"/>
                  </a:lnTo>
                  <a:lnTo>
                    <a:pt x="573" y="81"/>
                  </a:lnTo>
                  <a:lnTo>
                    <a:pt x="564" y="81"/>
                  </a:lnTo>
                  <a:lnTo>
                    <a:pt x="562" y="83"/>
                  </a:lnTo>
                  <a:lnTo>
                    <a:pt x="561" y="85"/>
                  </a:lnTo>
                  <a:lnTo>
                    <a:pt x="559" y="87"/>
                  </a:lnTo>
                  <a:lnTo>
                    <a:pt x="557" y="88"/>
                  </a:lnTo>
                  <a:lnTo>
                    <a:pt x="549" y="91"/>
                  </a:lnTo>
                  <a:lnTo>
                    <a:pt x="541" y="93"/>
                  </a:lnTo>
                  <a:lnTo>
                    <a:pt x="523" y="94"/>
                  </a:lnTo>
                  <a:lnTo>
                    <a:pt x="511" y="94"/>
                  </a:lnTo>
                  <a:lnTo>
                    <a:pt x="502" y="85"/>
                  </a:lnTo>
                  <a:lnTo>
                    <a:pt x="493" y="85"/>
                  </a:lnTo>
                  <a:lnTo>
                    <a:pt x="488" y="76"/>
                  </a:lnTo>
                  <a:lnTo>
                    <a:pt x="475" y="74"/>
                  </a:lnTo>
                  <a:lnTo>
                    <a:pt x="461" y="71"/>
                  </a:lnTo>
                  <a:lnTo>
                    <a:pt x="453" y="71"/>
                  </a:lnTo>
                  <a:lnTo>
                    <a:pt x="446" y="72"/>
                  </a:lnTo>
                  <a:lnTo>
                    <a:pt x="443" y="73"/>
                  </a:lnTo>
                  <a:lnTo>
                    <a:pt x="441" y="75"/>
                  </a:lnTo>
                  <a:lnTo>
                    <a:pt x="439" y="77"/>
                  </a:lnTo>
                  <a:lnTo>
                    <a:pt x="436" y="81"/>
                  </a:lnTo>
                  <a:lnTo>
                    <a:pt x="422" y="81"/>
                  </a:lnTo>
                  <a:lnTo>
                    <a:pt x="422" y="82"/>
                  </a:lnTo>
                  <a:lnTo>
                    <a:pt x="421" y="83"/>
                  </a:lnTo>
                  <a:lnTo>
                    <a:pt x="420" y="84"/>
                  </a:lnTo>
                  <a:lnTo>
                    <a:pt x="417" y="85"/>
                  </a:lnTo>
                  <a:lnTo>
                    <a:pt x="413" y="85"/>
                  </a:lnTo>
                  <a:lnTo>
                    <a:pt x="408" y="85"/>
                  </a:lnTo>
                  <a:lnTo>
                    <a:pt x="407" y="86"/>
                  </a:lnTo>
                  <a:lnTo>
                    <a:pt x="404" y="88"/>
                  </a:lnTo>
                  <a:lnTo>
                    <a:pt x="399" y="88"/>
                  </a:lnTo>
                  <a:lnTo>
                    <a:pt x="394" y="90"/>
                  </a:lnTo>
                  <a:lnTo>
                    <a:pt x="383" y="90"/>
                  </a:lnTo>
                  <a:lnTo>
                    <a:pt x="375" y="90"/>
                  </a:lnTo>
                  <a:lnTo>
                    <a:pt x="374" y="88"/>
                  </a:lnTo>
                  <a:lnTo>
                    <a:pt x="369" y="87"/>
                  </a:lnTo>
                  <a:lnTo>
                    <a:pt x="364" y="86"/>
                  </a:lnTo>
                  <a:lnTo>
                    <a:pt x="356" y="86"/>
                  </a:lnTo>
                  <a:lnTo>
                    <a:pt x="341" y="85"/>
                  </a:lnTo>
                  <a:lnTo>
                    <a:pt x="334" y="85"/>
                  </a:lnTo>
                  <a:lnTo>
                    <a:pt x="334" y="7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1" name="Freeform 37"/>
            <p:cNvSpPr>
              <a:spLocks noChangeAspect="1"/>
            </p:cNvSpPr>
            <p:nvPr/>
          </p:nvSpPr>
          <p:spPr bwMode="gray">
            <a:xfrm rot="355651">
              <a:off x="6232525" y="3170238"/>
              <a:ext cx="304692" cy="254441"/>
            </a:xfrm>
            <a:custGeom>
              <a:avLst/>
              <a:gdLst/>
              <a:ahLst/>
              <a:cxnLst>
                <a:cxn ang="0">
                  <a:pos x="809" y="159"/>
                </a:cxn>
                <a:cxn ang="0">
                  <a:pos x="708" y="191"/>
                </a:cxn>
                <a:cxn ang="0">
                  <a:pos x="606" y="265"/>
                </a:cxn>
                <a:cxn ang="0">
                  <a:pos x="564" y="389"/>
                </a:cxn>
                <a:cxn ang="0">
                  <a:pos x="658" y="462"/>
                </a:cxn>
                <a:cxn ang="0">
                  <a:pos x="714" y="488"/>
                </a:cxn>
                <a:cxn ang="0">
                  <a:pos x="676" y="549"/>
                </a:cxn>
                <a:cxn ang="0">
                  <a:pos x="621" y="533"/>
                </a:cxn>
                <a:cxn ang="0">
                  <a:pos x="547" y="537"/>
                </a:cxn>
                <a:cxn ang="0">
                  <a:pos x="451" y="587"/>
                </a:cxn>
                <a:cxn ang="0">
                  <a:pos x="322" y="549"/>
                </a:cxn>
                <a:cxn ang="0">
                  <a:pos x="305" y="598"/>
                </a:cxn>
                <a:cxn ang="0">
                  <a:pos x="411" y="699"/>
                </a:cxn>
                <a:cxn ang="0">
                  <a:pos x="383" y="781"/>
                </a:cxn>
                <a:cxn ang="0">
                  <a:pos x="236" y="846"/>
                </a:cxn>
                <a:cxn ang="0">
                  <a:pos x="182" y="883"/>
                </a:cxn>
                <a:cxn ang="0">
                  <a:pos x="216" y="1086"/>
                </a:cxn>
                <a:cxn ang="0">
                  <a:pos x="150" y="1180"/>
                </a:cxn>
                <a:cxn ang="0">
                  <a:pos x="0" y="1209"/>
                </a:cxn>
                <a:cxn ang="0">
                  <a:pos x="17" y="1262"/>
                </a:cxn>
                <a:cxn ang="0">
                  <a:pos x="45" y="1309"/>
                </a:cxn>
                <a:cxn ang="0">
                  <a:pos x="65" y="1352"/>
                </a:cxn>
                <a:cxn ang="0">
                  <a:pos x="89" y="1414"/>
                </a:cxn>
                <a:cxn ang="0">
                  <a:pos x="117" y="1420"/>
                </a:cxn>
                <a:cxn ang="0">
                  <a:pos x="203" y="1398"/>
                </a:cxn>
                <a:cxn ang="0">
                  <a:pos x="354" y="1425"/>
                </a:cxn>
                <a:cxn ang="0">
                  <a:pos x="382" y="1434"/>
                </a:cxn>
                <a:cxn ang="0">
                  <a:pos x="454" y="1462"/>
                </a:cxn>
                <a:cxn ang="0">
                  <a:pos x="554" y="1491"/>
                </a:cxn>
                <a:cxn ang="0">
                  <a:pos x="609" y="1514"/>
                </a:cxn>
                <a:cxn ang="0">
                  <a:pos x="670" y="1539"/>
                </a:cxn>
                <a:cxn ang="0">
                  <a:pos x="754" y="1564"/>
                </a:cxn>
                <a:cxn ang="0">
                  <a:pos x="803" y="1575"/>
                </a:cxn>
                <a:cxn ang="0">
                  <a:pos x="928" y="1558"/>
                </a:cxn>
                <a:cxn ang="0">
                  <a:pos x="971" y="1515"/>
                </a:cxn>
                <a:cxn ang="0">
                  <a:pos x="965" y="1464"/>
                </a:cxn>
                <a:cxn ang="0">
                  <a:pos x="894" y="1111"/>
                </a:cxn>
                <a:cxn ang="0">
                  <a:pos x="767" y="1021"/>
                </a:cxn>
                <a:cxn ang="0">
                  <a:pos x="676" y="1031"/>
                </a:cxn>
                <a:cxn ang="0">
                  <a:pos x="666" y="944"/>
                </a:cxn>
                <a:cxn ang="0">
                  <a:pos x="757" y="832"/>
                </a:cxn>
                <a:cxn ang="0">
                  <a:pos x="943" y="694"/>
                </a:cxn>
                <a:cxn ang="0">
                  <a:pos x="994" y="625"/>
                </a:cxn>
                <a:cxn ang="0">
                  <a:pos x="1049" y="743"/>
                </a:cxn>
                <a:cxn ang="0">
                  <a:pos x="1203" y="726"/>
                </a:cxn>
                <a:cxn ang="0">
                  <a:pos x="1293" y="813"/>
                </a:cxn>
                <a:cxn ang="0">
                  <a:pos x="1379" y="982"/>
                </a:cxn>
                <a:cxn ang="0">
                  <a:pos x="1358" y="1112"/>
                </a:cxn>
                <a:cxn ang="0">
                  <a:pos x="1295" y="1178"/>
                </a:cxn>
                <a:cxn ang="0">
                  <a:pos x="1240" y="1067"/>
                </a:cxn>
                <a:cxn ang="0">
                  <a:pos x="1183" y="1088"/>
                </a:cxn>
                <a:cxn ang="0">
                  <a:pos x="1092" y="1308"/>
                </a:cxn>
                <a:cxn ang="0">
                  <a:pos x="1145" y="1345"/>
                </a:cxn>
                <a:cxn ang="0">
                  <a:pos x="1341" y="1319"/>
                </a:cxn>
                <a:cxn ang="0">
                  <a:pos x="1540" y="1187"/>
                </a:cxn>
                <a:cxn ang="0">
                  <a:pos x="1672" y="1075"/>
                </a:cxn>
                <a:cxn ang="0">
                  <a:pos x="1641" y="1006"/>
                </a:cxn>
                <a:cxn ang="0">
                  <a:pos x="1616" y="913"/>
                </a:cxn>
                <a:cxn ang="0">
                  <a:pos x="1608" y="743"/>
                </a:cxn>
                <a:cxn ang="0">
                  <a:pos x="1453" y="576"/>
                </a:cxn>
                <a:cxn ang="0">
                  <a:pos x="1273" y="302"/>
                </a:cxn>
                <a:cxn ang="0">
                  <a:pos x="1021" y="41"/>
                </a:cxn>
              </a:cxnLst>
              <a:rect l="0" t="0" r="r" b="b"/>
              <a:pathLst>
                <a:path w="1675" h="1575">
                  <a:moveTo>
                    <a:pt x="923" y="0"/>
                  </a:moveTo>
                  <a:lnTo>
                    <a:pt x="914" y="12"/>
                  </a:lnTo>
                  <a:lnTo>
                    <a:pt x="905" y="27"/>
                  </a:lnTo>
                  <a:lnTo>
                    <a:pt x="896" y="41"/>
                  </a:lnTo>
                  <a:lnTo>
                    <a:pt x="887" y="57"/>
                  </a:lnTo>
                  <a:lnTo>
                    <a:pt x="868" y="88"/>
                  </a:lnTo>
                  <a:lnTo>
                    <a:pt x="847" y="120"/>
                  </a:lnTo>
                  <a:lnTo>
                    <a:pt x="835" y="133"/>
                  </a:lnTo>
                  <a:lnTo>
                    <a:pt x="823" y="146"/>
                  </a:lnTo>
                  <a:lnTo>
                    <a:pt x="809" y="159"/>
                  </a:lnTo>
                  <a:lnTo>
                    <a:pt x="794" y="169"/>
                  </a:lnTo>
                  <a:lnTo>
                    <a:pt x="786" y="174"/>
                  </a:lnTo>
                  <a:lnTo>
                    <a:pt x="777" y="178"/>
                  </a:lnTo>
                  <a:lnTo>
                    <a:pt x="770" y="181"/>
                  </a:lnTo>
                  <a:lnTo>
                    <a:pt x="760" y="184"/>
                  </a:lnTo>
                  <a:lnTo>
                    <a:pt x="751" y="187"/>
                  </a:lnTo>
                  <a:lnTo>
                    <a:pt x="741" y="189"/>
                  </a:lnTo>
                  <a:lnTo>
                    <a:pt x="729" y="190"/>
                  </a:lnTo>
                  <a:lnTo>
                    <a:pt x="718" y="190"/>
                  </a:lnTo>
                  <a:lnTo>
                    <a:pt x="708" y="191"/>
                  </a:lnTo>
                  <a:lnTo>
                    <a:pt x="697" y="193"/>
                  </a:lnTo>
                  <a:lnTo>
                    <a:pt x="686" y="197"/>
                  </a:lnTo>
                  <a:lnTo>
                    <a:pt x="675" y="201"/>
                  </a:lnTo>
                  <a:lnTo>
                    <a:pt x="664" y="208"/>
                  </a:lnTo>
                  <a:lnTo>
                    <a:pt x="654" y="214"/>
                  </a:lnTo>
                  <a:lnTo>
                    <a:pt x="642" y="223"/>
                  </a:lnTo>
                  <a:lnTo>
                    <a:pt x="632" y="232"/>
                  </a:lnTo>
                  <a:lnTo>
                    <a:pt x="623" y="242"/>
                  </a:lnTo>
                  <a:lnTo>
                    <a:pt x="614" y="254"/>
                  </a:lnTo>
                  <a:lnTo>
                    <a:pt x="606" y="265"/>
                  </a:lnTo>
                  <a:lnTo>
                    <a:pt x="598" y="276"/>
                  </a:lnTo>
                  <a:lnTo>
                    <a:pt x="590" y="288"/>
                  </a:lnTo>
                  <a:lnTo>
                    <a:pt x="583" y="302"/>
                  </a:lnTo>
                  <a:lnTo>
                    <a:pt x="578" y="314"/>
                  </a:lnTo>
                  <a:lnTo>
                    <a:pt x="573" y="326"/>
                  </a:lnTo>
                  <a:lnTo>
                    <a:pt x="569" y="339"/>
                  </a:lnTo>
                  <a:lnTo>
                    <a:pt x="566" y="352"/>
                  </a:lnTo>
                  <a:lnTo>
                    <a:pt x="564" y="364"/>
                  </a:lnTo>
                  <a:lnTo>
                    <a:pt x="564" y="376"/>
                  </a:lnTo>
                  <a:lnTo>
                    <a:pt x="564" y="389"/>
                  </a:lnTo>
                  <a:lnTo>
                    <a:pt x="566" y="400"/>
                  </a:lnTo>
                  <a:lnTo>
                    <a:pt x="571" y="411"/>
                  </a:lnTo>
                  <a:lnTo>
                    <a:pt x="575" y="421"/>
                  </a:lnTo>
                  <a:lnTo>
                    <a:pt x="582" y="430"/>
                  </a:lnTo>
                  <a:lnTo>
                    <a:pt x="590" y="438"/>
                  </a:lnTo>
                  <a:lnTo>
                    <a:pt x="600" y="446"/>
                  </a:lnTo>
                  <a:lnTo>
                    <a:pt x="611" y="451"/>
                  </a:lnTo>
                  <a:lnTo>
                    <a:pt x="624" y="457"/>
                  </a:lnTo>
                  <a:lnTo>
                    <a:pt x="640" y="460"/>
                  </a:lnTo>
                  <a:lnTo>
                    <a:pt x="658" y="462"/>
                  </a:lnTo>
                  <a:lnTo>
                    <a:pt x="677" y="463"/>
                  </a:lnTo>
                  <a:lnTo>
                    <a:pt x="685" y="463"/>
                  </a:lnTo>
                  <a:lnTo>
                    <a:pt x="690" y="464"/>
                  </a:lnTo>
                  <a:lnTo>
                    <a:pt x="697" y="467"/>
                  </a:lnTo>
                  <a:lnTo>
                    <a:pt x="702" y="469"/>
                  </a:lnTo>
                  <a:lnTo>
                    <a:pt x="705" y="472"/>
                  </a:lnTo>
                  <a:lnTo>
                    <a:pt x="708" y="476"/>
                  </a:lnTo>
                  <a:lnTo>
                    <a:pt x="710" y="479"/>
                  </a:lnTo>
                  <a:lnTo>
                    <a:pt x="713" y="483"/>
                  </a:lnTo>
                  <a:lnTo>
                    <a:pt x="714" y="488"/>
                  </a:lnTo>
                  <a:lnTo>
                    <a:pt x="715" y="492"/>
                  </a:lnTo>
                  <a:lnTo>
                    <a:pt x="714" y="498"/>
                  </a:lnTo>
                  <a:lnTo>
                    <a:pt x="714" y="502"/>
                  </a:lnTo>
                  <a:lnTo>
                    <a:pt x="710" y="512"/>
                  </a:lnTo>
                  <a:lnTo>
                    <a:pt x="706" y="523"/>
                  </a:lnTo>
                  <a:lnTo>
                    <a:pt x="699" y="533"/>
                  </a:lnTo>
                  <a:lnTo>
                    <a:pt x="690" y="540"/>
                  </a:lnTo>
                  <a:lnTo>
                    <a:pt x="686" y="544"/>
                  </a:lnTo>
                  <a:lnTo>
                    <a:pt x="681" y="547"/>
                  </a:lnTo>
                  <a:lnTo>
                    <a:pt x="676" y="549"/>
                  </a:lnTo>
                  <a:lnTo>
                    <a:pt x="671" y="552"/>
                  </a:lnTo>
                  <a:lnTo>
                    <a:pt x="666" y="553"/>
                  </a:lnTo>
                  <a:lnTo>
                    <a:pt x="660" y="553"/>
                  </a:lnTo>
                  <a:lnTo>
                    <a:pt x="655" y="553"/>
                  </a:lnTo>
                  <a:lnTo>
                    <a:pt x="649" y="552"/>
                  </a:lnTo>
                  <a:lnTo>
                    <a:pt x="643" y="549"/>
                  </a:lnTo>
                  <a:lnTo>
                    <a:pt x="638" y="546"/>
                  </a:lnTo>
                  <a:lnTo>
                    <a:pt x="632" y="543"/>
                  </a:lnTo>
                  <a:lnTo>
                    <a:pt x="626" y="537"/>
                  </a:lnTo>
                  <a:lnTo>
                    <a:pt x="621" y="533"/>
                  </a:lnTo>
                  <a:lnTo>
                    <a:pt x="616" y="529"/>
                  </a:lnTo>
                  <a:lnTo>
                    <a:pt x="610" y="526"/>
                  </a:lnTo>
                  <a:lnTo>
                    <a:pt x="604" y="524"/>
                  </a:lnTo>
                  <a:lnTo>
                    <a:pt x="599" y="523"/>
                  </a:lnTo>
                  <a:lnTo>
                    <a:pt x="593" y="521"/>
                  </a:lnTo>
                  <a:lnTo>
                    <a:pt x="588" y="521"/>
                  </a:lnTo>
                  <a:lnTo>
                    <a:pt x="581" y="523"/>
                  </a:lnTo>
                  <a:lnTo>
                    <a:pt x="570" y="526"/>
                  </a:lnTo>
                  <a:lnTo>
                    <a:pt x="559" y="530"/>
                  </a:lnTo>
                  <a:lnTo>
                    <a:pt x="547" y="537"/>
                  </a:lnTo>
                  <a:lnTo>
                    <a:pt x="536" y="545"/>
                  </a:lnTo>
                  <a:lnTo>
                    <a:pt x="516" y="560"/>
                  </a:lnTo>
                  <a:lnTo>
                    <a:pt x="499" y="576"/>
                  </a:lnTo>
                  <a:lnTo>
                    <a:pt x="492" y="583"/>
                  </a:lnTo>
                  <a:lnTo>
                    <a:pt x="486" y="588"/>
                  </a:lnTo>
                  <a:lnTo>
                    <a:pt x="482" y="592"/>
                  </a:lnTo>
                  <a:lnTo>
                    <a:pt x="478" y="593"/>
                  </a:lnTo>
                  <a:lnTo>
                    <a:pt x="470" y="592"/>
                  </a:lnTo>
                  <a:lnTo>
                    <a:pt x="461" y="589"/>
                  </a:lnTo>
                  <a:lnTo>
                    <a:pt x="451" y="587"/>
                  </a:lnTo>
                  <a:lnTo>
                    <a:pt x="440" y="583"/>
                  </a:lnTo>
                  <a:lnTo>
                    <a:pt x="417" y="573"/>
                  </a:lnTo>
                  <a:lnTo>
                    <a:pt x="392" y="563"/>
                  </a:lnTo>
                  <a:lnTo>
                    <a:pt x="380" y="557"/>
                  </a:lnTo>
                  <a:lnTo>
                    <a:pt x="368" y="554"/>
                  </a:lnTo>
                  <a:lnTo>
                    <a:pt x="357" y="550"/>
                  </a:lnTo>
                  <a:lnTo>
                    <a:pt x="345" y="548"/>
                  </a:lnTo>
                  <a:lnTo>
                    <a:pt x="335" y="547"/>
                  </a:lnTo>
                  <a:lnTo>
                    <a:pt x="326" y="548"/>
                  </a:lnTo>
                  <a:lnTo>
                    <a:pt x="322" y="549"/>
                  </a:lnTo>
                  <a:lnTo>
                    <a:pt x="317" y="550"/>
                  </a:lnTo>
                  <a:lnTo>
                    <a:pt x="314" y="553"/>
                  </a:lnTo>
                  <a:lnTo>
                    <a:pt x="311" y="556"/>
                  </a:lnTo>
                  <a:lnTo>
                    <a:pt x="305" y="562"/>
                  </a:lnTo>
                  <a:lnTo>
                    <a:pt x="302" y="568"/>
                  </a:lnTo>
                  <a:lnTo>
                    <a:pt x="301" y="574"/>
                  </a:lnTo>
                  <a:lnTo>
                    <a:pt x="300" y="581"/>
                  </a:lnTo>
                  <a:lnTo>
                    <a:pt x="301" y="586"/>
                  </a:lnTo>
                  <a:lnTo>
                    <a:pt x="303" y="592"/>
                  </a:lnTo>
                  <a:lnTo>
                    <a:pt x="305" y="598"/>
                  </a:lnTo>
                  <a:lnTo>
                    <a:pt x="310" y="604"/>
                  </a:lnTo>
                  <a:lnTo>
                    <a:pt x="321" y="616"/>
                  </a:lnTo>
                  <a:lnTo>
                    <a:pt x="334" y="629"/>
                  </a:lnTo>
                  <a:lnTo>
                    <a:pt x="349" y="641"/>
                  </a:lnTo>
                  <a:lnTo>
                    <a:pt x="364" y="653"/>
                  </a:lnTo>
                  <a:lnTo>
                    <a:pt x="380" y="665"/>
                  </a:lnTo>
                  <a:lnTo>
                    <a:pt x="393" y="679"/>
                  </a:lnTo>
                  <a:lnTo>
                    <a:pt x="400" y="685"/>
                  </a:lnTo>
                  <a:lnTo>
                    <a:pt x="406" y="692"/>
                  </a:lnTo>
                  <a:lnTo>
                    <a:pt x="411" y="699"/>
                  </a:lnTo>
                  <a:lnTo>
                    <a:pt x="416" y="706"/>
                  </a:lnTo>
                  <a:lnTo>
                    <a:pt x="418" y="712"/>
                  </a:lnTo>
                  <a:lnTo>
                    <a:pt x="420" y="720"/>
                  </a:lnTo>
                  <a:lnTo>
                    <a:pt x="421" y="727"/>
                  </a:lnTo>
                  <a:lnTo>
                    <a:pt x="421" y="735"/>
                  </a:lnTo>
                  <a:lnTo>
                    <a:pt x="419" y="741"/>
                  </a:lnTo>
                  <a:lnTo>
                    <a:pt x="416" y="749"/>
                  </a:lnTo>
                  <a:lnTo>
                    <a:pt x="410" y="757"/>
                  </a:lnTo>
                  <a:lnTo>
                    <a:pt x="403" y="765"/>
                  </a:lnTo>
                  <a:lnTo>
                    <a:pt x="383" y="781"/>
                  </a:lnTo>
                  <a:lnTo>
                    <a:pt x="351" y="806"/>
                  </a:lnTo>
                  <a:lnTo>
                    <a:pt x="333" y="819"/>
                  </a:lnTo>
                  <a:lnTo>
                    <a:pt x="315" y="831"/>
                  </a:lnTo>
                  <a:lnTo>
                    <a:pt x="300" y="841"/>
                  </a:lnTo>
                  <a:lnTo>
                    <a:pt x="287" y="847"/>
                  </a:lnTo>
                  <a:lnTo>
                    <a:pt x="280" y="851"/>
                  </a:lnTo>
                  <a:lnTo>
                    <a:pt x="271" y="852"/>
                  </a:lnTo>
                  <a:lnTo>
                    <a:pt x="263" y="852"/>
                  </a:lnTo>
                  <a:lnTo>
                    <a:pt x="254" y="850"/>
                  </a:lnTo>
                  <a:lnTo>
                    <a:pt x="236" y="846"/>
                  </a:lnTo>
                  <a:lnTo>
                    <a:pt x="219" y="842"/>
                  </a:lnTo>
                  <a:lnTo>
                    <a:pt x="211" y="839"/>
                  </a:lnTo>
                  <a:lnTo>
                    <a:pt x="204" y="838"/>
                  </a:lnTo>
                  <a:lnTo>
                    <a:pt x="197" y="839"/>
                  </a:lnTo>
                  <a:lnTo>
                    <a:pt x="192" y="841"/>
                  </a:lnTo>
                  <a:lnTo>
                    <a:pt x="187" y="844"/>
                  </a:lnTo>
                  <a:lnTo>
                    <a:pt x="184" y="850"/>
                  </a:lnTo>
                  <a:lnTo>
                    <a:pt x="182" y="856"/>
                  </a:lnTo>
                  <a:lnTo>
                    <a:pt x="181" y="866"/>
                  </a:lnTo>
                  <a:lnTo>
                    <a:pt x="182" y="883"/>
                  </a:lnTo>
                  <a:lnTo>
                    <a:pt x="184" y="901"/>
                  </a:lnTo>
                  <a:lnTo>
                    <a:pt x="187" y="919"/>
                  </a:lnTo>
                  <a:lnTo>
                    <a:pt x="191" y="937"/>
                  </a:lnTo>
                  <a:lnTo>
                    <a:pt x="200" y="973"/>
                  </a:lnTo>
                  <a:lnTo>
                    <a:pt x="209" y="1010"/>
                  </a:lnTo>
                  <a:lnTo>
                    <a:pt x="213" y="1028"/>
                  </a:lnTo>
                  <a:lnTo>
                    <a:pt x="215" y="1046"/>
                  </a:lnTo>
                  <a:lnTo>
                    <a:pt x="216" y="1063"/>
                  </a:lnTo>
                  <a:lnTo>
                    <a:pt x="216" y="1078"/>
                  </a:lnTo>
                  <a:lnTo>
                    <a:pt x="216" y="1086"/>
                  </a:lnTo>
                  <a:lnTo>
                    <a:pt x="215" y="1093"/>
                  </a:lnTo>
                  <a:lnTo>
                    <a:pt x="213" y="1100"/>
                  </a:lnTo>
                  <a:lnTo>
                    <a:pt x="210" y="1107"/>
                  </a:lnTo>
                  <a:lnTo>
                    <a:pt x="207" y="1113"/>
                  </a:lnTo>
                  <a:lnTo>
                    <a:pt x="204" y="1120"/>
                  </a:lnTo>
                  <a:lnTo>
                    <a:pt x="200" y="1125"/>
                  </a:lnTo>
                  <a:lnTo>
                    <a:pt x="195" y="1131"/>
                  </a:lnTo>
                  <a:lnTo>
                    <a:pt x="173" y="1154"/>
                  </a:lnTo>
                  <a:lnTo>
                    <a:pt x="157" y="1172"/>
                  </a:lnTo>
                  <a:lnTo>
                    <a:pt x="150" y="1180"/>
                  </a:lnTo>
                  <a:lnTo>
                    <a:pt x="143" y="1185"/>
                  </a:lnTo>
                  <a:lnTo>
                    <a:pt x="137" y="1191"/>
                  </a:lnTo>
                  <a:lnTo>
                    <a:pt x="130" y="1195"/>
                  </a:lnTo>
                  <a:lnTo>
                    <a:pt x="121" y="1200"/>
                  </a:lnTo>
                  <a:lnTo>
                    <a:pt x="112" y="1202"/>
                  </a:lnTo>
                  <a:lnTo>
                    <a:pt x="101" y="1206"/>
                  </a:lnTo>
                  <a:lnTo>
                    <a:pt x="88" y="1207"/>
                  </a:lnTo>
                  <a:lnTo>
                    <a:pt x="53" y="1209"/>
                  </a:lnTo>
                  <a:lnTo>
                    <a:pt x="5" y="1209"/>
                  </a:lnTo>
                  <a:lnTo>
                    <a:pt x="0" y="1209"/>
                  </a:lnTo>
                  <a:lnTo>
                    <a:pt x="2" y="1220"/>
                  </a:lnTo>
                  <a:lnTo>
                    <a:pt x="3" y="1231"/>
                  </a:lnTo>
                  <a:lnTo>
                    <a:pt x="5" y="1236"/>
                  </a:lnTo>
                  <a:lnTo>
                    <a:pt x="6" y="1239"/>
                  </a:lnTo>
                  <a:lnTo>
                    <a:pt x="8" y="1241"/>
                  </a:lnTo>
                  <a:lnTo>
                    <a:pt x="12" y="1242"/>
                  </a:lnTo>
                  <a:lnTo>
                    <a:pt x="12" y="1259"/>
                  </a:lnTo>
                  <a:lnTo>
                    <a:pt x="14" y="1259"/>
                  </a:lnTo>
                  <a:lnTo>
                    <a:pt x="16" y="1260"/>
                  </a:lnTo>
                  <a:lnTo>
                    <a:pt x="17" y="1262"/>
                  </a:lnTo>
                  <a:lnTo>
                    <a:pt x="19" y="1266"/>
                  </a:lnTo>
                  <a:lnTo>
                    <a:pt x="24" y="1273"/>
                  </a:lnTo>
                  <a:lnTo>
                    <a:pt x="28" y="1280"/>
                  </a:lnTo>
                  <a:lnTo>
                    <a:pt x="32" y="1289"/>
                  </a:lnTo>
                  <a:lnTo>
                    <a:pt x="36" y="1296"/>
                  </a:lnTo>
                  <a:lnTo>
                    <a:pt x="38" y="1299"/>
                  </a:lnTo>
                  <a:lnTo>
                    <a:pt x="41" y="1302"/>
                  </a:lnTo>
                  <a:lnTo>
                    <a:pt x="43" y="1303"/>
                  </a:lnTo>
                  <a:lnTo>
                    <a:pt x="45" y="1303"/>
                  </a:lnTo>
                  <a:lnTo>
                    <a:pt x="45" y="1309"/>
                  </a:lnTo>
                  <a:lnTo>
                    <a:pt x="48" y="1319"/>
                  </a:lnTo>
                  <a:lnTo>
                    <a:pt x="50" y="1324"/>
                  </a:lnTo>
                  <a:lnTo>
                    <a:pt x="52" y="1327"/>
                  </a:lnTo>
                  <a:lnTo>
                    <a:pt x="54" y="1329"/>
                  </a:lnTo>
                  <a:lnTo>
                    <a:pt x="56" y="1331"/>
                  </a:lnTo>
                  <a:lnTo>
                    <a:pt x="56" y="1336"/>
                  </a:lnTo>
                  <a:lnTo>
                    <a:pt x="60" y="1344"/>
                  </a:lnTo>
                  <a:lnTo>
                    <a:pt x="61" y="1347"/>
                  </a:lnTo>
                  <a:lnTo>
                    <a:pt x="63" y="1351"/>
                  </a:lnTo>
                  <a:lnTo>
                    <a:pt x="65" y="1352"/>
                  </a:lnTo>
                  <a:lnTo>
                    <a:pt x="67" y="1353"/>
                  </a:lnTo>
                  <a:lnTo>
                    <a:pt x="69" y="1365"/>
                  </a:lnTo>
                  <a:lnTo>
                    <a:pt x="74" y="1382"/>
                  </a:lnTo>
                  <a:lnTo>
                    <a:pt x="77" y="1390"/>
                  </a:lnTo>
                  <a:lnTo>
                    <a:pt x="81" y="1396"/>
                  </a:lnTo>
                  <a:lnTo>
                    <a:pt x="83" y="1399"/>
                  </a:lnTo>
                  <a:lnTo>
                    <a:pt x="85" y="1401"/>
                  </a:lnTo>
                  <a:lnTo>
                    <a:pt x="86" y="1402"/>
                  </a:lnTo>
                  <a:lnTo>
                    <a:pt x="89" y="1403"/>
                  </a:lnTo>
                  <a:lnTo>
                    <a:pt x="89" y="1414"/>
                  </a:lnTo>
                  <a:lnTo>
                    <a:pt x="91" y="1414"/>
                  </a:lnTo>
                  <a:lnTo>
                    <a:pt x="94" y="1418"/>
                  </a:lnTo>
                  <a:lnTo>
                    <a:pt x="99" y="1421"/>
                  </a:lnTo>
                  <a:lnTo>
                    <a:pt x="100" y="1425"/>
                  </a:lnTo>
                  <a:lnTo>
                    <a:pt x="105" y="1424"/>
                  </a:lnTo>
                  <a:lnTo>
                    <a:pt x="111" y="1424"/>
                  </a:lnTo>
                  <a:lnTo>
                    <a:pt x="113" y="1423"/>
                  </a:lnTo>
                  <a:lnTo>
                    <a:pt x="115" y="1422"/>
                  </a:lnTo>
                  <a:lnTo>
                    <a:pt x="117" y="1421"/>
                  </a:lnTo>
                  <a:lnTo>
                    <a:pt x="117" y="1420"/>
                  </a:lnTo>
                  <a:lnTo>
                    <a:pt x="122" y="1419"/>
                  </a:lnTo>
                  <a:lnTo>
                    <a:pt x="127" y="1419"/>
                  </a:lnTo>
                  <a:lnTo>
                    <a:pt x="130" y="1418"/>
                  </a:lnTo>
                  <a:lnTo>
                    <a:pt x="131" y="1416"/>
                  </a:lnTo>
                  <a:lnTo>
                    <a:pt x="133" y="1415"/>
                  </a:lnTo>
                  <a:lnTo>
                    <a:pt x="133" y="1414"/>
                  </a:lnTo>
                  <a:lnTo>
                    <a:pt x="156" y="1414"/>
                  </a:lnTo>
                  <a:lnTo>
                    <a:pt x="169" y="1405"/>
                  </a:lnTo>
                  <a:lnTo>
                    <a:pt x="184" y="1398"/>
                  </a:lnTo>
                  <a:lnTo>
                    <a:pt x="203" y="1398"/>
                  </a:lnTo>
                  <a:lnTo>
                    <a:pt x="223" y="1400"/>
                  </a:lnTo>
                  <a:lnTo>
                    <a:pt x="244" y="1402"/>
                  </a:lnTo>
                  <a:lnTo>
                    <a:pt x="266" y="1405"/>
                  </a:lnTo>
                  <a:lnTo>
                    <a:pt x="286" y="1409"/>
                  </a:lnTo>
                  <a:lnTo>
                    <a:pt x="307" y="1411"/>
                  </a:lnTo>
                  <a:lnTo>
                    <a:pt x="326" y="1413"/>
                  </a:lnTo>
                  <a:lnTo>
                    <a:pt x="344" y="1414"/>
                  </a:lnTo>
                  <a:lnTo>
                    <a:pt x="347" y="1420"/>
                  </a:lnTo>
                  <a:lnTo>
                    <a:pt x="350" y="1425"/>
                  </a:lnTo>
                  <a:lnTo>
                    <a:pt x="354" y="1425"/>
                  </a:lnTo>
                  <a:lnTo>
                    <a:pt x="360" y="1425"/>
                  </a:lnTo>
                  <a:lnTo>
                    <a:pt x="362" y="1427"/>
                  </a:lnTo>
                  <a:lnTo>
                    <a:pt x="364" y="1428"/>
                  </a:lnTo>
                  <a:lnTo>
                    <a:pt x="365" y="1429"/>
                  </a:lnTo>
                  <a:lnTo>
                    <a:pt x="365" y="1430"/>
                  </a:lnTo>
                  <a:lnTo>
                    <a:pt x="371" y="1431"/>
                  </a:lnTo>
                  <a:lnTo>
                    <a:pt x="377" y="1431"/>
                  </a:lnTo>
                  <a:lnTo>
                    <a:pt x="379" y="1432"/>
                  </a:lnTo>
                  <a:lnTo>
                    <a:pt x="381" y="1433"/>
                  </a:lnTo>
                  <a:lnTo>
                    <a:pt x="382" y="1434"/>
                  </a:lnTo>
                  <a:lnTo>
                    <a:pt x="382" y="1435"/>
                  </a:lnTo>
                  <a:lnTo>
                    <a:pt x="396" y="1439"/>
                  </a:lnTo>
                  <a:lnTo>
                    <a:pt x="411" y="1445"/>
                  </a:lnTo>
                  <a:lnTo>
                    <a:pt x="419" y="1449"/>
                  </a:lnTo>
                  <a:lnTo>
                    <a:pt x="426" y="1452"/>
                  </a:lnTo>
                  <a:lnTo>
                    <a:pt x="430" y="1456"/>
                  </a:lnTo>
                  <a:lnTo>
                    <a:pt x="432" y="1458"/>
                  </a:lnTo>
                  <a:lnTo>
                    <a:pt x="449" y="1458"/>
                  </a:lnTo>
                  <a:lnTo>
                    <a:pt x="450" y="1460"/>
                  </a:lnTo>
                  <a:lnTo>
                    <a:pt x="454" y="1462"/>
                  </a:lnTo>
                  <a:lnTo>
                    <a:pt x="459" y="1464"/>
                  </a:lnTo>
                  <a:lnTo>
                    <a:pt x="466" y="1467"/>
                  </a:lnTo>
                  <a:lnTo>
                    <a:pt x="483" y="1470"/>
                  </a:lnTo>
                  <a:lnTo>
                    <a:pt x="502" y="1475"/>
                  </a:lnTo>
                  <a:lnTo>
                    <a:pt x="521" y="1479"/>
                  </a:lnTo>
                  <a:lnTo>
                    <a:pt x="537" y="1483"/>
                  </a:lnTo>
                  <a:lnTo>
                    <a:pt x="544" y="1486"/>
                  </a:lnTo>
                  <a:lnTo>
                    <a:pt x="550" y="1487"/>
                  </a:lnTo>
                  <a:lnTo>
                    <a:pt x="553" y="1489"/>
                  </a:lnTo>
                  <a:lnTo>
                    <a:pt x="554" y="1491"/>
                  </a:lnTo>
                  <a:lnTo>
                    <a:pt x="559" y="1491"/>
                  </a:lnTo>
                  <a:lnTo>
                    <a:pt x="562" y="1492"/>
                  </a:lnTo>
                  <a:lnTo>
                    <a:pt x="564" y="1493"/>
                  </a:lnTo>
                  <a:lnTo>
                    <a:pt x="565" y="1497"/>
                  </a:lnTo>
                  <a:lnTo>
                    <a:pt x="570" y="1497"/>
                  </a:lnTo>
                  <a:lnTo>
                    <a:pt x="573" y="1498"/>
                  </a:lnTo>
                  <a:lnTo>
                    <a:pt x="575" y="1499"/>
                  </a:lnTo>
                  <a:lnTo>
                    <a:pt x="576" y="1502"/>
                  </a:lnTo>
                  <a:lnTo>
                    <a:pt x="590" y="1506"/>
                  </a:lnTo>
                  <a:lnTo>
                    <a:pt x="609" y="1514"/>
                  </a:lnTo>
                  <a:lnTo>
                    <a:pt x="624" y="1521"/>
                  </a:lnTo>
                  <a:lnTo>
                    <a:pt x="632" y="1525"/>
                  </a:lnTo>
                  <a:lnTo>
                    <a:pt x="649" y="1525"/>
                  </a:lnTo>
                  <a:lnTo>
                    <a:pt x="649" y="1528"/>
                  </a:lnTo>
                  <a:lnTo>
                    <a:pt x="652" y="1531"/>
                  </a:lnTo>
                  <a:lnTo>
                    <a:pt x="656" y="1534"/>
                  </a:lnTo>
                  <a:lnTo>
                    <a:pt x="659" y="1535"/>
                  </a:lnTo>
                  <a:lnTo>
                    <a:pt x="664" y="1536"/>
                  </a:lnTo>
                  <a:lnTo>
                    <a:pt x="667" y="1538"/>
                  </a:lnTo>
                  <a:lnTo>
                    <a:pt x="670" y="1539"/>
                  </a:lnTo>
                  <a:lnTo>
                    <a:pt x="670" y="1541"/>
                  </a:lnTo>
                  <a:lnTo>
                    <a:pt x="675" y="1541"/>
                  </a:lnTo>
                  <a:lnTo>
                    <a:pt x="678" y="1541"/>
                  </a:lnTo>
                  <a:lnTo>
                    <a:pt x="680" y="1544"/>
                  </a:lnTo>
                  <a:lnTo>
                    <a:pt x="681" y="1547"/>
                  </a:lnTo>
                  <a:lnTo>
                    <a:pt x="686" y="1547"/>
                  </a:lnTo>
                  <a:lnTo>
                    <a:pt x="689" y="1547"/>
                  </a:lnTo>
                  <a:lnTo>
                    <a:pt x="691" y="1549"/>
                  </a:lnTo>
                  <a:lnTo>
                    <a:pt x="693" y="1553"/>
                  </a:lnTo>
                  <a:lnTo>
                    <a:pt x="754" y="1564"/>
                  </a:lnTo>
                  <a:lnTo>
                    <a:pt x="757" y="1564"/>
                  </a:lnTo>
                  <a:lnTo>
                    <a:pt x="762" y="1564"/>
                  </a:lnTo>
                  <a:lnTo>
                    <a:pt x="764" y="1566"/>
                  </a:lnTo>
                  <a:lnTo>
                    <a:pt x="765" y="1569"/>
                  </a:lnTo>
                  <a:lnTo>
                    <a:pt x="773" y="1569"/>
                  </a:lnTo>
                  <a:lnTo>
                    <a:pt x="786" y="1569"/>
                  </a:lnTo>
                  <a:lnTo>
                    <a:pt x="793" y="1570"/>
                  </a:lnTo>
                  <a:lnTo>
                    <a:pt x="799" y="1572"/>
                  </a:lnTo>
                  <a:lnTo>
                    <a:pt x="802" y="1573"/>
                  </a:lnTo>
                  <a:lnTo>
                    <a:pt x="803" y="1575"/>
                  </a:lnTo>
                  <a:lnTo>
                    <a:pt x="827" y="1574"/>
                  </a:lnTo>
                  <a:lnTo>
                    <a:pt x="862" y="1573"/>
                  </a:lnTo>
                  <a:lnTo>
                    <a:pt x="880" y="1572"/>
                  </a:lnTo>
                  <a:lnTo>
                    <a:pt x="895" y="1569"/>
                  </a:lnTo>
                  <a:lnTo>
                    <a:pt x="900" y="1568"/>
                  </a:lnTo>
                  <a:lnTo>
                    <a:pt x="905" y="1567"/>
                  </a:lnTo>
                  <a:lnTo>
                    <a:pt x="908" y="1565"/>
                  </a:lnTo>
                  <a:lnTo>
                    <a:pt x="909" y="1564"/>
                  </a:lnTo>
                  <a:lnTo>
                    <a:pt x="926" y="1564"/>
                  </a:lnTo>
                  <a:lnTo>
                    <a:pt x="928" y="1558"/>
                  </a:lnTo>
                  <a:lnTo>
                    <a:pt x="931" y="1553"/>
                  </a:lnTo>
                  <a:lnTo>
                    <a:pt x="943" y="1553"/>
                  </a:lnTo>
                  <a:lnTo>
                    <a:pt x="948" y="1547"/>
                  </a:lnTo>
                  <a:lnTo>
                    <a:pt x="949" y="1540"/>
                  </a:lnTo>
                  <a:lnTo>
                    <a:pt x="955" y="1530"/>
                  </a:lnTo>
                  <a:lnTo>
                    <a:pt x="958" y="1526"/>
                  </a:lnTo>
                  <a:lnTo>
                    <a:pt x="962" y="1523"/>
                  </a:lnTo>
                  <a:lnTo>
                    <a:pt x="966" y="1520"/>
                  </a:lnTo>
                  <a:lnTo>
                    <a:pt x="969" y="1519"/>
                  </a:lnTo>
                  <a:lnTo>
                    <a:pt x="971" y="1515"/>
                  </a:lnTo>
                  <a:lnTo>
                    <a:pt x="973" y="1511"/>
                  </a:lnTo>
                  <a:lnTo>
                    <a:pt x="977" y="1509"/>
                  </a:lnTo>
                  <a:lnTo>
                    <a:pt x="981" y="1508"/>
                  </a:lnTo>
                  <a:lnTo>
                    <a:pt x="984" y="1502"/>
                  </a:lnTo>
                  <a:lnTo>
                    <a:pt x="986" y="1497"/>
                  </a:lnTo>
                  <a:lnTo>
                    <a:pt x="988" y="1497"/>
                  </a:lnTo>
                  <a:lnTo>
                    <a:pt x="991" y="1496"/>
                  </a:lnTo>
                  <a:lnTo>
                    <a:pt x="979" y="1485"/>
                  </a:lnTo>
                  <a:lnTo>
                    <a:pt x="969" y="1472"/>
                  </a:lnTo>
                  <a:lnTo>
                    <a:pt x="965" y="1464"/>
                  </a:lnTo>
                  <a:lnTo>
                    <a:pt x="962" y="1456"/>
                  </a:lnTo>
                  <a:lnTo>
                    <a:pt x="959" y="1444"/>
                  </a:lnTo>
                  <a:lnTo>
                    <a:pt x="959" y="1432"/>
                  </a:lnTo>
                  <a:lnTo>
                    <a:pt x="965" y="1284"/>
                  </a:lnTo>
                  <a:lnTo>
                    <a:pt x="960" y="1270"/>
                  </a:lnTo>
                  <a:lnTo>
                    <a:pt x="952" y="1246"/>
                  </a:lnTo>
                  <a:lnTo>
                    <a:pt x="939" y="1214"/>
                  </a:lnTo>
                  <a:lnTo>
                    <a:pt x="924" y="1179"/>
                  </a:lnTo>
                  <a:lnTo>
                    <a:pt x="908" y="1143"/>
                  </a:lnTo>
                  <a:lnTo>
                    <a:pt x="894" y="1111"/>
                  </a:lnTo>
                  <a:lnTo>
                    <a:pt x="882" y="1085"/>
                  </a:lnTo>
                  <a:lnTo>
                    <a:pt x="877" y="1070"/>
                  </a:lnTo>
                  <a:lnTo>
                    <a:pt x="871" y="1065"/>
                  </a:lnTo>
                  <a:lnTo>
                    <a:pt x="863" y="1058"/>
                  </a:lnTo>
                  <a:lnTo>
                    <a:pt x="852" y="1052"/>
                  </a:lnTo>
                  <a:lnTo>
                    <a:pt x="838" y="1045"/>
                  </a:lnTo>
                  <a:lnTo>
                    <a:pt x="822" y="1038"/>
                  </a:lnTo>
                  <a:lnTo>
                    <a:pt x="804" y="1031"/>
                  </a:lnTo>
                  <a:lnTo>
                    <a:pt x="785" y="1026"/>
                  </a:lnTo>
                  <a:lnTo>
                    <a:pt x="767" y="1021"/>
                  </a:lnTo>
                  <a:lnTo>
                    <a:pt x="748" y="1018"/>
                  </a:lnTo>
                  <a:lnTo>
                    <a:pt x="731" y="1017"/>
                  </a:lnTo>
                  <a:lnTo>
                    <a:pt x="722" y="1017"/>
                  </a:lnTo>
                  <a:lnTo>
                    <a:pt x="714" y="1017"/>
                  </a:lnTo>
                  <a:lnTo>
                    <a:pt x="706" y="1018"/>
                  </a:lnTo>
                  <a:lnTo>
                    <a:pt x="698" y="1019"/>
                  </a:lnTo>
                  <a:lnTo>
                    <a:pt x="691" y="1021"/>
                  </a:lnTo>
                  <a:lnTo>
                    <a:pt x="686" y="1025"/>
                  </a:lnTo>
                  <a:lnTo>
                    <a:pt x="680" y="1028"/>
                  </a:lnTo>
                  <a:lnTo>
                    <a:pt x="676" y="1031"/>
                  </a:lnTo>
                  <a:lnTo>
                    <a:pt x="672" y="1037"/>
                  </a:lnTo>
                  <a:lnTo>
                    <a:pt x="670" y="1043"/>
                  </a:lnTo>
                  <a:lnTo>
                    <a:pt x="668" y="1049"/>
                  </a:lnTo>
                  <a:lnTo>
                    <a:pt x="668" y="1056"/>
                  </a:lnTo>
                  <a:lnTo>
                    <a:pt x="667" y="1019"/>
                  </a:lnTo>
                  <a:lnTo>
                    <a:pt x="666" y="989"/>
                  </a:lnTo>
                  <a:lnTo>
                    <a:pt x="665" y="977"/>
                  </a:lnTo>
                  <a:lnTo>
                    <a:pt x="665" y="966"/>
                  </a:lnTo>
                  <a:lnTo>
                    <a:pt x="665" y="954"/>
                  </a:lnTo>
                  <a:lnTo>
                    <a:pt x="666" y="944"/>
                  </a:lnTo>
                  <a:lnTo>
                    <a:pt x="668" y="935"/>
                  </a:lnTo>
                  <a:lnTo>
                    <a:pt x="671" y="925"/>
                  </a:lnTo>
                  <a:lnTo>
                    <a:pt x="676" y="915"/>
                  </a:lnTo>
                  <a:lnTo>
                    <a:pt x="681" y="905"/>
                  </a:lnTo>
                  <a:lnTo>
                    <a:pt x="689" y="895"/>
                  </a:lnTo>
                  <a:lnTo>
                    <a:pt x="698" y="884"/>
                  </a:lnTo>
                  <a:lnTo>
                    <a:pt x="709" y="871"/>
                  </a:lnTo>
                  <a:lnTo>
                    <a:pt x="724" y="857"/>
                  </a:lnTo>
                  <a:lnTo>
                    <a:pt x="737" y="846"/>
                  </a:lnTo>
                  <a:lnTo>
                    <a:pt x="757" y="832"/>
                  </a:lnTo>
                  <a:lnTo>
                    <a:pt x="784" y="815"/>
                  </a:lnTo>
                  <a:lnTo>
                    <a:pt x="814" y="796"/>
                  </a:lnTo>
                  <a:lnTo>
                    <a:pt x="844" y="778"/>
                  </a:lnTo>
                  <a:lnTo>
                    <a:pt x="873" y="760"/>
                  </a:lnTo>
                  <a:lnTo>
                    <a:pt x="899" y="745"/>
                  </a:lnTo>
                  <a:lnTo>
                    <a:pt x="918" y="732"/>
                  </a:lnTo>
                  <a:lnTo>
                    <a:pt x="925" y="726"/>
                  </a:lnTo>
                  <a:lnTo>
                    <a:pt x="931" y="717"/>
                  </a:lnTo>
                  <a:lnTo>
                    <a:pt x="937" y="707"/>
                  </a:lnTo>
                  <a:lnTo>
                    <a:pt x="943" y="694"/>
                  </a:lnTo>
                  <a:lnTo>
                    <a:pt x="954" y="668"/>
                  </a:lnTo>
                  <a:lnTo>
                    <a:pt x="965" y="643"/>
                  </a:lnTo>
                  <a:lnTo>
                    <a:pt x="971" y="633"/>
                  </a:lnTo>
                  <a:lnTo>
                    <a:pt x="976" y="625"/>
                  </a:lnTo>
                  <a:lnTo>
                    <a:pt x="978" y="623"/>
                  </a:lnTo>
                  <a:lnTo>
                    <a:pt x="982" y="622"/>
                  </a:lnTo>
                  <a:lnTo>
                    <a:pt x="985" y="621"/>
                  </a:lnTo>
                  <a:lnTo>
                    <a:pt x="987" y="621"/>
                  </a:lnTo>
                  <a:lnTo>
                    <a:pt x="991" y="623"/>
                  </a:lnTo>
                  <a:lnTo>
                    <a:pt x="994" y="625"/>
                  </a:lnTo>
                  <a:lnTo>
                    <a:pt x="997" y="630"/>
                  </a:lnTo>
                  <a:lnTo>
                    <a:pt x="1001" y="635"/>
                  </a:lnTo>
                  <a:lnTo>
                    <a:pt x="1007" y="650"/>
                  </a:lnTo>
                  <a:lnTo>
                    <a:pt x="1015" y="672"/>
                  </a:lnTo>
                  <a:lnTo>
                    <a:pt x="1027" y="711"/>
                  </a:lnTo>
                  <a:lnTo>
                    <a:pt x="1035" y="733"/>
                  </a:lnTo>
                  <a:lnTo>
                    <a:pt x="1039" y="740"/>
                  </a:lnTo>
                  <a:lnTo>
                    <a:pt x="1042" y="743"/>
                  </a:lnTo>
                  <a:lnTo>
                    <a:pt x="1045" y="745"/>
                  </a:lnTo>
                  <a:lnTo>
                    <a:pt x="1049" y="743"/>
                  </a:lnTo>
                  <a:lnTo>
                    <a:pt x="1060" y="738"/>
                  </a:lnTo>
                  <a:lnTo>
                    <a:pt x="1078" y="729"/>
                  </a:lnTo>
                  <a:lnTo>
                    <a:pt x="1090" y="725"/>
                  </a:lnTo>
                  <a:lnTo>
                    <a:pt x="1106" y="721"/>
                  </a:lnTo>
                  <a:lnTo>
                    <a:pt x="1123" y="719"/>
                  </a:lnTo>
                  <a:lnTo>
                    <a:pt x="1145" y="718"/>
                  </a:lnTo>
                  <a:lnTo>
                    <a:pt x="1161" y="719"/>
                  </a:lnTo>
                  <a:lnTo>
                    <a:pt x="1177" y="720"/>
                  </a:lnTo>
                  <a:lnTo>
                    <a:pt x="1190" y="722"/>
                  </a:lnTo>
                  <a:lnTo>
                    <a:pt x="1203" y="726"/>
                  </a:lnTo>
                  <a:lnTo>
                    <a:pt x="1215" y="729"/>
                  </a:lnTo>
                  <a:lnTo>
                    <a:pt x="1226" y="735"/>
                  </a:lnTo>
                  <a:lnTo>
                    <a:pt x="1235" y="739"/>
                  </a:lnTo>
                  <a:lnTo>
                    <a:pt x="1244" y="746"/>
                  </a:lnTo>
                  <a:lnTo>
                    <a:pt x="1253" y="752"/>
                  </a:lnTo>
                  <a:lnTo>
                    <a:pt x="1260" y="759"/>
                  </a:lnTo>
                  <a:lnTo>
                    <a:pt x="1267" y="767"/>
                  </a:lnTo>
                  <a:lnTo>
                    <a:pt x="1273" y="776"/>
                  </a:lnTo>
                  <a:lnTo>
                    <a:pt x="1284" y="794"/>
                  </a:lnTo>
                  <a:lnTo>
                    <a:pt x="1293" y="813"/>
                  </a:lnTo>
                  <a:lnTo>
                    <a:pt x="1310" y="854"/>
                  </a:lnTo>
                  <a:lnTo>
                    <a:pt x="1326" y="896"/>
                  </a:lnTo>
                  <a:lnTo>
                    <a:pt x="1334" y="916"/>
                  </a:lnTo>
                  <a:lnTo>
                    <a:pt x="1345" y="937"/>
                  </a:lnTo>
                  <a:lnTo>
                    <a:pt x="1350" y="947"/>
                  </a:lnTo>
                  <a:lnTo>
                    <a:pt x="1357" y="956"/>
                  </a:lnTo>
                  <a:lnTo>
                    <a:pt x="1365" y="964"/>
                  </a:lnTo>
                  <a:lnTo>
                    <a:pt x="1372" y="973"/>
                  </a:lnTo>
                  <a:lnTo>
                    <a:pt x="1376" y="978"/>
                  </a:lnTo>
                  <a:lnTo>
                    <a:pt x="1379" y="982"/>
                  </a:lnTo>
                  <a:lnTo>
                    <a:pt x="1380" y="989"/>
                  </a:lnTo>
                  <a:lnTo>
                    <a:pt x="1382" y="996"/>
                  </a:lnTo>
                  <a:lnTo>
                    <a:pt x="1382" y="1004"/>
                  </a:lnTo>
                  <a:lnTo>
                    <a:pt x="1384" y="1012"/>
                  </a:lnTo>
                  <a:lnTo>
                    <a:pt x="1382" y="1021"/>
                  </a:lnTo>
                  <a:lnTo>
                    <a:pt x="1381" y="1030"/>
                  </a:lnTo>
                  <a:lnTo>
                    <a:pt x="1378" y="1050"/>
                  </a:lnTo>
                  <a:lnTo>
                    <a:pt x="1374" y="1070"/>
                  </a:lnTo>
                  <a:lnTo>
                    <a:pt x="1367" y="1092"/>
                  </a:lnTo>
                  <a:lnTo>
                    <a:pt x="1358" y="1112"/>
                  </a:lnTo>
                  <a:lnTo>
                    <a:pt x="1349" y="1130"/>
                  </a:lnTo>
                  <a:lnTo>
                    <a:pt x="1339" y="1146"/>
                  </a:lnTo>
                  <a:lnTo>
                    <a:pt x="1333" y="1154"/>
                  </a:lnTo>
                  <a:lnTo>
                    <a:pt x="1329" y="1160"/>
                  </a:lnTo>
                  <a:lnTo>
                    <a:pt x="1323" y="1165"/>
                  </a:lnTo>
                  <a:lnTo>
                    <a:pt x="1318" y="1170"/>
                  </a:lnTo>
                  <a:lnTo>
                    <a:pt x="1312" y="1174"/>
                  </a:lnTo>
                  <a:lnTo>
                    <a:pt x="1307" y="1177"/>
                  </a:lnTo>
                  <a:lnTo>
                    <a:pt x="1301" y="1178"/>
                  </a:lnTo>
                  <a:lnTo>
                    <a:pt x="1295" y="1178"/>
                  </a:lnTo>
                  <a:lnTo>
                    <a:pt x="1290" y="1177"/>
                  </a:lnTo>
                  <a:lnTo>
                    <a:pt x="1285" y="1173"/>
                  </a:lnTo>
                  <a:lnTo>
                    <a:pt x="1280" y="1169"/>
                  </a:lnTo>
                  <a:lnTo>
                    <a:pt x="1275" y="1163"/>
                  </a:lnTo>
                  <a:lnTo>
                    <a:pt x="1267" y="1151"/>
                  </a:lnTo>
                  <a:lnTo>
                    <a:pt x="1262" y="1137"/>
                  </a:lnTo>
                  <a:lnTo>
                    <a:pt x="1256" y="1124"/>
                  </a:lnTo>
                  <a:lnTo>
                    <a:pt x="1253" y="1111"/>
                  </a:lnTo>
                  <a:lnTo>
                    <a:pt x="1245" y="1086"/>
                  </a:lnTo>
                  <a:lnTo>
                    <a:pt x="1240" y="1067"/>
                  </a:lnTo>
                  <a:lnTo>
                    <a:pt x="1235" y="1059"/>
                  </a:lnTo>
                  <a:lnTo>
                    <a:pt x="1231" y="1055"/>
                  </a:lnTo>
                  <a:lnTo>
                    <a:pt x="1228" y="1053"/>
                  </a:lnTo>
                  <a:lnTo>
                    <a:pt x="1226" y="1052"/>
                  </a:lnTo>
                  <a:lnTo>
                    <a:pt x="1223" y="1052"/>
                  </a:lnTo>
                  <a:lnTo>
                    <a:pt x="1221" y="1053"/>
                  </a:lnTo>
                  <a:lnTo>
                    <a:pt x="1213" y="1056"/>
                  </a:lnTo>
                  <a:lnTo>
                    <a:pt x="1205" y="1063"/>
                  </a:lnTo>
                  <a:lnTo>
                    <a:pt x="1194" y="1074"/>
                  </a:lnTo>
                  <a:lnTo>
                    <a:pt x="1183" y="1088"/>
                  </a:lnTo>
                  <a:lnTo>
                    <a:pt x="1166" y="1114"/>
                  </a:lnTo>
                  <a:lnTo>
                    <a:pt x="1150" y="1142"/>
                  </a:lnTo>
                  <a:lnTo>
                    <a:pt x="1135" y="1173"/>
                  </a:lnTo>
                  <a:lnTo>
                    <a:pt x="1120" y="1207"/>
                  </a:lnTo>
                  <a:lnTo>
                    <a:pt x="1113" y="1225"/>
                  </a:lnTo>
                  <a:lnTo>
                    <a:pt x="1108" y="1241"/>
                  </a:lnTo>
                  <a:lnTo>
                    <a:pt x="1102" y="1258"/>
                  </a:lnTo>
                  <a:lnTo>
                    <a:pt x="1098" y="1275"/>
                  </a:lnTo>
                  <a:lnTo>
                    <a:pt x="1094" y="1291"/>
                  </a:lnTo>
                  <a:lnTo>
                    <a:pt x="1092" y="1308"/>
                  </a:lnTo>
                  <a:lnTo>
                    <a:pt x="1090" y="1324"/>
                  </a:lnTo>
                  <a:lnTo>
                    <a:pt x="1090" y="1339"/>
                  </a:lnTo>
                  <a:lnTo>
                    <a:pt x="1090" y="1342"/>
                  </a:lnTo>
                  <a:lnTo>
                    <a:pt x="1091" y="1344"/>
                  </a:lnTo>
                  <a:lnTo>
                    <a:pt x="1092" y="1345"/>
                  </a:lnTo>
                  <a:lnTo>
                    <a:pt x="1094" y="1346"/>
                  </a:lnTo>
                  <a:lnTo>
                    <a:pt x="1100" y="1348"/>
                  </a:lnTo>
                  <a:lnTo>
                    <a:pt x="1107" y="1350"/>
                  </a:lnTo>
                  <a:lnTo>
                    <a:pt x="1125" y="1348"/>
                  </a:lnTo>
                  <a:lnTo>
                    <a:pt x="1145" y="1345"/>
                  </a:lnTo>
                  <a:lnTo>
                    <a:pt x="1187" y="1335"/>
                  </a:lnTo>
                  <a:lnTo>
                    <a:pt x="1215" y="1329"/>
                  </a:lnTo>
                  <a:lnTo>
                    <a:pt x="1253" y="1331"/>
                  </a:lnTo>
                  <a:lnTo>
                    <a:pt x="1282" y="1332"/>
                  </a:lnTo>
                  <a:lnTo>
                    <a:pt x="1293" y="1332"/>
                  </a:lnTo>
                  <a:lnTo>
                    <a:pt x="1304" y="1331"/>
                  </a:lnTo>
                  <a:lnTo>
                    <a:pt x="1314" y="1329"/>
                  </a:lnTo>
                  <a:lnTo>
                    <a:pt x="1323" y="1327"/>
                  </a:lnTo>
                  <a:lnTo>
                    <a:pt x="1332" y="1324"/>
                  </a:lnTo>
                  <a:lnTo>
                    <a:pt x="1341" y="1319"/>
                  </a:lnTo>
                  <a:lnTo>
                    <a:pt x="1350" y="1314"/>
                  </a:lnTo>
                  <a:lnTo>
                    <a:pt x="1360" y="1306"/>
                  </a:lnTo>
                  <a:lnTo>
                    <a:pt x="1384" y="1286"/>
                  </a:lnTo>
                  <a:lnTo>
                    <a:pt x="1414" y="1256"/>
                  </a:lnTo>
                  <a:lnTo>
                    <a:pt x="1420" y="1250"/>
                  </a:lnTo>
                  <a:lnTo>
                    <a:pt x="1430" y="1243"/>
                  </a:lnTo>
                  <a:lnTo>
                    <a:pt x="1444" y="1237"/>
                  </a:lnTo>
                  <a:lnTo>
                    <a:pt x="1461" y="1228"/>
                  </a:lnTo>
                  <a:lnTo>
                    <a:pt x="1497" y="1209"/>
                  </a:lnTo>
                  <a:lnTo>
                    <a:pt x="1540" y="1187"/>
                  </a:lnTo>
                  <a:lnTo>
                    <a:pt x="1561" y="1174"/>
                  </a:lnTo>
                  <a:lnTo>
                    <a:pt x="1582" y="1161"/>
                  </a:lnTo>
                  <a:lnTo>
                    <a:pt x="1601" y="1149"/>
                  </a:lnTo>
                  <a:lnTo>
                    <a:pt x="1620" y="1134"/>
                  </a:lnTo>
                  <a:lnTo>
                    <a:pt x="1637" y="1120"/>
                  </a:lnTo>
                  <a:lnTo>
                    <a:pt x="1651" y="1105"/>
                  </a:lnTo>
                  <a:lnTo>
                    <a:pt x="1658" y="1098"/>
                  </a:lnTo>
                  <a:lnTo>
                    <a:pt x="1664" y="1091"/>
                  </a:lnTo>
                  <a:lnTo>
                    <a:pt x="1668" y="1083"/>
                  </a:lnTo>
                  <a:lnTo>
                    <a:pt x="1672" y="1075"/>
                  </a:lnTo>
                  <a:lnTo>
                    <a:pt x="1674" y="1070"/>
                  </a:lnTo>
                  <a:lnTo>
                    <a:pt x="1674" y="1066"/>
                  </a:lnTo>
                  <a:lnTo>
                    <a:pt x="1675" y="1063"/>
                  </a:lnTo>
                  <a:lnTo>
                    <a:pt x="1674" y="1058"/>
                  </a:lnTo>
                  <a:lnTo>
                    <a:pt x="1673" y="1049"/>
                  </a:lnTo>
                  <a:lnTo>
                    <a:pt x="1669" y="1040"/>
                  </a:lnTo>
                  <a:lnTo>
                    <a:pt x="1664" y="1031"/>
                  </a:lnTo>
                  <a:lnTo>
                    <a:pt x="1657" y="1023"/>
                  </a:lnTo>
                  <a:lnTo>
                    <a:pt x="1649" y="1014"/>
                  </a:lnTo>
                  <a:lnTo>
                    <a:pt x="1641" y="1006"/>
                  </a:lnTo>
                  <a:lnTo>
                    <a:pt x="1636" y="999"/>
                  </a:lnTo>
                  <a:lnTo>
                    <a:pt x="1631" y="993"/>
                  </a:lnTo>
                  <a:lnTo>
                    <a:pt x="1627" y="987"/>
                  </a:lnTo>
                  <a:lnTo>
                    <a:pt x="1625" y="979"/>
                  </a:lnTo>
                  <a:lnTo>
                    <a:pt x="1621" y="972"/>
                  </a:lnTo>
                  <a:lnTo>
                    <a:pt x="1620" y="964"/>
                  </a:lnTo>
                  <a:lnTo>
                    <a:pt x="1618" y="957"/>
                  </a:lnTo>
                  <a:lnTo>
                    <a:pt x="1617" y="948"/>
                  </a:lnTo>
                  <a:lnTo>
                    <a:pt x="1616" y="931"/>
                  </a:lnTo>
                  <a:lnTo>
                    <a:pt x="1616" y="913"/>
                  </a:lnTo>
                  <a:lnTo>
                    <a:pt x="1617" y="894"/>
                  </a:lnTo>
                  <a:lnTo>
                    <a:pt x="1619" y="875"/>
                  </a:lnTo>
                  <a:lnTo>
                    <a:pt x="1620" y="855"/>
                  </a:lnTo>
                  <a:lnTo>
                    <a:pt x="1621" y="836"/>
                  </a:lnTo>
                  <a:lnTo>
                    <a:pt x="1621" y="816"/>
                  </a:lnTo>
                  <a:lnTo>
                    <a:pt x="1621" y="797"/>
                  </a:lnTo>
                  <a:lnTo>
                    <a:pt x="1619" y="778"/>
                  </a:lnTo>
                  <a:lnTo>
                    <a:pt x="1615" y="760"/>
                  </a:lnTo>
                  <a:lnTo>
                    <a:pt x="1612" y="752"/>
                  </a:lnTo>
                  <a:lnTo>
                    <a:pt x="1608" y="743"/>
                  </a:lnTo>
                  <a:lnTo>
                    <a:pt x="1605" y="736"/>
                  </a:lnTo>
                  <a:lnTo>
                    <a:pt x="1599" y="728"/>
                  </a:lnTo>
                  <a:lnTo>
                    <a:pt x="1591" y="716"/>
                  </a:lnTo>
                  <a:lnTo>
                    <a:pt x="1581" y="703"/>
                  </a:lnTo>
                  <a:lnTo>
                    <a:pt x="1570" y="691"/>
                  </a:lnTo>
                  <a:lnTo>
                    <a:pt x="1558" y="679"/>
                  </a:lnTo>
                  <a:lnTo>
                    <a:pt x="1532" y="653"/>
                  </a:lnTo>
                  <a:lnTo>
                    <a:pt x="1504" y="627"/>
                  </a:lnTo>
                  <a:lnTo>
                    <a:pt x="1477" y="602"/>
                  </a:lnTo>
                  <a:lnTo>
                    <a:pt x="1453" y="576"/>
                  </a:lnTo>
                  <a:lnTo>
                    <a:pt x="1443" y="564"/>
                  </a:lnTo>
                  <a:lnTo>
                    <a:pt x="1433" y="552"/>
                  </a:lnTo>
                  <a:lnTo>
                    <a:pt x="1425" y="539"/>
                  </a:lnTo>
                  <a:lnTo>
                    <a:pt x="1418" y="528"/>
                  </a:lnTo>
                  <a:lnTo>
                    <a:pt x="1404" y="499"/>
                  </a:lnTo>
                  <a:lnTo>
                    <a:pt x="1384" y="464"/>
                  </a:lnTo>
                  <a:lnTo>
                    <a:pt x="1361" y="427"/>
                  </a:lnTo>
                  <a:lnTo>
                    <a:pt x="1334" y="386"/>
                  </a:lnTo>
                  <a:lnTo>
                    <a:pt x="1304" y="345"/>
                  </a:lnTo>
                  <a:lnTo>
                    <a:pt x="1273" y="302"/>
                  </a:lnTo>
                  <a:lnTo>
                    <a:pt x="1240" y="258"/>
                  </a:lnTo>
                  <a:lnTo>
                    <a:pt x="1204" y="216"/>
                  </a:lnTo>
                  <a:lnTo>
                    <a:pt x="1168" y="174"/>
                  </a:lnTo>
                  <a:lnTo>
                    <a:pt x="1131" y="135"/>
                  </a:lnTo>
                  <a:lnTo>
                    <a:pt x="1112" y="117"/>
                  </a:lnTo>
                  <a:lnTo>
                    <a:pt x="1093" y="100"/>
                  </a:lnTo>
                  <a:lnTo>
                    <a:pt x="1075" y="83"/>
                  </a:lnTo>
                  <a:lnTo>
                    <a:pt x="1056" y="68"/>
                  </a:lnTo>
                  <a:lnTo>
                    <a:pt x="1039" y="54"/>
                  </a:lnTo>
                  <a:lnTo>
                    <a:pt x="1021" y="41"/>
                  </a:lnTo>
                  <a:lnTo>
                    <a:pt x="1004" y="30"/>
                  </a:lnTo>
                  <a:lnTo>
                    <a:pt x="986" y="20"/>
                  </a:lnTo>
                  <a:lnTo>
                    <a:pt x="969" y="12"/>
                  </a:lnTo>
                  <a:lnTo>
                    <a:pt x="954" y="7"/>
                  </a:lnTo>
                  <a:lnTo>
                    <a:pt x="938" y="2"/>
                  </a:lnTo>
                  <a:lnTo>
                    <a:pt x="92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2" name="Freeform 38"/>
            <p:cNvSpPr>
              <a:spLocks noChangeAspect="1"/>
            </p:cNvSpPr>
            <p:nvPr/>
          </p:nvSpPr>
          <p:spPr bwMode="gray">
            <a:xfrm rot="355651">
              <a:off x="5445195" y="2962275"/>
              <a:ext cx="184084" cy="223567"/>
            </a:xfrm>
            <a:custGeom>
              <a:avLst/>
              <a:gdLst/>
              <a:ahLst/>
              <a:cxnLst>
                <a:cxn ang="0">
                  <a:pos x="452" y="36"/>
                </a:cxn>
                <a:cxn ang="0">
                  <a:pos x="350" y="44"/>
                </a:cxn>
                <a:cxn ang="0">
                  <a:pos x="291" y="65"/>
                </a:cxn>
                <a:cxn ang="0">
                  <a:pos x="273" y="93"/>
                </a:cxn>
                <a:cxn ang="0">
                  <a:pos x="246" y="144"/>
                </a:cxn>
                <a:cxn ang="0">
                  <a:pos x="222" y="149"/>
                </a:cxn>
                <a:cxn ang="0">
                  <a:pos x="200" y="158"/>
                </a:cxn>
                <a:cxn ang="0">
                  <a:pos x="215" y="193"/>
                </a:cxn>
                <a:cxn ang="0">
                  <a:pos x="237" y="197"/>
                </a:cxn>
                <a:cxn ang="0">
                  <a:pos x="260" y="264"/>
                </a:cxn>
                <a:cxn ang="0">
                  <a:pos x="215" y="309"/>
                </a:cxn>
                <a:cxn ang="0">
                  <a:pos x="179" y="338"/>
                </a:cxn>
                <a:cxn ang="0">
                  <a:pos x="162" y="382"/>
                </a:cxn>
                <a:cxn ang="0">
                  <a:pos x="139" y="408"/>
                </a:cxn>
                <a:cxn ang="0">
                  <a:pos x="60" y="439"/>
                </a:cxn>
                <a:cxn ang="0">
                  <a:pos x="8" y="462"/>
                </a:cxn>
                <a:cxn ang="0">
                  <a:pos x="2" y="574"/>
                </a:cxn>
                <a:cxn ang="0">
                  <a:pos x="16" y="756"/>
                </a:cxn>
                <a:cxn ang="0">
                  <a:pos x="92" y="744"/>
                </a:cxn>
                <a:cxn ang="0">
                  <a:pos x="150" y="759"/>
                </a:cxn>
                <a:cxn ang="0">
                  <a:pos x="181" y="788"/>
                </a:cxn>
                <a:cxn ang="0">
                  <a:pos x="179" y="861"/>
                </a:cxn>
                <a:cxn ang="0">
                  <a:pos x="157" y="925"/>
                </a:cxn>
                <a:cxn ang="0">
                  <a:pos x="177" y="1004"/>
                </a:cxn>
                <a:cxn ang="0">
                  <a:pos x="190" y="1031"/>
                </a:cxn>
                <a:cxn ang="0">
                  <a:pos x="204" y="1166"/>
                </a:cxn>
                <a:cxn ang="0">
                  <a:pos x="217" y="1203"/>
                </a:cxn>
                <a:cxn ang="0">
                  <a:pos x="240" y="1255"/>
                </a:cxn>
                <a:cxn ang="0">
                  <a:pos x="258" y="1292"/>
                </a:cxn>
                <a:cxn ang="0">
                  <a:pos x="280" y="1307"/>
                </a:cxn>
                <a:cxn ang="0">
                  <a:pos x="284" y="1260"/>
                </a:cxn>
                <a:cxn ang="0">
                  <a:pos x="392" y="1255"/>
                </a:cxn>
                <a:cxn ang="0">
                  <a:pos x="526" y="1285"/>
                </a:cxn>
                <a:cxn ang="0">
                  <a:pos x="641" y="1378"/>
                </a:cxn>
                <a:cxn ang="0">
                  <a:pos x="664" y="1384"/>
                </a:cxn>
                <a:cxn ang="0">
                  <a:pos x="816" y="1355"/>
                </a:cxn>
                <a:cxn ang="0">
                  <a:pos x="943" y="1339"/>
                </a:cxn>
                <a:cxn ang="0">
                  <a:pos x="1014" y="1302"/>
                </a:cxn>
                <a:cxn ang="0">
                  <a:pos x="996" y="1266"/>
                </a:cxn>
                <a:cxn ang="0">
                  <a:pos x="975" y="1205"/>
                </a:cxn>
                <a:cxn ang="0">
                  <a:pos x="964" y="1135"/>
                </a:cxn>
                <a:cxn ang="0">
                  <a:pos x="958" y="1093"/>
                </a:cxn>
                <a:cxn ang="0">
                  <a:pos x="941" y="981"/>
                </a:cxn>
                <a:cxn ang="0">
                  <a:pos x="925" y="949"/>
                </a:cxn>
                <a:cxn ang="0">
                  <a:pos x="913" y="819"/>
                </a:cxn>
                <a:cxn ang="0">
                  <a:pos x="899" y="785"/>
                </a:cxn>
                <a:cxn ang="0">
                  <a:pos x="883" y="744"/>
                </a:cxn>
                <a:cxn ang="0">
                  <a:pos x="852" y="727"/>
                </a:cxn>
                <a:cxn ang="0">
                  <a:pos x="816" y="723"/>
                </a:cxn>
                <a:cxn ang="0">
                  <a:pos x="741" y="664"/>
                </a:cxn>
                <a:cxn ang="0">
                  <a:pos x="728" y="638"/>
                </a:cxn>
                <a:cxn ang="0">
                  <a:pos x="723" y="609"/>
                </a:cxn>
                <a:cxn ang="0">
                  <a:pos x="695" y="572"/>
                </a:cxn>
                <a:cxn ang="0">
                  <a:pos x="698" y="327"/>
                </a:cxn>
                <a:cxn ang="0">
                  <a:pos x="692" y="233"/>
                </a:cxn>
                <a:cxn ang="0">
                  <a:pos x="664" y="175"/>
                </a:cxn>
                <a:cxn ang="0">
                  <a:pos x="638" y="119"/>
                </a:cxn>
                <a:cxn ang="0">
                  <a:pos x="628" y="71"/>
                </a:cxn>
                <a:cxn ang="0">
                  <a:pos x="581" y="63"/>
                </a:cxn>
                <a:cxn ang="0">
                  <a:pos x="521" y="53"/>
                </a:cxn>
                <a:cxn ang="0">
                  <a:pos x="507" y="19"/>
                </a:cxn>
                <a:cxn ang="0">
                  <a:pos x="497" y="0"/>
                </a:cxn>
              </a:cxnLst>
              <a:rect l="0" t="0" r="r" b="b"/>
              <a:pathLst>
                <a:path w="1023" h="1388">
                  <a:moveTo>
                    <a:pt x="475" y="0"/>
                  </a:moveTo>
                  <a:lnTo>
                    <a:pt x="475" y="26"/>
                  </a:lnTo>
                  <a:lnTo>
                    <a:pt x="471" y="31"/>
                  </a:lnTo>
                  <a:lnTo>
                    <a:pt x="466" y="35"/>
                  </a:lnTo>
                  <a:lnTo>
                    <a:pt x="459" y="35"/>
                  </a:lnTo>
                  <a:lnTo>
                    <a:pt x="453" y="35"/>
                  </a:lnTo>
                  <a:lnTo>
                    <a:pt x="452" y="36"/>
                  </a:lnTo>
                  <a:lnTo>
                    <a:pt x="449" y="39"/>
                  </a:lnTo>
                  <a:lnTo>
                    <a:pt x="445" y="40"/>
                  </a:lnTo>
                  <a:lnTo>
                    <a:pt x="438" y="41"/>
                  </a:lnTo>
                  <a:lnTo>
                    <a:pt x="424" y="42"/>
                  </a:lnTo>
                  <a:lnTo>
                    <a:pt x="406" y="43"/>
                  </a:lnTo>
                  <a:lnTo>
                    <a:pt x="371" y="44"/>
                  </a:lnTo>
                  <a:lnTo>
                    <a:pt x="350" y="44"/>
                  </a:lnTo>
                  <a:lnTo>
                    <a:pt x="342" y="47"/>
                  </a:lnTo>
                  <a:lnTo>
                    <a:pt x="327" y="51"/>
                  </a:lnTo>
                  <a:lnTo>
                    <a:pt x="310" y="55"/>
                  </a:lnTo>
                  <a:lnTo>
                    <a:pt x="300" y="58"/>
                  </a:lnTo>
                  <a:lnTo>
                    <a:pt x="299" y="61"/>
                  </a:lnTo>
                  <a:lnTo>
                    <a:pt x="295" y="64"/>
                  </a:lnTo>
                  <a:lnTo>
                    <a:pt x="291" y="65"/>
                  </a:lnTo>
                  <a:lnTo>
                    <a:pt x="286" y="67"/>
                  </a:lnTo>
                  <a:lnTo>
                    <a:pt x="284" y="73"/>
                  </a:lnTo>
                  <a:lnTo>
                    <a:pt x="282" y="80"/>
                  </a:lnTo>
                  <a:lnTo>
                    <a:pt x="279" y="82"/>
                  </a:lnTo>
                  <a:lnTo>
                    <a:pt x="276" y="86"/>
                  </a:lnTo>
                  <a:lnTo>
                    <a:pt x="274" y="90"/>
                  </a:lnTo>
                  <a:lnTo>
                    <a:pt x="273" y="93"/>
                  </a:lnTo>
                  <a:lnTo>
                    <a:pt x="264" y="98"/>
                  </a:lnTo>
                  <a:lnTo>
                    <a:pt x="264" y="109"/>
                  </a:lnTo>
                  <a:lnTo>
                    <a:pt x="264" y="120"/>
                  </a:lnTo>
                  <a:lnTo>
                    <a:pt x="264" y="130"/>
                  </a:lnTo>
                  <a:lnTo>
                    <a:pt x="264" y="139"/>
                  </a:lnTo>
                  <a:lnTo>
                    <a:pt x="255" y="141"/>
                  </a:lnTo>
                  <a:lnTo>
                    <a:pt x="246" y="144"/>
                  </a:lnTo>
                  <a:lnTo>
                    <a:pt x="246" y="145"/>
                  </a:lnTo>
                  <a:lnTo>
                    <a:pt x="245" y="146"/>
                  </a:lnTo>
                  <a:lnTo>
                    <a:pt x="243" y="147"/>
                  </a:lnTo>
                  <a:lnTo>
                    <a:pt x="241" y="147"/>
                  </a:lnTo>
                  <a:lnTo>
                    <a:pt x="235" y="148"/>
                  </a:lnTo>
                  <a:lnTo>
                    <a:pt x="228" y="148"/>
                  </a:lnTo>
                  <a:lnTo>
                    <a:pt x="222" y="149"/>
                  </a:lnTo>
                  <a:lnTo>
                    <a:pt x="216" y="150"/>
                  </a:lnTo>
                  <a:lnTo>
                    <a:pt x="214" y="151"/>
                  </a:lnTo>
                  <a:lnTo>
                    <a:pt x="212" y="153"/>
                  </a:lnTo>
                  <a:lnTo>
                    <a:pt x="210" y="155"/>
                  </a:lnTo>
                  <a:lnTo>
                    <a:pt x="210" y="157"/>
                  </a:lnTo>
                  <a:lnTo>
                    <a:pt x="202" y="157"/>
                  </a:lnTo>
                  <a:lnTo>
                    <a:pt x="200" y="158"/>
                  </a:lnTo>
                  <a:lnTo>
                    <a:pt x="198" y="161"/>
                  </a:lnTo>
                  <a:lnTo>
                    <a:pt x="196" y="164"/>
                  </a:lnTo>
                  <a:lnTo>
                    <a:pt x="193" y="166"/>
                  </a:lnTo>
                  <a:lnTo>
                    <a:pt x="193" y="179"/>
                  </a:lnTo>
                  <a:lnTo>
                    <a:pt x="202" y="184"/>
                  </a:lnTo>
                  <a:lnTo>
                    <a:pt x="206" y="193"/>
                  </a:lnTo>
                  <a:lnTo>
                    <a:pt x="215" y="193"/>
                  </a:lnTo>
                  <a:lnTo>
                    <a:pt x="224" y="193"/>
                  </a:lnTo>
                  <a:lnTo>
                    <a:pt x="224" y="194"/>
                  </a:lnTo>
                  <a:lnTo>
                    <a:pt x="225" y="195"/>
                  </a:lnTo>
                  <a:lnTo>
                    <a:pt x="227" y="196"/>
                  </a:lnTo>
                  <a:lnTo>
                    <a:pt x="228" y="196"/>
                  </a:lnTo>
                  <a:lnTo>
                    <a:pt x="233" y="197"/>
                  </a:lnTo>
                  <a:lnTo>
                    <a:pt x="237" y="197"/>
                  </a:lnTo>
                  <a:lnTo>
                    <a:pt x="242" y="202"/>
                  </a:lnTo>
                  <a:lnTo>
                    <a:pt x="245" y="214"/>
                  </a:lnTo>
                  <a:lnTo>
                    <a:pt x="251" y="230"/>
                  </a:lnTo>
                  <a:lnTo>
                    <a:pt x="254" y="238"/>
                  </a:lnTo>
                  <a:lnTo>
                    <a:pt x="257" y="247"/>
                  </a:lnTo>
                  <a:lnTo>
                    <a:pt x="258" y="256"/>
                  </a:lnTo>
                  <a:lnTo>
                    <a:pt x="260" y="264"/>
                  </a:lnTo>
                  <a:lnTo>
                    <a:pt x="255" y="270"/>
                  </a:lnTo>
                  <a:lnTo>
                    <a:pt x="250" y="278"/>
                  </a:lnTo>
                  <a:lnTo>
                    <a:pt x="244" y="285"/>
                  </a:lnTo>
                  <a:lnTo>
                    <a:pt x="242" y="291"/>
                  </a:lnTo>
                  <a:lnTo>
                    <a:pt x="237" y="295"/>
                  </a:lnTo>
                  <a:lnTo>
                    <a:pt x="226" y="302"/>
                  </a:lnTo>
                  <a:lnTo>
                    <a:pt x="215" y="309"/>
                  </a:lnTo>
                  <a:lnTo>
                    <a:pt x="210" y="313"/>
                  </a:lnTo>
                  <a:lnTo>
                    <a:pt x="208" y="318"/>
                  </a:lnTo>
                  <a:lnTo>
                    <a:pt x="203" y="322"/>
                  </a:lnTo>
                  <a:lnTo>
                    <a:pt x="195" y="326"/>
                  </a:lnTo>
                  <a:lnTo>
                    <a:pt x="188" y="328"/>
                  </a:lnTo>
                  <a:lnTo>
                    <a:pt x="184" y="332"/>
                  </a:lnTo>
                  <a:lnTo>
                    <a:pt x="179" y="338"/>
                  </a:lnTo>
                  <a:lnTo>
                    <a:pt x="174" y="343"/>
                  </a:lnTo>
                  <a:lnTo>
                    <a:pt x="170" y="346"/>
                  </a:lnTo>
                  <a:lnTo>
                    <a:pt x="169" y="352"/>
                  </a:lnTo>
                  <a:lnTo>
                    <a:pt x="168" y="361"/>
                  </a:lnTo>
                  <a:lnTo>
                    <a:pt x="166" y="371"/>
                  </a:lnTo>
                  <a:lnTo>
                    <a:pt x="166" y="381"/>
                  </a:lnTo>
                  <a:lnTo>
                    <a:pt x="162" y="382"/>
                  </a:lnTo>
                  <a:lnTo>
                    <a:pt x="161" y="384"/>
                  </a:lnTo>
                  <a:lnTo>
                    <a:pt x="161" y="387"/>
                  </a:lnTo>
                  <a:lnTo>
                    <a:pt x="161" y="390"/>
                  </a:lnTo>
                  <a:lnTo>
                    <a:pt x="156" y="392"/>
                  </a:lnTo>
                  <a:lnTo>
                    <a:pt x="148" y="397"/>
                  </a:lnTo>
                  <a:lnTo>
                    <a:pt x="141" y="404"/>
                  </a:lnTo>
                  <a:lnTo>
                    <a:pt x="139" y="408"/>
                  </a:lnTo>
                  <a:lnTo>
                    <a:pt x="131" y="408"/>
                  </a:lnTo>
                  <a:lnTo>
                    <a:pt x="125" y="410"/>
                  </a:lnTo>
                  <a:lnTo>
                    <a:pt x="117" y="413"/>
                  </a:lnTo>
                  <a:lnTo>
                    <a:pt x="109" y="415"/>
                  </a:lnTo>
                  <a:lnTo>
                    <a:pt x="92" y="423"/>
                  </a:lnTo>
                  <a:lnTo>
                    <a:pt x="77" y="430"/>
                  </a:lnTo>
                  <a:lnTo>
                    <a:pt x="60" y="439"/>
                  </a:lnTo>
                  <a:lnTo>
                    <a:pt x="44" y="446"/>
                  </a:lnTo>
                  <a:lnTo>
                    <a:pt x="37" y="449"/>
                  </a:lnTo>
                  <a:lnTo>
                    <a:pt x="30" y="451"/>
                  </a:lnTo>
                  <a:lnTo>
                    <a:pt x="23" y="453"/>
                  </a:lnTo>
                  <a:lnTo>
                    <a:pt x="17" y="453"/>
                  </a:lnTo>
                  <a:lnTo>
                    <a:pt x="17" y="462"/>
                  </a:lnTo>
                  <a:lnTo>
                    <a:pt x="8" y="462"/>
                  </a:lnTo>
                  <a:lnTo>
                    <a:pt x="7" y="465"/>
                  </a:lnTo>
                  <a:lnTo>
                    <a:pt x="4" y="468"/>
                  </a:lnTo>
                  <a:lnTo>
                    <a:pt x="1" y="471"/>
                  </a:lnTo>
                  <a:lnTo>
                    <a:pt x="0" y="471"/>
                  </a:lnTo>
                  <a:lnTo>
                    <a:pt x="0" y="505"/>
                  </a:lnTo>
                  <a:lnTo>
                    <a:pt x="1" y="540"/>
                  </a:lnTo>
                  <a:lnTo>
                    <a:pt x="2" y="574"/>
                  </a:lnTo>
                  <a:lnTo>
                    <a:pt x="4" y="610"/>
                  </a:lnTo>
                  <a:lnTo>
                    <a:pt x="5" y="645"/>
                  </a:lnTo>
                  <a:lnTo>
                    <a:pt x="7" y="678"/>
                  </a:lnTo>
                  <a:lnTo>
                    <a:pt x="7" y="713"/>
                  </a:lnTo>
                  <a:lnTo>
                    <a:pt x="8" y="745"/>
                  </a:lnTo>
                  <a:lnTo>
                    <a:pt x="12" y="750"/>
                  </a:lnTo>
                  <a:lnTo>
                    <a:pt x="16" y="756"/>
                  </a:lnTo>
                  <a:lnTo>
                    <a:pt x="21" y="763"/>
                  </a:lnTo>
                  <a:lnTo>
                    <a:pt x="22" y="767"/>
                  </a:lnTo>
                  <a:lnTo>
                    <a:pt x="58" y="767"/>
                  </a:lnTo>
                  <a:lnTo>
                    <a:pt x="68" y="759"/>
                  </a:lnTo>
                  <a:lnTo>
                    <a:pt x="77" y="752"/>
                  </a:lnTo>
                  <a:lnTo>
                    <a:pt x="84" y="747"/>
                  </a:lnTo>
                  <a:lnTo>
                    <a:pt x="92" y="744"/>
                  </a:lnTo>
                  <a:lnTo>
                    <a:pt x="99" y="743"/>
                  </a:lnTo>
                  <a:lnTo>
                    <a:pt x="106" y="742"/>
                  </a:lnTo>
                  <a:lnTo>
                    <a:pt x="111" y="743"/>
                  </a:lnTo>
                  <a:lnTo>
                    <a:pt x="118" y="745"/>
                  </a:lnTo>
                  <a:lnTo>
                    <a:pt x="130" y="750"/>
                  </a:lnTo>
                  <a:lnTo>
                    <a:pt x="142" y="756"/>
                  </a:lnTo>
                  <a:lnTo>
                    <a:pt x="150" y="759"/>
                  </a:lnTo>
                  <a:lnTo>
                    <a:pt x="157" y="761"/>
                  </a:lnTo>
                  <a:lnTo>
                    <a:pt x="166" y="762"/>
                  </a:lnTo>
                  <a:lnTo>
                    <a:pt x="175" y="763"/>
                  </a:lnTo>
                  <a:lnTo>
                    <a:pt x="177" y="772"/>
                  </a:lnTo>
                  <a:lnTo>
                    <a:pt x="179" y="785"/>
                  </a:lnTo>
                  <a:lnTo>
                    <a:pt x="180" y="786"/>
                  </a:lnTo>
                  <a:lnTo>
                    <a:pt x="181" y="788"/>
                  </a:lnTo>
                  <a:lnTo>
                    <a:pt x="183" y="791"/>
                  </a:lnTo>
                  <a:lnTo>
                    <a:pt x="184" y="795"/>
                  </a:lnTo>
                  <a:lnTo>
                    <a:pt x="186" y="805"/>
                  </a:lnTo>
                  <a:lnTo>
                    <a:pt x="187" y="818"/>
                  </a:lnTo>
                  <a:lnTo>
                    <a:pt x="188" y="842"/>
                  </a:lnTo>
                  <a:lnTo>
                    <a:pt x="188" y="857"/>
                  </a:lnTo>
                  <a:lnTo>
                    <a:pt x="179" y="861"/>
                  </a:lnTo>
                  <a:lnTo>
                    <a:pt x="179" y="875"/>
                  </a:lnTo>
                  <a:lnTo>
                    <a:pt x="170" y="891"/>
                  </a:lnTo>
                  <a:lnTo>
                    <a:pt x="161" y="907"/>
                  </a:lnTo>
                  <a:lnTo>
                    <a:pt x="161" y="913"/>
                  </a:lnTo>
                  <a:lnTo>
                    <a:pt x="160" y="917"/>
                  </a:lnTo>
                  <a:lnTo>
                    <a:pt x="159" y="921"/>
                  </a:lnTo>
                  <a:lnTo>
                    <a:pt x="157" y="925"/>
                  </a:lnTo>
                  <a:lnTo>
                    <a:pt x="158" y="943"/>
                  </a:lnTo>
                  <a:lnTo>
                    <a:pt x="161" y="962"/>
                  </a:lnTo>
                  <a:lnTo>
                    <a:pt x="164" y="981"/>
                  </a:lnTo>
                  <a:lnTo>
                    <a:pt x="166" y="996"/>
                  </a:lnTo>
                  <a:lnTo>
                    <a:pt x="171" y="1000"/>
                  </a:lnTo>
                  <a:lnTo>
                    <a:pt x="176" y="1002"/>
                  </a:lnTo>
                  <a:lnTo>
                    <a:pt x="177" y="1004"/>
                  </a:lnTo>
                  <a:lnTo>
                    <a:pt x="178" y="1006"/>
                  </a:lnTo>
                  <a:lnTo>
                    <a:pt x="179" y="1010"/>
                  </a:lnTo>
                  <a:lnTo>
                    <a:pt x="179" y="1014"/>
                  </a:lnTo>
                  <a:lnTo>
                    <a:pt x="184" y="1023"/>
                  </a:lnTo>
                  <a:lnTo>
                    <a:pt x="186" y="1025"/>
                  </a:lnTo>
                  <a:lnTo>
                    <a:pt x="188" y="1028"/>
                  </a:lnTo>
                  <a:lnTo>
                    <a:pt x="190" y="1031"/>
                  </a:lnTo>
                  <a:lnTo>
                    <a:pt x="192" y="1034"/>
                  </a:lnTo>
                  <a:lnTo>
                    <a:pt x="195" y="1044"/>
                  </a:lnTo>
                  <a:lnTo>
                    <a:pt x="196" y="1055"/>
                  </a:lnTo>
                  <a:lnTo>
                    <a:pt x="199" y="1082"/>
                  </a:lnTo>
                  <a:lnTo>
                    <a:pt x="200" y="1111"/>
                  </a:lnTo>
                  <a:lnTo>
                    <a:pt x="202" y="1140"/>
                  </a:lnTo>
                  <a:lnTo>
                    <a:pt x="204" y="1166"/>
                  </a:lnTo>
                  <a:lnTo>
                    <a:pt x="206" y="1175"/>
                  </a:lnTo>
                  <a:lnTo>
                    <a:pt x="208" y="1183"/>
                  </a:lnTo>
                  <a:lnTo>
                    <a:pt x="209" y="1186"/>
                  </a:lnTo>
                  <a:lnTo>
                    <a:pt x="212" y="1188"/>
                  </a:lnTo>
                  <a:lnTo>
                    <a:pt x="213" y="1189"/>
                  </a:lnTo>
                  <a:lnTo>
                    <a:pt x="215" y="1189"/>
                  </a:lnTo>
                  <a:lnTo>
                    <a:pt x="217" y="1203"/>
                  </a:lnTo>
                  <a:lnTo>
                    <a:pt x="219" y="1216"/>
                  </a:lnTo>
                  <a:lnTo>
                    <a:pt x="228" y="1225"/>
                  </a:lnTo>
                  <a:lnTo>
                    <a:pt x="229" y="1232"/>
                  </a:lnTo>
                  <a:lnTo>
                    <a:pt x="234" y="1243"/>
                  </a:lnTo>
                  <a:lnTo>
                    <a:pt x="235" y="1249"/>
                  </a:lnTo>
                  <a:lnTo>
                    <a:pt x="237" y="1253"/>
                  </a:lnTo>
                  <a:lnTo>
                    <a:pt x="240" y="1255"/>
                  </a:lnTo>
                  <a:lnTo>
                    <a:pt x="242" y="1257"/>
                  </a:lnTo>
                  <a:lnTo>
                    <a:pt x="242" y="1266"/>
                  </a:lnTo>
                  <a:lnTo>
                    <a:pt x="245" y="1269"/>
                  </a:lnTo>
                  <a:lnTo>
                    <a:pt x="251" y="1276"/>
                  </a:lnTo>
                  <a:lnTo>
                    <a:pt x="254" y="1282"/>
                  </a:lnTo>
                  <a:lnTo>
                    <a:pt x="257" y="1286"/>
                  </a:lnTo>
                  <a:lnTo>
                    <a:pt x="258" y="1292"/>
                  </a:lnTo>
                  <a:lnTo>
                    <a:pt x="260" y="1298"/>
                  </a:lnTo>
                  <a:lnTo>
                    <a:pt x="264" y="1298"/>
                  </a:lnTo>
                  <a:lnTo>
                    <a:pt x="269" y="1300"/>
                  </a:lnTo>
                  <a:lnTo>
                    <a:pt x="272" y="1303"/>
                  </a:lnTo>
                  <a:lnTo>
                    <a:pt x="273" y="1307"/>
                  </a:lnTo>
                  <a:lnTo>
                    <a:pt x="276" y="1307"/>
                  </a:lnTo>
                  <a:lnTo>
                    <a:pt x="280" y="1307"/>
                  </a:lnTo>
                  <a:lnTo>
                    <a:pt x="279" y="1291"/>
                  </a:lnTo>
                  <a:lnTo>
                    <a:pt x="280" y="1278"/>
                  </a:lnTo>
                  <a:lnTo>
                    <a:pt x="281" y="1272"/>
                  </a:lnTo>
                  <a:lnTo>
                    <a:pt x="281" y="1269"/>
                  </a:lnTo>
                  <a:lnTo>
                    <a:pt x="283" y="1266"/>
                  </a:lnTo>
                  <a:lnTo>
                    <a:pt x="284" y="1265"/>
                  </a:lnTo>
                  <a:lnTo>
                    <a:pt x="284" y="1260"/>
                  </a:lnTo>
                  <a:lnTo>
                    <a:pt x="288" y="1259"/>
                  </a:lnTo>
                  <a:lnTo>
                    <a:pt x="290" y="1257"/>
                  </a:lnTo>
                  <a:lnTo>
                    <a:pt x="292" y="1255"/>
                  </a:lnTo>
                  <a:lnTo>
                    <a:pt x="293" y="1253"/>
                  </a:lnTo>
                  <a:lnTo>
                    <a:pt x="333" y="1253"/>
                  </a:lnTo>
                  <a:lnTo>
                    <a:pt x="372" y="1254"/>
                  </a:lnTo>
                  <a:lnTo>
                    <a:pt x="392" y="1255"/>
                  </a:lnTo>
                  <a:lnTo>
                    <a:pt x="413" y="1257"/>
                  </a:lnTo>
                  <a:lnTo>
                    <a:pt x="433" y="1260"/>
                  </a:lnTo>
                  <a:lnTo>
                    <a:pt x="453" y="1263"/>
                  </a:lnTo>
                  <a:lnTo>
                    <a:pt x="472" y="1266"/>
                  </a:lnTo>
                  <a:lnTo>
                    <a:pt x="491" y="1272"/>
                  </a:lnTo>
                  <a:lnTo>
                    <a:pt x="509" y="1278"/>
                  </a:lnTo>
                  <a:lnTo>
                    <a:pt x="526" y="1285"/>
                  </a:lnTo>
                  <a:lnTo>
                    <a:pt x="544" y="1294"/>
                  </a:lnTo>
                  <a:lnTo>
                    <a:pt x="560" y="1304"/>
                  </a:lnTo>
                  <a:lnTo>
                    <a:pt x="576" y="1315"/>
                  </a:lnTo>
                  <a:lnTo>
                    <a:pt x="591" y="1329"/>
                  </a:lnTo>
                  <a:lnTo>
                    <a:pt x="603" y="1342"/>
                  </a:lnTo>
                  <a:lnTo>
                    <a:pt x="628" y="1367"/>
                  </a:lnTo>
                  <a:lnTo>
                    <a:pt x="641" y="1378"/>
                  </a:lnTo>
                  <a:lnTo>
                    <a:pt x="653" y="1386"/>
                  </a:lnTo>
                  <a:lnTo>
                    <a:pt x="657" y="1388"/>
                  </a:lnTo>
                  <a:lnTo>
                    <a:pt x="660" y="1388"/>
                  </a:lnTo>
                  <a:lnTo>
                    <a:pt x="661" y="1388"/>
                  </a:lnTo>
                  <a:lnTo>
                    <a:pt x="663" y="1387"/>
                  </a:lnTo>
                  <a:lnTo>
                    <a:pt x="663" y="1386"/>
                  </a:lnTo>
                  <a:lnTo>
                    <a:pt x="664" y="1384"/>
                  </a:lnTo>
                  <a:lnTo>
                    <a:pt x="678" y="1384"/>
                  </a:lnTo>
                  <a:lnTo>
                    <a:pt x="693" y="1381"/>
                  </a:lnTo>
                  <a:lnTo>
                    <a:pt x="708" y="1380"/>
                  </a:lnTo>
                  <a:lnTo>
                    <a:pt x="724" y="1377"/>
                  </a:lnTo>
                  <a:lnTo>
                    <a:pt x="754" y="1370"/>
                  </a:lnTo>
                  <a:lnTo>
                    <a:pt x="785" y="1362"/>
                  </a:lnTo>
                  <a:lnTo>
                    <a:pt x="816" y="1355"/>
                  </a:lnTo>
                  <a:lnTo>
                    <a:pt x="847" y="1348"/>
                  </a:lnTo>
                  <a:lnTo>
                    <a:pt x="862" y="1346"/>
                  </a:lnTo>
                  <a:lnTo>
                    <a:pt x="878" y="1343"/>
                  </a:lnTo>
                  <a:lnTo>
                    <a:pt x="894" y="1342"/>
                  </a:lnTo>
                  <a:lnTo>
                    <a:pt x="909" y="1341"/>
                  </a:lnTo>
                  <a:lnTo>
                    <a:pt x="926" y="1341"/>
                  </a:lnTo>
                  <a:lnTo>
                    <a:pt x="943" y="1339"/>
                  </a:lnTo>
                  <a:lnTo>
                    <a:pt x="957" y="1337"/>
                  </a:lnTo>
                  <a:lnTo>
                    <a:pt x="972" y="1333"/>
                  </a:lnTo>
                  <a:lnTo>
                    <a:pt x="997" y="1327"/>
                  </a:lnTo>
                  <a:lnTo>
                    <a:pt x="1023" y="1318"/>
                  </a:lnTo>
                  <a:lnTo>
                    <a:pt x="1019" y="1313"/>
                  </a:lnTo>
                  <a:lnTo>
                    <a:pt x="1014" y="1311"/>
                  </a:lnTo>
                  <a:lnTo>
                    <a:pt x="1014" y="1302"/>
                  </a:lnTo>
                  <a:lnTo>
                    <a:pt x="1005" y="1293"/>
                  </a:lnTo>
                  <a:lnTo>
                    <a:pt x="1005" y="1285"/>
                  </a:lnTo>
                  <a:lnTo>
                    <a:pt x="1004" y="1276"/>
                  </a:lnTo>
                  <a:lnTo>
                    <a:pt x="1003" y="1272"/>
                  </a:lnTo>
                  <a:lnTo>
                    <a:pt x="1002" y="1269"/>
                  </a:lnTo>
                  <a:lnTo>
                    <a:pt x="1000" y="1266"/>
                  </a:lnTo>
                  <a:lnTo>
                    <a:pt x="996" y="1266"/>
                  </a:lnTo>
                  <a:lnTo>
                    <a:pt x="996" y="1257"/>
                  </a:lnTo>
                  <a:lnTo>
                    <a:pt x="989" y="1246"/>
                  </a:lnTo>
                  <a:lnTo>
                    <a:pt x="983" y="1238"/>
                  </a:lnTo>
                  <a:lnTo>
                    <a:pt x="981" y="1223"/>
                  </a:lnTo>
                  <a:lnTo>
                    <a:pt x="979" y="1207"/>
                  </a:lnTo>
                  <a:lnTo>
                    <a:pt x="977" y="1207"/>
                  </a:lnTo>
                  <a:lnTo>
                    <a:pt x="975" y="1205"/>
                  </a:lnTo>
                  <a:lnTo>
                    <a:pt x="974" y="1202"/>
                  </a:lnTo>
                  <a:lnTo>
                    <a:pt x="973" y="1197"/>
                  </a:lnTo>
                  <a:lnTo>
                    <a:pt x="971" y="1187"/>
                  </a:lnTo>
                  <a:lnTo>
                    <a:pt x="968" y="1175"/>
                  </a:lnTo>
                  <a:lnTo>
                    <a:pt x="966" y="1150"/>
                  </a:lnTo>
                  <a:lnTo>
                    <a:pt x="965" y="1136"/>
                  </a:lnTo>
                  <a:lnTo>
                    <a:pt x="964" y="1135"/>
                  </a:lnTo>
                  <a:lnTo>
                    <a:pt x="963" y="1132"/>
                  </a:lnTo>
                  <a:lnTo>
                    <a:pt x="962" y="1128"/>
                  </a:lnTo>
                  <a:lnTo>
                    <a:pt x="961" y="1124"/>
                  </a:lnTo>
                  <a:lnTo>
                    <a:pt x="961" y="1115"/>
                  </a:lnTo>
                  <a:lnTo>
                    <a:pt x="961" y="1109"/>
                  </a:lnTo>
                  <a:lnTo>
                    <a:pt x="960" y="1105"/>
                  </a:lnTo>
                  <a:lnTo>
                    <a:pt x="958" y="1093"/>
                  </a:lnTo>
                  <a:lnTo>
                    <a:pt x="957" y="1079"/>
                  </a:lnTo>
                  <a:lnTo>
                    <a:pt x="956" y="1060"/>
                  </a:lnTo>
                  <a:lnTo>
                    <a:pt x="956" y="1025"/>
                  </a:lnTo>
                  <a:lnTo>
                    <a:pt x="956" y="1005"/>
                  </a:lnTo>
                  <a:lnTo>
                    <a:pt x="951" y="1000"/>
                  </a:lnTo>
                  <a:lnTo>
                    <a:pt x="944" y="987"/>
                  </a:lnTo>
                  <a:lnTo>
                    <a:pt x="941" y="981"/>
                  </a:lnTo>
                  <a:lnTo>
                    <a:pt x="936" y="975"/>
                  </a:lnTo>
                  <a:lnTo>
                    <a:pt x="933" y="971"/>
                  </a:lnTo>
                  <a:lnTo>
                    <a:pt x="929" y="969"/>
                  </a:lnTo>
                  <a:lnTo>
                    <a:pt x="929" y="961"/>
                  </a:lnTo>
                  <a:lnTo>
                    <a:pt x="927" y="959"/>
                  </a:lnTo>
                  <a:lnTo>
                    <a:pt x="926" y="955"/>
                  </a:lnTo>
                  <a:lnTo>
                    <a:pt x="925" y="949"/>
                  </a:lnTo>
                  <a:lnTo>
                    <a:pt x="923" y="942"/>
                  </a:lnTo>
                  <a:lnTo>
                    <a:pt x="920" y="921"/>
                  </a:lnTo>
                  <a:lnTo>
                    <a:pt x="919" y="898"/>
                  </a:lnTo>
                  <a:lnTo>
                    <a:pt x="916" y="850"/>
                  </a:lnTo>
                  <a:lnTo>
                    <a:pt x="916" y="821"/>
                  </a:lnTo>
                  <a:lnTo>
                    <a:pt x="914" y="821"/>
                  </a:lnTo>
                  <a:lnTo>
                    <a:pt x="913" y="819"/>
                  </a:lnTo>
                  <a:lnTo>
                    <a:pt x="913" y="817"/>
                  </a:lnTo>
                  <a:lnTo>
                    <a:pt x="912" y="814"/>
                  </a:lnTo>
                  <a:lnTo>
                    <a:pt x="912" y="808"/>
                  </a:lnTo>
                  <a:lnTo>
                    <a:pt x="912" y="803"/>
                  </a:lnTo>
                  <a:lnTo>
                    <a:pt x="903" y="799"/>
                  </a:lnTo>
                  <a:lnTo>
                    <a:pt x="901" y="792"/>
                  </a:lnTo>
                  <a:lnTo>
                    <a:pt x="899" y="785"/>
                  </a:lnTo>
                  <a:lnTo>
                    <a:pt x="896" y="779"/>
                  </a:lnTo>
                  <a:lnTo>
                    <a:pt x="894" y="772"/>
                  </a:lnTo>
                  <a:lnTo>
                    <a:pt x="890" y="765"/>
                  </a:lnTo>
                  <a:lnTo>
                    <a:pt x="887" y="759"/>
                  </a:lnTo>
                  <a:lnTo>
                    <a:pt x="885" y="752"/>
                  </a:lnTo>
                  <a:lnTo>
                    <a:pt x="884" y="745"/>
                  </a:lnTo>
                  <a:lnTo>
                    <a:pt x="883" y="744"/>
                  </a:lnTo>
                  <a:lnTo>
                    <a:pt x="881" y="743"/>
                  </a:lnTo>
                  <a:lnTo>
                    <a:pt x="880" y="742"/>
                  </a:lnTo>
                  <a:lnTo>
                    <a:pt x="880" y="740"/>
                  </a:lnTo>
                  <a:lnTo>
                    <a:pt x="880" y="735"/>
                  </a:lnTo>
                  <a:lnTo>
                    <a:pt x="879" y="732"/>
                  </a:lnTo>
                  <a:lnTo>
                    <a:pt x="868" y="730"/>
                  </a:lnTo>
                  <a:lnTo>
                    <a:pt x="852" y="727"/>
                  </a:lnTo>
                  <a:lnTo>
                    <a:pt x="851" y="728"/>
                  </a:lnTo>
                  <a:lnTo>
                    <a:pt x="849" y="730"/>
                  </a:lnTo>
                  <a:lnTo>
                    <a:pt x="846" y="731"/>
                  </a:lnTo>
                  <a:lnTo>
                    <a:pt x="841" y="731"/>
                  </a:lnTo>
                  <a:lnTo>
                    <a:pt x="832" y="732"/>
                  </a:lnTo>
                  <a:lnTo>
                    <a:pt x="826" y="732"/>
                  </a:lnTo>
                  <a:lnTo>
                    <a:pt x="816" y="723"/>
                  </a:lnTo>
                  <a:lnTo>
                    <a:pt x="797" y="709"/>
                  </a:lnTo>
                  <a:lnTo>
                    <a:pt x="778" y="697"/>
                  </a:lnTo>
                  <a:lnTo>
                    <a:pt x="768" y="690"/>
                  </a:lnTo>
                  <a:lnTo>
                    <a:pt x="763" y="686"/>
                  </a:lnTo>
                  <a:lnTo>
                    <a:pt x="759" y="677"/>
                  </a:lnTo>
                  <a:lnTo>
                    <a:pt x="751" y="670"/>
                  </a:lnTo>
                  <a:lnTo>
                    <a:pt x="741" y="664"/>
                  </a:lnTo>
                  <a:lnTo>
                    <a:pt x="738" y="660"/>
                  </a:lnTo>
                  <a:lnTo>
                    <a:pt x="736" y="658"/>
                  </a:lnTo>
                  <a:lnTo>
                    <a:pt x="733" y="656"/>
                  </a:lnTo>
                  <a:lnTo>
                    <a:pt x="732" y="655"/>
                  </a:lnTo>
                  <a:lnTo>
                    <a:pt x="732" y="641"/>
                  </a:lnTo>
                  <a:lnTo>
                    <a:pt x="730" y="640"/>
                  </a:lnTo>
                  <a:lnTo>
                    <a:pt x="728" y="638"/>
                  </a:lnTo>
                  <a:lnTo>
                    <a:pt x="728" y="635"/>
                  </a:lnTo>
                  <a:lnTo>
                    <a:pt x="727" y="630"/>
                  </a:lnTo>
                  <a:lnTo>
                    <a:pt x="727" y="621"/>
                  </a:lnTo>
                  <a:lnTo>
                    <a:pt x="727" y="615"/>
                  </a:lnTo>
                  <a:lnTo>
                    <a:pt x="724" y="613"/>
                  </a:lnTo>
                  <a:lnTo>
                    <a:pt x="723" y="612"/>
                  </a:lnTo>
                  <a:lnTo>
                    <a:pt x="723" y="609"/>
                  </a:lnTo>
                  <a:lnTo>
                    <a:pt x="723" y="606"/>
                  </a:lnTo>
                  <a:lnTo>
                    <a:pt x="718" y="601"/>
                  </a:lnTo>
                  <a:lnTo>
                    <a:pt x="714" y="597"/>
                  </a:lnTo>
                  <a:lnTo>
                    <a:pt x="711" y="592"/>
                  </a:lnTo>
                  <a:lnTo>
                    <a:pt x="709" y="588"/>
                  </a:lnTo>
                  <a:lnTo>
                    <a:pt x="701" y="583"/>
                  </a:lnTo>
                  <a:lnTo>
                    <a:pt x="695" y="572"/>
                  </a:lnTo>
                  <a:lnTo>
                    <a:pt x="690" y="565"/>
                  </a:lnTo>
                  <a:lnTo>
                    <a:pt x="692" y="526"/>
                  </a:lnTo>
                  <a:lnTo>
                    <a:pt x="693" y="487"/>
                  </a:lnTo>
                  <a:lnTo>
                    <a:pt x="694" y="447"/>
                  </a:lnTo>
                  <a:lnTo>
                    <a:pt x="695" y="407"/>
                  </a:lnTo>
                  <a:lnTo>
                    <a:pt x="697" y="368"/>
                  </a:lnTo>
                  <a:lnTo>
                    <a:pt x="698" y="327"/>
                  </a:lnTo>
                  <a:lnTo>
                    <a:pt x="699" y="286"/>
                  </a:lnTo>
                  <a:lnTo>
                    <a:pt x="701" y="246"/>
                  </a:lnTo>
                  <a:lnTo>
                    <a:pt x="698" y="246"/>
                  </a:lnTo>
                  <a:lnTo>
                    <a:pt x="697" y="244"/>
                  </a:lnTo>
                  <a:lnTo>
                    <a:pt x="695" y="242"/>
                  </a:lnTo>
                  <a:lnTo>
                    <a:pt x="694" y="240"/>
                  </a:lnTo>
                  <a:lnTo>
                    <a:pt x="692" y="233"/>
                  </a:lnTo>
                  <a:lnTo>
                    <a:pt x="690" y="228"/>
                  </a:lnTo>
                  <a:lnTo>
                    <a:pt x="686" y="222"/>
                  </a:lnTo>
                  <a:lnTo>
                    <a:pt x="680" y="212"/>
                  </a:lnTo>
                  <a:lnTo>
                    <a:pt x="675" y="202"/>
                  </a:lnTo>
                  <a:lnTo>
                    <a:pt x="673" y="193"/>
                  </a:lnTo>
                  <a:lnTo>
                    <a:pt x="668" y="185"/>
                  </a:lnTo>
                  <a:lnTo>
                    <a:pt x="664" y="175"/>
                  </a:lnTo>
                  <a:lnTo>
                    <a:pt x="655" y="170"/>
                  </a:lnTo>
                  <a:lnTo>
                    <a:pt x="650" y="166"/>
                  </a:lnTo>
                  <a:lnTo>
                    <a:pt x="646" y="150"/>
                  </a:lnTo>
                  <a:lnTo>
                    <a:pt x="641" y="135"/>
                  </a:lnTo>
                  <a:lnTo>
                    <a:pt x="640" y="132"/>
                  </a:lnTo>
                  <a:lnTo>
                    <a:pt x="639" y="127"/>
                  </a:lnTo>
                  <a:lnTo>
                    <a:pt x="638" y="119"/>
                  </a:lnTo>
                  <a:lnTo>
                    <a:pt x="638" y="110"/>
                  </a:lnTo>
                  <a:lnTo>
                    <a:pt x="637" y="92"/>
                  </a:lnTo>
                  <a:lnTo>
                    <a:pt x="637" y="80"/>
                  </a:lnTo>
                  <a:lnTo>
                    <a:pt x="634" y="79"/>
                  </a:lnTo>
                  <a:lnTo>
                    <a:pt x="631" y="76"/>
                  </a:lnTo>
                  <a:lnTo>
                    <a:pt x="629" y="72"/>
                  </a:lnTo>
                  <a:lnTo>
                    <a:pt x="628" y="71"/>
                  </a:lnTo>
                  <a:lnTo>
                    <a:pt x="619" y="71"/>
                  </a:lnTo>
                  <a:lnTo>
                    <a:pt x="618" y="70"/>
                  </a:lnTo>
                  <a:lnTo>
                    <a:pt x="616" y="69"/>
                  </a:lnTo>
                  <a:lnTo>
                    <a:pt x="612" y="67"/>
                  </a:lnTo>
                  <a:lnTo>
                    <a:pt x="608" y="67"/>
                  </a:lnTo>
                  <a:lnTo>
                    <a:pt x="596" y="64"/>
                  </a:lnTo>
                  <a:lnTo>
                    <a:pt x="581" y="63"/>
                  </a:lnTo>
                  <a:lnTo>
                    <a:pt x="553" y="62"/>
                  </a:lnTo>
                  <a:lnTo>
                    <a:pt x="534" y="62"/>
                  </a:lnTo>
                  <a:lnTo>
                    <a:pt x="533" y="60"/>
                  </a:lnTo>
                  <a:lnTo>
                    <a:pt x="531" y="59"/>
                  </a:lnTo>
                  <a:lnTo>
                    <a:pt x="528" y="58"/>
                  </a:lnTo>
                  <a:lnTo>
                    <a:pt x="525" y="58"/>
                  </a:lnTo>
                  <a:lnTo>
                    <a:pt x="521" y="53"/>
                  </a:lnTo>
                  <a:lnTo>
                    <a:pt x="521" y="47"/>
                  </a:lnTo>
                  <a:lnTo>
                    <a:pt x="521" y="40"/>
                  </a:lnTo>
                  <a:lnTo>
                    <a:pt x="511" y="31"/>
                  </a:lnTo>
                  <a:lnTo>
                    <a:pt x="511" y="22"/>
                  </a:lnTo>
                  <a:lnTo>
                    <a:pt x="510" y="22"/>
                  </a:lnTo>
                  <a:lnTo>
                    <a:pt x="509" y="21"/>
                  </a:lnTo>
                  <a:lnTo>
                    <a:pt x="507" y="19"/>
                  </a:lnTo>
                  <a:lnTo>
                    <a:pt x="507" y="16"/>
                  </a:lnTo>
                  <a:lnTo>
                    <a:pt x="507" y="12"/>
                  </a:lnTo>
                  <a:lnTo>
                    <a:pt x="506" y="9"/>
                  </a:lnTo>
                  <a:lnTo>
                    <a:pt x="503" y="7"/>
                  </a:lnTo>
                  <a:lnTo>
                    <a:pt x="501" y="4"/>
                  </a:lnTo>
                  <a:lnTo>
                    <a:pt x="498" y="1"/>
                  </a:lnTo>
                  <a:lnTo>
                    <a:pt x="497" y="0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3" name="Freeform 39"/>
            <p:cNvSpPr>
              <a:spLocks noChangeAspect="1"/>
            </p:cNvSpPr>
            <p:nvPr/>
          </p:nvSpPr>
          <p:spPr bwMode="gray">
            <a:xfrm rot="355651">
              <a:off x="5515020" y="2779713"/>
              <a:ext cx="342778" cy="410937"/>
            </a:xfrm>
            <a:custGeom>
              <a:avLst/>
              <a:gdLst/>
              <a:ahLst/>
              <a:cxnLst>
                <a:cxn ang="0">
                  <a:pos x="840" y="60"/>
                </a:cxn>
                <a:cxn ang="0">
                  <a:pos x="765" y="215"/>
                </a:cxn>
                <a:cxn ang="0">
                  <a:pos x="721" y="403"/>
                </a:cxn>
                <a:cxn ang="0">
                  <a:pos x="691" y="583"/>
                </a:cxn>
                <a:cxn ang="0">
                  <a:pos x="341" y="623"/>
                </a:cxn>
                <a:cxn ang="0">
                  <a:pos x="240" y="670"/>
                </a:cxn>
                <a:cxn ang="0">
                  <a:pos x="172" y="748"/>
                </a:cxn>
                <a:cxn ang="0">
                  <a:pos x="48" y="806"/>
                </a:cxn>
                <a:cxn ang="0">
                  <a:pos x="0" y="873"/>
                </a:cxn>
                <a:cxn ang="0">
                  <a:pos x="49" y="934"/>
                </a:cxn>
                <a:cxn ang="0">
                  <a:pos x="93" y="1044"/>
                </a:cxn>
                <a:cxn ang="0">
                  <a:pos x="155" y="1238"/>
                </a:cxn>
                <a:cxn ang="0">
                  <a:pos x="182" y="1295"/>
                </a:cxn>
                <a:cxn ang="0">
                  <a:pos x="286" y="1309"/>
                </a:cxn>
                <a:cxn ang="0">
                  <a:pos x="325" y="1422"/>
                </a:cxn>
                <a:cxn ang="0">
                  <a:pos x="354" y="1605"/>
                </a:cxn>
                <a:cxn ang="0">
                  <a:pos x="380" y="1849"/>
                </a:cxn>
                <a:cxn ang="0">
                  <a:pos x="408" y="1907"/>
                </a:cxn>
                <a:cxn ang="0">
                  <a:pos x="525" y="1967"/>
                </a:cxn>
                <a:cxn ang="0">
                  <a:pos x="558" y="2029"/>
                </a:cxn>
                <a:cxn ang="0">
                  <a:pos x="583" y="2192"/>
                </a:cxn>
                <a:cxn ang="0">
                  <a:pos x="617" y="2342"/>
                </a:cxn>
                <a:cxn ang="0">
                  <a:pos x="634" y="2444"/>
                </a:cxn>
                <a:cxn ang="0">
                  <a:pos x="671" y="2548"/>
                </a:cxn>
                <a:cxn ang="0">
                  <a:pos x="813" y="2499"/>
                </a:cxn>
                <a:cxn ang="0">
                  <a:pos x="880" y="2482"/>
                </a:cxn>
                <a:cxn ang="0">
                  <a:pos x="1084" y="2538"/>
                </a:cxn>
                <a:cxn ang="0">
                  <a:pos x="1134" y="2484"/>
                </a:cxn>
                <a:cxn ang="0">
                  <a:pos x="1208" y="2394"/>
                </a:cxn>
                <a:cxn ang="0">
                  <a:pos x="1310" y="2330"/>
                </a:cxn>
                <a:cxn ang="0">
                  <a:pos x="1350" y="2210"/>
                </a:cxn>
                <a:cxn ang="0">
                  <a:pos x="1398" y="2171"/>
                </a:cxn>
                <a:cxn ang="0">
                  <a:pos x="1447" y="2152"/>
                </a:cxn>
                <a:cxn ang="0">
                  <a:pos x="1613" y="2044"/>
                </a:cxn>
                <a:cxn ang="0">
                  <a:pos x="1654" y="1843"/>
                </a:cxn>
                <a:cxn ang="0">
                  <a:pos x="1603" y="1785"/>
                </a:cxn>
                <a:cxn ang="0">
                  <a:pos x="1553" y="1763"/>
                </a:cxn>
                <a:cxn ang="0">
                  <a:pos x="1569" y="1688"/>
                </a:cxn>
                <a:cxn ang="0">
                  <a:pos x="1642" y="1652"/>
                </a:cxn>
                <a:cxn ang="0">
                  <a:pos x="1747" y="1603"/>
                </a:cxn>
                <a:cxn ang="0">
                  <a:pos x="1789" y="1471"/>
                </a:cxn>
                <a:cxn ang="0">
                  <a:pos x="1803" y="1386"/>
                </a:cxn>
                <a:cxn ang="0">
                  <a:pos x="1804" y="1306"/>
                </a:cxn>
                <a:cxn ang="0">
                  <a:pos x="1861" y="1209"/>
                </a:cxn>
                <a:cxn ang="0">
                  <a:pos x="1697" y="1205"/>
                </a:cxn>
                <a:cxn ang="0">
                  <a:pos x="1543" y="1170"/>
                </a:cxn>
                <a:cxn ang="0">
                  <a:pos x="1503" y="1094"/>
                </a:cxn>
                <a:cxn ang="0">
                  <a:pos x="1454" y="999"/>
                </a:cxn>
                <a:cxn ang="0">
                  <a:pos x="1424" y="911"/>
                </a:cxn>
                <a:cxn ang="0">
                  <a:pos x="1423" y="835"/>
                </a:cxn>
                <a:cxn ang="0">
                  <a:pos x="1460" y="763"/>
                </a:cxn>
                <a:cxn ang="0">
                  <a:pos x="1332" y="695"/>
                </a:cxn>
                <a:cxn ang="0">
                  <a:pos x="1301" y="593"/>
                </a:cxn>
                <a:cxn ang="0">
                  <a:pos x="1320" y="515"/>
                </a:cxn>
                <a:cxn ang="0">
                  <a:pos x="1297" y="332"/>
                </a:cxn>
                <a:cxn ang="0">
                  <a:pos x="1243" y="174"/>
                </a:cxn>
                <a:cxn ang="0">
                  <a:pos x="1142" y="106"/>
                </a:cxn>
                <a:cxn ang="0">
                  <a:pos x="1060" y="77"/>
                </a:cxn>
                <a:cxn ang="0">
                  <a:pos x="1016" y="11"/>
                </a:cxn>
                <a:cxn ang="0">
                  <a:pos x="906" y="6"/>
                </a:cxn>
              </a:cxnLst>
              <a:rect l="0" t="0" r="r" b="b"/>
              <a:pathLst>
                <a:path w="1890" h="2555">
                  <a:moveTo>
                    <a:pt x="906" y="11"/>
                  </a:moveTo>
                  <a:lnTo>
                    <a:pt x="892" y="13"/>
                  </a:lnTo>
                  <a:lnTo>
                    <a:pt x="879" y="17"/>
                  </a:lnTo>
                  <a:lnTo>
                    <a:pt x="878" y="21"/>
                  </a:lnTo>
                  <a:lnTo>
                    <a:pt x="874" y="25"/>
                  </a:lnTo>
                  <a:lnTo>
                    <a:pt x="869" y="27"/>
                  </a:lnTo>
                  <a:lnTo>
                    <a:pt x="862" y="28"/>
                  </a:lnTo>
                  <a:lnTo>
                    <a:pt x="861" y="32"/>
                  </a:lnTo>
                  <a:lnTo>
                    <a:pt x="858" y="38"/>
                  </a:lnTo>
                  <a:lnTo>
                    <a:pt x="855" y="40"/>
                  </a:lnTo>
                  <a:lnTo>
                    <a:pt x="853" y="42"/>
                  </a:lnTo>
                  <a:lnTo>
                    <a:pt x="850" y="44"/>
                  </a:lnTo>
                  <a:lnTo>
                    <a:pt x="845" y="45"/>
                  </a:lnTo>
                  <a:lnTo>
                    <a:pt x="840" y="60"/>
                  </a:lnTo>
                  <a:lnTo>
                    <a:pt x="838" y="63"/>
                  </a:lnTo>
                  <a:lnTo>
                    <a:pt x="833" y="67"/>
                  </a:lnTo>
                  <a:lnTo>
                    <a:pt x="829" y="74"/>
                  </a:lnTo>
                  <a:lnTo>
                    <a:pt x="823" y="82"/>
                  </a:lnTo>
                  <a:lnTo>
                    <a:pt x="812" y="97"/>
                  </a:lnTo>
                  <a:lnTo>
                    <a:pt x="802" y="111"/>
                  </a:lnTo>
                  <a:lnTo>
                    <a:pt x="798" y="123"/>
                  </a:lnTo>
                  <a:lnTo>
                    <a:pt x="793" y="142"/>
                  </a:lnTo>
                  <a:lnTo>
                    <a:pt x="785" y="161"/>
                  </a:lnTo>
                  <a:lnTo>
                    <a:pt x="780" y="171"/>
                  </a:lnTo>
                  <a:lnTo>
                    <a:pt x="780" y="186"/>
                  </a:lnTo>
                  <a:lnTo>
                    <a:pt x="775" y="194"/>
                  </a:lnTo>
                  <a:lnTo>
                    <a:pt x="769" y="204"/>
                  </a:lnTo>
                  <a:lnTo>
                    <a:pt x="765" y="215"/>
                  </a:lnTo>
                  <a:lnTo>
                    <a:pt x="763" y="225"/>
                  </a:lnTo>
                  <a:lnTo>
                    <a:pt x="755" y="239"/>
                  </a:lnTo>
                  <a:lnTo>
                    <a:pt x="747" y="252"/>
                  </a:lnTo>
                  <a:lnTo>
                    <a:pt x="747" y="269"/>
                  </a:lnTo>
                  <a:lnTo>
                    <a:pt x="745" y="271"/>
                  </a:lnTo>
                  <a:lnTo>
                    <a:pt x="742" y="275"/>
                  </a:lnTo>
                  <a:lnTo>
                    <a:pt x="739" y="280"/>
                  </a:lnTo>
                  <a:lnTo>
                    <a:pt x="736" y="287"/>
                  </a:lnTo>
                  <a:lnTo>
                    <a:pt x="732" y="299"/>
                  </a:lnTo>
                  <a:lnTo>
                    <a:pt x="730" y="308"/>
                  </a:lnTo>
                  <a:lnTo>
                    <a:pt x="719" y="319"/>
                  </a:lnTo>
                  <a:lnTo>
                    <a:pt x="719" y="346"/>
                  </a:lnTo>
                  <a:lnTo>
                    <a:pt x="720" y="374"/>
                  </a:lnTo>
                  <a:lnTo>
                    <a:pt x="721" y="403"/>
                  </a:lnTo>
                  <a:lnTo>
                    <a:pt x="721" y="431"/>
                  </a:lnTo>
                  <a:lnTo>
                    <a:pt x="723" y="460"/>
                  </a:lnTo>
                  <a:lnTo>
                    <a:pt x="724" y="489"/>
                  </a:lnTo>
                  <a:lnTo>
                    <a:pt x="725" y="517"/>
                  </a:lnTo>
                  <a:lnTo>
                    <a:pt x="725" y="544"/>
                  </a:lnTo>
                  <a:lnTo>
                    <a:pt x="721" y="545"/>
                  </a:lnTo>
                  <a:lnTo>
                    <a:pt x="720" y="547"/>
                  </a:lnTo>
                  <a:lnTo>
                    <a:pt x="719" y="550"/>
                  </a:lnTo>
                  <a:lnTo>
                    <a:pt x="719" y="555"/>
                  </a:lnTo>
                  <a:lnTo>
                    <a:pt x="708" y="560"/>
                  </a:lnTo>
                  <a:lnTo>
                    <a:pt x="707" y="565"/>
                  </a:lnTo>
                  <a:lnTo>
                    <a:pt x="702" y="571"/>
                  </a:lnTo>
                  <a:lnTo>
                    <a:pt x="697" y="577"/>
                  </a:lnTo>
                  <a:lnTo>
                    <a:pt x="691" y="583"/>
                  </a:lnTo>
                  <a:lnTo>
                    <a:pt x="684" y="584"/>
                  </a:lnTo>
                  <a:lnTo>
                    <a:pt x="670" y="586"/>
                  </a:lnTo>
                  <a:lnTo>
                    <a:pt x="665" y="587"/>
                  </a:lnTo>
                  <a:lnTo>
                    <a:pt x="659" y="589"/>
                  </a:lnTo>
                  <a:lnTo>
                    <a:pt x="654" y="592"/>
                  </a:lnTo>
                  <a:lnTo>
                    <a:pt x="653" y="594"/>
                  </a:lnTo>
                  <a:lnTo>
                    <a:pt x="494" y="594"/>
                  </a:lnTo>
                  <a:lnTo>
                    <a:pt x="488" y="604"/>
                  </a:lnTo>
                  <a:lnTo>
                    <a:pt x="470" y="605"/>
                  </a:lnTo>
                  <a:lnTo>
                    <a:pt x="448" y="607"/>
                  </a:lnTo>
                  <a:lnTo>
                    <a:pt x="422" y="612"/>
                  </a:lnTo>
                  <a:lnTo>
                    <a:pt x="395" y="615"/>
                  </a:lnTo>
                  <a:lnTo>
                    <a:pt x="369" y="619"/>
                  </a:lnTo>
                  <a:lnTo>
                    <a:pt x="341" y="623"/>
                  </a:lnTo>
                  <a:lnTo>
                    <a:pt x="315" y="625"/>
                  </a:lnTo>
                  <a:lnTo>
                    <a:pt x="291" y="626"/>
                  </a:lnTo>
                  <a:lnTo>
                    <a:pt x="289" y="629"/>
                  </a:lnTo>
                  <a:lnTo>
                    <a:pt x="287" y="631"/>
                  </a:lnTo>
                  <a:lnTo>
                    <a:pt x="284" y="632"/>
                  </a:lnTo>
                  <a:lnTo>
                    <a:pt x="279" y="632"/>
                  </a:lnTo>
                  <a:lnTo>
                    <a:pt x="275" y="643"/>
                  </a:lnTo>
                  <a:lnTo>
                    <a:pt x="266" y="643"/>
                  </a:lnTo>
                  <a:lnTo>
                    <a:pt x="258" y="643"/>
                  </a:lnTo>
                  <a:lnTo>
                    <a:pt x="253" y="648"/>
                  </a:lnTo>
                  <a:lnTo>
                    <a:pt x="253" y="660"/>
                  </a:lnTo>
                  <a:lnTo>
                    <a:pt x="248" y="663"/>
                  </a:lnTo>
                  <a:lnTo>
                    <a:pt x="244" y="666"/>
                  </a:lnTo>
                  <a:lnTo>
                    <a:pt x="240" y="670"/>
                  </a:lnTo>
                  <a:lnTo>
                    <a:pt x="236" y="670"/>
                  </a:lnTo>
                  <a:lnTo>
                    <a:pt x="234" y="681"/>
                  </a:lnTo>
                  <a:lnTo>
                    <a:pt x="230" y="692"/>
                  </a:lnTo>
                  <a:lnTo>
                    <a:pt x="226" y="693"/>
                  </a:lnTo>
                  <a:lnTo>
                    <a:pt x="222" y="695"/>
                  </a:lnTo>
                  <a:lnTo>
                    <a:pt x="218" y="699"/>
                  </a:lnTo>
                  <a:lnTo>
                    <a:pt x="214" y="703"/>
                  </a:lnTo>
                  <a:lnTo>
                    <a:pt x="214" y="714"/>
                  </a:lnTo>
                  <a:lnTo>
                    <a:pt x="209" y="720"/>
                  </a:lnTo>
                  <a:lnTo>
                    <a:pt x="192" y="730"/>
                  </a:lnTo>
                  <a:lnTo>
                    <a:pt x="176" y="741"/>
                  </a:lnTo>
                  <a:lnTo>
                    <a:pt x="176" y="743"/>
                  </a:lnTo>
                  <a:lnTo>
                    <a:pt x="173" y="746"/>
                  </a:lnTo>
                  <a:lnTo>
                    <a:pt x="172" y="748"/>
                  </a:lnTo>
                  <a:lnTo>
                    <a:pt x="169" y="749"/>
                  </a:lnTo>
                  <a:lnTo>
                    <a:pt x="164" y="751"/>
                  </a:lnTo>
                  <a:lnTo>
                    <a:pt x="159" y="752"/>
                  </a:lnTo>
                  <a:lnTo>
                    <a:pt x="151" y="761"/>
                  </a:lnTo>
                  <a:lnTo>
                    <a:pt x="142" y="769"/>
                  </a:lnTo>
                  <a:lnTo>
                    <a:pt x="132" y="770"/>
                  </a:lnTo>
                  <a:lnTo>
                    <a:pt x="120" y="775"/>
                  </a:lnTo>
                  <a:lnTo>
                    <a:pt x="109" y="779"/>
                  </a:lnTo>
                  <a:lnTo>
                    <a:pt x="96" y="786"/>
                  </a:lnTo>
                  <a:lnTo>
                    <a:pt x="84" y="791"/>
                  </a:lnTo>
                  <a:lnTo>
                    <a:pt x="72" y="797"/>
                  </a:lnTo>
                  <a:lnTo>
                    <a:pt x="59" y="800"/>
                  </a:lnTo>
                  <a:lnTo>
                    <a:pt x="49" y="801"/>
                  </a:lnTo>
                  <a:lnTo>
                    <a:pt x="48" y="806"/>
                  </a:lnTo>
                  <a:lnTo>
                    <a:pt x="46" y="809"/>
                  </a:lnTo>
                  <a:lnTo>
                    <a:pt x="43" y="811"/>
                  </a:lnTo>
                  <a:lnTo>
                    <a:pt x="38" y="813"/>
                  </a:lnTo>
                  <a:lnTo>
                    <a:pt x="36" y="818"/>
                  </a:lnTo>
                  <a:lnTo>
                    <a:pt x="33" y="824"/>
                  </a:lnTo>
                  <a:lnTo>
                    <a:pt x="22" y="824"/>
                  </a:lnTo>
                  <a:lnTo>
                    <a:pt x="16" y="829"/>
                  </a:lnTo>
                  <a:lnTo>
                    <a:pt x="15" y="834"/>
                  </a:lnTo>
                  <a:lnTo>
                    <a:pt x="13" y="837"/>
                  </a:lnTo>
                  <a:lnTo>
                    <a:pt x="9" y="839"/>
                  </a:lnTo>
                  <a:lnTo>
                    <a:pt x="5" y="840"/>
                  </a:lnTo>
                  <a:lnTo>
                    <a:pt x="0" y="846"/>
                  </a:lnTo>
                  <a:lnTo>
                    <a:pt x="0" y="859"/>
                  </a:lnTo>
                  <a:lnTo>
                    <a:pt x="0" y="873"/>
                  </a:lnTo>
                  <a:lnTo>
                    <a:pt x="5" y="878"/>
                  </a:lnTo>
                  <a:lnTo>
                    <a:pt x="10" y="882"/>
                  </a:lnTo>
                  <a:lnTo>
                    <a:pt x="16" y="884"/>
                  </a:lnTo>
                  <a:lnTo>
                    <a:pt x="19" y="891"/>
                  </a:lnTo>
                  <a:lnTo>
                    <a:pt x="25" y="900"/>
                  </a:lnTo>
                  <a:lnTo>
                    <a:pt x="29" y="904"/>
                  </a:lnTo>
                  <a:lnTo>
                    <a:pt x="33" y="909"/>
                  </a:lnTo>
                  <a:lnTo>
                    <a:pt x="36" y="911"/>
                  </a:lnTo>
                  <a:lnTo>
                    <a:pt x="38" y="912"/>
                  </a:lnTo>
                  <a:lnTo>
                    <a:pt x="41" y="920"/>
                  </a:lnTo>
                  <a:lnTo>
                    <a:pt x="44" y="929"/>
                  </a:lnTo>
                  <a:lnTo>
                    <a:pt x="46" y="929"/>
                  </a:lnTo>
                  <a:lnTo>
                    <a:pt x="48" y="931"/>
                  </a:lnTo>
                  <a:lnTo>
                    <a:pt x="49" y="934"/>
                  </a:lnTo>
                  <a:lnTo>
                    <a:pt x="52" y="938"/>
                  </a:lnTo>
                  <a:lnTo>
                    <a:pt x="54" y="944"/>
                  </a:lnTo>
                  <a:lnTo>
                    <a:pt x="55" y="950"/>
                  </a:lnTo>
                  <a:lnTo>
                    <a:pt x="57" y="951"/>
                  </a:lnTo>
                  <a:lnTo>
                    <a:pt x="58" y="953"/>
                  </a:lnTo>
                  <a:lnTo>
                    <a:pt x="61" y="955"/>
                  </a:lnTo>
                  <a:lnTo>
                    <a:pt x="63" y="959"/>
                  </a:lnTo>
                  <a:lnTo>
                    <a:pt x="67" y="967"/>
                  </a:lnTo>
                  <a:lnTo>
                    <a:pt x="72" y="972"/>
                  </a:lnTo>
                  <a:lnTo>
                    <a:pt x="73" y="987"/>
                  </a:lnTo>
                  <a:lnTo>
                    <a:pt x="76" y="1002"/>
                  </a:lnTo>
                  <a:lnTo>
                    <a:pt x="81" y="1018"/>
                  </a:lnTo>
                  <a:lnTo>
                    <a:pt x="82" y="1032"/>
                  </a:lnTo>
                  <a:lnTo>
                    <a:pt x="93" y="1044"/>
                  </a:lnTo>
                  <a:lnTo>
                    <a:pt x="94" y="1050"/>
                  </a:lnTo>
                  <a:lnTo>
                    <a:pt x="97" y="1059"/>
                  </a:lnTo>
                  <a:lnTo>
                    <a:pt x="102" y="1068"/>
                  </a:lnTo>
                  <a:lnTo>
                    <a:pt x="109" y="1078"/>
                  </a:lnTo>
                  <a:lnTo>
                    <a:pt x="114" y="1087"/>
                  </a:lnTo>
                  <a:lnTo>
                    <a:pt x="121" y="1095"/>
                  </a:lnTo>
                  <a:lnTo>
                    <a:pt x="126" y="1100"/>
                  </a:lnTo>
                  <a:lnTo>
                    <a:pt x="132" y="1104"/>
                  </a:lnTo>
                  <a:lnTo>
                    <a:pt x="132" y="1137"/>
                  </a:lnTo>
                  <a:lnTo>
                    <a:pt x="135" y="1171"/>
                  </a:lnTo>
                  <a:lnTo>
                    <a:pt x="139" y="1203"/>
                  </a:lnTo>
                  <a:lnTo>
                    <a:pt x="144" y="1237"/>
                  </a:lnTo>
                  <a:lnTo>
                    <a:pt x="154" y="1237"/>
                  </a:lnTo>
                  <a:lnTo>
                    <a:pt x="155" y="1238"/>
                  </a:lnTo>
                  <a:lnTo>
                    <a:pt x="158" y="1241"/>
                  </a:lnTo>
                  <a:lnTo>
                    <a:pt x="160" y="1244"/>
                  </a:lnTo>
                  <a:lnTo>
                    <a:pt x="163" y="1246"/>
                  </a:lnTo>
                  <a:lnTo>
                    <a:pt x="164" y="1249"/>
                  </a:lnTo>
                  <a:lnTo>
                    <a:pt x="164" y="1253"/>
                  </a:lnTo>
                  <a:lnTo>
                    <a:pt x="164" y="1256"/>
                  </a:lnTo>
                  <a:lnTo>
                    <a:pt x="166" y="1258"/>
                  </a:lnTo>
                  <a:lnTo>
                    <a:pt x="167" y="1259"/>
                  </a:lnTo>
                  <a:lnTo>
                    <a:pt x="168" y="1259"/>
                  </a:lnTo>
                  <a:lnTo>
                    <a:pt x="168" y="1268"/>
                  </a:lnTo>
                  <a:lnTo>
                    <a:pt x="178" y="1277"/>
                  </a:lnTo>
                  <a:lnTo>
                    <a:pt x="178" y="1284"/>
                  </a:lnTo>
                  <a:lnTo>
                    <a:pt x="178" y="1290"/>
                  </a:lnTo>
                  <a:lnTo>
                    <a:pt x="182" y="1295"/>
                  </a:lnTo>
                  <a:lnTo>
                    <a:pt x="185" y="1295"/>
                  </a:lnTo>
                  <a:lnTo>
                    <a:pt x="188" y="1296"/>
                  </a:lnTo>
                  <a:lnTo>
                    <a:pt x="190" y="1297"/>
                  </a:lnTo>
                  <a:lnTo>
                    <a:pt x="191" y="1299"/>
                  </a:lnTo>
                  <a:lnTo>
                    <a:pt x="210" y="1299"/>
                  </a:lnTo>
                  <a:lnTo>
                    <a:pt x="238" y="1300"/>
                  </a:lnTo>
                  <a:lnTo>
                    <a:pt x="253" y="1301"/>
                  </a:lnTo>
                  <a:lnTo>
                    <a:pt x="265" y="1304"/>
                  </a:lnTo>
                  <a:lnTo>
                    <a:pt x="269" y="1304"/>
                  </a:lnTo>
                  <a:lnTo>
                    <a:pt x="273" y="1306"/>
                  </a:lnTo>
                  <a:lnTo>
                    <a:pt x="275" y="1307"/>
                  </a:lnTo>
                  <a:lnTo>
                    <a:pt x="276" y="1308"/>
                  </a:lnTo>
                  <a:lnTo>
                    <a:pt x="285" y="1308"/>
                  </a:lnTo>
                  <a:lnTo>
                    <a:pt x="286" y="1309"/>
                  </a:lnTo>
                  <a:lnTo>
                    <a:pt x="288" y="1313"/>
                  </a:lnTo>
                  <a:lnTo>
                    <a:pt x="291" y="1316"/>
                  </a:lnTo>
                  <a:lnTo>
                    <a:pt x="294" y="1317"/>
                  </a:lnTo>
                  <a:lnTo>
                    <a:pt x="294" y="1329"/>
                  </a:lnTo>
                  <a:lnTo>
                    <a:pt x="295" y="1347"/>
                  </a:lnTo>
                  <a:lnTo>
                    <a:pt x="295" y="1356"/>
                  </a:lnTo>
                  <a:lnTo>
                    <a:pt x="296" y="1364"/>
                  </a:lnTo>
                  <a:lnTo>
                    <a:pt x="297" y="1369"/>
                  </a:lnTo>
                  <a:lnTo>
                    <a:pt x="298" y="1372"/>
                  </a:lnTo>
                  <a:lnTo>
                    <a:pt x="303" y="1387"/>
                  </a:lnTo>
                  <a:lnTo>
                    <a:pt x="307" y="1403"/>
                  </a:lnTo>
                  <a:lnTo>
                    <a:pt x="312" y="1407"/>
                  </a:lnTo>
                  <a:lnTo>
                    <a:pt x="321" y="1412"/>
                  </a:lnTo>
                  <a:lnTo>
                    <a:pt x="325" y="1422"/>
                  </a:lnTo>
                  <a:lnTo>
                    <a:pt x="330" y="1430"/>
                  </a:lnTo>
                  <a:lnTo>
                    <a:pt x="332" y="1439"/>
                  </a:lnTo>
                  <a:lnTo>
                    <a:pt x="337" y="1449"/>
                  </a:lnTo>
                  <a:lnTo>
                    <a:pt x="343" y="1459"/>
                  </a:lnTo>
                  <a:lnTo>
                    <a:pt x="347" y="1465"/>
                  </a:lnTo>
                  <a:lnTo>
                    <a:pt x="349" y="1470"/>
                  </a:lnTo>
                  <a:lnTo>
                    <a:pt x="351" y="1477"/>
                  </a:lnTo>
                  <a:lnTo>
                    <a:pt x="352" y="1479"/>
                  </a:lnTo>
                  <a:lnTo>
                    <a:pt x="354" y="1481"/>
                  </a:lnTo>
                  <a:lnTo>
                    <a:pt x="355" y="1483"/>
                  </a:lnTo>
                  <a:lnTo>
                    <a:pt x="358" y="1483"/>
                  </a:lnTo>
                  <a:lnTo>
                    <a:pt x="356" y="1523"/>
                  </a:lnTo>
                  <a:lnTo>
                    <a:pt x="355" y="1564"/>
                  </a:lnTo>
                  <a:lnTo>
                    <a:pt x="354" y="1605"/>
                  </a:lnTo>
                  <a:lnTo>
                    <a:pt x="352" y="1644"/>
                  </a:lnTo>
                  <a:lnTo>
                    <a:pt x="351" y="1684"/>
                  </a:lnTo>
                  <a:lnTo>
                    <a:pt x="350" y="1724"/>
                  </a:lnTo>
                  <a:lnTo>
                    <a:pt x="349" y="1763"/>
                  </a:lnTo>
                  <a:lnTo>
                    <a:pt x="347" y="1802"/>
                  </a:lnTo>
                  <a:lnTo>
                    <a:pt x="352" y="1809"/>
                  </a:lnTo>
                  <a:lnTo>
                    <a:pt x="358" y="1820"/>
                  </a:lnTo>
                  <a:lnTo>
                    <a:pt x="366" y="1825"/>
                  </a:lnTo>
                  <a:lnTo>
                    <a:pt x="368" y="1829"/>
                  </a:lnTo>
                  <a:lnTo>
                    <a:pt x="371" y="1834"/>
                  </a:lnTo>
                  <a:lnTo>
                    <a:pt x="375" y="1838"/>
                  </a:lnTo>
                  <a:lnTo>
                    <a:pt x="380" y="1843"/>
                  </a:lnTo>
                  <a:lnTo>
                    <a:pt x="380" y="1846"/>
                  </a:lnTo>
                  <a:lnTo>
                    <a:pt x="380" y="1849"/>
                  </a:lnTo>
                  <a:lnTo>
                    <a:pt x="381" y="1850"/>
                  </a:lnTo>
                  <a:lnTo>
                    <a:pt x="384" y="1852"/>
                  </a:lnTo>
                  <a:lnTo>
                    <a:pt x="384" y="1858"/>
                  </a:lnTo>
                  <a:lnTo>
                    <a:pt x="384" y="1867"/>
                  </a:lnTo>
                  <a:lnTo>
                    <a:pt x="385" y="1872"/>
                  </a:lnTo>
                  <a:lnTo>
                    <a:pt x="385" y="1875"/>
                  </a:lnTo>
                  <a:lnTo>
                    <a:pt x="387" y="1877"/>
                  </a:lnTo>
                  <a:lnTo>
                    <a:pt x="389" y="1878"/>
                  </a:lnTo>
                  <a:lnTo>
                    <a:pt x="389" y="1892"/>
                  </a:lnTo>
                  <a:lnTo>
                    <a:pt x="390" y="1893"/>
                  </a:lnTo>
                  <a:lnTo>
                    <a:pt x="393" y="1895"/>
                  </a:lnTo>
                  <a:lnTo>
                    <a:pt x="395" y="1897"/>
                  </a:lnTo>
                  <a:lnTo>
                    <a:pt x="398" y="1901"/>
                  </a:lnTo>
                  <a:lnTo>
                    <a:pt x="408" y="1907"/>
                  </a:lnTo>
                  <a:lnTo>
                    <a:pt x="416" y="1914"/>
                  </a:lnTo>
                  <a:lnTo>
                    <a:pt x="420" y="1923"/>
                  </a:lnTo>
                  <a:lnTo>
                    <a:pt x="425" y="1927"/>
                  </a:lnTo>
                  <a:lnTo>
                    <a:pt x="435" y="1934"/>
                  </a:lnTo>
                  <a:lnTo>
                    <a:pt x="454" y="1946"/>
                  </a:lnTo>
                  <a:lnTo>
                    <a:pt x="473" y="1960"/>
                  </a:lnTo>
                  <a:lnTo>
                    <a:pt x="483" y="1969"/>
                  </a:lnTo>
                  <a:lnTo>
                    <a:pt x="489" y="1969"/>
                  </a:lnTo>
                  <a:lnTo>
                    <a:pt x="498" y="1968"/>
                  </a:lnTo>
                  <a:lnTo>
                    <a:pt x="503" y="1968"/>
                  </a:lnTo>
                  <a:lnTo>
                    <a:pt x="506" y="1967"/>
                  </a:lnTo>
                  <a:lnTo>
                    <a:pt x="508" y="1965"/>
                  </a:lnTo>
                  <a:lnTo>
                    <a:pt x="509" y="1964"/>
                  </a:lnTo>
                  <a:lnTo>
                    <a:pt x="525" y="1967"/>
                  </a:lnTo>
                  <a:lnTo>
                    <a:pt x="536" y="1969"/>
                  </a:lnTo>
                  <a:lnTo>
                    <a:pt x="537" y="1972"/>
                  </a:lnTo>
                  <a:lnTo>
                    <a:pt x="537" y="1977"/>
                  </a:lnTo>
                  <a:lnTo>
                    <a:pt x="537" y="1979"/>
                  </a:lnTo>
                  <a:lnTo>
                    <a:pt x="538" y="1980"/>
                  </a:lnTo>
                  <a:lnTo>
                    <a:pt x="540" y="1981"/>
                  </a:lnTo>
                  <a:lnTo>
                    <a:pt x="541" y="1982"/>
                  </a:lnTo>
                  <a:lnTo>
                    <a:pt x="542" y="1989"/>
                  </a:lnTo>
                  <a:lnTo>
                    <a:pt x="544" y="1996"/>
                  </a:lnTo>
                  <a:lnTo>
                    <a:pt x="547" y="2002"/>
                  </a:lnTo>
                  <a:lnTo>
                    <a:pt x="551" y="2009"/>
                  </a:lnTo>
                  <a:lnTo>
                    <a:pt x="553" y="2016"/>
                  </a:lnTo>
                  <a:lnTo>
                    <a:pt x="556" y="2022"/>
                  </a:lnTo>
                  <a:lnTo>
                    <a:pt x="558" y="2029"/>
                  </a:lnTo>
                  <a:lnTo>
                    <a:pt x="560" y="2036"/>
                  </a:lnTo>
                  <a:lnTo>
                    <a:pt x="569" y="2040"/>
                  </a:lnTo>
                  <a:lnTo>
                    <a:pt x="569" y="2045"/>
                  </a:lnTo>
                  <a:lnTo>
                    <a:pt x="569" y="2051"/>
                  </a:lnTo>
                  <a:lnTo>
                    <a:pt x="570" y="2054"/>
                  </a:lnTo>
                  <a:lnTo>
                    <a:pt x="570" y="2056"/>
                  </a:lnTo>
                  <a:lnTo>
                    <a:pt x="571" y="2058"/>
                  </a:lnTo>
                  <a:lnTo>
                    <a:pt x="573" y="2058"/>
                  </a:lnTo>
                  <a:lnTo>
                    <a:pt x="573" y="2087"/>
                  </a:lnTo>
                  <a:lnTo>
                    <a:pt x="576" y="2135"/>
                  </a:lnTo>
                  <a:lnTo>
                    <a:pt x="577" y="2158"/>
                  </a:lnTo>
                  <a:lnTo>
                    <a:pt x="580" y="2179"/>
                  </a:lnTo>
                  <a:lnTo>
                    <a:pt x="582" y="2186"/>
                  </a:lnTo>
                  <a:lnTo>
                    <a:pt x="583" y="2192"/>
                  </a:lnTo>
                  <a:lnTo>
                    <a:pt x="584" y="2196"/>
                  </a:lnTo>
                  <a:lnTo>
                    <a:pt x="586" y="2198"/>
                  </a:lnTo>
                  <a:lnTo>
                    <a:pt x="586" y="2206"/>
                  </a:lnTo>
                  <a:lnTo>
                    <a:pt x="590" y="2208"/>
                  </a:lnTo>
                  <a:lnTo>
                    <a:pt x="593" y="2212"/>
                  </a:lnTo>
                  <a:lnTo>
                    <a:pt x="598" y="2218"/>
                  </a:lnTo>
                  <a:lnTo>
                    <a:pt x="601" y="2224"/>
                  </a:lnTo>
                  <a:lnTo>
                    <a:pt x="608" y="2237"/>
                  </a:lnTo>
                  <a:lnTo>
                    <a:pt x="613" y="2242"/>
                  </a:lnTo>
                  <a:lnTo>
                    <a:pt x="613" y="2262"/>
                  </a:lnTo>
                  <a:lnTo>
                    <a:pt x="613" y="2297"/>
                  </a:lnTo>
                  <a:lnTo>
                    <a:pt x="614" y="2316"/>
                  </a:lnTo>
                  <a:lnTo>
                    <a:pt x="615" y="2330"/>
                  </a:lnTo>
                  <a:lnTo>
                    <a:pt x="617" y="2342"/>
                  </a:lnTo>
                  <a:lnTo>
                    <a:pt x="618" y="2346"/>
                  </a:lnTo>
                  <a:lnTo>
                    <a:pt x="618" y="2352"/>
                  </a:lnTo>
                  <a:lnTo>
                    <a:pt x="618" y="2361"/>
                  </a:lnTo>
                  <a:lnTo>
                    <a:pt x="619" y="2365"/>
                  </a:lnTo>
                  <a:lnTo>
                    <a:pt x="620" y="2369"/>
                  </a:lnTo>
                  <a:lnTo>
                    <a:pt x="621" y="2372"/>
                  </a:lnTo>
                  <a:lnTo>
                    <a:pt x="622" y="2373"/>
                  </a:lnTo>
                  <a:lnTo>
                    <a:pt x="623" y="2387"/>
                  </a:lnTo>
                  <a:lnTo>
                    <a:pt x="625" y="2412"/>
                  </a:lnTo>
                  <a:lnTo>
                    <a:pt x="628" y="2424"/>
                  </a:lnTo>
                  <a:lnTo>
                    <a:pt x="630" y="2434"/>
                  </a:lnTo>
                  <a:lnTo>
                    <a:pt x="631" y="2439"/>
                  </a:lnTo>
                  <a:lnTo>
                    <a:pt x="632" y="2442"/>
                  </a:lnTo>
                  <a:lnTo>
                    <a:pt x="634" y="2444"/>
                  </a:lnTo>
                  <a:lnTo>
                    <a:pt x="636" y="2444"/>
                  </a:lnTo>
                  <a:lnTo>
                    <a:pt x="638" y="2460"/>
                  </a:lnTo>
                  <a:lnTo>
                    <a:pt x="640" y="2475"/>
                  </a:lnTo>
                  <a:lnTo>
                    <a:pt x="646" y="2483"/>
                  </a:lnTo>
                  <a:lnTo>
                    <a:pt x="653" y="2494"/>
                  </a:lnTo>
                  <a:lnTo>
                    <a:pt x="653" y="2503"/>
                  </a:lnTo>
                  <a:lnTo>
                    <a:pt x="657" y="2503"/>
                  </a:lnTo>
                  <a:lnTo>
                    <a:pt x="659" y="2506"/>
                  </a:lnTo>
                  <a:lnTo>
                    <a:pt x="660" y="2509"/>
                  </a:lnTo>
                  <a:lnTo>
                    <a:pt x="661" y="2513"/>
                  </a:lnTo>
                  <a:lnTo>
                    <a:pt x="662" y="2522"/>
                  </a:lnTo>
                  <a:lnTo>
                    <a:pt x="662" y="2530"/>
                  </a:lnTo>
                  <a:lnTo>
                    <a:pt x="671" y="2539"/>
                  </a:lnTo>
                  <a:lnTo>
                    <a:pt x="671" y="2548"/>
                  </a:lnTo>
                  <a:lnTo>
                    <a:pt x="676" y="2550"/>
                  </a:lnTo>
                  <a:lnTo>
                    <a:pt x="679" y="2555"/>
                  </a:lnTo>
                  <a:lnTo>
                    <a:pt x="680" y="2555"/>
                  </a:lnTo>
                  <a:lnTo>
                    <a:pt x="704" y="2547"/>
                  </a:lnTo>
                  <a:lnTo>
                    <a:pt x="729" y="2539"/>
                  </a:lnTo>
                  <a:lnTo>
                    <a:pt x="743" y="2537"/>
                  </a:lnTo>
                  <a:lnTo>
                    <a:pt x="756" y="2535"/>
                  </a:lnTo>
                  <a:lnTo>
                    <a:pt x="772" y="2533"/>
                  </a:lnTo>
                  <a:lnTo>
                    <a:pt x="787" y="2532"/>
                  </a:lnTo>
                  <a:lnTo>
                    <a:pt x="795" y="2523"/>
                  </a:lnTo>
                  <a:lnTo>
                    <a:pt x="805" y="2515"/>
                  </a:lnTo>
                  <a:lnTo>
                    <a:pt x="807" y="2510"/>
                  </a:lnTo>
                  <a:lnTo>
                    <a:pt x="811" y="2503"/>
                  </a:lnTo>
                  <a:lnTo>
                    <a:pt x="813" y="2499"/>
                  </a:lnTo>
                  <a:lnTo>
                    <a:pt x="815" y="2497"/>
                  </a:lnTo>
                  <a:lnTo>
                    <a:pt x="817" y="2494"/>
                  </a:lnTo>
                  <a:lnTo>
                    <a:pt x="821" y="2493"/>
                  </a:lnTo>
                  <a:lnTo>
                    <a:pt x="821" y="2490"/>
                  </a:lnTo>
                  <a:lnTo>
                    <a:pt x="823" y="2487"/>
                  </a:lnTo>
                  <a:lnTo>
                    <a:pt x="826" y="2486"/>
                  </a:lnTo>
                  <a:lnTo>
                    <a:pt x="830" y="2483"/>
                  </a:lnTo>
                  <a:lnTo>
                    <a:pt x="840" y="2482"/>
                  </a:lnTo>
                  <a:lnTo>
                    <a:pt x="851" y="2483"/>
                  </a:lnTo>
                  <a:lnTo>
                    <a:pt x="862" y="2483"/>
                  </a:lnTo>
                  <a:lnTo>
                    <a:pt x="872" y="2484"/>
                  </a:lnTo>
                  <a:lnTo>
                    <a:pt x="876" y="2484"/>
                  </a:lnTo>
                  <a:lnTo>
                    <a:pt x="879" y="2483"/>
                  </a:lnTo>
                  <a:lnTo>
                    <a:pt x="880" y="2482"/>
                  </a:lnTo>
                  <a:lnTo>
                    <a:pt x="881" y="2481"/>
                  </a:lnTo>
                  <a:lnTo>
                    <a:pt x="886" y="2480"/>
                  </a:lnTo>
                  <a:lnTo>
                    <a:pt x="890" y="2478"/>
                  </a:lnTo>
                  <a:lnTo>
                    <a:pt x="892" y="2474"/>
                  </a:lnTo>
                  <a:lnTo>
                    <a:pt x="893" y="2472"/>
                  </a:lnTo>
                  <a:lnTo>
                    <a:pt x="908" y="2477"/>
                  </a:lnTo>
                  <a:lnTo>
                    <a:pt x="935" y="2489"/>
                  </a:lnTo>
                  <a:lnTo>
                    <a:pt x="969" y="2504"/>
                  </a:lnTo>
                  <a:lnTo>
                    <a:pt x="1008" y="2520"/>
                  </a:lnTo>
                  <a:lnTo>
                    <a:pt x="1027" y="2528"/>
                  </a:lnTo>
                  <a:lnTo>
                    <a:pt x="1045" y="2533"/>
                  </a:lnTo>
                  <a:lnTo>
                    <a:pt x="1062" y="2537"/>
                  </a:lnTo>
                  <a:lnTo>
                    <a:pt x="1078" y="2539"/>
                  </a:lnTo>
                  <a:lnTo>
                    <a:pt x="1084" y="2538"/>
                  </a:lnTo>
                  <a:lnTo>
                    <a:pt x="1090" y="2538"/>
                  </a:lnTo>
                  <a:lnTo>
                    <a:pt x="1095" y="2536"/>
                  </a:lnTo>
                  <a:lnTo>
                    <a:pt x="1100" y="2533"/>
                  </a:lnTo>
                  <a:lnTo>
                    <a:pt x="1103" y="2530"/>
                  </a:lnTo>
                  <a:lnTo>
                    <a:pt x="1107" y="2526"/>
                  </a:lnTo>
                  <a:lnTo>
                    <a:pt x="1108" y="2521"/>
                  </a:lnTo>
                  <a:lnTo>
                    <a:pt x="1109" y="2515"/>
                  </a:lnTo>
                  <a:lnTo>
                    <a:pt x="1114" y="2506"/>
                  </a:lnTo>
                  <a:lnTo>
                    <a:pt x="1121" y="2497"/>
                  </a:lnTo>
                  <a:lnTo>
                    <a:pt x="1121" y="2490"/>
                  </a:lnTo>
                  <a:lnTo>
                    <a:pt x="1127" y="2490"/>
                  </a:lnTo>
                  <a:lnTo>
                    <a:pt x="1128" y="2488"/>
                  </a:lnTo>
                  <a:lnTo>
                    <a:pt x="1130" y="2487"/>
                  </a:lnTo>
                  <a:lnTo>
                    <a:pt x="1134" y="2484"/>
                  </a:lnTo>
                  <a:lnTo>
                    <a:pt x="1139" y="2484"/>
                  </a:lnTo>
                  <a:lnTo>
                    <a:pt x="1145" y="2477"/>
                  </a:lnTo>
                  <a:lnTo>
                    <a:pt x="1156" y="2467"/>
                  </a:lnTo>
                  <a:lnTo>
                    <a:pt x="1165" y="2456"/>
                  </a:lnTo>
                  <a:lnTo>
                    <a:pt x="1169" y="2451"/>
                  </a:lnTo>
                  <a:lnTo>
                    <a:pt x="1174" y="2450"/>
                  </a:lnTo>
                  <a:lnTo>
                    <a:pt x="1178" y="2446"/>
                  </a:lnTo>
                  <a:lnTo>
                    <a:pt x="1184" y="2442"/>
                  </a:lnTo>
                  <a:lnTo>
                    <a:pt x="1188" y="2438"/>
                  </a:lnTo>
                  <a:lnTo>
                    <a:pt x="1198" y="2427"/>
                  </a:lnTo>
                  <a:lnTo>
                    <a:pt x="1206" y="2424"/>
                  </a:lnTo>
                  <a:lnTo>
                    <a:pt x="1206" y="2415"/>
                  </a:lnTo>
                  <a:lnTo>
                    <a:pt x="1207" y="2405"/>
                  </a:lnTo>
                  <a:lnTo>
                    <a:pt x="1208" y="2394"/>
                  </a:lnTo>
                  <a:lnTo>
                    <a:pt x="1208" y="2384"/>
                  </a:lnTo>
                  <a:lnTo>
                    <a:pt x="1242" y="2375"/>
                  </a:lnTo>
                  <a:lnTo>
                    <a:pt x="1256" y="2374"/>
                  </a:lnTo>
                  <a:lnTo>
                    <a:pt x="1274" y="2371"/>
                  </a:lnTo>
                  <a:lnTo>
                    <a:pt x="1274" y="2361"/>
                  </a:lnTo>
                  <a:lnTo>
                    <a:pt x="1289" y="2353"/>
                  </a:lnTo>
                  <a:lnTo>
                    <a:pt x="1296" y="2345"/>
                  </a:lnTo>
                  <a:lnTo>
                    <a:pt x="1297" y="2343"/>
                  </a:lnTo>
                  <a:lnTo>
                    <a:pt x="1297" y="2339"/>
                  </a:lnTo>
                  <a:lnTo>
                    <a:pt x="1300" y="2337"/>
                  </a:lnTo>
                  <a:lnTo>
                    <a:pt x="1302" y="2335"/>
                  </a:lnTo>
                  <a:lnTo>
                    <a:pt x="1304" y="2333"/>
                  </a:lnTo>
                  <a:lnTo>
                    <a:pt x="1306" y="2331"/>
                  </a:lnTo>
                  <a:lnTo>
                    <a:pt x="1310" y="2330"/>
                  </a:lnTo>
                  <a:lnTo>
                    <a:pt x="1312" y="2330"/>
                  </a:lnTo>
                  <a:lnTo>
                    <a:pt x="1312" y="2326"/>
                  </a:lnTo>
                  <a:lnTo>
                    <a:pt x="1313" y="2324"/>
                  </a:lnTo>
                  <a:lnTo>
                    <a:pt x="1314" y="2323"/>
                  </a:lnTo>
                  <a:lnTo>
                    <a:pt x="1316" y="2323"/>
                  </a:lnTo>
                  <a:lnTo>
                    <a:pt x="1318" y="2323"/>
                  </a:lnTo>
                  <a:lnTo>
                    <a:pt x="1319" y="2321"/>
                  </a:lnTo>
                  <a:lnTo>
                    <a:pt x="1320" y="2319"/>
                  </a:lnTo>
                  <a:lnTo>
                    <a:pt x="1320" y="2315"/>
                  </a:lnTo>
                  <a:lnTo>
                    <a:pt x="1335" y="2315"/>
                  </a:lnTo>
                  <a:lnTo>
                    <a:pt x="1343" y="2307"/>
                  </a:lnTo>
                  <a:lnTo>
                    <a:pt x="1343" y="2214"/>
                  </a:lnTo>
                  <a:lnTo>
                    <a:pt x="1347" y="2213"/>
                  </a:lnTo>
                  <a:lnTo>
                    <a:pt x="1350" y="2210"/>
                  </a:lnTo>
                  <a:lnTo>
                    <a:pt x="1353" y="2206"/>
                  </a:lnTo>
                  <a:lnTo>
                    <a:pt x="1358" y="2201"/>
                  </a:lnTo>
                  <a:lnTo>
                    <a:pt x="1361" y="2196"/>
                  </a:lnTo>
                  <a:lnTo>
                    <a:pt x="1363" y="2191"/>
                  </a:lnTo>
                  <a:lnTo>
                    <a:pt x="1366" y="2186"/>
                  </a:lnTo>
                  <a:lnTo>
                    <a:pt x="1367" y="2183"/>
                  </a:lnTo>
                  <a:lnTo>
                    <a:pt x="1372" y="2183"/>
                  </a:lnTo>
                  <a:lnTo>
                    <a:pt x="1377" y="2182"/>
                  </a:lnTo>
                  <a:lnTo>
                    <a:pt x="1379" y="2181"/>
                  </a:lnTo>
                  <a:lnTo>
                    <a:pt x="1380" y="2180"/>
                  </a:lnTo>
                  <a:lnTo>
                    <a:pt x="1381" y="2177"/>
                  </a:lnTo>
                  <a:lnTo>
                    <a:pt x="1381" y="2175"/>
                  </a:lnTo>
                  <a:lnTo>
                    <a:pt x="1397" y="2175"/>
                  </a:lnTo>
                  <a:lnTo>
                    <a:pt x="1398" y="2171"/>
                  </a:lnTo>
                  <a:lnTo>
                    <a:pt x="1398" y="2169"/>
                  </a:lnTo>
                  <a:lnTo>
                    <a:pt x="1399" y="2167"/>
                  </a:lnTo>
                  <a:lnTo>
                    <a:pt x="1401" y="2167"/>
                  </a:lnTo>
                  <a:lnTo>
                    <a:pt x="1402" y="2167"/>
                  </a:lnTo>
                  <a:lnTo>
                    <a:pt x="1404" y="2166"/>
                  </a:lnTo>
                  <a:lnTo>
                    <a:pt x="1405" y="2164"/>
                  </a:lnTo>
                  <a:lnTo>
                    <a:pt x="1405" y="2160"/>
                  </a:lnTo>
                  <a:lnTo>
                    <a:pt x="1410" y="2160"/>
                  </a:lnTo>
                  <a:lnTo>
                    <a:pt x="1416" y="2158"/>
                  </a:lnTo>
                  <a:lnTo>
                    <a:pt x="1418" y="2158"/>
                  </a:lnTo>
                  <a:lnTo>
                    <a:pt x="1419" y="2156"/>
                  </a:lnTo>
                  <a:lnTo>
                    <a:pt x="1420" y="2155"/>
                  </a:lnTo>
                  <a:lnTo>
                    <a:pt x="1420" y="2152"/>
                  </a:lnTo>
                  <a:lnTo>
                    <a:pt x="1447" y="2152"/>
                  </a:lnTo>
                  <a:lnTo>
                    <a:pt x="1492" y="2151"/>
                  </a:lnTo>
                  <a:lnTo>
                    <a:pt x="1514" y="2151"/>
                  </a:lnTo>
                  <a:lnTo>
                    <a:pt x="1533" y="2148"/>
                  </a:lnTo>
                  <a:lnTo>
                    <a:pt x="1541" y="2148"/>
                  </a:lnTo>
                  <a:lnTo>
                    <a:pt x="1546" y="2147"/>
                  </a:lnTo>
                  <a:lnTo>
                    <a:pt x="1551" y="2146"/>
                  </a:lnTo>
                  <a:lnTo>
                    <a:pt x="1552" y="2144"/>
                  </a:lnTo>
                  <a:lnTo>
                    <a:pt x="1583" y="2144"/>
                  </a:lnTo>
                  <a:lnTo>
                    <a:pt x="1583" y="2124"/>
                  </a:lnTo>
                  <a:lnTo>
                    <a:pt x="1583" y="2098"/>
                  </a:lnTo>
                  <a:lnTo>
                    <a:pt x="1583" y="2073"/>
                  </a:lnTo>
                  <a:lnTo>
                    <a:pt x="1583" y="2051"/>
                  </a:lnTo>
                  <a:lnTo>
                    <a:pt x="1590" y="2044"/>
                  </a:lnTo>
                  <a:lnTo>
                    <a:pt x="1613" y="2044"/>
                  </a:lnTo>
                  <a:lnTo>
                    <a:pt x="1620" y="2050"/>
                  </a:lnTo>
                  <a:lnTo>
                    <a:pt x="1629" y="2055"/>
                  </a:lnTo>
                  <a:lnTo>
                    <a:pt x="1638" y="2058"/>
                  </a:lnTo>
                  <a:lnTo>
                    <a:pt x="1645" y="2059"/>
                  </a:lnTo>
                  <a:lnTo>
                    <a:pt x="1660" y="2044"/>
                  </a:lnTo>
                  <a:lnTo>
                    <a:pt x="1667" y="2051"/>
                  </a:lnTo>
                  <a:lnTo>
                    <a:pt x="1666" y="2027"/>
                  </a:lnTo>
                  <a:lnTo>
                    <a:pt x="1665" y="2002"/>
                  </a:lnTo>
                  <a:lnTo>
                    <a:pt x="1663" y="1977"/>
                  </a:lnTo>
                  <a:lnTo>
                    <a:pt x="1660" y="1950"/>
                  </a:lnTo>
                  <a:lnTo>
                    <a:pt x="1657" y="1924"/>
                  </a:lnTo>
                  <a:lnTo>
                    <a:pt x="1656" y="1897"/>
                  </a:lnTo>
                  <a:lnTo>
                    <a:pt x="1654" y="1869"/>
                  </a:lnTo>
                  <a:lnTo>
                    <a:pt x="1654" y="1843"/>
                  </a:lnTo>
                  <a:lnTo>
                    <a:pt x="1649" y="1838"/>
                  </a:lnTo>
                  <a:lnTo>
                    <a:pt x="1646" y="1826"/>
                  </a:lnTo>
                  <a:lnTo>
                    <a:pt x="1644" y="1820"/>
                  </a:lnTo>
                  <a:lnTo>
                    <a:pt x="1640" y="1815"/>
                  </a:lnTo>
                  <a:lnTo>
                    <a:pt x="1638" y="1811"/>
                  </a:lnTo>
                  <a:lnTo>
                    <a:pt x="1635" y="1810"/>
                  </a:lnTo>
                  <a:lnTo>
                    <a:pt x="1632" y="1805"/>
                  </a:lnTo>
                  <a:lnTo>
                    <a:pt x="1627" y="1798"/>
                  </a:lnTo>
                  <a:lnTo>
                    <a:pt x="1620" y="1791"/>
                  </a:lnTo>
                  <a:lnTo>
                    <a:pt x="1616" y="1787"/>
                  </a:lnTo>
                  <a:lnTo>
                    <a:pt x="1611" y="1787"/>
                  </a:lnTo>
                  <a:lnTo>
                    <a:pt x="1607" y="1786"/>
                  </a:lnTo>
                  <a:lnTo>
                    <a:pt x="1604" y="1786"/>
                  </a:lnTo>
                  <a:lnTo>
                    <a:pt x="1603" y="1785"/>
                  </a:lnTo>
                  <a:lnTo>
                    <a:pt x="1602" y="1784"/>
                  </a:lnTo>
                  <a:lnTo>
                    <a:pt x="1601" y="1781"/>
                  </a:lnTo>
                  <a:lnTo>
                    <a:pt x="1596" y="1781"/>
                  </a:lnTo>
                  <a:lnTo>
                    <a:pt x="1585" y="1779"/>
                  </a:lnTo>
                  <a:lnTo>
                    <a:pt x="1581" y="1778"/>
                  </a:lnTo>
                  <a:lnTo>
                    <a:pt x="1578" y="1776"/>
                  </a:lnTo>
                  <a:lnTo>
                    <a:pt x="1574" y="1775"/>
                  </a:lnTo>
                  <a:lnTo>
                    <a:pt x="1573" y="1772"/>
                  </a:lnTo>
                  <a:lnTo>
                    <a:pt x="1570" y="1772"/>
                  </a:lnTo>
                  <a:lnTo>
                    <a:pt x="1567" y="1771"/>
                  </a:lnTo>
                  <a:lnTo>
                    <a:pt x="1564" y="1770"/>
                  </a:lnTo>
                  <a:lnTo>
                    <a:pt x="1564" y="1768"/>
                  </a:lnTo>
                  <a:lnTo>
                    <a:pt x="1554" y="1768"/>
                  </a:lnTo>
                  <a:lnTo>
                    <a:pt x="1553" y="1763"/>
                  </a:lnTo>
                  <a:lnTo>
                    <a:pt x="1550" y="1759"/>
                  </a:lnTo>
                  <a:lnTo>
                    <a:pt x="1544" y="1756"/>
                  </a:lnTo>
                  <a:lnTo>
                    <a:pt x="1541" y="1753"/>
                  </a:lnTo>
                  <a:lnTo>
                    <a:pt x="1541" y="1744"/>
                  </a:lnTo>
                  <a:lnTo>
                    <a:pt x="1542" y="1733"/>
                  </a:lnTo>
                  <a:lnTo>
                    <a:pt x="1543" y="1729"/>
                  </a:lnTo>
                  <a:lnTo>
                    <a:pt x="1544" y="1724"/>
                  </a:lnTo>
                  <a:lnTo>
                    <a:pt x="1546" y="1722"/>
                  </a:lnTo>
                  <a:lnTo>
                    <a:pt x="1550" y="1721"/>
                  </a:lnTo>
                  <a:lnTo>
                    <a:pt x="1552" y="1711"/>
                  </a:lnTo>
                  <a:lnTo>
                    <a:pt x="1554" y="1702"/>
                  </a:lnTo>
                  <a:lnTo>
                    <a:pt x="1562" y="1700"/>
                  </a:lnTo>
                  <a:lnTo>
                    <a:pt x="1569" y="1698"/>
                  </a:lnTo>
                  <a:lnTo>
                    <a:pt x="1569" y="1688"/>
                  </a:lnTo>
                  <a:lnTo>
                    <a:pt x="1573" y="1683"/>
                  </a:lnTo>
                  <a:lnTo>
                    <a:pt x="1577" y="1683"/>
                  </a:lnTo>
                  <a:lnTo>
                    <a:pt x="1580" y="1683"/>
                  </a:lnTo>
                  <a:lnTo>
                    <a:pt x="1582" y="1681"/>
                  </a:lnTo>
                  <a:lnTo>
                    <a:pt x="1583" y="1679"/>
                  </a:lnTo>
                  <a:lnTo>
                    <a:pt x="1597" y="1676"/>
                  </a:lnTo>
                  <a:lnTo>
                    <a:pt x="1607" y="1674"/>
                  </a:lnTo>
                  <a:lnTo>
                    <a:pt x="1609" y="1669"/>
                  </a:lnTo>
                  <a:lnTo>
                    <a:pt x="1611" y="1664"/>
                  </a:lnTo>
                  <a:lnTo>
                    <a:pt x="1618" y="1663"/>
                  </a:lnTo>
                  <a:lnTo>
                    <a:pt x="1629" y="1659"/>
                  </a:lnTo>
                  <a:lnTo>
                    <a:pt x="1635" y="1656"/>
                  </a:lnTo>
                  <a:lnTo>
                    <a:pt x="1639" y="1654"/>
                  </a:lnTo>
                  <a:lnTo>
                    <a:pt x="1642" y="1652"/>
                  </a:lnTo>
                  <a:lnTo>
                    <a:pt x="1644" y="1651"/>
                  </a:lnTo>
                  <a:lnTo>
                    <a:pt x="1658" y="1651"/>
                  </a:lnTo>
                  <a:lnTo>
                    <a:pt x="1663" y="1645"/>
                  </a:lnTo>
                  <a:lnTo>
                    <a:pt x="1667" y="1641"/>
                  </a:lnTo>
                  <a:lnTo>
                    <a:pt x="1674" y="1640"/>
                  </a:lnTo>
                  <a:lnTo>
                    <a:pt x="1683" y="1637"/>
                  </a:lnTo>
                  <a:lnTo>
                    <a:pt x="1692" y="1634"/>
                  </a:lnTo>
                  <a:lnTo>
                    <a:pt x="1702" y="1631"/>
                  </a:lnTo>
                  <a:lnTo>
                    <a:pt x="1712" y="1626"/>
                  </a:lnTo>
                  <a:lnTo>
                    <a:pt x="1721" y="1621"/>
                  </a:lnTo>
                  <a:lnTo>
                    <a:pt x="1728" y="1616"/>
                  </a:lnTo>
                  <a:lnTo>
                    <a:pt x="1733" y="1613"/>
                  </a:lnTo>
                  <a:lnTo>
                    <a:pt x="1743" y="1613"/>
                  </a:lnTo>
                  <a:lnTo>
                    <a:pt x="1747" y="1603"/>
                  </a:lnTo>
                  <a:lnTo>
                    <a:pt x="1752" y="1600"/>
                  </a:lnTo>
                  <a:lnTo>
                    <a:pt x="1756" y="1598"/>
                  </a:lnTo>
                  <a:lnTo>
                    <a:pt x="1762" y="1594"/>
                  </a:lnTo>
                  <a:lnTo>
                    <a:pt x="1762" y="1570"/>
                  </a:lnTo>
                  <a:lnTo>
                    <a:pt x="1763" y="1567"/>
                  </a:lnTo>
                  <a:lnTo>
                    <a:pt x="1765" y="1557"/>
                  </a:lnTo>
                  <a:lnTo>
                    <a:pt x="1767" y="1544"/>
                  </a:lnTo>
                  <a:lnTo>
                    <a:pt x="1770" y="1528"/>
                  </a:lnTo>
                  <a:lnTo>
                    <a:pt x="1774" y="1499"/>
                  </a:lnTo>
                  <a:lnTo>
                    <a:pt x="1775" y="1486"/>
                  </a:lnTo>
                  <a:lnTo>
                    <a:pt x="1780" y="1481"/>
                  </a:lnTo>
                  <a:lnTo>
                    <a:pt x="1783" y="1480"/>
                  </a:lnTo>
                  <a:lnTo>
                    <a:pt x="1786" y="1475"/>
                  </a:lnTo>
                  <a:lnTo>
                    <a:pt x="1789" y="1471"/>
                  </a:lnTo>
                  <a:lnTo>
                    <a:pt x="1790" y="1467"/>
                  </a:lnTo>
                  <a:lnTo>
                    <a:pt x="1794" y="1464"/>
                  </a:lnTo>
                  <a:lnTo>
                    <a:pt x="1799" y="1462"/>
                  </a:lnTo>
                  <a:lnTo>
                    <a:pt x="1799" y="1453"/>
                  </a:lnTo>
                  <a:lnTo>
                    <a:pt x="1802" y="1452"/>
                  </a:lnTo>
                  <a:lnTo>
                    <a:pt x="1805" y="1450"/>
                  </a:lnTo>
                  <a:lnTo>
                    <a:pt x="1810" y="1446"/>
                  </a:lnTo>
                  <a:lnTo>
                    <a:pt x="1813" y="1443"/>
                  </a:lnTo>
                  <a:lnTo>
                    <a:pt x="1813" y="1426"/>
                  </a:lnTo>
                  <a:lnTo>
                    <a:pt x="1811" y="1407"/>
                  </a:lnTo>
                  <a:lnTo>
                    <a:pt x="1810" y="1398"/>
                  </a:lnTo>
                  <a:lnTo>
                    <a:pt x="1807" y="1392"/>
                  </a:lnTo>
                  <a:lnTo>
                    <a:pt x="1805" y="1388"/>
                  </a:lnTo>
                  <a:lnTo>
                    <a:pt x="1803" y="1386"/>
                  </a:lnTo>
                  <a:lnTo>
                    <a:pt x="1801" y="1384"/>
                  </a:lnTo>
                  <a:lnTo>
                    <a:pt x="1799" y="1383"/>
                  </a:lnTo>
                  <a:lnTo>
                    <a:pt x="1798" y="1376"/>
                  </a:lnTo>
                  <a:lnTo>
                    <a:pt x="1796" y="1372"/>
                  </a:lnTo>
                  <a:lnTo>
                    <a:pt x="1793" y="1367"/>
                  </a:lnTo>
                  <a:lnTo>
                    <a:pt x="1790" y="1364"/>
                  </a:lnTo>
                  <a:lnTo>
                    <a:pt x="1790" y="1355"/>
                  </a:lnTo>
                  <a:lnTo>
                    <a:pt x="1790" y="1343"/>
                  </a:lnTo>
                  <a:lnTo>
                    <a:pt x="1790" y="1330"/>
                  </a:lnTo>
                  <a:lnTo>
                    <a:pt x="1790" y="1321"/>
                  </a:lnTo>
                  <a:lnTo>
                    <a:pt x="1799" y="1317"/>
                  </a:lnTo>
                  <a:lnTo>
                    <a:pt x="1800" y="1314"/>
                  </a:lnTo>
                  <a:lnTo>
                    <a:pt x="1801" y="1309"/>
                  </a:lnTo>
                  <a:lnTo>
                    <a:pt x="1804" y="1306"/>
                  </a:lnTo>
                  <a:lnTo>
                    <a:pt x="1808" y="1302"/>
                  </a:lnTo>
                  <a:lnTo>
                    <a:pt x="1818" y="1295"/>
                  </a:lnTo>
                  <a:lnTo>
                    <a:pt x="1830" y="1287"/>
                  </a:lnTo>
                  <a:lnTo>
                    <a:pt x="1855" y="1275"/>
                  </a:lnTo>
                  <a:lnTo>
                    <a:pt x="1875" y="1265"/>
                  </a:lnTo>
                  <a:lnTo>
                    <a:pt x="1875" y="1279"/>
                  </a:lnTo>
                  <a:lnTo>
                    <a:pt x="1880" y="1279"/>
                  </a:lnTo>
                  <a:lnTo>
                    <a:pt x="1890" y="1279"/>
                  </a:lnTo>
                  <a:lnTo>
                    <a:pt x="1889" y="1267"/>
                  </a:lnTo>
                  <a:lnTo>
                    <a:pt x="1889" y="1258"/>
                  </a:lnTo>
                  <a:lnTo>
                    <a:pt x="1881" y="1244"/>
                  </a:lnTo>
                  <a:lnTo>
                    <a:pt x="1872" y="1230"/>
                  </a:lnTo>
                  <a:lnTo>
                    <a:pt x="1872" y="1219"/>
                  </a:lnTo>
                  <a:lnTo>
                    <a:pt x="1861" y="1209"/>
                  </a:lnTo>
                  <a:lnTo>
                    <a:pt x="1843" y="1209"/>
                  </a:lnTo>
                  <a:lnTo>
                    <a:pt x="1823" y="1209"/>
                  </a:lnTo>
                  <a:lnTo>
                    <a:pt x="1803" y="1209"/>
                  </a:lnTo>
                  <a:lnTo>
                    <a:pt x="1784" y="1209"/>
                  </a:lnTo>
                  <a:lnTo>
                    <a:pt x="1784" y="1210"/>
                  </a:lnTo>
                  <a:lnTo>
                    <a:pt x="1782" y="1211"/>
                  </a:lnTo>
                  <a:lnTo>
                    <a:pt x="1777" y="1212"/>
                  </a:lnTo>
                  <a:lnTo>
                    <a:pt x="1773" y="1213"/>
                  </a:lnTo>
                  <a:lnTo>
                    <a:pt x="1761" y="1213"/>
                  </a:lnTo>
                  <a:lnTo>
                    <a:pt x="1746" y="1212"/>
                  </a:lnTo>
                  <a:lnTo>
                    <a:pt x="1719" y="1210"/>
                  </a:lnTo>
                  <a:lnTo>
                    <a:pt x="1708" y="1209"/>
                  </a:lnTo>
                  <a:lnTo>
                    <a:pt x="1705" y="1206"/>
                  </a:lnTo>
                  <a:lnTo>
                    <a:pt x="1697" y="1205"/>
                  </a:lnTo>
                  <a:lnTo>
                    <a:pt x="1686" y="1204"/>
                  </a:lnTo>
                  <a:lnTo>
                    <a:pt x="1674" y="1203"/>
                  </a:lnTo>
                  <a:lnTo>
                    <a:pt x="1648" y="1203"/>
                  </a:lnTo>
                  <a:lnTo>
                    <a:pt x="1631" y="1203"/>
                  </a:lnTo>
                  <a:lnTo>
                    <a:pt x="1620" y="1202"/>
                  </a:lnTo>
                  <a:lnTo>
                    <a:pt x="1610" y="1200"/>
                  </a:lnTo>
                  <a:lnTo>
                    <a:pt x="1600" y="1198"/>
                  </a:lnTo>
                  <a:lnTo>
                    <a:pt x="1590" y="1194"/>
                  </a:lnTo>
                  <a:lnTo>
                    <a:pt x="1580" y="1192"/>
                  </a:lnTo>
                  <a:lnTo>
                    <a:pt x="1569" y="1189"/>
                  </a:lnTo>
                  <a:lnTo>
                    <a:pt x="1559" y="1186"/>
                  </a:lnTo>
                  <a:lnTo>
                    <a:pt x="1549" y="1186"/>
                  </a:lnTo>
                  <a:lnTo>
                    <a:pt x="1545" y="1177"/>
                  </a:lnTo>
                  <a:lnTo>
                    <a:pt x="1543" y="1170"/>
                  </a:lnTo>
                  <a:lnTo>
                    <a:pt x="1540" y="1169"/>
                  </a:lnTo>
                  <a:lnTo>
                    <a:pt x="1536" y="1164"/>
                  </a:lnTo>
                  <a:lnTo>
                    <a:pt x="1535" y="1162"/>
                  </a:lnTo>
                  <a:lnTo>
                    <a:pt x="1533" y="1161"/>
                  </a:lnTo>
                  <a:lnTo>
                    <a:pt x="1530" y="1160"/>
                  </a:lnTo>
                  <a:lnTo>
                    <a:pt x="1526" y="1159"/>
                  </a:lnTo>
                  <a:lnTo>
                    <a:pt x="1524" y="1142"/>
                  </a:lnTo>
                  <a:lnTo>
                    <a:pt x="1521" y="1126"/>
                  </a:lnTo>
                  <a:lnTo>
                    <a:pt x="1515" y="1121"/>
                  </a:lnTo>
                  <a:lnTo>
                    <a:pt x="1510" y="1115"/>
                  </a:lnTo>
                  <a:lnTo>
                    <a:pt x="1510" y="1098"/>
                  </a:lnTo>
                  <a:lnTo>
                    <a:pt x="1507" y="1098"/>
                  </a:lnTo>
                  <a:lnTo>
                    <a:pt x="1505" y="1096"/>
                  </a:lnTo>
                  <a:lnTo>
                    <a:pt x="1503" y="1094"/>
                  </a:lnTo>
                  <a:lnTo>
                    <a:pt x="1500" y="1090"/>
                  </a:lnTo>
                  <a:lnTo>
                    <a:pt x="1493" y="1083"/>
                  </a:lnTo>
                  <a:lnTo>
                    <a:pt x="1487" y="1073"/>
                  </a:lnTo>
                  <a:lnTo>
                    <a:pt x="1481" y="1061"/>
                  </a:lnTo>
                  <a:lnTo>
                    <a:pt x="1476" y="1052"/>
                  </a:lnTo>
                  <a:lnTo>
                    <a:pt x="1473" y="1044"/>
                  </a:lnTo>
                  <a:lnTo>
                    <a:pt x="1472" y="1038"/>
                  </a:lnTo>
                  <a:lnTo>
                    <a:pt x="1466" y="1036"/>
                  </a:lnTo>
                  <a:lnTo>
                    <a:pt x="1460" y="1032"/>
                  </a:lnTo>
                  <a:lnTo>
                    <a:pt x="1460" y="1010"/>
                  </a:lnTo>
                  <a:lnTo>
                    <a:pt x="1458" y="1010"/>
                  </a:lnTo>
                  <a:lnTo>
                    <a:pt x="1457" y="1007"/>
                  </a:lnTo>
                  <a:lnTo>
                    <a:pt x="1456" y="1003"/>
                  </a:lnTo>
                  <a:lnTo>
                    <a:pt x="1454" y="999"/>
                  </a:lnTo>
                  <a:lnTo>
                    <a:pt x="1452" y="987"/>
                  </a:lnTo>
                  <a:lnTo>
                    <a:pt x="1449" y="972"/>
                  </a:lnTo>
                  <a:lnTo>
                    <a:pt x="1446" y="958"/>
                  </a:lnTo>
                  <a:lnTo>
                    <a:pt x="1443" y="945"/>
                  </a:lnTo>
                  <a:lnTo>
                    <a:pt x="1440" y="941"/>
                  </a:lnTo>
                  <a:lnTo>
                    <a:pt x="1438" y="938"/>
                  </a:lnTo>
                  <a:lnTo>
                    <a:pt x="1436" y="934"/>
                  </a:lnTo>
                  <a:lnTo>
                    <a:pt x="1434" y="934"/>
                  </a:lnTo>
                  <a:lnTo>
                    <a:pt x="1434" y="923"/>
                  </a:lnTo>
                  <a:lnTo>
                    <a:pt x="1431" y="922"/>
                  </a:lnTo>
                  <a:lnTo>
                    <a:pt x="1429" y="921"/>
                  </a:lnTo>
                  <a:lnTo>
                    <a:pt x="1427" y="919"/>
                  </a:lnTo>
                  <a:lnTo>
                    <a:pt x="1426" y="916"/>
                  </a:lnTo>
                  <a:lnTo>
                    <a:pt x="1424" y="911"/>
                  </a:lnTo>
                  <a:lnTo>
                    <a:pt x="1423" y="906"/>
                  </a:lnTo>
                  <a:lnTo>
                    <a:pt x="1418" y="905"/>
                  </a:lnTo>
                  <a:lnTo>
                    <a:pt x="1414" y="903"/>
                  </a:lnTo>
                  <a:lnTo>
                    <a:pt x="1410" y="900"/>
                  </a:lnTo>
                  <a:lnTo>
                    <a:pt x="1406" y="895"/>
                  </a:lnTo>
                  <a:lnTo>
                    <a:pt x="1406" y="884"/>
                  </a:lnTo>
                  <a:lnTo>
                    <a:pt x="1400" y="882"/>
                  </a:lnTo>
                  <a:lnTo>
                    <a:pt x="1395" y="878"/>
                  </a:lnTo>
                  <a:lnTo>
                    <a:pt x="1395" y="857"/>
                  </a:lnTo>
                  <a:lnTo>
                    <a:pt x="1400" y="852"/>
                  </a:lnTo>
                  <a:lnTo>
                    <a:pt x="1406" y="848"/>
                  </a:lnTo>
                  <a:lnTo>
                    <a:pt x="1411" y="846"/>
                  </a:lnTo>
                  <a:lnTo>
                    <a:pt x="1411" y="835"/>
                  </a:lnTo>
                  <a:lnTo>
                    <a:pt x="1423" y="835"/>
                  </a:lnTo>
                  <a:lnTo>
                    <a:pt x="1428" y="821"/>
                  </a:lnTo>
                  <a:lnTo>
                    <a:pt x="1434" y="807"/>
                  </a:lnTo>
                  <a:lnTo>
                    <a:pt x="1437" y="807"/>
                  </a:lnTo>
                  <a:lnTo>
                    <a:pt x="1440" y="804"/>
                  </a:lnTo>
                  <a:lnTo>
                    <a:pt x="1444" y="800"/>
                  </a:lnTo>
                  <a:lnTo>
                    <a:pt x="1444" y="797"/>
                  </a:lnTo>
                  <a:lnTo>
                    <a:pt x="1449" y="794"/>
                  </a:lnTo>
                  <a:lnTo>
                    <a:pt x="1455" y="791"/>
                  </a:lnTo>
                  <a:lnTo>
                    <a:pt x="1455" y="780"/>
                  </a:lnTo>
                  <a:lnTo>
                    <a:pt x="1457" y="779"/>
                  </a:lnTo>
                  <a:lnTo>
                    <a:pt x="1458" y="777"/>
                  </a:lnTo>
                  <a:lnTo>
                    <a:pt x="1459" y="775"/>
                  </a:lnTo>
                  <a:lnTo>
                    <a:pt x="1460" y="771"/>
                  </a:lnTo>
                  <a:lnTo>
                    <a:pt x="1460" y="763"/>
                  </a:lnTo>
                  <a:lnTo>
                    <a:pt x="1460" y="758"/>
                  </a:lnTo>
                  <a:lnTo>
                    <a:pt x="1455" y="752"/>
                  </a:lnTo>
                  <a:lnTo>
                    <a:pt x="1445" y="752"/>
                  </a:lnTo>
                  <a:lnTo>
                    <a:pt x="1433" y="750"/>
                  </a:lnTo>
                  <a:lnTo>
                    <a:pt x="1420" y="748"/>
                  </a:lnTo>
                  <a:lnTo>
                    <a:pt x="1408" y="744"/>
                  </a:lnTo>
                  <a:lnTo>
                    <a:pt x="1395" y="741"/>
                  </a:lnTo>
                  <a:lnTo>
                    <a:pt x="1382" y="739"/>
                  </a:lnTo>
                  <a:lnTo>
                    <a:pt x="1369" y="737"/>
                  </a:lnTo>
                  <a:lnTo>
                    <a:pt x="1357" y="736"/>
                  </a:lnTo>
                  <a:lnTo>
                    <a:pt x="1353" y="718"/>
                  </a:lnTo>
                  <a:lnTo>
                    <a:pt x="1351" y="703"/>
                  </a:lnTo>
                  <a:lnTo>
                    <a:pt x="1340" y="703"/>
                  </a:lnTo>
                  <a:lnTo>
                    <a:pt x="1332" y="695"/>
                  </a:lnTo>
                  <a:lnTo>
                    <a:pt x="1323" y="686"/>
                  </a:lnTo>
                  <a:lnTo>
                    <a:pt x="1312" y="686"/>
                  </a:lnTo>
                  <a:lnTo>
                    <a:pt x="1306" y="681"/>
                  </a:lnTo>
                  <a:lnTo>
                    <a:pt x="1302" y="675"/>
                  </a:lnTo>
                  <a:lnTo>
                    <a:pt x="1296" y="670"/>
                  </a:lnTo>
                  <a:lnTo>
                    <a:pt x="1291" y="664"/>
                  </a:lnTo>
                  <a:lnTo>
                    <a:pt x="1291" y="647"/>
                  </a:lnTo>
                  <a:lnTo>
                    <a:pt x="1293" y="629"/>
                  </a:lnTo>
                  <a:lnTo>
                    <a:pt x="1295" y="613"/>
                  </a:lnTo>
                  <a:lnTo>
                    <a:pt x="1296" y="598"/>
                  </a:lnTo>
                  <a:lnTo>
                    <a:pt x="1297" y="598"/>
                  </a:lnTo>
                  <a:lnTo>
                    <a:pt x="1299" y="597"/>
                  </a:lnTo>
                  <a:lnTo>
                    <a:pt x="1300" y="595"/>
                  </a:lnTo>
                  <a:lnTo>
                    <a:pt x="1301" y="593"/>
                  </a:lnTo>
                  <a:lnTo>
                    <a:pt x="1301" y="587"/>
                  </a:lnTo>
                  <a:lnTo>
                    <a:pt x="1302" y="583"/>
                  </a:lnTo>
                  <a:lnTo>
                    <a:pt x="1303" y="582"/>
                  </a:lnTo>
                  <a:lnTo>
                    <a:pt x="1304" y="579"/>
                  </a:lnTo>
                  <a:lnTo>
                    <a:pt x="1305" y="575"/>
                  </a:lnTo>
                  <a:lnTo>
                    <a:pt x="1306" y="570"/>
                  </a:lnTo>
                  <a:lnTo>
                    <a:pt x="1306" y="561"/>
                  </a:lnTo>
                  <a:lnTo>
                    <a:pt x="1306" y="555"/>
                  </a:lnTo>
                  <a:lnTo>
                    <a:pt x="1309" y="554"/>
                  </a:lnTo>
                  <a:lnTo>
                    <a:pt x="1311" y="551"/>
                  </a:lnTo>
                  <a:lnTo>
                    <a:pt x="1312" y="548"/>
                  </a:lnTo>
                  <a:lnTo>
                    <a:pt x="1314" y="542"/>
                  </a:lnTo>
                  <a:lnTo>
                    <a:pt x="1316" y="530"/>
                  </a:lnTo>
                  <a:lnTo>
                    <a:pt x="1320" y="515"/>
                  </a:lnTo>
                  <a:lnTo>
                    <a:pt x="1322" y="483"/>
                  </a:lnTo>
                  <a:lnTo>
                    <a:pt x="1323" y="461"/>
                  </a:lnTo>
                  <a:lnTo>
                    <a:pt x="1321" y="460"/>
                  </a:lnTo>
                  <a:lnTo>
                    <a:pt x="1320" y="455"/>
                  </a:lnTo>
                  <a:lnTo>
                    <a:pt x="1318" y="450"/>
                  </a:lnTo>
                  <a:lnTo>
                    <a:pt x="1315" y="442"/>
                  </a:lnTo>
                  <a:lnTo>
                    <a:pt x="1313" y="429"/>
                  </a:lnTo>
                  <a:lnTo>
                    <a:pt x="1312" y="423"/>
                  </a:lnTo>
                  <a:lnTo>
                    <a:pt x="1302" y="363"/>
                  </a:lnTo>
                  <a:lnTo>
                    <a:pt x="1302" y="349"/>
                  </a:lnTo>
                  <a:lnTo>
                    <a:pt x="1302" y="335"/>
                  </a:lnTo>
                  <a:lnTo>
                    <a:pt x="1300" y="335"/>
                  </a:lnTo>
                  <a:lnTo>
                    <a:pt x="1299" y="334"/>
                  </a:lnTo>
                  <a:lnTo>
                    <a:pt x="1297" y="332"/>
                  </a:lnTo>
                  <a:lnTo>
                    <a:pt x="1296" y="329"/>
                  </a:lnTo>
                  <a:lnTo>
                    <a:pt x="1296" y="324"/>
                  </a:lnTo>
                  <a:lnTo>
                    <a:pt x="1296" y="319"/>
                  </a:lnTo>
                  <a:lnTo>
                    <a:pt x="1291" y="316"/>
                  </a:lnTo>
                  <a:lnTo>
                    <a:pt x="1285" y="314"/>
                  </a:lnTo>
                  <a:lnTo>
                    <a:pt x="1285" y="297"/>
                  </a:lnTo>
                  <a:lnTo>
                    <a:pt x="1283" y="296"/>
                  </a:lnTo>
                  <a:lnTo>
                    <a:pt x="1282" y="291"/>
                  </a:lnTo>
                  <a:lnTo>
                    <a:pt x="1281" y="286"/>
                  </a:lnTo>
                  <a:lnTo>
                    <a:pt x="1280" y="279"/>
                  </a:lnTo>
                  <a:lnTo>
                    <a:pt x="1280" y="267"/>
                  </a:lnTo>
                  <a:lnTo>
                    <a:pt x="1280" y="258"/>
                  </a:lnTo>
                  <a:lnTo>
                    <a:pt x="1252" y="182"/>
                  </a:lnTo>
                  <a:lnTo>
                    <a:pt x="1243" y="174"/>
                  </a:lnTo>
                  <a:lnTo>
                    <a:pt x="1226" y="156"/>
                  </a:lnTo>
                  <a:lnTo>
                    <a:pt x="1216" y="147"/>
                  </a:lnTo>
                  <a:lnTo>
                    <a:pt x="1207" y="140"/>
                  </a:lnTo>
                  <a:lnTo>
                    <a:pt x="1203" y="136"/>
                  </a:lnTo>
                  <a:lnTo>
                    <a:pt x="1198" y="134"/>
                  </a:lnTo>
                  <a:lnTo>
                    <a:pt x="1195" y="133"/>
                  </a:lnTo>
                  <a:lnTo>
                    <a:pt x="1191" y="132"/>
                  </a:lnTo>
                  <a:lnTo>
                    <a:pt x="1186" y="121"/>
                  </a:lnTo>
                  <a:lnTo>
                    <a:pt x="1177" y="119"/>
                  </a:lnTo>
                  <a:lnTo>
                    <a:pt x="1168" y="115"/>
                  </a:lnTo>
                  <a:lnTo>
                    <a:pt x="1161" y="112"/>
                  </a:lnTo>
                  <a:lnTo>
                    <a:pt x="1159" y="111"/>
                  </a:lnTo>
                  <a:lnTo>
                    <a:pt x="1152" y="109"/>
                  </a:lnTo>
                  <a:lnTo>
                    <a:pt x="1142" y="106"/>
                  </a:lnTo>
                  <a:lnTo>
                    <a:pt x="1138" y="105"/>
                  </a:lnTo>
                  <a:lnTo>
                    <a:pt x="1134" y="103"/>
                  </a:lnTo>
                  <a:lnTo>
                    <a:pt x="1132" y="102"/>
                  </a:lnTo>
                  <a:lnTo>
                    <a:pt x="1131" y="99"/>
                  </a:lnTo>
                  <a:lnTo>
                    <a:pt x="1117" y="98"/>
                  </a:lnTo>
                  <a:lnTo>
                    <a:pt x="1101" y="96"/>
                  </a:lnTo>
                  <a:lnTo>
                    <a:pt x="1085" y="95"/>
                  </a:lnTo>
                  <a:lnTo>
                    <a:pt x="1071" y="94"/>
                  </a:lnTo>
                  <a:lnTo>
                    <a:pt x="1069" y="90"/>
                  </a:lnTo>
                  <a:lnTo>
                    <a:pt x="1065" y="87"/>
                  </a:lnTo>
                  <a:lnTo>
                    <a:pt x="1063" y="86"/>
                  </a:lnTo>
                  <a:lnTo>
                    <a:pt x="1062" y="84"/>
                  </a:lnTo>
                  <a:lnTo>
                    <a:pt x="1060" y="80"/>
                  </a:lnTo>
                  <a:lnTo>
                    <a:pt x="1060" y="77"/>
                  </a:lnTo>
                  <a:lnTo>
                    <a:pt x="1049" y="77"/>
                  </a:lnTo>
                  <a:lnTo>
                    <a:pt x="1043" y="71"/>
                  </a:lnTo>
                  <a:lnTo>
                    <a:pt x="1037" y="66"/>
                  </a:lnTo>
                  <a:lnTo>
                    <a:pt x="1037" y="55"/>
                  </a:lnTo>
                  <a:lnTo>
                    <a:pt x="1035" y="54"/>
                  </a:lnTo>
                  <a:lnTo>
                    <a:pt x="1033" y="50"/>
                  </a:lnTo>
                  <a:lnTo>
                    <a:pt x="1031" y="46"/>
                  </a:lnTo>
                  <a:lnTo>
                    <a:pt x="1027" y="40"/>
                  </a:lnTo>
                  <a:lnTo>
                    <a:pt x="1023" y="30"/>
                  </a:lnTo>
                  <a:lnTo>
                    <a:pt x="1022" y="22"/>
                  </a:lnTo>
                  <a:lnTo>
                    <a:pt x="1018" y="21"/>
                  </a:lnTo>
                  <a:lnTo>
                    <a:pt x="1016" y="19"/>
                  </a:lnTo>
                  <a:lnTo>
                    <a:pt x="1016" y="16"/>
                  </a:lnTo>
                  <a:lnTo>
                    <a:pt x="1016" y="11"/>
                  </a:lnTo>
                  <a:lnTo>
                    <a:pt x="999" y="11"/>
                  </a:lnTo>
                  <a:lnTo>
                    <a:pt x="998" y="9"/>
                  </a:lnTo>
                  <a:lnTo>
                    <a:pt x="996" y="8"/>
                  </a:lnTo>
                  <a:lnTo>
                    <a:pt x="993" y="6"/>
                  </a:lnTo>
                  <a:lnTo>
                    <a:pt x="987" y="4"/>
                  </a:lnTo>
                  <a:lnTo>
                    <a:pt x="975" y="3"/>
                  </a:lnTo>
                  <a:lnTo>
                    <a:pt x="959" y="1"/>
                  </a:lnTo>
                  <a:lnTo>
                    <a:pt x="930" y="0"/>
                  </a:lnTo>
                  <a:lnTo>
                    <a:pt x="911" y="0"/>
                  </a:lnTo>
                  <a:lnTo>
                    <a:pt x="911" y="3"/>
                  </a:lnTo>
                  <a:lnTo>
                    <a:pt x="910" y="4"/>
                  </a:lnTo>
                  <a:lnTo>
                    <a:pt x="908" y="6"/>
                  </a:lnTo>
                  <a:lnTo>
                    <a:pt x="907" y="6"/>
                  </a:lnTo>
                  <a:lnTo>
                    <a:pt x="906" y="6"/>
                  </a:lnTo>
                  <a:lnTo>
                    <a:pt x="905" y="7"/>
                  </a:lnTo>
                  <a:lnTo>
                    <a:pt x="905" y="8"/>
                  </a:lnTo>
                  <a:lnTo>
                    <a:pt x="906" y="11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4" name="Freeform 40"/>
            <p:cNvSpPr>
              <a:spLocks noChangeAspect="1"/>
            </p:cNvSpPr>
            <p:nvPr/>
          </p:nvSpPr>
          <p:spPr bwMode="gray">
            <a:xfrm rot="355651">
              <a:off x="6053520" y="2930525"/>
              <a:ext cx="361822" cy="418390"/>
            </a:xfrm>
            <a:custGeom>
              <a:avLst/>
              <a:gdLst/>
              <a:ahLst/>
              <a:cxnLst>
                <a:cxn ang="0">
                  <a:pos x="365" y="45"/>
                </a:cxn>
                <a:cxn ang="0">
                  <a:pos x="313" y="156"/>
                </a:cxn>
                <a:cxn ang="0">
                  <a:pos x="285" y="203"/>
                </a:cxn>
                <a:cxn ang="0">
                  <a:pos x="218" y="271"/>
                </a:cxn>
                <a:cxn ang="0">
                  <a:pos x="151" y="359"/>
                </a:cxn>
                <a:cxn ang="0">
                  <a:pos x="126" y="389"/>
                </a:cxn>
                <a:cxn ang="0">
                  <a:pos x="58" y="452"/>
                </a:cxn>
                <a:cxn ang="0">
                  <a:pos x="12" y="652"/>
                </a:cxn>
                <a:cxn ang="0">
                  <a:pos x="38" y="920"/>
                </a:cxn>
                <a:cxn ang="0">
                  <a:pos x="84" y="1026"/>
                </a:cxn>
                <a:cxn ang="0">
                  <a:pos x="143" y="1089"/>
                </a:cxn>
                <a:cxn ang="0">
                  <a:pos x="247" y="1103"/>
                </a:cxn>
                <a:cxn ang="0">
                  <a:pos x="337" y="1108"/>
                </a:cxn>
                <a:cxn ang="0">
                  <a:pos x="384" y="1173"/>
                </a:cxn>
                <a:cxn ang="0">
                  <a:pos x="441" y="1290"/>
                </a:cxn>
                <a:cxn ang="0">
                  <a:pos x="527" y="1378"/>
                </a:cxn>
                <a:cxn ang="0">
                  <a:pos x="564" y="1497"/>
                </a:cxn>
                <a:cxn ang="0">
                  <a:pos x="546" y="1543"/>
                </a:cxn>
                <a:cxn ang="0">
                  <a:pos x="627" y="1685"/>
                </a:cxn>
                <a:cxn ang="0">
                  <a:pos x="809" y="1754"/>
                </a:cxn>
                <a:cxn ang="0">
                  <a:pos x="716" y="1875"/>
                </a:cxn>
                <a:cxn ang="0">
                  <a:pos x="782" y="2258"/>
                </a:cxn>
                <a:cxn ang="0">
                  <a:pos x="934" y="2325"/>
                </a:cxn>
                <a:cxn ang="0">
                  <a:pos x="1034" y="2459"/>
                </a:cxn>
                <a:cxn ang="0">
                  <a:pos x="1080" y="2571"/>
                </a:cxn>
                <a:cxn ang="0">
                  <a:pos x="1251" y="2524"/>
                </a:cxn>
                <a:cxn ang="0">
                  <a:pos x="1278" y="2344"/>
                </a:cxn>
                <a:cxn ang="0">
                  <a:pos x="1314" y="2217"/>
                </a:cxn>
                <a:cxn ang="0">
                  <a:pos x="1497" y="2112"/>
                </a:cxn>
                <a:cxn ang="0">
                  <a:pos x="1399" y="1987"/>
                </a:cxn>
                <a:cxn ang="0">
                  <a:pos x="1413" y="1918"/>
                </a:cxn>
                <a:cxn ang="0">
                  <a:pos x="1570" y="1954"/>
                </a:cxn>
                <a:cxn ang="0">
                  <a:pos x="1699" y="1904"/>
                </a:cxn>
                <a:cxn ang="0">
                  <a:pos x="1777" y="1904"/>
                </a:cxn>
                <a:cxn ang="0">
                  <a:pos x="1763" y="1834"/>
                </a:cxn>
                <a:cxn ang="0">
                  <a:pos x="1642" y="1735"/>
                </a:cxn>
                <a:cxn ang="0">
                  <a:pos x="1742" y="1579"/>
                </a:cxn>
                <a:cxn ang="0">
                  <a:pos x="1882" y="1533"/>
                </a:cxn>
                <a:cxn ang="0">
                  <a:pos x="1938" y="1294"/>
                </a:cxn>
                <a:cxn ang="0">
                  <a:pos x="1911" y="1223"/>
                </a:cxn>
                <a:cxn ang="0">
                  <a:pos x="1881" y="1118"/>
                </a:cxn>
                <a:cxn ang="0">
                  <a:pos x="1853" y="998"/>
                </a:cxn>
                <a:cxn ang="0">
                  <a:pos x="1807" y="881"/>
                </a:cxn>
                <a:cxn ang="0">
                  <a:pos x="1788" y="835"/>
                </a:cxn>
                <a:cxn ang="0">
                  <a:pos x="1724" y="784"/>
                </a:cxn>
                <a:cxn ang="0">
                  <a:pos x="1647" y="721"/>
                </a:cxn>
                <a:cxn ang="0">
                  <a:pos x="1584" y="621"/>
                </a:cxn>
                <a:cxn ang="0">
                  <a:pos x="1545" y="495"/>
                </a:cxn>
                <a:cxn ang="0">
                  <a:pos x="1421" y="513"/>
                </a:cxn>
                <a:cxn ang="0">
                  <a:pos x="1246" y="468"/>
                </a:cxn>
                <a:cxn ang="0">
                  <a:pos x="1191" y="439"/>
                </a:cxn>
                <a:cxn ang="0">
                  <a:pos x="1129" y="406"/>
                </a:cxn>
                <a:cxn ang="0">
                  <a:pos x="1046" y="338"/>
                </a:cxn>
                <a:cxn ang="0">
                  <a:pos x="978" y="284"/>
                </a:cxn>
                <a:cxn ang="0">
                  <a:pos x="955" y="238"/>
                </a:cxn>
                <a:cxn ang="0">
                  <a:pos x="930" y="187"/>
                </a:cxn>
                <a:cxn ang="0">
                  <a:pos x="904" y="97"/>
                </a:cxn>
                <a:cxn ang="0">
                  <a:pos x="862" y="46"/>
                </a:cxn>
                <a:cxn ang="0">
                  <a:pos x="692" y="81"/>
                </a:cxn>
                <a:cxn ang="0">
                  <a:pos x="649" y="29"/>
                </a:cxn>
                <a:cxn ang="0">
                  <a:pos x="518" y="14"/>
                </a:cxn>
              </a:cxnLst>
              <a:rect l="0" t="0" r="r" b="b"/>
              <a:pathLst>
                <a:path w="1992" h="2580">
                  <a:moveTo>
                    <a:pt x="408" y="8"/>
                  </a:moveTo>
                  <a:lnTo>
                    <a:pt x="402" y="8"/>
                  </a:lnTo>
                  <a:lnTo>
                    <a:pt x="398" y="10"/>
                  </a:lnTo>
                  <a:lnTo>
                    <a:pt x="393" y="11"/>
                  </a:lnTo>
                  <a:lnTo>
                    <a:pt x="390" y="13"/>
                  </a:lnTo>
                  <a:lnTo>
                    <a:pt x="386" y="15"/>
                  </a:lnTo>
                  <a:lnTo>
                    <a:pt x="384" y="19"/>
                  </a:lnTo>
                  <a:lnTo>
                    <a:pt x="383" y="23"/>
                  </a:lnTo>
                  <a:lnTo>
                    <a:pt x="383" y="29"/>
                  </a:lnTo>
                  <a:lnTo>
                    <a:pt x="379" y="33"/>
                  </a:lnTo>
                  <a:lnTo>
                    <a:pt x="373" y="35"/>
                  </a:lnTo>
                  <a:lnTo>
                    <a:pt x="368" y="38"/>
                  </a:lnTo>
                  <a:lnTo>
                    <a:pt x="367" y="42"/>
                  </a:lnTo>
                  <a:lnTo>
                    <a:pt x="365" y="45"/>
                  </a:lnTo>
                  <a:lnTo>
                    <a:pt x="362" y="49"/>
                  </a:lnTo>
                  <a:lnTo>
                    <a:pt x="358" y="52"/>
                  </a:lnTo>
                  <a:lnTo>
                    <a:pt x="358" y="67"/>
                  </a:lnTo>
                  <a:lnTo>
                    <a:pt x="354" y="69"/>
                  </a:lnTo>
                  <a:lnTo>
                    <a:pt x="350" y="72"/>
                  </a:lnTo>
                  <a:lnTo>
                    <a:pt x="346" y="83"/>
                  </a:lnTo>
                  <a:lnTo>
                    <a:pt x="344" y="96"/>
                  </a:lnTo>
                  <a:lnTo>
                    <a:pt x="325" y="120"/>
                  </a:lnTo>
                  <a:lnTo>
                    <a:pt x="325" y="135"/>
                  </a:lnTo>
                  <a:lnTo>
                    <a:pt x="320" y="137"/>
                  </a:lnTo>
                  <a:lnTo>
                    <a:pt x="315" y="139"/>
                  </a:lnTo>
                  <a:lnTo>
                    <a:pt x="315" y="154"/>
                  </a:lnTo>
                  <a:lnTo>
                    <a:pt x="314" y="155"/>
                  </a:lnTo>
                  <a:lnTo>
                    <a:pt x="313" y="156"/>
                  </a:lnTo>
                  <a:lnTo>
                    <a:pt x="312" y="157"/>
                  </a:lnTo>
                  <a:lnTo>
                    <a:pt x="310" y="159"/>
                  </a:lnTo>
                  <a:lnTo>
                    <a:pt x="310" y="164"/>
                  </a:lnTo>
                  <a:lnTo>
                    <a:pt x="310" y="168"/>
                  </a:lnTo>
                  <a:lnTo>
                    <a:pt x="307" y="169"/>
                  </a:lnTo>
                  <a:lnTo>
                    <a:pt x="305" y="173"/>
                  </a:lnTo>
                  <a:lnTo>
                    <a:pt x="304" y="176"/>
                  </a:lnTo>
                  <a:lnTo>
                    <a:pt x="303" y="180"/>
                  </a:lnTo>
                  <a:lnTo>
                    <a:pt x="300" y="185"/>
                  </a:lnTo>
                  <a:lnTo>
                    <a:pt x="298" y="189"/>
                  </a:lnTo>
                  <a:lnTo>
                    <a:pt x="296" y="192"/>
                  </a:lnTo>
                  <a:lnTo>
                    <a:pt x="291" y="193"/>
                  </a:lnTo>
                  <a:lnTo>
                    <a:pt x="286" y="197"/>
                  </a:lnTo>
                  <a:lnTo>
                    <a:pt x="285" y="203"/>
                  </a:lnTo>
                  <a:lnTo>
                    <a:pt x="280" y="209"/>
                  </a:lnTo>
                  <a:lnTo>
                    <a:pt x="276" y="215"/>
                  </a:lnTo>
                  <a:lnTo>
                    <a:pt x="271" y="217"/>
                  </a:lnTo>
                  <a:lnTo>
                    <a:pt x="271" y="226"/>
                  </a:lnTo>
                  <a:lnTo>
                    <a:pt x="267" y="232"/>
                  </a:lnTo>
                  <a:lnTo>
                    <a:pt x="261" y="236"/>
                  </a:lnTo>
                  <a:lnTo>
                    <a:pt x="252" y="236"/>
                  </a:lnTo>
                  <a:lnTo>
                    <a:pt x="249" y="242"/>
                  </a:lnTo>
                  <a:lnTo>
                    <a:pt x="242" y="247"/>
                  </a:lnTo>
                  <a:lnTo>
                    <a:pt x="233" y="253"/>
                  </a:lnTo>
                  <a:lnTo>
                    <a:pt x="228" y="255"/>
                  </a:lnTo>
                  <a:lnTo>
                    <a:pt x="227" y="260"/>
                  </a:lnTo>
                  <a:lnTo>
                    <a:pt x="222" y="265"/>
                  </a:lnTo>
                  <a:lnTo>
                    <a:pt x="218" y="271"/>
                  </a:lnTo>
                  <a:lnTo>
                    <a:pt x="213" y="275"/>
                  </a:lnTo>
                  <a:lnTo>
                    <a:pt x="213" y="284"/>
                  </a:lnTo>
                  <a:lnTo>
                    <a:pt x="208" y="290"/>
                  </a:lnTo>
                  <a:lnTo>
                    <a:pt x="199" y="294"/>
                  </a:lnTo>
                  <a:lnTo>
                    <a:pt x="199" y="304"/>
                  </a:lnTo>
                  <a:lnTo>
                    <a:pt x="194" y="308"/>
                  </a:lnTo>
                  <a:lnTo>
                    <a:pt x="188" y="314"/>
                  </a:lnTo>
                  <a:lnTo>
                    <a:pt x="182" y="322"/>
                  </a:lnTo>
                  <a:lnTo>
                    <a:pt x="180" y="328"/>
                  </a:lnTo>
                  <a:lnTo>
                    <a:pt x="174" y="333"/>
                  </a:lnTo>
                  <a:lnTo>
                    <a:pt x="165" y="338"/>
                  </a:lnTo>
                  <a:lnTo>
                    <a:pt x="163" y="343"/>
                  </a:lnTo>
                  <a:lnTo>
                    <a:pt x="158" y="352"/>
                  </a:lnTo>
                  <a:lnTo>
                    <a:pt x="151" y="359"/>
                  </a:lnTo>
                  <a:lnTo>
                    <a:pt x="145" y="362"/>
                  </a:lnTo>
                  <a:lnTo>
                    <a:pt x="145" y="367"/>
                  </a:lnTo>
                  <a:lnTo>
                    <a:pt x="142" y="371"/>
                  </a:lnTo>
                  <a:lnTo>
                    <a:pt x="140" y="373"/>
                  </a:lnTo>
                  <a:lnTo>
                    <a:pt x="137" y="375"/>
                  </a:lnTo>
                  <a:lnTo>
                    <a:pt x="134" y="376"/>
                  </a:lnTo>
                  <a:lnTo>
                    <a:pt x="131" y="377"/>
                  </a:lnTo>
                  <a:lnTo>
                    <a:pt x="131" y="382"/>
                  </a:lnTo>
                  <a:lnTo>
                    <a:pt x="131" y="386"/>
                  </a:lnTo>
                  <a:lnTo>
                    <a:pt x="130" y="387"/>
                  </a:lnTo>
                  <a:lnTo>
                    <a:pt x="128" y="388"/>
                  </a:lnTo>
                  <a:lnTo>
                    <a:pt x="127" y="387"/>
                  </a:lnTo>
                  <a:lnTo>
                    <a:pt x="127" y="388"/>
                  </a:lnTo>
                  <a:lnTo>
                    <a:pt x="126" y="389"/>
                  </a:lnTo>
                  <a:lnTo>
                    <a:pt x="126" y="391"/>
                  </a:lnTo>
                  <a:lnTo>
                    <a:pt x="122" y="394"/>
                  </a:lnTo>
                  <a:lnTo>
                    <a:pt x="117" y="399"/>
                  </a:lnTo>
                  <a:lnTo>
                    <a:pt x="113" y="406"/>
                  </a:lnTo>
                  <a:lnTo>
                    <a:pt x="112" y="410"/>
                  </a:lnTo>
                  <a:lnTo>
                    <a:pt x="107" y="412"/>
                  </a:lnTo>
                  <a:lnTo>
                    <a:pt x="102" y="416"/>
                  </a:lnTo>
                  <a:lnTo>
                    <a:pt x="93" y="425"/>
                  </a:lnTo>
                  <a:lnTo>
                    <a:pt x="83" y="435"/>
                  </a:lnTo>
                  <a:lnTo>
                    <a:pt x="73" y="435"/>
                  </a:lnTo>
                  <a:lnTo>
                    <a:pt x="73" y="445"/>
                  </a:lnTo>
                  <a:lnTo>
                    <a:pt x="64" y="445"/>
                  </a:lnTo>
                  <a:lnTo>
                    <a:pt x="62" y="448"/>
                  </a:lnTo>
                  <a:lnTo>
                    <a:pt x="58" y="452"/>
                  </a:lnTo>
                  <a:lnTo>
                    <a:pt x="54" y="453"/>
                  </a:lnTo>
                  <a:lnTo>
                    <a:pt x="49" y="454"/>
                  </a:lnTo>
                  <a:lnTo>
                    <a:pt x="48" y="457"/>
                  </a:lnTo>
                  <a:lnTo>
                    <a:pt x="46" y="460"/>
                  </a:lnTo>
                  <a:lnTo>
                    <a:pt x="43" y="463"/>
                  </a:lnTo>
                  <a:lnTo>
                    <a:pt x="39" y="464"/>
                  </a:lnTo>
                  <a:lnTo>
                    <a:pt x="25" y="478"/>
                  </a:lnTo>
                  <a:lnTo>
                    <a:pt x="24" y="514"/>
                  </a:lnTo>
                  <a:lnTo>
                    <a:pt x="22" y="554"/>
                  </a:lnTo>
                  <a:lnTo>
                    <a:pt x="20" y="594"/>
                  </a:lnTo>
                  <a:lnTo>
                    <a:pt x="20" y="633"/>
                  </a:lnTo>
                  <a:lnTo>
                    <a:pt x="17" y="636"/>
                  </a:lnTo>
                  <a:lnTo>
                    <a:pt x="15" y="642"/>
                  </a:lnTo>
                  <a:lnTo>
                    <a:pt x="12" y="652"/>
                  </a:lnTo>
                  <a:lnTo>
                    <a:pt x="10" y="666"/>
                  </a:lnTo>
                  <a:lnTo>
                    <a:pt x="5" y="702"/>
                  </a:lnTo>
                  <a:lnTo>
                    <a:pt x="0" y="744"/>
                  </a:lnTo>
                  <a:lnTo>
                    <a:pt x="22" y="744"/>
                  </a:lnTo>
                  <a:lnTo>
                    <a:pt x="22" y="767"/>
                  </a:lnTo>
                  <a:lnTo>
                    <a:pt x="21" y="793"/>
                  </a:lnTo>
                  <a:lnTo>
                    <a:pt x="21" y="820"/>
                  </a:lnTo>
                  <a:lnTo>
                    <a:pt x="22" y="848"/>
                  </a:lnTo>
                  <a:lnTo>
                    <a:pt x="24" y="861"/>
                  </a:lnTo>
                  <a:lnTo>
                    <a:pt x="25" y="875"/>
                  </a:lnTo>
                  <a:lnTo>
                    <a:pt x="27" y="887"/>
                  </a:lnTo>
                  <a:lnTo>
                    <a:pt x="30" y="899"/>
                  </a:lnTo>
                  <a:lnTo>
                    <a:pt x="34" y="910"/>
                  </a:lnTo>
                  <a:lnTo>
                    <a:pt x="38" y="920"/>
                  </a:lnTo>
                  <a:lnTo>
                    <a:pt x="44" y="929"/>
                  </a:lnTo>
                  <a:lnTo>
                    <a:pt x="50" y="937"/>
                  </a:lnTo>
                  <a:lnTo>
                    <a:pt x="50" y="952"/>
                  </a:lnTo>
                  <a:lnTo>
                    <a:pt x="57" y="958"/>
                  </a:lnTo>
                  <a:lnTo>
                    <a:pt x="65" y="965"/>
                  </a:lnTo>
                  <a:lnTo>
                    <a:pt x="65" y="979"/>
                  </a:lnTo>
                  <a:lnTo>
                    <a:pt x="66" y="983"/>
                  </a:lnTo>
                  <a:lnTo>
                    <a:pt x="70" y="991"/>
                  </a:lnTo>
                  <a:lnTo>
                    <a:pt x="73" y="995"/>
                  </a:lnTo>
                  <a:lnTo>
                    <a:pt x="75" y="1000"/>
                  </a:lnTo>
                  <a:lnTo>
                    <a:pt x="77" y="1002"/>
                  </a:lnTo>
                  <a:lnTo>
                    <a:pt x="78" y="1003"/>
                  </a:lnTo>
                  <a:lnTo>
                    <a:pt x="82" y="1015"/>
                  </a:lnTo>
                  <a:lnTo>
                    <a:pt x="84" y="1026"/>
                  </a:lnTo>
                  <a:lnTo>
                    <a:pt x="93" y="1031"/>
                  </a:lnTo>
                  <a:lnTo>
                    <a:pt x="93" y="1041"/>
                  </a:lnTo>
                  <a:lnTo>
                    <a:pt x="97" y="1043"/>
                  </a:lnTo>
                  <a:lnTo>
                    <a:pt x="102" y="1045"/>
                  </a:lnTo>
                  <a:lnTo>
                    <a:pt x="103" y="1051"/>
                  </a:lnTo>
                  <a:lnTo>
                    <a:pt x="104" y="1053"/>
                  </a:lnTo>
                  <a:lnTo>
                    <a:pt x="106" y="1054"/>
                  </a:lnTo>
                  <a:lnTo>
                    <a:pt x="112" y="1054"/>
                  </a:lnTo>
                  <a:lnTo>
                    <a:pt x="118" y="1068"/>
                  </a:lnTo>
                  <a:lnTo>
                    <a:pt x="126" y="1078"/>
                  </a:lnTo>
                  <a:lnTo>
                    <a:pt x="131" y="1083"/>
                  </a:lnTo>
                  <a:lnTo>
                    <a:pt x="134" y="1083"/>
                  </a:lnTo>
                  <a:lnTo>
                    <a:pt x="140" y="1085"/>
                  </a:lnTo>
                  <a:lnTo>
                    <a:pt x="143" y="1089"/>
                  </a:lnTo>
                  <a:lnTo>
                    <a:pt x="144" y="1092"/>
                  </a:lnTo>
                  <a:lnTo>
                    <a:pt x="163" y="1101"/>
                  </a:lnTo>
                  <a:lnTo>
                    <a:pt x="178" y="1111"/>
                  </a:lnTo>
                  <a:lnTo>
                    <a:pt x="190" y="1111"/>
                  </a:lnTo>
                  <a:lnTo>
                    <a:pt x="207" y="1110"/>
                  </a:lnTo>
                  <a:lnTo>
                    <a:pt x="216" y="1110"/>
                  </a:lnTo>
                  <a:lnTo>
                    <a:pt x="222" y="1109"/>
                  </a:lnTo>
                  <a:lnTo>
                    <a:pt x="227" y="1108"/>
                  </a:lnTo>
                  <a:lnTo>
                    <a:pt x="229" y="1107"/>
                  </a:lnTo>
                  <a:lnTo>
                    <a:pt x="235" y="1107"/>
                  </a:lnTo>
                  <a:lnTo>
                    <a:pt x="240" y="1106"/>
                  </a:lnTo>
                  <a:lnTo>
                    <a:pt x="243" y="1106"/>
                  </a:lnTo>
                  <a:lnTo>
                    <a:pt x="246" y="1104"/>
                  </a:lnTo>
                  <a:lnTo>
                    <a:pt x="247" y="1103"/>
                  </a:lnTo>
                  <a:lnTo>
                    <a:pt x="248" y="1101"/>
                  </a:lnTo>
                  <a:lnTo>
                    <a:pt x="257" y="1101"/>
                  </a:lnTo>
                  <a:lnTo>
                    <a:pt x="267" y="1099"/>
                  </a:lnTo>
                  <a:lnTo>
                    <a:pt x="279" y="1098"/>
                  </a:lnTo>
                  <a:lnTo>
                    <a:pt x="290" y="1097"/>
                  </a:lnTo>
                  <a:lnTo>
                    <a:pt x="297" y="1097"/>
                  </a:lnTo>
                  <a:lnTo>
                    <a:pt x="308" y="1098"/>
                  </a:lnTo>
                  <a:lnTo>
                    <a:pt x="314" y="1098"/>
                  </a:lnTo>
                  <a:lnTo>
                    <a:pt x="318" y="1099"/>
                  </a:lnTo>
                  <a:lnTo>
                    <a:pt x="322" y="1100"/>
                  </a:lnTo>
                  <a:lnTo>
                    <a:pt x="323" y="1101"/>
                  </a:lnTo>
                  <a:lnTo>
                    <a:pt x="333" y="1101"/>
                  </a:lnTo>
                  <a:lnTo>
                    <a:pt x="334" y="1104"/>
                  </a:lnTo>
                  <a:lnTo>
                    <a:pt x="337" y="1108"/>
                  </a:lnTo>
                  <a:lnTo>
                    <a:pt x="341" y="1110"/>
                  </a:lnTo>
                  <a:lnTo>
                    <a:pt x="342" y="1111"/>
                  </a:lnTo>
                  <a:lnTo>
                    <a:pt x="352" y="1125"/>
                  </a:lnTo>
                  <a:lnTo>
                    <a:pt x="361" y="1135"/>
                  </a:lnTo>
                  <a:lnTo>
                    <a:pt x="367" y="1146"/>
                  </a:lnTo>
                  <a:lnTo>
                    <a:pt x="375" y="1154"/>
                  </a:lnTo>
                  <a:lnTo>
                    <a:pt x="375" y="1157"/>
                  </a:lnTo>
                  <a:lnTo>
                    <a:pt x="375" y="1159"/>
                  </a:lnTo>
                  <a:lnTo>
                    <a:pt x="376" y="1161"/>
                  </a:lnTo>
                  <a:lnTo>
                    <a:pt x="380" y="1162"/>
                  </a:lnTo>
                  <a:lnTo>
                    <a:pt x="380" y="1166"/>
                  </a:lnTo>
                  <a:lnTo>
                    <a:pt x="380" y="1169"/>
                  </a:lnTo>
                  <a:lnTo>
                    <a:pt x="382" y="1171"/>
                  </a:lnTo>
                  <a:lnTo>
                    <a:pt x="384" y="1173"/>
                  </a:lnTo>
                  <a:lnTo>
                    <a:pt x="385" y="1179"/>
                  </a:lnTo>
                  <a:lnTo>
                    <a:pt x="386" y="1187"/>
                  </a:lnTo>
                  <a:lnTo>
                    <a:pt x="389" y="1196"/>
                  </a:lnTo>
                  <a:lnTo>
                    <a:pt x="391" y="1205"/>
                  </a:lnTo>
                  <a:lnTo>
                    <a:pt x="396" y="1222"/>
                  </a:lnTo>
                  <a:lnTo>
                    <a:pt x="399" y="1237"/>
                  </a:lnTo>
                  <a:lnTo>
                    <a:pt x="408" y="1247"/>
                  </a:lnTo>
                  <a:lnTo>
                    <a:pt x="408" y="1256"/>
                  </a:lnTo>
                  <a:lnTo>
                    <a:pt x="412" y="1262"/>
                  </a:lnTo>
                  <a:lnTo>
                    <a:pt x="416" y="1269"/>
                  </a:lnTo>
                  <a:lnTo>
                    <a:pt x="420" y="1275"/>
                  </a:lnTo>
                  <a:lnTo>
                    <a:pt x="422" y="1280"/>
                  </a:lnTo>
                  <a:lnTo>
                    <a:pt x="431" y="1285"/>
                  </a:lnTo>
                  <a:lnTo>
                    <a:pt x="441" y="1290"/>
                  </a:lnTo>
                  <a:lnTo>
                    <a:pt x="450" y="1294"/>
                  </a:lnTo>
                  <a:lnTo>
                    <a:pt x="451" y="1298"/>
                  </a:lnTo>
                  <a:lnTo>
                    <a:pt x="454" y="1302"/>
                  </a:lnTo>
                  <a:lnTo>
                    <a:pt x="459" y="1306"/>
                  </a:lnTo>
                  <a:lnTo>
                    <a:pt x="464" y="1310"/>
                  </a:lnTo>
                  <a:lnTo>
                    <a:pt x="473" y="1318"/>
                  </a:lnTo>
                  <a:lnTo>
                    <a:pt x="478" y="1322"/>
                  </a:lnTo>
                  <a:lnTo>
                    <a:pt x="486" y="1329"/>
                  </a:lnTo>
                  <a:lnTo>
                    <a:pt x="499" y="1342"/>
                  </a:lnTo>
                  <a:lnTo>
                    <a:pt x="510" y="1356"/>
                  </a:lnTo>
                  <a:lnTo>
                    <a:pt x="516" y="1364"/>
                  </a:lnTo>
                  <a:lnTo>
                    <a:pt x="525" y="1369"/>
                  </a:lnTo>
                  <a:lnTo>
                    <a:pt x="526" y="1373"/>
                  </a:lnTo>
                  <a:lnTo>
                    <a:pt x="527" y="1378"/>
                  </a:lnTo>
                  <a:lnTo>
                    <a:pt x="529" y="1382"/>
                  </a:lnTo>
                  <a:lnTo>
                    <a:pt x="533" y="1387"/>
                  </a:lnTo>
                  <a:lnTo>
                    <a:pt x="536" y="1391"/>
                  </a:lnTo>
                  <a:lnTo>
                    <a:pt x="539" y="1395"/>
                  </a:lnTo>
                  <a:lnTo>
                    <a:pt x="542" y="1397"/>
                  </a:lnTo>
                  <a:lnTo>
                    <a:pt x="544" y="1398"/>
                  </a:lnTo>
                  <a:lnTo>
                    <a:pt x="546" y="1405"/>
                  </a:lnTo>
                  <a:lnTo>
                    <a:pt x="548" y="1411"/>
                  </a:lnTo>
                  <a:lnTo>
                    <a:pt x="558" y="1416"/>
                  </a:lnTo>
                  <a:lnTo>
                    <a:pt x="559" y="1433"/>
                  </a:lnTo>
                  <a:lnTo>
                    <a:pt x="563" y="1453"/>
                  </a:lnTo>
                  <a:lnTo>
                    <a:pt x="566" y="1474"/>
                  </a:lnTo>
                  <a:lnTo>
                    <a:pt x="567" y="1496"/>
                  </a:lnTo>
                  <a:lnTo>
                    <a:pt x="564" y="1497"/>
                  </a:lnTo>
                  <a:lnTo>
                    <a:pt x="560" y="1500"/>
                  </a:lnTo>
                  <a:lnTo>
                    <a:pt x="558" y="1502"/>
                  </a:lnTo>
                  <a:lnTo>
                    <a:pt x="558" y="1505"/>
                  </a:lnTo>
                  <a:lnTo>
                    <a:pt x="544" y="1507"/>
                  </a:lnTo>
                  <a:lnTo>
                    <a:pt x="529" y="1511"/>
                  </a:lnTo>
                  <a:lnTo>
                    <a:pt x="526" y="1515"/>
                  </a:lnTo>
                  <a:lnTo>
                    <a:pt x="520" y="1521"/>
                  </a:lnTo>
                  <a:lnTo>
                    <a:pt x="531" y="1523"/>
                  </a:lnTo>
                  <a:lnTo>
                    <a:pt x="539" y="1524"/>
                  </a:lnTo>
                  <a:lnTo>
                    <a:pt x="543" y="1526"/>
                  </a:lnTo>
                  <a:lnTo>
                    <a:pt x="544" y="1527"/>
                  </a:lnTo>
                  <a:lnTo>
                    <a:pt x="546" y="1529"/>
                  </a:lnTo>
                  <a:lnTo>
                    <a:pt x="546" y="1531"/>
                  </a:lnTo>
                  <a:lnTo>
                    <a:pt x="546" y="1543"/>
                  </a:lnTo>
                  <a:lnTo>
                    <a:pt x="547" y="1555"/>
                  </a:lnTo>
                  <a:lnTo>
                    <a:pt x="549" y="1568"/>
                  </a:lnTo>
                  <a:lnTo>
                    <a:pt x="552" y="1581"/>
                  </a:lnTo>
                  <a:lnTo>
                    <a:pt x="555" y="1594"/>
                  </a:lnTo>
                  <a:lnTo>
                    <a:pt x="559" y="1607"/>
                  </a:lnTo>
                  <a:lnTo>
                    <a:pt x="564" y="1619"/>
                  </a:lnTo>
                  <a:lnTo>
                    <a:pt x="569" y="1631"/>
                  </a:lnTo>
                  <a:lnTo>
                    <a:pt x="575" y="1642"/>
                  </a:lnTo>
                  <a:lnTo>
                    <a:pt x="583" y="1652"/>
                  </a:lnTo>
                  <a:lnTo>
                    <a:pt x="590" y="1662"/>
                  </a:lnTo>
                  <a:lnTo>
                    <a:pt x="598" y="1670"/>
                  </a:lnTo>
                  <a:lnTo>
                    <a:pt x="607" y="1677"/>
                  </a:lnTo>
                  <a:lnTo>
                    <a:pt x="617" y="1681"/>
                  </a:lnTo>
                  <a:lnTo>
                    <a:pt x="627" y="1685"/>
                  </a:lnTo>
                  <a:lnTo>
                    <a:pt x="639" y="1686"/>
                  </a:lnTo>
                  <a:lnTo>
                    <a:pt x="655" y="1686"/>
                  </a:lnTo>
                  <a:lnTo>
                    <a:pt x="671" y="1688"/>
                  </a:lnTo>
                  <a:lnTo>
                    <a:pt x="687" y="1692"/>
                  </a:lnTo>
                  <a:lnTo>
                    <a:pt x="700" y="1696"/>
                  </a:lnTo>
                  <a:lnTo>
                    <a:pt x="713" y="1702"/>
                  </a:lnTo>
                  <a:lnTo>
                    <a:pt x="726" y="1707"/>
                  </a:lnTo>
                  <a:lnTo>
                    <a:pt x="737" y="1714"/>
                  </a:lnTo>
                  <a:lnTo>
                    <a:pt x="748" y="1721"/>
                  </a:lnTo>
                  <a:lnTo>
                    <a:pt x="768" y="1733"/>
                  </a:lnTo>
                  <a:lnTo>
                    <a:pt x="786" y="1744"/>
                  </a:lnTo>
                  <a:lnTo>
                    <a:pt x="794" y="1748"/>
                  </a:lnTo>
                  <a:lnTo>
                    <a:pt x="802" y="1752"/>
                  </a:lnTo>
                  <a:lnTo>
                    <a:pt x="809" y="1754"/>
                  </a:lnTo>
                  <a:lnTo>
                    <a:pt x="816" y="1755"/>
                  </a:lnTo>
                  <a:lnTo>
                    <a:pt x="804" y="1756"/>
                  </a:lnTo>
                  <a:lnTo>
                    <a:pt x="793" y="1758"/>
                  </a:lnTo>
                  <a:lnTo>
                    <a:pt x="783" y="1763"/>
                  </a:lnTo>
                  <a:lnTo>
                    <a:pt x="773" y="1769"/>
                  </a:lnTo>
                  <a:lnTo>
                    <a:pt x="764" y="1775"/>
                  </a:lnTo>
                  <a:lnTo>
                    <a:pt x="755" y="1784"/>
                  </a:lnTo>
                  <a:lnTo>
                    <a:pt x="747" y="1793"/>
                  </a:lnTo>
                  <a:lnTo>
                    <a:pt x="740" y="1804"/>
                  </a:lnTo>
                  <a:lnTo>
                    <a:pt x="735" y="1817"/>
                  </a:lnTo>
                  <a:lnTo>
                    <a:pt x="729" y="1830"/>
                  </a:lnTo>
                  <a:lnTo>
                    <a:pt x="723" y="1844"/>
                  </a:lnTo>
                  <a:lnTo>
                    <a:pt x="719" y="1859"/>
                  </a:lnTo>
                  <a:lnTo>
                    <a:pt x="716" y="1875"/>
                  </a:lnTo>
                  <a:lnTo>
                    <a:pt x="712" y="1891"/>
                  </a:lnTo>
                  <a:lnTo>
                    <a:pt x="709" y="1909"/>
                  </a:lnTo>
                  <a:lnTo>
                    <a:pt x="707" y="1927"/>
                  </a:lnTo>
                  <a:lnTo>
                    <a:pt x="703" y="1965"/>
                  </a:lnTo>
                  <a:lnTo>
                    <a:pt x="701" y="2004"/>
                  </a:lnTo>
                  <a:lnTo>
                    <a:pt x="700" y="2044"/>
                  </a:lnTo>
                  <a:lnTo>
                    <a:pt x="700" y="2084"/>
                  </a:lnTo>
                  <a:lnTo>
                    <a:pt x="702" y="2164"/>
                  </a:lnTo>
                  <a:lnTo>
                    <a:pt x="706" y="2236"/>
                  </a:lnTo>
                  <a:lnTo>
                    <a:pt x="735" y="2236"/>
                  </a:lnTo>
                  <a:lnTo>
                    <a:pt x="749" y="2245"/>
                  </a:lnTo>
                  <a:lnTo>
                    <a:pt x="763" y="2253"/>
                  </a:lnTo>
                  <a:lnTo>
                    <a:pt x="779" y="2253"/>
                  </a:lnTo>
                  <a:lnTo>
                    <a:pt x="782" y="2258"/>
                  </a:lnTo>
                  <a:lnTo>
                    <a:pt x="785" y="2264"/>
                  </a:lnTo>
                  <a:lnTo>
                    <a:pt x="799" y="2269"/>
                  </a:lnTo>
                  <a:lnTo>
                    <a:pt x="832" y="2279"/>
                  </a:lnTo>
                  <a:lnTo>
                    <a:pt x="850" y="2284"/>
                  </a:lnTo>
                  <a:lnTo>
                    <a:pt x="864" y="2290"/>
                  </a:lnTo>
                  <a:lnTo>
                    <a:pt x="875" y="2294"/>
                  </a:lnTo>
                  <a:lnTo>
                    <a:pt x="879" y="2298"/>
                  </a:lnTo>
                  <a:lnTo>
                    <a:pt x="893" y="2300"/>
                  </a:lnTo>
                  <a:lnTo>
                    <a:pt x="907" y="2303"/>
                  </a:lnTo>
                  <a:lnTo>
                    <a:pt x="910" y="2309"/>
                  </a:lnTo>
                  <a:lnTo>
                    <a:pt x="912" y="2314"/>
                  </a:lnTo>
                  <a:lnTo>
                    <a:pt x="918" y="2320"/>
                  </a:lnTo>
                  <a:lnTo>
                    <a:pt x="929" y="2320"/>
                  </a:lnTo>
                  <a:lnTo>
                    <a:pt x="934" y="2325"/>
                  </a:lnTo>
                  <a:lnTo>
                    <a:pt x="974" y="2363"/>
                  </a:lnTo>
                  <a:lnTo>
                    <a:pt x="977" y="2370"/>
                  </a:lnTo>
                  <a:lnTo>
                    <a:pt x="985" y="2380"/>
                  </a:lnTo>
                  <a:lnTo>
                    <a:pt x="991" y="2388"/>
                  </a:lnTo>
                  <a:lnTo>
                    <a:pt x="996" y="2391"/>
                  </a:lnTo>
                  <a:lnTo>
                    <a:pt x="1000" y="2402"/>
                  </a:lnTo>
                  <a:lnTo>
                    <a:pt x="1006" y="2414"/>
                  </a:lnTo>
                  <a:lnTo>
                    <a:pt x="1011" y="2417"/>
                  </a:lnTo>
                  <a:lnTo>
                    <a:pt x="1017" y="2419"/>
                  </a:lnTo>
                  <a:lnTo>
                    <a:pt x="1023" y="2436"/>
                  </a:lnTo>
                  <a:lnTo>
                    <a:pt x="1028" y="2453"/>
                  </a:lnTo>
                  <a:lnTo>
                    <a:pt x="1032" y="2454"/>
                  </a:lnTo>
                  <a:lnTo>
                    <a:pt x="1034" y="2456"/>
                  </a:lnTo>
                  <a:lnTo>
                    <a:pt x="1034" y="2459"/>
                  </a:lnTo>
                  <a:lnTo>
                    <a:pt x="1034" y="2464"/>
                  </a:lnTo>
                  <a:lnTo>
                    <a:pt x="1045" y="2475"/>
                  </a:lnTo>
                  <a:lnTo>
                    <a:pt x="1046" y="2481"/>
                  </a:lnTo>
                  <a:lnTo>
                    <a:pt x="1047" y="2486"/>
                  </a:lnTo>
                  <a:lnTo>
                    <a:pt x="1048" y="2492"/>
                  </a:lnTo>
                  <a:lnTo>
                    <a:pt x="1051" y="2497"/>
                  </a:lnTo>
                  <a:lnTo>
                    <a:pt x="1053" y="2502"/>
                  </a:lnTo>
                  <a:lnTo>
                    <a:pt x="1055" y="2507"/>
                  </a:lnTo>
                  <a:lnTo>
                    <a:pt x="1056" y="2513"/>
                  </a:lnTo>
                  <a:lnTo>
                    <a:pt x="1056" y="2519"/>
                  </a:lnTo>
                  <a:lnTo>
                    <a:pt x="1062" y="2522"/>
                  </a:lnTo>
                  <a:lnTo>
                    <a:pt x="1067" y="2524"/>
                  </a:lnTo>
                  <a:lnTo>
                    <a:pt x="1078" y="2569"/>
                  </a:lnTo>
                  <a:lnTo>
                    <a:pt x="1080" y="2571"/>
                  </a:lnTo>
                  <a:lnTo>
                    <a:pt x="1081" y="2574"/>
                  </a:lnTo>
                  <a:lnTo>
                    <a:pt x="1084" y="2577"/>
                  </a:lnTo>
                  <a:lnTo>
                    <a:pt x="1087" y="2580"/>
                  </a:lnTo>
                  <a:lnTo>
                    <a:pt x="1134" y="2580"/>
                  </a:lnTo>
                  <a:lnTo>
                    <a:pt x="1168" y="2578"/>
                  </a:lnTo>
                  <a:lnTo>
                    <a:pt x="1180" y="2575"/>
                  </a:lnTo>
                  <a:lnTo>
                    <a:pt x="1191" y="2573"/>
                  </a:lnTo>
                  <a:lnTo>
                    <a:pt x="1200" y="2570"/>
                  </a:lnTo>
                  <a:lnTo>
                    <a:pt x="1208" y="2566"/>
                  </a:lnTo>
                  <a:lnTo>
                    <a:pt x="1216" y="2562"/>
                  </a:lnTo>
                  <a:lnTo>
                    <a:pt x="1221" y="2556"/>
                  </a:lnTo>
                  <a:lnTo>
                    <a:pt x="1228" y="2550"/>
                  </a:lnTo>
                  <a:lnTo>
                    <a:pt x="1235" y="2543"/>
                  </a:lnTo>
                  <a:lnTo>
                    <a:pt x="1251" y="2524"/>
                  </a:lnTo>
                  <a:lnTo>
                    <a:pt x="1273" y="2502"/>
                  </a:lnTo>
                  <a:lnTo>
                    <a:pt x="1278" y="2496"/>
                  </a:lnTo>
                  <a:lnTo>
                    <a:pt x="1282" y="2491"/>
                  </a:lnTo>
                  <a:lnTo>
                    <a:pt x="1285" y="2484"/>
                  </a:lnTo>
                  <a:lnTo>
                    <a:pt x="1288" y="2478"/>
                  </a:lnTo>
                  <a:lnTo>
                    <a:pt x="1291" y="2471"/>
                  </a:lnTo>
                  <a:lnTo>
                    <a:pt x="1293" y="2464"/>
                  </a:lnTo>
                  <a:lnTo>
                    <a:pt x="1294" y="2457"/>
                  </a:lnTo>
                  <a:lnTo>
                    <a:pt x="1294" y="2449"/>
                  </a:lnTo>
                  <a:lnTo>
                    <a:pt x="1294" y="2434"/>
                  </a:lnTo>
                  <a:lnTo>
                    <a:pt x="1293" y="2417"/>
                  </a:lnTo>
                  <a:lnTo>
                    <a:pt x="1291" y="2399"/>
                  </a:lnTo>
                  <a:lnTo>
                    <a:pt x="1287" y="2381"/>
                  </a:lnTo>
                  <a:lnTo>
                    <a:pt x="1278" y="2344"/>
                  </a:lnTo>
                  <a:lnTo>
                    <a:pt x="1269" y="2308"/>
                  </a:lnTo>
                  <a:lnTo>
                    <a:pt x="1265" y="2290"/>
                  </a:lnTo>
                  <a:lnTo>
                    <a:pt x="1262" y="2272"/>
                  </a:lnTo>
                  <a:lnTo>
                    <a:pt x="1260" y="2254"/>
                  </a:lnTo>
                  <a:lnTo>
                    <a:pt x="1259" y="2237"/>
                  </a:lnTo>
                  <a:lnTo>
                    <a:pt x="1260" y="2227"/>
                  </a:lnTo>
                  <a:lnTo>
                    <a:pt x="1262" y="2221"/>
                  </a:lnTo>
                  <a:lnTo>
                    <a:pt x="1265" y="2215"/>
                  </a:lnTo>
                  <a:lnTo>
                    <a:pt x="1270" y="2212"/>
                  </a:lnTo>
                  <a:lnTo>
                    <a:pt x="1275" y="2210"/>
                  </a:lnTo>
                  <a:lnTo>
                    <a:pt x="1282" y="2209"/>
                  </a:lnTo>
                  <a:lnTo>
                    <a:pt x="1289" y="2210"/>
                  </a:lnTo>
                  <a:lnTo>
                    <a:pt x="1297" y="2213"/>
                  </a:lnTo>
                  <a:lnTo>
                    <a:pt x="1314" y="2217"/>
                  </a:lnTo>
                  <a:lnTo>
                    <a:pt x="1332" y="2221"/>
                  </a:lnTo>
                  <a:lnTo>
                    <a:pt x="1341" y="2223"/>
                  </a:lnTo>
                  <a:lnTo>
                    <a:pt x="1349" y="2223"/>
                  </a:lnTo>
                  <a:lnTo>
                    <a:pt x="1358" y="2222"/>
                  </a:lnTo>
                  <a:lnTo>
                    <a:pt x="1365" y="2218"/>
                  </a:lnTo>
                  <a:lnTo>
                    <a:pt x="1378" y="2212"/>
                  </a:lnTo>
                  <a:lnTo>
                    <a:pt x="1393" y="2202"/>
                  </a:lnTo>
                  <a:lnTo>
                    <a:pt x="1411" y="2190"/>
                  </a:lnTo>
                  <a:lnTo>
                    <a:pt x="1429" y="2177"/>
                  </a:lnTo>
                  <a:lnTo>
                    <a:pt x="1461" y="2152"/>
                  </a:lnTo>
                  <a:lnTo>
                    <a:pt x="1481" y="2136"/>
                  </a:lnTo>
                  <a:lnTo>
                    <a:pt x="1488" y="2128"/>
                  </a:lnTo>
                  <a:lnTo>
                    <a:pt x="1494" y="2120"/>
                  </a:lnTo>
                  <a:lnTo>
                    <a:pt x="1497" y="2112"/>
                  </a:lnTo>
                  <a:lnTo>
                    <a:pt x="1499" y="2106"/>
                  </a:lnTo>
                  <a:lnTo>
                    <a:pt x="1499" y="2098"/>
                  </a:lnTo>
                  <a:lnTo>
                    <a:pt x="1498" y="2091"/>
                  </a:lnTo>
                  <a:lnTo>
                    <a:pt x="1496" y="2083"/>
                  </a:lnTo>
                  <a:lnTo>
                    <a:pt x="1494" y="2077"/>
                  </a:lnTo>
                  <a:lnTo>
                    <a:pt x="1489" y="2070"/>
                  </a:lnTo>
                  <a:lnTo>
                    <a:pt x="1484" y="2063"/>
                  </a:lnTo>
                  <a:lnTo>
                    <a:pt x="1478" y="2056"/>
                  </a:lnTo>
                  <a:lnTo>
                    <a:pt x="1471" y="2050"/>
                  </a:lnTo>
                  <a:lnTo>
                    <a:pt x="1458" y="2036"/>
                  </a:lnTo>
                  <a:lnTo>
                    <a:pt x="1442" y="2024"/>
                  </a:lnTo>
                  <a:lnTo>
                    <a:pt x="1427" y="2012"/>
                  </a:lnTo>
                  <a:lnTo>
                    <a:pt x="1412" y="2000"/>
                  </a:lnTo>
                  <a:lnTo>
                    <a:pt x="1399" y="1987"/>
                  </a:lnTo>
                  <a:lnTo>
                    <a:pt x="1388" y="1975"/>
                  </a:lnTo>
                  <a:lnTo>
                    <a:pt x="1383" y="1969"/>
                  </a:lnTo>
                  <a:lnTo>
                    <a:pt x="1381" y="1963"/>
                  </a:lnTo>
                  <a:lnTo>
                    <a:pt x="1379" y="1957"/>
                  </a:lnTo>
                  <a:lnTo>
                    <a:pt x="1378" y="1952"/>
                  </a:lnTo>
                  <a:lnTo>
                    <a:pt x="1379" y="1945"/>
                  </a:lnTo>
                  <a:lnTo>
                    <a:pt x="1380" y="1939"/>
                  </a:lnTo>
                  <a:lnTo>
                    <a:pt x="1383" y="1933"/>
                  </a:lnTo>
                  <a:lnTo>
                    <a:pt x="1389" y="1927"/>
                  </a:lnTo>
                  <a:lnTo>
                    <a:pt x="1392" y="1924"/>
                  </a:lnTo>
                  <a:lnTo>
                    <a:pt x="1395" y="1921"/>
                  </a:lnTo>
                  <a:lnTo>
                    <a:pt x="1400" y="1920"/>
                  </a:lnTo>
                  <a:lnTo>
                    <a:pt x="1404" y="1919"/>
                  </a:lnTo>
                  <a:lnTo>
                    <a:pt x="1413" y="1918"/>
                  </a:lnTo>
                  <a:lnTo>
                    <a:pt x="1423" y="1919"/>
                  </a:lnTo>
                  <a:lnTo>
                    <a:pt x="1435" y="1921"/>
                  </a:lnTo>
                  <a:lnTo>
                    <a:pt x="1446" y="1925"/>
                  </a:lnTo>
                  <a:lnTo>
                    <a:pt x="1458" y="1928"/>
                  </a:lnTo>
                  <a:lnTo>
                    <a:pt x="1470" y="1934"/>
                  </a:lnTo>
                  <a:lnTo>
                    <a:pt x="1495" y="1944"/>
                  </a:lnTo>
                  <a:lnTo>
                    <a:pt x="1518" y="1954"/>
                  </a:lnTo>
                  <a:lnTo>
                    <a:pt x="1529" y="1958"/>
                  </a:lnTo>
                  <a:lnTo>
                    <a:pt x="1539" y="1960"/>
                  </a:lnTo>
                  <a:lnTo>
                    <a:pt x="1548" y="1963"/>
                  </a:lnTo>
                  <a:lnTo>
                    <a:pt x="1556" y="1964"/>
                  </a:lnTo>
                  <a:lnTo>
                    <a:pt x="1560" y="1963"/>
                  </a:lnTo>
                  <a:lnTo>
                    <a:pt x="1564" y="1959"/>
                  </a:lnTo>
                  <a:lnTo>
                    <a:pt x="1570" y="1954"/>
                  </a:lnTo>
                  <a:lnTo>
                    <a:pt x="1577" y="1947"/>
                  </a:lnTo>
                  <a:lnTo>
                    <a:pt x="1594" y="1931"/>
                  </a:lnTo>
                  <a:lnTo>
                    <a:pt x="1614" y="1916"/>
                  </a:lnTo>
                  <a:lnTo>
                    <a:pt x="1625" y="1908"/>
                  </a:lnTo>
                  <a:lnTo>
                    <a:pt x="1637" y="1901"/>
                  </a:lnTo>
                  <a:lnTo>
                    <a:pt x="1648" y="1897"/>
                  </a:lnTo>
                  <a:lnTo>
                    <a:pt x="1659" y="1894"/>
                  </a:lnTo>
                  <a:lnTo>
                    <a:pt x="1666" y="1892"/>
                  </a:lnTo>
                  <a:lnTo>
                    <a:pt x="1671" y="1892"/>
                  </a:lnTo>
                  <a:lnTo>
                    <a:pt x="1677" y="1894"/>
                  </a:lnTo>
                  <a:lnTo>
                    <a:pt x="1682" y="1895"/>
                  </a:lnTo>
                  <a:lnTo>
                    <a:pt x="1688" y="1897"/>
                  </a:lnTo>
                  <a:lnTo>
                    <a:pt x="1694" y="1900"/>
                  </a:lnTo>
                  <a:lnTo>
                    <a:pt x="1699" y="1904"/>
                  </a:lnTo>
                  <a:lnTo>
                    <a:pt x="1704" y="1908"/>
                  </a:lnTo>
                  <a:lnTo>
                    <a:pt x="1710" y="1914"/>
                  </a:lnTo>
                  <a:lnTo>
                    <a:pt x="1716" y="1917"/>
                  </a:lnTo>
                  <a:lnTo>
                    <a:pt x="1721" y="1920"/>
                  </a:lnTo>
                  <a:lnTo>
                    <a:pt x="1727" y="1923"/>
                  </a:lnTo>
                  <a:lnTo>
                    <a:pt x="1733" y="1924"/>
                  </a:lnTo>
                  <a:lnTo>
                    <a:pt x="1738" y="1924"/>
                  </a:lnTo>
                  <a:lnTo>
                    <a:pt x="1744" y="1924"/>
                  </a:lnTo>
                  <a:lnTo>
                    <a:pt x="1749" y="1923"/>
                  </a:lnTo>
                  <a:lnTo>
                    <a:pt x="1754" y="1920"/>
                  </a:lnTo>
                  <a:lnTo>
                    <a:pt x="1759" y="1918"/>
                  </a:lnTo>
                  <a:lnTo>
                    <a:pt x="1764" y="1915"/>
                  </a:lnTo>
                  <a:lnTo>
                    <a:pt x="1768" y="1911"/>
                  </a:lnTo>
                  <a:lnTo>
                    <a:pt x="1777" y="1904"/>
                  </a:lnTo>
                  <a:lnTo>
                    <a:pt x="1784" y="1894"/>
                  </a:lnTo>
                  <a:lnTo>
                    <a:pt x="1788" y="1883"/>
                  </a:lnTo>
                  <a:lnTo>
                    <a:pt x="1792" y="1873"/>
                  </a:lnTo>
                  <a:lnTo>
                    <a:pt x="1792" y="1869"/>
                  </a:lnTo>
                  <a:lnTo>
                    <a:pt x="1793" y="1863"/>
                  </a:lnTo>
                  <a:lnTo>
                    <a:pt x="1792" y="1859"/>
                  </a:lnTo>
                  <a:lnTo>
                    <a:pt x="1791" y="1854"/>
                  </a:lnTo>
                  <a:lnTo>
                    <a:pt x="1788" y="1850"/>
                  </a:lnTo>
                  <a:lnTo>
                    <a:pt x="1786" y="1847"/>
                  </a:lnTo>
                  <a:lnTo>
                    <a:pt x="1783" y="1843"/>
                  </a:lnTo>
                  <a:lnTo>
                    <a:pt x="1780" y="1840"/>
                  </a:lnTo>
                  <a:lnTo>
                    <a:pt x="1775" y="1838"/>
                  </a:lnTo>
                  <a:lnTo>
                    <a:pt x="1768" y="1835"/>
                  </a:lnTo>
                  <a:lnTo>
                    <a:pt x="1763" y="1834"/>
                  </a:lnTo>
                  <a:lnTo>
                    <a:pt x="1755" y="1834"/>
                  </a:lnTo>
                  <a:lnTo>
                    <a:pt x="1736" y="1833"/>
                  </a:lnTo>
                  <a:lnTo>
                    <a:pt x="1718" y="1831"/>
                  </a:lnTo>
                  <a:lnTo>
                    <a:pt x="1702" y="1828"/>
                  </a:lnTo>
                  <a:lnTo>
                    <a:pt x="1689" y="1822"/>
                  </a:lnTo>
                  <a:lnTo>
                    <a:pt x="1678" y="1817"/>
                  </a:lnTo>
                  <a:lnTo>
                    <a:pt x="1668" y="1809"/>
                  </a:lnTo>
                  <a:lnTo>
                    <a:pt x="1660" y="1801"/>
                  </a:lnTo>
                  <a:lnTo>
                    <a:pt x="1653" y="1792"/>
                  </a:lnTo>
                  <a:lnTo>
                    <a:pt x="1649" y="1782"/>
                  </a:lnTo>
                  <a:lnTo>
                    <a:pt x="1644" y="1771"/>
                  </a:lnTo>
                  <a:lnTo>
                    <a:pt x="1642" y="1760"/>
                  </a:lnTo>
                  <a:lnTo>
                    <a:pt x="1642" y="1747"/>
                  </a:lnTo>
                  <a:lnTo>
                    <a:pt x="1642" y="1735"/>
                  </a:lnTo>
                  <a:lnTo>
                    <a:pt x="1644" y="1723"/>
                  </a:lnTo>
                  <a:lnTo>
                    <a:pt x="1647" y="1710"/>
                  </a:lnTo>
                  <a:lnTo>
                    <a:pt x="1651" y="1697"/>
                  </a:lnTo>
                  <a:lnTo>
                    <a:pt x="1656" y="1685"/>
                  </a:lnTo>
                  <a:lnTo>
                    <a:pt x="1661" y="1673"/>
                  </a:lnTo>
                  <a:lnTo>
                    <a:pt x="1668" y="1659"/>
                  </a:lnTo>
                  <a:lnTo>
                    <a:pt x="1676" y="1647"/>
                  </a:lnTo>
                  <a:lnTo>
                    <a:pt x="1684" y="1636"/>
                  </a:lnTo>
                  <a:lnTo>
                    <a:pt x="1692" y="1625"/>
                  </a:lnTo>
                  <a:lnTo>
                    <a:pt x="1701" y="1613"/>
                  </a:lnTo>
                  <a:lnTo>
                    <a:pt x="1710" y="1603"/>
                  </a:lnTo>
                  <a:lnTo>
                    <a:pt x="1720" y="1594"/>
                  </a:lnTo>
                  <a:lnTo>
                    <a:pt x="1732" y="1585"/>
                  </a:lnTo>
                  <a:lnTo>
                    <a:pt x="1742" y="1579"/>
                  </a:lnTo>
                  <a:lnTo>
                    <a:pt x="1753" y="1572"/>
                  </a:lnTo>
                  <a:lnTo>
                    <a:pt x="1764" y="1568"/>
                  </a:lnTo>
                  <a:lnTo>
                    <a:pt x="1775" y="1564"/>
                  </a:lnTo>
                  <a:lnTo>
                    <a:pt x="1786" y="1562"/>
                  </a:lnTo>
                  <a:lnTo>
                    <a:pt x="1796" y="1561"/>
                  </a:lnTo>
                  <a:lnTo>
                    <a:pt x="1807" y="1561"/>
                  </a:lnTo>
                  <a:lnTo>
                    <a:pt x="1817" y="1560"/>
                  </a:lnTo>
                  <a:lnTo>
                    <a:pt x="1826" y="1558"/>
                  </a:lnTo>
                  <a:lnTo>
                    <a:pt x="1835" y="1556"/>
                  </a:lnTo>
                  <a:lnTo>
                    <a:pt x="1844" y="1553"/>
                  </a:lnTo>
                  <a:lnTo>
                    <a:pt x="1853" y="1550"/>
                  </a:lnTo>
                  <a:lnTo>
                    <a:pt x="1861" y="1546"/>
                  </a:lnTo>
                  <a:lnTo>
                    <a:pt x="1869" y="1543"/>
                  </a:lnTo>
                  <a:lnTo>
                    <a:pt x="1882" y="1533"/>
                  </a:lnTo>
                  <a:lnTo>
                    <a:pt x="1896" y="1523"/>
                  </a:lnTo>
                  <a:lnTo>
                    <a:pt x="1908" y="1511"/>
                  </a:lnTo>
                  <a:lnTo>
                    <a:pt x="1919" y="1497"/>
                  </a:lnTo>
                  <a:lnTo>
                    <a:pt x="1929" y="1484"/>
                  </a:lnTo>
                  <a:lnTo>
                    <a:pt x="1939" y="1469"/>
                  </a:lnTo>
                  <a:lnTo>
                    <a:pt x="1948" y="1455"/>
                  </a:lnTo>
                  <a:lnTo>
                    <a:pt x="1957" y="1440"/>
                  </a:lnTo>
                  <a:lnTo>
                    <a:pt x="1974" y="1411"/>
                  </a:lnTo>
                  <a:lnTo>
                    <a:pt x="1992" y="1383"/>
                  </a:lnTo>
                  <a:lnTo>
                    <a:pt x="1974" y="1359"/>
                  </a:lnTo>
                  <a:lnTo>
                    <a:pt x="1957" y="1330"/>
                  </a:lnTo>
                  <a:lnTo>
                    <a:pt x="1949" y="1317"/>
                  </a:lnTo>
                  <a:lnTo>
                    <a:pt x="1942" y="1304"/>
                  </a:lnTo>
                  <a:lnTo>
                    <a:pt x="1938" y="1294"/>
                  </a:lnTo>
                  <a:lnTo>
                    <a:pt x="1937" y="1286"/>
                  </a:lnTo>
                  <a:lnTo>
                    <a:pt x="1935" y="1285"/>
                  </a:lnTo>
                  <a:lnTo>
                    <a:pt x="1934" y="1283"/>
                  </a:lnTo>
                  <a:lnTo>
                    <a:pt x="1931" y="1279"/>
                  </a:lnTo>
                  <a:lnTo>
                    <a:pt x="1930" y="1274"/>
                  </a:lnTo>
                  <a:lnTo>
                    <a:pt x="1928" y="1264"/>
                  </a:lnTo>
                  <a:lnTo>
                    <a:pt x="1927" y="1257"/>
                  </a:lnTo>
                  <a:lnTo>
                    <a:pt x="1926" y="1256"/>
                  </a:lnTo>
                  <a:lnTo>
                    <a:pt x="1922" y="1253"/>
                  </a:lnTo>
                  <a:lnTo>
                    <a:pt x="1920" y="1248"/>
                  </a:lnTo>
                  <a:lnTo>
                    <a:pt x="1918" y="1243"/>
                  </a:lnTo>
                  <a:lnTo>
                    <a:pt x="1915" y="1231"/>
                  </a:lnTo>
                  <a:lnTo>
                    <a:pt x="1912" y="1224"/>
                  </a:lnTo>
                  <a:lnTo>
                    <a:pt x="1911" y="1223"/>
                  </a:lnTo>
                  <a:lnTo>
                    <a:pt x="1910" y="1222"/>
                  </a:lnTo>
                  <a:lnTo>
                    <a:pt x="1909" y="1221"/>
                  </a:lnTo>
                  <a:lnTo>
                    <a:pt x="1909" y="1218"/>
                  </a:lnTo>
                  <a:lnTo>
                    <a:pt x="1908" y="1214"/>
                  </a:lnTo>
                  <a:lnTo>
                    <a:pt x="1908" y="1209"/>
                  </a:lnTo>
                  <a:lnTo>
                    <a:pt x="1898" y="1199"/>
                  </a:lnTo>
                  <a:lnTo>
                    <a:pt x="1898" y="1196"/>
                  </a:lnTo>
                  <a:lnTo>
                    <a:pt x="1898" y="1193"/>
                  </a:lnTo>
                  <a:lnTo>
                    <a:pt x="1896" y="1190"/>
                  </a:lnTo>
                  <a:lnTo>
                    <a:pt x="1893" y="1189"/>
                  </a:lnTo>
                  <a:lnTo>
                    <a:pt x="1893" y="1175"/>
                  </a:lnTo>
                  <a:lnTo>
                    <a:pt x="1891" y="1165"/>
                  </a:lnTo>
                  <a:lnTo>
                    <a:pt x="1886" y="1142"/>
                  </a:lnTo>
                  <a:lnTo>
                    <a:pt x="1881" y="1118"/>
                  </a:lnTo>
                  <a:lnTo>
                    <a:pt x="1879" y="1102"/>
                  </a:lnTo>
                  <a:lnTo>
                    <a:pt x="1878" y="1093"/>
                  </a:lnTo>
                  <a:lnTo>
                    <a:pt x="1877" y="1083"/>
                  </a:lnTo>
                  <a:lnTo>
                    <a:pt x="1874" y="1072"/>
                  </a:lnTo>
                  <a:lnTo>
                    <a:pt x="1871" y="1061"/>
                  </a:lnTo>
                  <a:lnTo>
                    <a:pt x="1869" y="1050"/>
                  </a:lnTo>
                  <a:lnTo>
                    <a:pt x="1867" y="1037"/>
                  </a:lnTo>
                  <a:lnTo>
                    <a:pt x="1864" y="1026"/>
                  </a:lnTo>
                  <a:lnTo>
                    <a:pt x="1864" y="1015"/>
                  </a:lnTo>
                  <a:lnTo>
                    <a:pt x="1862" y="1015"/>
                  </a:lnTo>
                  <a:lnTo>
                    <a:pt x="1861" y="1013"/>
                  </a:lnTo>
                  <a:lnTo>
                    <a:pt x="1859" y="1011"/>
                  </a:lnTo>
                  <a:lnTo>
                    <a:pt x="1857" y="1007"/>
                  </a:lnTo>
                  <a:lnTo>
                    <a:pt x="1853" y="998"/>
                  </a:lnTo>
                  <a:lnTo>
                    <a:pt x="1850" y="988"/>
                  </a:lnTo>
                  <a:lnTo>
                    <a:pt x="1846" y="979"/>
                  </a:lnTo>
                  <a:lnTo>
                    <a:pt x="1842" y="971"/>
                  </a:lnTo>
                  <a:lnTo>
                    <a:pt x="1841" y="967"/>
                  </a:lnTo>
                  <a:lnTo>
                    <a:pt x="1839" y="965"/>
                  </a:lnTo>
                  <a:lnTo>
                    <a:pt x="1838" y="963"/>
                  </a:lnTo>
                  <a:lnTo>
                    <a:pt x="1835" y="963"/>
                  </a:lnTo>
                  <a:lnTo>
                    <a:pt x="1834" y="952"/>
                  </a:lnTo>
                  <a:lnTo>
                    <a:pt x="1831" y="939"/>
                  </a:lnTo>
                  <a:lnTo>
                    <a:pt x="1826" y="928"/>
                  </a:lnTo>
                  <a:lnTo>
                    <a:pt x="1821" y="916"/>
                  </a:lnTo>
                  <a:lnTo>
                    <a:pt x="1815" y="905"/>
                  </a:lnTo>
                  <a:lnTo>
                    <a:pt x="1811" y="892"/>
                  </a:lnTo>
                  <a:lnTo>
                    <a:pt x="1807" y="881"/>
                  </a:lnTo>
                  <a:lnTo>
                    <a:pt x="1806" y="870"/>
                  </a:lnTo>
                  <a:lnTo>
                    <a:pt x="1804" y="870"/>
                  </a:lnTo>
                  <a:lnTo>
                    <a:pt x="1803" y="868"/>
                  </a:lnTo>
                  <a:lnTo>
                    <a:pt x="1801" y="866"/>
                  </a:lnTo>
                  <a:lnTo>
                    <a:pt x="1800" y="862"/>
                  </a:lnTo>
                  <a:lnTo>
                    <a:pt x="1797" y="856"/>
                  </a:lnTo>
                  <a:lnTo>
                    <a:pt x="1796" y="851"/>
                  </a:lnTo>
                  <a:lnTo>
                    <a:pt x="1795" y="850"/>
                  </a:lnTo>
                  <a:lnTo>
                    <a:pt x="1794" y="849"/>
                  </a:lnTo>
                  <a:lnTo>
                    <a:pt x="1793" y="848"/>
                  </a:lnTo>
                  <a:lnTo>
                    <a:pt x="1792" y="846"/>
                  </a:lnTo>
                  <a:lnTo>
                    <a:pt x="1792" y="841"/>
                  </a:lnTo>
                  <a:lnTo>
                    <a:pt x="1792" y="837"/>
                  </a:lnTo>
                  <a:lnTo>
                    <a:pt x="1788" y="835"/>
                  </a:lnTo>
                  <a:lnTo>
                    <a:pt x="1787" y="833"/>
                  </a:lnTo>
                  <a:lnTo>
                    <a:pt x="1787" y="830"/>
                  </a:lnTo>
                  <a:lnTo>
                    <a:pt x="1787" y="827"/>
                  </a:lnTo>
                  <a:lnTo>
                    <a:pt x="1775" y="820"/>
                  </a:lnTo>
                  <a:lnTo>
                    <a:pt x="1767" y="812"/>
                  </a:lnTo>
                  <a:lnTo>
                    <a:pt x="1758" y="812"/>
                  </a:lnTo>
                  <a:lnTo>
                    <a:pt x="1753" y="802"/>
                  </a:lnTo>
                  <a:lnTo>
                    <a:pt x="1748" y="802"/>
                  </a:lnTo>
                  <a:lnTo>
                    <a:pt x="1744" y="800"/>
                  </a:lnTo>
                  <a:lnTo>
                    <a:pt x="1739" y="796"/>
                  </a:lnTo>
                  <a:lnTo>
                    <a:pt x="1736" y="793"/>
                  </a:lnTo>
                  <a:lnTo>
                    <a:pt x="1733" y="790"/>
                  </a:lnTo>
                  <a:lnTo>
                    <a:pt x="1728" y="786"/>
                  </a:lnTo>
                  <a:lnTo>
                    <a:pt x="1724" y="784"/>
                  </a:lnTo>
                  <a:lnTo>
                    <a:pt x="1719" y="783"/>
                  </a:lnTo>
                  <a:lnTo>
                    <a:pt x="1715" y="777"/>
                  </a:lnTo>
                  <a:lnTo>
                    <a:pt x="1706" y="770"/>
                  </a:lnTo>
                  <a:lnTo>
                    <a:pt x="1697" y="762"/>
                  </a:lnTo>
                  <a:lnTo>
                    <a:pt x="1690" y="758"/>
                  </a:lnTo>
                  <a:lnTo>
                    <a:pt x="1688" y="754"/>
                  </a:lnTo>
                  <a:lnTo>
                    <a:pt x="1685" y="750"/>
                  </a:lnTo>
                  <a:lnTo>
                    <a:pt x="1676" y="747"/>
                  </a:lnTo>
                  <a:lnTo>
                    <a:pt x="1666" y="744"/>
                  </a:lnTo>
                  <a:lnTo>
                    <a:pt x="1666" y="735"/>
                  </a:lnTo>
                  <a:lnTo>
                    <a:pt x="1656" y="735"/>
                  </a:lnTo>
                  <a:lnTo>
                    <a:pt x="1651" y="729"/>
                  </a:lnTo>
                  <a:lnTo>
                    <a:pt x="1649" y="725"/>
                  </a:lnTo>
                  <a:lnTo>
                    <a:pt x="1647" y="721"/>
                  </a:lnTo>
                  <a:lnTo>
                    <a:pt x="1637" y="721"/>
                  </a:lnTo>
                  <a:lnTo>
                    <a:pt x="1637" y="710"/>
                  </a:lnTo>
                  <a:lnTo>
                    <a:pt x="1632" y="706"/>
                  </a:lnTo>
                  <a:lnTo>
                    <a:pt x="1627" y="704"/>
                  </a:lnTo>
                  <a:lnTo>
                    <a:pt x="1622" y="700"/>
                  </a:lnTo>
                  <a:lnTo>
                    <a:pt x="1619" y="694"/>
                  </a:lnTo>
                  <a:lnTo>
                    <a:pt x="1610" y="683"/>
                  </a:lnTo>
                  <a:lnTo>
                    <a:pt x="1602" y="671"/>
                  </a:lnTo>
                  <a:lnTo>
                    <a:pt x="1598" y="667"/>
                  </a:lnTo>
                  <a:lnTo>
                    <a:pt x="1598" y="660"/>
                  </a:lnTo>
                  <a:lnTo>
                    <a:pt x="1596" y="654"/>
                  </a:lnTo>
                  <a:lnTo>
                    <a:pt x="1594" y="646"/>
                  </a:lnTo>
                  <a:lnTo>
                    <a:pt x="1591" y="638"/>
                  </a:lnTo>
                  <a:lnTo>
                    <a:pt x="1584" y="621"/>
                  </a:lnTo>
                  <a:lnTo>
                    <a:pt x="1576" y="603"/>
                  </a:lnTo>
                  <a:lnTo>
                    <a:pt x="1569" y="584"/>
                  </a:lnTo>
                  <a:lnTo>
                    <a:pt x="1561" y="567"/>
                  </a:lnTo>
                  <a:lnTo>
                    <a:pt x="1558" y="558"/>
                  </a:lnTo>
                  <a:lnTo>
                    <a:pt x="1556" y="549"/>
                  </a:lnTo>
                  <a:lnTo>
                    <a:pt x="1555" y="540"/>
                  </a:lnTo>
                  <a:lnTo>
                    <a:pt x="1554" y="532"/>
                  </a:lnTo>
                  <a:lnTo>
                    <a:pt x="1553" y="531"/>
                  </a:lnTo>
                  <a:lnTo>
                    <a:pt x="1552" y="527"/>
                  </a:lnTo>
                  <a:lnTo>
                    <a:pt x="1551" y="524"/>
                  </a:lnTo>
                  <a:lnTo>
                    <a:pt x="1551" y="519"/>
                  </a:lnTo>
                  <a:lnTo>
                    <a:pt x="1550" y="508"/>
                  </a:lnTo>
                  <a:lnTo>
                    <a:pt x="1550" y="503"/>
                  </a:lnTo>
                  <a:lnTo>
                    <a:pt x="1545" y="495"/>
                  </a:lnTo>
                  <a:lnTo>
                    <a:pt x="1539" y="483"/>
                  </a:lnTo>
                  <a:lnTo>
                    <a:pt x="1528" y="484"/>
                  </a:lnTo>
                  <a:lnTo>
                    <a:pt x="1517" y="485"/>
                  </a:lnTo>
                  <a:lnTo>
                    <a:pt x="1506" y="487"/>
                  </a:lnTo>
                  <a:lnTo>
                    <a:pt x="1495" y="491"/>
                  </a:lnTo>
                  <a:lnTo>
                    <a:pt x="1484" y="493"/>
                  </a:lnTo>
                  <a:lnTo>
                    <a:pt x="1473" y="495"/>
                  </a:lnTo>
                  <a:lnTo>
                    <a:pt x="1462" y="497"/>
                  </a:lnTo>
                  <a:lnTo>
                    <a:pt x="1452" y="497"/>
                  </a:lnTo>
                  <a:lnTo>
                    <a:pt x="1451" y="502"/>
                  </a:lnTo>
                  <a:lnTo>
                    <a:pt x="1449" y="505"/>
                  </a:lnTo>
                  <a:lnTo>
                    <a:pt x="1443" y="508"/>
                  </a:lnTo>
                  <a:lnTo>
                    <a:pt x="1438" y="510"/>
                  </a:lnTo>
                  <a:lnTo>
                    <a:pt x="1421" y="513"/>
                  </a:lnTo>
                  <a:lnTo>
                    <a:pt x="1403" y="514"/>
                  </a:lnTo>
                  <a:lnTo>
                    <a:pt x="1366" y="513"/>
                  </a:lnTo>
                  <a:lnTo>
                    <a:pt x="1346" y="512"/>
                  </a:lnTo>
                  <a:lnTo>
                    <a:pt x="1342" y="503"/>
                  </a:lnTo>
                  <a:lnTo>
                    <a:pt x="1331" y="502"/>
                  </a:lnTo>
                  <a:lnTo>
                    <a:pt x="1322" y="500"/>
                  </a:lnTo>
                  <a:lnTo>
                    <a:pt x="1313" y="498"/>
                  </a:lnTo>
                  <a:lnTo>
                    <a:pt x="1303" y="497"/>
                  </a:lnTo>
                  <a:lnTo>
                    <a:pt x="1299" y="495"/>
                  </a:lnTo>
                  <a:lnTo>
                    <a:pt x="1293" y="491"/>
                  </a:lnTo>
                  <a:lnTo>
                    <a:pt x="1283" y="485"/>
                  </a:lnTo>
                  <a:lnTo>
                    <a:pt x="1270" y="478"/>
                  </a:lnTo>
                  <a:lnTo>
                    <a:pt x="1257" y="473"/>
                  </a:lnTo>
                  <a:lnTo>
                    <a:pt x="1246" y="468"/>
                  </a:lnTo>
                  <a:lnTo>
                    <a:pt x="1236" y="465"/>
                  </a:lnTo>
                  <a:lnTo>
                    <a:pt x="1230" y="464"/>
                  </a:lnTo>
                  <a:lnTo>
                    <a:pt x="1229" y="462"/>
                  </a:lnTo>
                  <a:lnTo>
                    <a:pt x="1228" y="460"/>
                  </a:lnTo>
                  <a:lnTo>
                    <a:pt x="1227" y="460"/>
                  </a:lnTo>
                  <a:lnTo>
                    <a:pt x="1225" y="459"/>
                  </a:lnTo>
                  <a:lnTo>
                    <a:pt x="1220" y="459"/>
                  </a:lnTo>
                  <a:lnTo>
                    <a:pt x="1216" y="459"/>
                  </a:lnTo>
                  <a:lnTo>
                    <a:pt x="1216" y="449"/>
                  </a:lnTo>
                  <a:lnTo>
                    <a:pt x="1211" y="448"/>
                  </a:lnTo>
                  <a:lnTo>
                    <a:pt x="1207" y="446"/>
                  </a:lnTo>
                  <a:lnTo>
                    <a:pt x="1202" y="443"/>
                  </a:lnTo>
                  <a:lnTo>
                    <a:pt x="1201" y="439"/>
                  </a:lnTo>
                  <a:lnTo>
                    <a:pt x="1191" y="439"/>
                  </a:lnTo>
                  <a:lnTo>
                    <a:pt x="1187" y="430"/>
                  </a:lnTo>
                  <a:lnTo>
                    <a:pt x="1183" y="429"/>
                  </a:lnTo>
                  <a:lnTo>
                    <a:pt x="1180" y="429"/>
                  </a:lnTo>
                  <a:lnTo>
                    <a:pt x="1178" y="428"/>
                  </a:lnTo>
                  <a:lnTo>
                    <a:pt x="1177" y="425"/>
                  </a:lnTo>
                  <a:lnTo>
                    <a:pt x="1162" y="425"/>
                  </a:lnTo>
                  <a:lnTo>
                    <a:pt x="1162" y="424"/>
                  </a:lnTo>
                  <a:lnTo>
                    <a:pt x="1160" y="421"/>
                  </a:lnTo>
                  <a:lnTo>
                    <a:pt x="1158" y="420"/>
                  </a:lnTo>
                  <a:lnTo>
                    <a:pt x="1154" y="418"/>
                  </a:lnTo>
                  <a:lnTo>
                    <a:pt x="1148" y="416"/>
                  </a:lnTo>
                  <a:lnTo>
                    <a:pt x="1143" y="416"/>
                  </a:lnTo>
                  <a:lnTo>
                    <a:pt x="1135" y="410"/>
                  </a:lnTo>
                  <a:lnTo>
                    <a:pt x="1129" y="406"/>
                  </a:lnTo>
                  <a:lnTo>
                    <a:pt x="1114" y="406"/>
                  </a:lnTo>
                  <a:lnTo>
                    <a:pt x="1112" y="400"/>
                  </a:lnTo>
                  <a:lnTo>
                    <a:pt x="1109" y="396"/>
                  </a:lnTo>
                  <a:lnTo>
                    <a:pt x="1100" y="396"/>
                  </a:lnTo>
                  <a:lnTo>
                    <a:pt x="1090" y="387"/>
                  </a:lnTo>
                  <a:lnTo>
                    <a:pt x="1080" y="377"/>
                  </a:lnTo>
                  <a:lnTo>
                    <a:pt x="1075" y="375"/>
                  </a:lnTo>
                  <a:lnTo>
                    <a:pt x="1068" y="369"/>
                  </a:lnTo>
                  <a:lnTo>
                    <a:pt x="1063" y="362"/>
                  </a:lnTo>
                  <a:lnTo>
                    <a:pt x="1061" y="357"/>
                  </a:lnTo>
                  <a:lnTo>
                    <a:pt x="1056" y="354"/>
                  </a:lnTo>
                  <a:lnTo>
                    <a:pt x="1051" y="352"/>
                  </a:lnTo>
                  <a:lnTo>
                    <a:pt x="1048" y="346"/>
                  </a:lnTo>
                  <a:lnTo>
                    <a:pt x="1046" y="338"/>
                  </a:lnTo>
                  <a:lnTo>
                    <a:pt x="1042" y="333"/>
                  </a:lnTo>
                  <a:lnTo>
                    <a:pt x="1037" y="332"/>
                  </a:lnTo>
                  <a:lnTo>
                    <a:pt x="1033" y="330"/>
                  </a:lnTo>
                  <a:lnTo>
                    <a:pt x="1028" y="327"/>
                  </a:lnTo>
                  <a:lnTo>
                    <a:pt x="1027" y="323"/>
                  </a:lnTo>
                  <a:lnTo>
                    <a:pt x="1017" y="323"/>
                  </a:lnTo>
                  <a:lnTo>
                    <a:pt x="1016" y="320"/>
                  </a:lnTo>
                  <a:lnTo>
                    <a:pt x="1014" y="317"/>
                  </a:lnTo>
                  <a:lnTo>
                    <a:pt x="1011" y="314"/>
                  </a:lnTo>
                  <a:lnTo>
                    <a:pt x="1007" y="313"/>
                  </a:lnTo>
                  <a:lnTo>
                    <a:pt x="1000" y="305"/>
                  </a:lnTo>
                  <a:lnTo>
                    <a:pt x="993" y="294"/>
                  </a:lnTo>
                  <a:lnTo>
                    <a:pt x="987" y="290"/>
                  </a:lnTo>
                  <a:lnTo>
                    <a:pt x="978" y="284"/>
                  </a:lnTo>
                  <a:lnTo>
                    <a:pt x="978" y="275"/>
                  </a:lnTo>
                  <a:lnTo>
                    <a:pt x="976" y="274"/>
                  </a:lnTo>
                  <a:lnTo>
                    <a:pt x="975" y="272"/>
                  </a:lnTo>
                  <a:lnTo>
                    <a:pt x="974" y="269"/>
                  </a:lnTo>
                  <a:lnTo>
                    <a:pt x="974" y="265"/>
                  </a:lnTo>
                  <a:lnTo>
                    <a:pt x="972" y="265"/>
                  </a:lnTo>
                  <a:lnTo>
                    <a:pt x="970" y="264"/>
                  </a:lnTo>
                  <a:lnTo>
                    <a:pt x="970" y="262"/>
                  </a:lnTo>
                  <a:lnTo>
                    <a:pt x="969" y="260"/>
                  </a:lnTo>
                  <a:lnTo>
                    <a:pt x="969" y="255"/>
                  </a:lnTo>
                  <a:lnTo>
                    <a:pt x="969" y="251"/>
                  </a:lnTo>
                  <a:lnTo>
                    <a:pt x="959" y="251"/>
                  </a:lnTo>
                  <a:lnTo>
                    <a:pt x="959" y="241"/>
                  </a:lnTo>
                  <a:lnTo>
                    <a:pt x="955" y="238"/>
                  </a:lnTo>
                  <a:lnTo>
                    <a:pt x="949" y="236"/>
                  </a:lnTo>
                  <a:lnTo>
                    <a:pt x="949" y="226"/>
                  </a:lnTo>
                  <a:lnTo>
                    <a:pt x="940" y="222"/>
                  </a:lnTo>
                  <a:lnTo>
                    <a:pt x="940" y="215"/>
                  </a:lnTo>
                  <a:lnTo>
                    <a:pt x="940" y="207"/>
                  </a:lnTo>
                  <a:lnTo>
                    <a:pt x="938" y="207"/>
                  </a:lnTo>
                  <a:lnTo>
                    <a:pt x="937" y="206"/>
                  </a:lnTo>
                  <a:lnTo>
                    <a:pt x="936" y="204"/>
                  </a:lnTo>
                  <a:lnTo>
                    <a:pt x="936" y="202"/>
                  </a:lnTo>
                  <a:lnTo>
                    <a:pt x="934" y="197"/>
                  </a:lnTo>
                  <a:lnTo>
                    <a:pt x="934" y="193"/>
                  </a:lnTo>
                  <a:lnTo>
                    <a:pt x="932" y="192"/>
                  </a:lnTo>
                  <a:lnTo>
                    <a:pt x="931" y="189"/>
                  </a:lnTo>
                  <a:lnTo>
                    <a:pt x="930" y="187"/>
                  </a:lnTo>
                  <a:lnTo>
                    <a:pt x="930" y="183"/>
                  </a:lnTo>
                  <a:lnTo>
                    <a:pt x="928" y="183"/>
                  </a:lnTo>
                  <a:lnTo>
                    <a:pt x="927" y="180"/>
                  </a:lnTo>
                  <a:lnTo>
                    <a:pt x="924" y="177"/>
                  </a:lnTo>
                  <a:lnTo>
                    <a:pt x="923" y="173"/>
                  </a:lnTo>
                  <a:lnTo>
                    <a:pt x="921" y="165"/>
                  </a:lnTo>
                  <a:lnTo>
                    <a:pt x="920" y="159"/>
                  </a:lnTo>
                  <a:lnTo>
                    <a:pt x="915" y="147"/>
                  </a:lnTo>
                  <a:lnTo>
                    <a:pt x="911" y="135"/>
                  </a:lnTo>
                  <a:lnTo>
                    <a:pt x="910" y="125"/>
                  </a:lnTo>
                  <a:lnTo>
                    <a:pt x="910" y="111"/>
                  </a:lnTo>
                  <a:lnTo>
                    <a:pt x="908" y="106"/>
                  </a:lnTo>
                  <a:lnTo>
                    <a:pt x="907" y="100"/>
                  </a:lnTo>
                  <a:lnTo>
                    <a:pt x="904" y="97"/>
                  </a:lnTo>
                  <a:lnTo>
                    <a:pt x="901" y="96"/>
                  </a:lnTo>
                  <a:lnTo>
                    <a:pt x="900" y="90"/>
                  </a:lnTo>
                  <a:lnTo>
                    <a:pt x="898" y="82"/>
                  </a:lnTo>
                  <a:lnTo>
                    <a:pt x="897" y="78"/>
                  </a:lnTo>
                  <a:lnTo>
                    <a:pt x="894" y="74"/>
                  </a:lnTo>
                  <a:lnTo>
                    <a:pt x="893" y="72"/>
                  </a:lnTo>
                  <a:lnTo>
                    <a:pt x="891" y="72"/>
                  </a:lnTo>
                  <a:lnTo>
                    <a:pt x="891" y="58"/>
                  </a:lnTo>
                  <a:lnTo>
                    <a:pt x="882" y="48"/>
                  </a:lnTo>
                  <a:lnTo>
                    <a:pt x="882" y="38"/>
                  </a:lnTo>
                  <a:lnTo>
                    <a:pt x="872" y="38"/>
                  </a:lnTo>
                  <a:lnTo>
                    <a:pt x="870" y="41"/>
                  </a:lnTo>
                  <a:lnTo>
                    <a:pt x="866" y="44"/>
                  </a:lnTo>
                  <a:lnTo>
                    <a:pt x="862" y="46"/>
                  </a:lnTo>
                  <a:lnTo>
                    <a:pt x="857" y="48"/>
                  </a:lnTo>
                  <a:lnTo>
                    <a:pt x="856" y="51"/>
                  </a:lnTo>
                  <a:lnTo>
                    <a:pt x="855" y="53"/>
                  </a:lnTo>
                  <a:lnTo>
                    <a:pt x="853" y="56"/>
                  </a:lnTo>
                  <a:lnTo>
                    <a:pt x="850" y="58"/>
                  </a:lnTo>
                  <a:lnTo>
                    <a:pt x="842" y="61"/>
                  </a:lnTo>
                  <a:lnTo>
                    <a:pt x="833" y="64"/>
                  </a:lnTo>
                  <a:lnTo>
                    <a:pt x="824" y="67"/>
                  </a:lnTo>
                  <a:lnTo>
                    <a:pt x="816" y="69"/>
                  </a:lnTo>
                  <a:lnTo>
                    <a:pt x="814" y="70"/>
                  </a:lnTo>
                  <a:lnTo>
                    <a:pt x="811" y="72"/>
                  </a:lnTo>
                  <a:lnTo>
                    <a:pt x="809" y="74"/>
                  </a:lnTo>
                  <a:lnTo>
                    <a:pt x="809" y="77"/>
                  </a:lnTo>
                  <a:lnTo>
                    <a:pt x="692" y="81"/>
                  </a:lnTo>
                  <a:lnTo>
                    <a:pt x="692" y="79"/>
                  </a:lnTo>
                  <a:lnTo>
                    <a:pt x="690" y="77"/>
                  </a:lnTo>
                  <a:lnTo>
                    <a:pt x="687" y="77"/>
                  </a:lnTo>
                  <a:lnTo>
                    <a:pt x="683" y="77"/>
                  </a:lnTo>
                  <a:lnTo>
                    <a:pt x="663" y="58"/>
                  </a:lnTo>
                  <a:lnTo>
                    <a:pt x="654" y="58"/>
                  </a:lnTo>
                  <a:lnTo>
                    <a:pt x="654" y="50"/>
                  </a:lnTo>
                  <a:lnTo>
                    <a:pt x="654" y="43"/>
                  </a:lnTo>
                  <a:lnTo>
                    <a:pt x="652" y="42"/>
                  </a:lnTo>
                  <a:lnTo>
                    <a:pt x="651" y="41"/>
                  </a:lnTo>
                  <a:lnTo>
                    <a:pt x="650" y="40"/>
                  </a:lnTo>
                  <a:lnTo>
                    <a:pt x="650" y="38"/>
                  </a:lnTo>
                  <a:lnTo>
                    <a:pt x="649" y="32"/>
                  </a:lnTo>
                  <a:lnTo>
                    <a:pt x="649" y="29"/>
                  </a:lnTo>
                  <a:lnTo>
                    <a:pt x="644" y="23"/>
                  </a:lnTo>
                  <a:lnTo>
                    <a:pt x="640" y="19"/>
                  </a:lnTo>
                  <a:lnTo>
                    <a:pt x="630" y="19"/>
                  </a:lnTo>
                  <a:lnTo>
                    <a:pt x="629" y="16"/>
                  </a:lnTo>
                  <a:lnTo>
                    <a:pt x="627" y="15"/>
                  </a:lnTo>
                  <a:lnTo>
                    <a:pt x="624" y="15"/>
                  </a:lnTo>
                  <a:lnTo>
                    <a:pt x="621" y="14"/>
                  </a:lnTo>
                  <a:lnTo>
                    <a:pt x="612" y="14"/>
                  </a:lnTo>
                  <a:lnTo>
                    <a:pt x="601" y="15"/>
                  </a:lnTo>
                  <a:lnTo>
                    <a:pt x="581" y="17"/>
                  </a:lnTo>
                  <a:lnTo>
                    <a:pt x="572" y="19"/>
                  </a:lnTo>
                  <a:lnTo>
                    <a:pt x="555" y="17"/>
                  </a:lnTo>
                  <a:lnTo>
                    <a:pt x="536" y="16"/>
                  </a:lnTo>
                  <a:lnTo>
                    <a:pt x="518" y="14"/>
                  </a:lnTo>
                  <a:lnTo>
                    <a:pt x="504" y="14"/>
                  </a:lnTo>
                  <a:lnTo>
                    <a:pt x="499" y="11"/>
                  </a:lnTo>
                  <a:lnTo>
                    <a:pt x="491" y="7"/>
                  </a:lnTo>
                  <a:lnTo>
                    <a:pt x="481" y="5"/>
                  </a:lnTo>
                  <a:lnTo>
                    <a:pt x="471" y="3"/>
                  </a:lnTo>
                  <a:lnTo>
                    <a:pt x="450" y="0"/>
                  </a:lnTo>
                  <a:lnTo>
                    <a:pt x="431" y="0"/>
                  </a:lnTo>
                  <a:lnTo>
                    <a:pt x="431" y="1"/>
                  </a:lnTo>
                  <a:lnTo>
                    <a:pt x="429" y="2"/>
                  </a:lnTo>
                  <a:lnTo>
                    <a:pt x="427" y="3"/>
                  </a:lnTo>
                  <a:lnTo>
                    <a:pt x="423" y="4"/>
                  </a:lnTo>
                  <a:lnTo>
                    <a:pt x="415" y="6"/>
                  </a:lnTo>
                  <a:lnTo>
                    <a:pt x="408" y="8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5" name="Freeform 41"/>
            <p:cNvSpPr>
              <a:spLocks noChangeAspect="1" noEditPoints="1"/>
            </p:cNvSpPr>
            <p:nvPr/>
          </p:nvSpPr>
          <p:spPr bwMode="gray">
            <a:xfrm rot="355651">
              <a:off x="5754118" y="2859088"/>
              <a:ext cx="319503" cy="162885"/>
            </a:xfrm>
            <a:custGeom>
              <a:avLst/>
              <a:gdLst/>
              <a:ahLst/>
              <a:cxnLst>
                <a:cxn ang="0">
                  <a:pos x="154" y="208"/>
                </a:cxn>
                <a:cxn ang="0">
                  <a:pos x="389" y="208"/>
                </a:cxn>
                <a:cxn ang="0">
                  <a:pos x="424" y="189"/>
                </a:cxn>
                <a:cxn ang="0">
                  <a:pos x="451" y="176"/>
                </a:cxn>
                <a:cxn ang="0">
                  <a:pos x="491" y="164"/>
                </a:cxn>
                <a:cxn ang="0">
                  <a:pos x="574" y="131"/>
                </a:cxn>
                <a:cxn ang="0">
                  <a:pos x="615" y="109"/>
                </a:cxn>
                <a:cxn ang="0">
                  <a:pos x="639" y="23"/>
                </a:cxn>
                <a:cxn ang="0">
                  <a:pos x="657" y="11"/>
                </a:cxn>
                <a:cxn ang="0">
                  <a:pos x="759" y="0"/>
                </a:cxn>
                <a:cxn ang="0">
                  <a:pos x="885" y="11"/>
                </a:cxn>
                <a:cxn ang="0">
                  <a:pos x="952" y="28"/>
                </a:cxn>
                <a:cxn ang="0">
                  <a:pos x="974" y="38"/>
                </a:cxn>
                <a:cxn ang="0">
                  <a:pos x="1007" y="51"/>
                </a:cxn>
                <a:cxn ang="0">
                  <a:pos x="1028" y="67"/>
                </a:cxn>
                <a:cxn ang="0">
                  <a:pos x="1057" y="90"/>
                </a:cxn>
                <a:cxn ang="0">
                  <a:pos x="1080" y="103"/>
                </a:cxn>
                <a:cxn ang="0">
                  <a:pos x="1214" y="133"/>
                </a:cxn>
                <a:cxn ang="0">
                  <a:pos x="1269" y="183"/>
                </a:cxn>
                <a:cxn ang="0">
                  <a:pos x="1299" y="219"/>
                </a:cxn>
                <a:cxn ang="0">
                  <a:pos x="1319" y="231"/>
                </a:cxn>
                <a:cxn ang="0">
                  <a:pos x="1342" y="243"/>
                </a:cxn>
                <a:cxn ang="0">
                  <a:pos x="1358" y="261"/>
                </a:cxn>
                <a:cxn ang="0">
                  <a:pos x="1405" y="292"/>
                </a:cxn>
                <a:cxn ang="0">
                  <a:pos x="1455" y="323"/>
                </a:cxn>
                <a:cxn ang="0">
                  <a:pos x="1506" y="352"/>
                </a:cxn>
                <a:cxn ang="0">
                  <a:pos x="1548" y="377"/>
                </a:cxn>
                <a:cxn ang="0">
                  <a:pos x="1596" y="462"/>
                </a:cxn>
                <a:cxn ang="0">
                  <a:pos x="1611" y="540"/>
                </a:cxn>
                <a:cxn ang="0">
                  <a:pos x="1578" y="573"/>
                </a:cxn>
                <a:cxn ang="0">
                  <a:pos x="1573" y="699"/>
                </a:cxn>
                <a:cxn ang="0">
                  <a:pos x="1595" y="719"/>
                </a:cxn>
                <a:cxn ang="0">
                  <a:pos x="1713" y="741"/>
                </a:cxn>
                <a:cxn ang="0">
                  <a:pos x="1752" y="879"/>
                </a:cxn>
                <a:cxn ang="0">
                  <a:pos x="1700" y="1000"/>
                </a:cxn>
                <a:cxn ang="0">
                  <a:pos x="1669" y="1013"/>
                </a:cxn>
                <a:cxn ang="0">
                  <a:pos x="1450" y="992"/>
                </a:cxn>
                <a:cxn ang="0">
                  <a:pos x="1183" y="954"/>
                </a:cxn>
                <a:cxn ang="0">
                  <a:pos x="1128" y="934"/>
                </a:cxn>
                <a:cxn ang="0">
                  <a:pos x="1085" y="911"/>
                </a:cxn>
                <a:cxn ang="0">
                  <a:pos x="823" y="958"/>
                </a:cxn>
                <a:cxn ang="0">
                  <a:pos x="752" y="962"/>
                </a:cxn>
                <a:cxn ang="0">
                  <a:pos x="686" y="958"/>
                </a:cxn>
                <a:cxn ang="0">
                  <a:pos x="649" y="965"/>
                </a:cxn>
                <a:cxn ang="0">
                  <a:pos x="590" y="927"/>
                </a:cxn>
                <a:cxn ang="0">
                  <a:pos x="486" y="895"/>
                </a:cxn>
                <a:cxn ang="0">
                  <a:pos x="357" y="886"/>
                </a:cxn>
                <a:cxn ang="0">
                  <a:pos x="254" y="860"/>
                </a:cxn>
                <a:cxn ang="0">
                  <a:pos x="224" y="804"/>
                </a:cxn>
                <a:cxn ang="0">
                  <a:pos x="185" y="735"/>
                </a:cxn>
                <a:cxn ang="0">
                  <a:pos x="161" y="670"/>
                </a:cxn>
                <a:cxn ang="0">
                  <a:pos x="138" y="604"/>
                </a:cxn>
                <a:cxn ang="0">
                  <a:pos x="109" y="565"/>
                </a:cxn>
                <a:cxn ang="0">
                  <a:pos x="146" y="490"/>
                </a:cxn>
                <a:cxn ang="0">
                  <a:pos x="169" y="454"/>
                </a:cxn>
                <a:cxn ang="0">
                  <a:pos x="78" y="420"/>
                </a:cxn>
                <a:cxn ang="0">
                  <a:pos x="5" y="353"/>
                </a:cxn>
                <a:cxn ang="0">
                  <a:pos x="10" y="270"/>
                </a:cxn>
                <a:cxn ang="0">
                  <a:pos x="21" y="231"/>
                </a:cxn>
              </a:cxnLst>
              <a:rect l="0" t="0" r="r" b="b"/>
              <a:pathLst>
                <a:path w="1764" h="1018">
                  <a:moveTo>
                    <a:pt x="28" y="200"/>
                  </a:moveTo>
                  <a:lnTo>
                    <a:pt x="33" y="204"/>
                  </a:lnTo>
                  <a:lnTo>
                    <a:pt x="36" y="206"/>
                  </a:lnTo>
                  <a:lnTo>
                    <a:pt x="60" y="208"/>
                  </a:lnTo>
                  <a:lnTo>
                    <a:pt x="85" y="210"/>
                  </a:lnTo>
                  <a:lnTo>
                    <a:pt x="110" y="212"/>
                  </a:lnTo>
                  <a:lnTo>
                    <a:pt x="134" y="212"/>
                  </a:lnTo>
                  <a:lnTo>
                    <a:pt x="136" y="211"/>
                  </a:lnTo>
                  <a:lnTo>
                    <a:pt x="143" y="209"/>
                  </a:lnTo>
                  <a:lnTo>
                    <a:pt x="154" y="208"/>
                  </a:lnTo>
                  <a:lnTo>
                    <a:pt x="168" y="208"/>
                  </a:lnTo>
                  <a:lnTo>
                    <a:pt x="204" y="208"/>
                  </a:lnTo>
                  <a:lnTo>
                    <a:pt x="248" y="208"/>
                  </a:lnTo>
                  <a:lnTo>
                    <a:pt x="291" y="210"/>
                  </a:lnTo>
                  <a:lnTo>
                    <a:pt x="331" y="211"/>
                  </a:lnTo>
                  <a:lnTo>
                    <a:pt x="364" y="212"/>
                  </a:lnTo>
                  <a:lnTo>
                    <a:pt x="384" y="212"/>
                  </a:lnTo>
                  <a:lnTo>
                    <a:pt x="384" y="211"/>
                  </a:lnTo>
                  <a:lnTo>
                    <a:pt x="386" y="209"/>
                  </a:lnTo>
                  <a:lnTo>
                    <a:pt x="389" y="208"/>
                  </a:lnTo>
                  <a:lnTo>
                    <a:pt x="394" y="208"/>
                  </a:lnTo>
                  <a:lnTo>
                    <a:pt x="402" y="206"/>
                  </a:lnTo>
                  <a:lnTo>
                    <a:pt x="408" y="206"/>
                  </a:lnTo>
                  <a:lnTo>
                    <a:pt x="414" y="201"/>
                  </a:lnTo>
                  <a:lnTo>
                    <a:pt x="420" y="194"/>
                  </a:lnTo>
                  <a:lnTo>
                    <a:pt x="421" y="191"/>
                  </a:lnTo>
                  <a:lnTo>
                    <a:pt x="421" y="189"/>
                  </a:lnTo>
                  <a:lnTo>
                    <a:pt x="422" y="189"/>
                  </a:lnTo>
                  <a:lnTo>
                    <a:pt x="423" y="189"/>
                  </a:lnTo>
                  <a:lnTo>
                    <a:pt x="424" y="189"/>
                  </a:lnTo>
                  <a:lnTo>
                    <a:pt x="425" y="187"/>
                  </a:lnTo>
                  <a:lnTo>
                    <a:pt x="426" y="185"/>
                  </a:lnTo>
                  <a:lnTo>
                    <a:pt x="426" y="182"/>
                  </a:lnTo>
                  <a:lnTo>
                    <a:pt x="438" y="182"/>
                  </a:lnTo>
                  <a:lnTo>
                    <a:pt x="438" y="180"/>
                  </a:lnTo>
                  <a:lnTo>
                    <a:pt x="440" y="179"/>
                  </a:lnTo>
                  <a:lnTo>
                    <a:pt x="441" y="177"/>
                  </a:lnTo>
                  <a:lnTo>
                    <a:pt x="442" y="176"/>
                  </a:lnTo>
                  <a:lnTo>
                    <a:pt x="446" y="176"/>
                  </a:lnTo>
                  <a:lnTo>
                    <a:pt x="451" y="176"/>
                  </a:lnTo>
                  <a:lnTo>
                    <a:pt x="452" y="174"/>
                  </a:lnTo>
                  <a:lnTo>
                    <a:pt x="454" y="173"/>
                  </a:lnTo>
                  <a:lnTo>
                    <a:pt x="459" y="172"/>
                  </a:lnTo>
                  <a:lnTo>
                    <a:pt x="463" y="171"/>
                  </a:lnTo>
                  <a:lnTo>
                    <a:pt x="473" y="170"/>
                  </a:lnTo>
                  <a:lnTo>
                    <a:pt x="481" y="170"/>
                  </a:lnTo>
                  <a:lnTo>
                    <a:pt x="482" y="167"/>
                  </a:lnTo>
                  <a:lnTo>
                    <a:pt x="484" y="166"/>
                  </a:lnTo>
                  <a:lnTo>
                    <a:pt x="488" y="165"/>
                  </a:lnTo>
                  <a:lnTo>
                    <a:pt x="491" y="164"/>
                  </a:lnTo>
                  <a:lnTo>
                    <a:pt x="499" y="164"/>
                  </a:lnTo>
                  <a:lnTo>
                    <a:pt x="505" y="164"/>
                  </a:lnTo>
                  <a:lnTo>
                    <a:pt x="513" y="160"/>
                  </a:lnTo>
                  <a:lnTo>
                    <a:pt x="530" y="152"/>
                  </a:lnTo>
                  <a:lnTo>
                    <a:pt x="549" y="143"/>
                  </a:lnTo>
                  <a:lnTo>
                    <a:pt x="560" y="140"/>
                  </a:lnTo>
                  <a:lnTo>
                    <a:pt x="561" y="137"/>
                  </a:lnTo>
                  <a:lnTo>
                    <a:pt x="565" y="135"/>
                  </a:lnTo>
                  <a:lnTo>
                    <a:pt x="568" y="133"/>
                  </a:lnTo>
                  <a:lnTo>
                    <a:pt x="574" y="131"/>
                  </a:lnTo>
                  <a:lnTo>
                    <a:pt x="584" y="128"/>
                  </a:lnTo>
                  <a:lnTo>
                    <a:pt x="590" y="127"/>
                  </a:lnTo>
                  <a:lnTo>
                    <a:pt x="591" y="125"/>
                  </a:lnTo>
                  <a:lnTo>
                    <a:pt x="591" y="124"/>
                  </a:lnTo>
                  <a:lnTo>
                    <a:pt x="593" y="123"/>
                  </a:lnTo>
                  <a:lnTo>
                    <a:pt x="595" y="122"/>
                  </a:lnTo>
                  <a:lnTo>
                    <a:pt x="598" y="122"/>
                  </a:lnTo>
                  <a:lnTo>
                    <a:pt x="603" y="122"/>
                  </a:lnTo>
                  <a:lnTo>
                    <a:pt x="609" y="115"/>
                  </a:lnTo>
                  <a:lnTo>
                    <a:pt x="615" y="109"/>
                  </a:lnTo>
                  <a:lnTo>
                    <a:pt x="615" y="99"/>
                  </a:lnTo>
                  <a:lnTo>
                    <a:pt x="615" y="90"/>
                  </a:lnTo>
                  <a:lnTo>
                    <a:pt x="617" y="88"/>
                  </a:lnTo>
                  <a:lnTo>
                    <a:pt x="618" y="83"/>
                  </a:lnTo>
                  <a:lnTo>
                    <a:pt x="619" y="73"/>
                  </a:lnTo>
                  <a:lnTo>
                    <a:pt x="620" y="62"/>
                  </a:lnTo>
                  <a:lnTo>
                    <a:pt x="622" y="42"/>
                  </a:lnTo>
                  <a:lnTo>
                    <a:pt x="622" y="30"/>
                  </a:lnTo>
                  <a:lnTo>
                    <a:pt x="634" y="30"/>
                  </a:lnTo>
                  <a:lnTo>
                    <a:pt x="639" y="23"/>
                  </a:lnTo>
                  <a:lnTo>
                    <a:pt x="639" y="20"/>
                  </a:lnTo>
                  <a:lnTo>
                    <a:pt x="641" y="18"/>
                  </a:lnTo>
                  <a:lnTo>
                    <a:pt x="642" y="18"/>
                  </a:lnTo>
                  <a:lnTo>
                    <a:pt x="643" y="18"/>
                  </a:lnTo>
                  <a:lnTo>
                    <a:pt x="644" y="18"/>
                  </a:lnTo>
                  <a:lnTo>
                    <a:pt x="645" y="17"/>
                  </a:lnTo>
                  <a:lnTo>
                    <a:pt x="645" y="15"/>
                  </a:lnTo>
                  <a:lnTo>
                    <a:pt x="645" y="11"/>
                  </a:lnTo>
                  <a:lnTo>
                    <a:pt x="651" y="11"/>
                  </a:lnTo>
                  <a:lnTo>
                    <a:pt x="657" y="11"/>
                  </a:lnTo>
                  <a:lnTo>
                    <a:pt x="660" y="10"/>
                  </a:lnTo>
                  <a:lnTo>
                    <a:pt x="662" y="9"/>
                  </a:lnTo>
                  <a:lnTo>
                    <a:pt x="663" y="8"/>
                  </a:lnTo>
                  <a:lnTo>
                    <a:pt x="664" y="6"/>
                  </a:lnTo>
                  <a:lnTo>
                    <a:pt x="706" y="6"/>
                  </a:lnTo>
                  <a:lnTo>
                    <a:pt x="709" y="3"/>
                  </a:lnTo>
                  <a:lnTo>
                    <a:pt x="713" y="2"/>
                  </a:lnTo>
                  <a:lnTo>
                    <a:pt x="722" y="1"/>
                  </a:lnTo>
                  <a:lnTo>
                    <a:pt x="732" y="0"/>
                  </a:lnTo>
                  <a:lnTo>
                    <a:pt x="759" y="0"/>
                  </a:lnTo>
                  <a:lnTo>
                    <a:pt x="789" y="1"/>
                  </a:lnTo>
                  <a:lnTo>
                    <a:pt x="820" y="2"/>
                  </a:lnTo>
                  <a:lnTo>
                    <a:pt x="848" y="3"/>
                  </a:lnTo>
                  <a:lnTo>
                    <a:pt x="868" y="4"/>
                  </a:lnTo>
                  <a:lnTo>
                    <a:pt x="877" y="6"/>
                  </a:lnTo>
                  <a:lnTo>
                    <a:pt x="877" y="8"/>
                  </a:lnTo>
                  <a:lnTo>
                    <a:pt x="878" y="9"/>
                  </a:lnTo>
                  <a:lnTo>
                    <a:pt x="879" y="10"/>
                  </a:lnTo>
                  <a:lnTo>
                    <a:pt x="881" y="11"/>
                  </a:lnTo>
                  <a:lnTo>
                    <a:pt x="885" y="11"/>
                  </a:lnTo>
                  <a:lnTo>
                    <a:pt x="889" y="11"/>
                  </a:lnTo>
                  <a:lnTo>
                    <a:pt x="892" y="13"/>
                  </a:lnTo>
                  <a:lnTo>
                    <a:pt x="897" y="16"/>
                  </a:lnTo>
                  <a:lnTo>
                    <a:pt x="905" y="18"/>
                  </a:lnTo>
                  <a:lnTo>
                    <a:pt x="915" y="20"/>
                  </a:lnTo>
                  <a:lnTo>
                    <a:pt x="935" y="22"/>
                  </a:lnTo>
                  <a:lnTo>
                    <a:pt x="950" y="23"/>
                  </a:lnTo>
                  <a:lnTo>
                    <a:pt x="951" y="26"/>
                  </a:lnTo>
                  <a:lnTo>
                    <a:pt x="951" y="27"/>
                  </a:lnTo>
                  <a:lnTo>
                    <a:pt x="952" y="28"/>
                  </a:lnTo>
                  <a:lnTo>
                    <a:pt x="954" y="29"/>
                  </a:lnTo>
                  <a:lnTo>
                    <a:pt x="958" y="30"/>
                  </a:lnTo>
                  <a:lnTo>
                    <a:pt x="962" y="30"/>
                  </a:lnTo>
                  <a:lnTo>
                    <a:pt x="963" y="33"/>
                  </a:lnTo>
                  <a:lnTo>
                    <a:pt x="964" y="35"/>
                  </a:lnTo>
                  <a:lnTo>
                    <a:pt x="967" y="36"/>
                  </a:lnTo>
                  <a:lnTo>
                    <a:pt x="969" y="36"/>
                  </a:lnTo>
                  <a:lnTo>
                    <a:pt x="971" y="36"/>
                  </a:lnTo>
                  <a:lnTo>
                    <a:pt x="973" y="37"/>
                  </a:lnTo>
                  <a:lnTo>
                    <a:pt x="974" y="38"/>
                  </a:lnTo>
                  <a:lnTo>
                    <a:pt x="974" y="42"/>
                  </a:lnTo>
                  <a:lnTo>
                    <a:pt x="993" y="42"/>
                  </a:lnTo>
                  <a:lnTo>
                    <a:pt x="993" y="44"/>
                  </a:lnTo>
                  <a:lnTo>
                    <a:pt x="994" y="46"/>
                  </a:lnTo>
                  <a:lnTo>
                    <a:pt x="996" y="47"/>
                  </a:lnTo>
                  <a:lnTo>
                    <a:pt x="997" y="47"/>
                  </a:lnTo>
                  <a:lnTo>
                    <a:pt x="1001" y="48"/>
                  </a:lnTo>
                  <a:lnTo>
                    <a:pt x="1006" y="48"/>
                  </a:lnTo>
                  <a:lnTo>
                    <a:pt x="1006" y="50"/>
                  </a:lnTo>
                  <a:lnTo>
                    <a:pt x="1007" y="51"/>
                  </a:lnTo>
                  <a:lnTo>
                    <a:pt x="1008" y="52"/>
                  </a:lnTo>
                  <a:lnTo>
                    <a:pt x="1009" y="54"/>
                  </a:lnTo>
                  <a:lnTo>
                    <a:pt x="1013" y="54"/>
                  </a:lnTo>
                  <a:lnTo>
                    <a:pt x="1018" y="55"/>
                  </a:lnTo>
                  <a:lnTo>
                    <a:pt x="1023" y="60"/>
                  </a:lnTo>
                  <a:lnTo>
                    <a:pt x="1023" y="64"/>
                  </a:lnTo>
                  <a:lnTo>
                    <a:pt x="1025" y="66"/>
                  </a:lnTo>
                  <a:lnTo>
                    <a:pt x="1026" y="66"/>
                  </a:lnTo>
                  <a:lnTo>
                    <a:pt x="1027" y="66"/>
                  </a:lnTo>
                  <a:lnTo>
                    <a:pt x="1028" y="67"/>
                  </a:lnTo>
                  <a:lnTo>
                    <a:pt x="1029" y="67"/>
                  </a:lnTo>
                  <a:lnTo>
                    <a:pt x="1029" y="69"/>
                  </a:lnTo>
                  <a:lnTo>
                    <a:pt x="1029" y="73"/>
                  </a:lnTo>
                  <a:lnTo>
                    <a:pt x="1039" y="76"/>
                  </a:lnTo>
                  <a:lnTo>
                    <a:pt x="1048" y="78"/>
                  </a:lnTo>
                  <a:lnTo>
                    <a:pt x="1054" y="85"/>
                  </a:lnTo>
                  <a:lnTo>
                    <a:pt x="1055" y="88"/>
                  </a:lnTo>
                  <a:lnTo>
                    <a:pt x="1055" y="90"/>
                  </a:lnTo>
                  <a:lnTo>
                    <a:pt x="1056" y="90"/>
                  </a:lnTo>
                  <a:lnTo>
                    <a:pt x="1057" y="90"/>
                  </a:lnTo>
                  <a:lnTo>
                    <a:pt x="1058" y="90"/>
                  </a:lnTo>
                  <a:lnTo>
                    <a:pt x="1059" y="92"/>
                  </a:lnTo>
                  <a:lnTo>
                    <a:pt x="1060" y="94"/>
                  </a:lnTo>
                  <a:lnTo>
                    <a:pt x="1060" y="97"/>
                  </a:lnTo>
                  <a:lnTo>
                    <a:pt x="1073" y="97"/>
                  </a:lnTo>
                  <a:lnTo>
                    <a:pt x="1073" y="99"/>
                  </a:lnTo>
                  <a:lnTo>
                    <a:pt x="1074" y="100"/>
                  </a:lnTo>
                  <a:lnTo>
                    <a:pt x="1075" y="102"/>
                  </a:lnTo>
                  <a:lnTo>
                    <a:pt x="1076" y="103"/>
                  </a:lnTo>
                  <a:lnTo>
                    <a:pt x="1080" y="103"/>
                  </a:lnTo>
                  <a:lnTo>
                    <a:pt x="1085" y="103"/>
                  </a:lnTo>
                  <a:lnTo>
                    <a:pt x="1090" y="115"/>
                  </a:lnTo>
                  <a:lnTo>
                    <a:pt x="1099" y="118"/>
                  </a:lnTo>
                  <a:lnTo>
                    <a:pt x="1108" y="122"/>
                  </a:lnTo>
                  <a:lnTo>
                    <a:pt x="1133" y="122"/>
                  </a:lnTo>
                  <a:lnTo>
                    <a:pt x="1145" y="125"/>
                  </a:lnTo>
                  <a:lnTo>
                    <a:pt x="1159" y="128"/>
                  </a:lnTo>
                  <a:lnTo>
                    <a:pt x="1172" y="131"/>
                  </a:lnTo>
                  <a:lnTo>
                    <a:pt x="1185" y="132"/>
                  </a:lnTo>
                  <a:lnTo>
                    <a:pt x="1214" y="133"/>
                  </a:lnTo>
                  <a:lnTo>
                    <a:pt x="1243" y="134"/>
                  </a:lnTo>
                  <a:lnTo>
                    <a:pt x="1244" y="138"/>
                  </a:lnTo>
                  <a:lnTo>
                    <a:pt x="1249" y="142"/>
                  </a:lnTo>
                  <a:lnTo>
                    <a:pt x="1253" y="144"/>
                  </a:lnTo>
                  <a:lnTo>
                    <a:pt x="1255" y="145"/>
                  </a:lnTo>
                  <a:lnTo>
                    <a:pt x="1257" y="155"/>
                  </a:lnTo>
                  <a:lnTo>
                    <a:pt x="1261" y="164"/>
                  </a:lnTo>
                  <a:lnTo>
                    <a:pt x="1266" y="173"/>
                  </a:lnTo>
                  <a:lnTo>
                    <a:pt x="1267" y="182"/>
                  </a:lnTo>
                  <a:lnTo>
                    <a:pt x="1269" y="183"/>
                  </a:lnTo>
                  <a:lnTo>
                    <a:pt x="1271" y="184"/>
                  </a:lnTo>
                  <a:lnTo>
                    <a:pt x="1273" y="186"/>
                  </a:lnTo>
                  <a:lnTo>
                    <a:pt x="1276" y="189"/>
                  </a:lnTo>
                  <a:lnTo>
                    <a:pt x="1278" y="195"/>
                  </a:lnTo>
                  <a:lnTo>
                    <a:pt x="1279" y="201"/>
                  </a:lnTo>
                  <a:lnTo>
                    <a:pt x="1291" y="206"/>
                  </a:lnTo>
                  <a:lnTo>
                    <a:pt x="1298" y="212"/>
                  </a:lnTo>
                  <a:lnTo>
                    <a:pt x="1298" y="217"/>
                  </a:lnTo>
                  <a:lnTo>
                    <a:pt x="1299" y="218"/>
                  </a:lnTo>
                  <a:lnTo>
                    <a:pt x="1299" y="219"/>
                  </a:lnTo>
                  <a:lnTo>
                    <a:pt x="1300" y="219"/>
                  </a:lnTo>
                  <a:lnTo>
                    <a:pt x="1301" y="219"/>
                  </a:lnTo>
                  <a:lnTo>
                    <a:pt x="1303" y="220"/>
                  </a:lnTo>
                  <a:lnTo>
                    <a:pt x="1304" y="221"/>
                  </a:lnTo>
                  <a:lnTo>
                    <a:pt x="1304" y="224"/>
                  </a:lnTo>
                  <a:lnTo>
                    <a:pt x="1316" y="224"/>
                  </a:lnTo>
                  <a:lnTo>
                    <a:pt x="1316" y="229"/>
                  </a:lnTo>
                  <a:lnTo>
                    <a:pt x="1317" y="230"/>
                  </a:lnTo>
                  <a:lnTo>
                    <a:pt x="1318" y="231"/>
                  </a:lnTo>
                  <a:lnTo>
                    <a:pt x="1319" y="231"/>
                  </a:lnTo>
                  <a:lnTo>
                    <a:pt x="1320" y="231"/>
                  </a:lnTo>
                  <a:lnTo>
                    <a:pt x="1321" y="232"/>
                  </a:lnTo>
                  <a:lnTo>
                    <a:pt x="1321" y="233"/>
                  </a:lnTo>
                  <a:lnTo>
                    <a:pt x="1323" y="237"/>
                  </a:lnTo>
                  <a:lnTo>
                    <a:pt x="1334" y="237"/>
                  </a:lnTo>
                  <a:lnTo>
                    <a:pt x="1335" y="239"/>
                  </a:lnTo>
                  <a:lnTo>
                    <a:pt x="1335" y="240"/>
                  </a:lnTo>
                  <a:lnTo>
                    <a:pt x="1336" y="241"/>
                  </a:lnTo>
                  <a:lnTo>
                    <a:pt x="1338" y="242"/>
                  </a:lnTo>
                  <a:lnTo>
                    <a:pt x="1342" y="243"/>
                  </a:lnTo>
                  <a:lnTo>
                    <a:pt x="1346" y="243"/>
                  </a:lnTo>
                  <a:lnTo>
                    <a:pt x="1353" y="249"/>
                  </a:lnTo>
                  <a:lnTo>
                    <a:pt x="1353" y="252"/>
                  </a:lnTo>
                  <a:lnTo>
                    <a:pt x="1354" y="254"/>
                  </a:lnTo>
                  <a:lnTo>
                    <a:pt x="1355" y="256"/>
                  </a:lnTo>
                  <a:lnTo>
                    <a:pt x="1356" y="256"/>
                  </a:lnTo>
                  <a:lnTo>
                    <a:pt x="1357" y="256"/>
                  </a:lnTo>
                  <a:lnTo>
                    <a:pt x="1357" y="256"/>
                  </a:lnTo>
                  <a:lnTo>
                    <a:pt x="1358" y="258"/>
                  </a:lnTo>
                  <a:lnTo>
                    <a:pt x="1358" y="261"/>
                  </a:lnTo>
                  <a:lnTo>
                    <a:pt x="1371" y="261"/>
                  </a:lnTo>
                  <a:lnTo>
                    <a:pt x="1377" y="270"/>
                  </a:lnTo>
                  <a:lnTo>
                    <a:pt x="1383" y="280"/>
                  </a:lnTo>
                  <a:lnTo>
                    <a:pt x="1395" y="280"/>
                  </a:lnTo>
                  <a:lnTo>
                    <a:pt x="1402" y="286"/>
                  </a:lnTo>
                  <a:lnTo>
                    <a:pt x="1402" y="289"/>
                  </a:lnTo>
                  <a:lnTo>
                    <a:pt x="1402" y="291"/>
                  </a:lnTo>
                  <a:lnTo>
                    <a:pt x="1403" y="291"/>
                  </a:lnTo>
                  <a:lnTo>
                    <a:pt x="1404" y="291"/>
                  </a:lnTo>
                  <a:lnTo>
                    <a:pt x="1405" y="292"/>
                  </a:lnTo>
                  <a:lnTo>
                    <a:pt x="1406" y="292"/>
                  </a:lnTo>
                  <a:lnTo>
                    <a:pt x="1407" y="295"/>
                  </a:lnTo>
                  <a:lnTo>
                    <a:pt x="1407" y="298"/>
                  </a:lnTo>
                  <a:lnTo>
                    <a:pt x="1416" y="301"/>
                  </a:lnTo>
                  <a:lnTo>
                    <a:pt x="1431" y="308"/>
                  </a:lnTo>
                  <a:lnTo>
                    <a:pt x="1439" y="311"/>
                  </a:lnTo>
                  <a:lnTo>
                    <a:pt x="1444" y="316"/>
                  </a:lnTo>
                  <a:lnTo>
                    <a:pt x="1449" y="319"/>
                  </a:lnTo>
                  <a:lnTo>
                    <a:pt x="1450" y="323"/>
                  </a:lnTo>
                  <a:lnTo>
                    <a:pt x="1455" y="323"/>
                  </a:lnTo>
                  <a:lnTo>
                    <a:pt x="1462" y="325"/>
                  </a:lnTo>
                  <a:lnTo>
                    <a:pt x="1469" y="327"/>
                  </a:lnTo>
                  <a:lnTo>
                    <a:pt x="1476" y="330"/>
                  </a:lnTo>
                  <a:lnTo>
                    <a:pt x="1482" y="334"/>
                  </a:lnTo>
                  <a:lnTo>
                    <a:pt x="1488" y="338"/>
                  </a:lnTo>
                  <a:lnTo>
                    <a:pt x="1491" y="343"/>
                  </a:lnTo>
                  <a:lnTo>
                    <a:pt x="1492" y="347"/>
                  </a:lnTo>
                  <a:lnTo>
                    <a:pt x="1505" y="347"/>
                  </a:lnTo>
                  <a:lnTo>
                    <a:pt x="1506" y="350"/>
                  </a:lnTo>
                  <a:lnTo>
                    <a:pt x="1506" y="352"/>
                  </a:lnTo>
                  <a:lnTo>
                    <a:pt x="1507" y="353"/>
                  </a:lnTo>
                  <a:lnTo>
                    <a:pt x="1508" y="353"/>
                  </a:lnTo>
                  <a:lnTo>
                    <a:pt x="1509" y="353"/>
                  </a:lnTo>
                  <a:lnTo>
                    <a:pt x="1510" y="354"/>
                  </a:lnTo>
                  <a:lnTo>
                    <a:pt x="1511" y="355"/>
                  </a:lnTo>
                  <a:lnTo>
                    <a:pt x="1511" y="359"/>
                  </a:lnTo>
                  <a:lnTo>
                    <a:pt x="1524" y="359"/>
                  </a:lnTo>
                  <a:lnTo>
                    <a:pt x="1529" y="371"/>
                  </a:lnTo>
                  <a:lnTo>
                    <a:pt x="1538" y="374"/>
                  </a:lnTo>
                  <a:lnTo>
                    <a:pt x="1548" y="377"/>
                  </a:lnTo>
                  <a:lnTo>
                    <a:pt x="1554" y="383"/>
                  </a:lnTo>
                  <a:lnTo>
                    <a:pt x="1555" y="387"/>
                  </a:lnTo>
                  <a:lnTo>
                    <a:pt x="1557" y="392"/>
                  </a:lnTo>
                  <a:lnTo>
                    <a:pt x="1561" y="394"/>
                  </a:lnTo>
                  <a:lnTo>
                    <a:pt x="1566" y="395"/>
                  </a:lnTo>
                  <a:lnTo>
                    <a:pt x="1572" y="411"/>
                  </a:lnTo>
                  <a:lnTo>
                    <a:pt x="1578" y="426"/>
                  </a:lnTo>
                  <a:lnTo>
                    <a:pt x="1587" y="435"/>
                  </a:lnTo>
                  <a:lnTo>
                    <a:pt x="1596" y="444"/>
                  </a:lnTo>
                  <a:lnTo>
                    <a:pt x="1596" y="462"/>
                  </a:lnTo>
                  <a:lnTo>
                    <a:pt x="1598" y="463"/>
                  </a:lnTo>
                  <a:lnTo>
                    <a:pt x="1601" y="467"/>
                  </a:lnTo>
                  <a:lnTo>
                    <a:pt x="1602" y="470"/>
                  </a:lnTo>
                  <a:lnTo>
                    <a:pt x="1603" y="474"/>
                  </a:lnTo>
                  <a:lnTo>
                    <a:pt x="1605" y="479"/>
                  </a:lnTo>
                  <a:lnTo>
                    <a:pt x="1607" y="483"/>
                  </a:lnTo>
                  <a:lnTo>
                    <a:pt x="1611" y="485"/>
                  </a:lnTo>
                  <a:lnTo>
                    <a:pt x="1615" y="487"/>
                  </a:lnTo>
                  <a:lnTo>
                    <a:pt x="1615" y="536"/>
                  </a:lnTo>
                  <a:lnTo>
                    <a:pt x="1611" y="540"/>
                  </a:lnTo>
                  <a:lnTo>
                    <a:pt x="1605" y="544"/>
                  </a:lnTo>
                  <a:lnTo>
                    <a:pt x="1601" y="547"/>
                  </a:lnTo>
                  <a:lnTo>
                    <a:pt x="1596" y="548"/>
                  </a:lnTo>
                  <a:lnTo>
                    <a:pt x="1596" y="560"/>
                  </a:lnTo>
                  <a:lnTo>
                    <a:pt x="1593" y="561"/>
                  </a:lnTo>
                  <a:lnTo>
                    <a:pt x="1589" y="566"/>
                  </a:lnTo>
                  <a:lnTo>
                    <a:pt x="1587" y="568"/>
                  </a:lnTo>
                  <a:lnTo>
                    <a:pt x="1585" y="570"/>
                  </a:lnTo>
                  <a:lnTo>
                    <a:pt x="1582" y="571"/>
                  </a:lnTo>
                  <a:lnTo>
                    <a:pt x="1578" y="573"/>
                  </a:lnTo>
                  <a:lnTo>
                    <a:pt x="1576" y="599"/>
                  </a:lnTo>
                  <a:lnTo>
                    <a:pt x="1572" y="631"/>
                  </a:lnTo>
                  <a:lnTo>
                    <a:pt x="1568" y="664"/>
                  </a:lnTo>
                  <a:lnTo>
                    <a:pt x="1566" y="694"/>
                  </a:lnTo>
                  <a:lnTo>
                    <a:pt x="1569" y="694"/>
                  </a:lnTo>
                  <a:lnTo>
                    <a:pt x="1572" y="695"/>
                  </a:lnTo>
                  <a:lnTo>
                    <a:pt x="1572" y="696"/>
                  </a:lnTo>
                  <a:lnTo>
                    <a:pt x="1572" y="698"/>
                  </a:lnTo>
                  <a:lnTo>
                    <a:pt x="1573" y="699"/>
                  </a:lnTo>
                  <a:lnTo>
                    <a:pt x="1573" y="699"/>
                  </a:lnTo>
                  <a:lnTo>
                    <a:pt x="1575" y="700"/>
                  </a:lnTo>
                  <a:lnTo>
                    <a:pt x="1578" y="700"/>
                  </a:lnTo>
                  <a:lnTo>
                    <a:pt x="1578" y="712"/>
                  </a:lnTo>
                  <a:lnTo>
                    <a:pt x="1591" y="712"/>
                  </a:lnTo>
                  <a:lnTo>
                    <a:pt x="1591" y="715"/>
                  </a:lnTo>
                  <a:lnTo>
                    <a:pt x="1592" y="718"/>
                  </a:lnTo>
                  <a:lnTo>
                    <a:pt x="1593" y="719"/>
                  </a:lnTo>
                  <a:lnTo>
                    <a:pt x="1594" y="719"/>
                  </a:lnTo>
                  <a:lnTo>
                    <a:pt x="1595" y="719"/>
                  </a:lnTo>
                  <a:lnTo>
                    <a:pt x="1595" y="719"/>
                  </a:lnTo>
                  <a:lnTo>
                    <a:pt x="1596" y="721"/>
                  </a:lnTo>
                  <a:lnTo>
                    <a:pt x="1596" y="724"/>
                  </a:lnTo>
                  <a:lnTo>
                    <a:pt x="1621" y="724"/>
                  </a:lnTo>
                  <a:lnTo>
                    <a:pt x="1622" y="727"/>
                  </a:lnTo>
                  <a:lnTo>
                    <a:pt x="1625" y="729"/>
                  </a:lnTo>
                  <a:lnTo>
                    <a:pt x="1631" y="731"/>
                  </a:lnTo>
                  <a:lnTo>
                    <a:pt x="1637" y="732"/>
                  </a:lnTo>
                  <a:lnTo>
                    <a:pt x="1654" y="735"/>
                  </a:lnTo>
                  <a:lnTo>
                    <a:pt x="1674" y="738"/>
                  </a:lnTo>
                  <a:lnTo>
                    <a:pt x="1713" y="741"/>
                  </a:lnTo>
                  <a:lnTo>
                    <a:pt x="1737" y="743"/>
                  </a:lnTo>
                  <a:lnTo>
                    <a:pt x="1749" y="746"/>
                  </a:lnTo>
                  <a:lnTo>
                    <a:pt x="1764" y="750"/>
                  </a:lnTo>
                  <a:lnTo>
                    <a:pt x="1762" y="778"/>
                  </a:lnTo>
                  <a:lnTo>
                    <a:pt x="1761" y="806"/>
                  </a:lnTo>
                  <a:lnTo>
                    <a:pt x="1760" y="834"/>
                  </a:lnTo>
                  <a:lnTo>
                    <a:pt x="1760" y="860"/>
                  </a:lnTo>
                  <a:lnTo>
                    <a:pt x="1757" y="863"/>
                  </a:lnTo>
                  <a:lnTo>
                    <a:pt x="1755" y="869"/>
                  </a:lnTo>
                  <a:lnTo>
                    <a:pt x="1752" y="879"/>
                  </a:lnTo>
                  <a:lnTo>
                    <a:pt x="1750" y="893"/>
                  </a:lnTo>
                  <a:lnTo>
                    <a:pt x="1745" y="929"/>
                  </a:lnTo>
                  <a:lnTo>
                    <a:pt x="1740" y="971"/>
                  </a:lnTo>
                  <a:lnTo>
                    <a:pt x="1735" y="971"/>
                  </a:lnTo>
                  <a:lnTo>
                    <a:pt x="1720" y="981"/>
                  </a:lnTo>
                  <a:lnTo>
                    <a:pt x="1716" y="990"/>
                  </a:lnTo>
                  <a:lnTo>
                    <a:pt x="1711" y="996"/>
                  </a:lnTo>
                  <a:lnTo>
                    <a:pt x="1701" y="996"/>
                  </a:lnTo>
                  <a:lnTo>
                    <a:pt x="1701" y="998"/>
                  </a:lnTo>
                  <a:lnTo>
                    <a:pt x="1700" y="1000"/>
                  </a:lnTo>
                  <a:lnTo>
                    <a:pt x="1698" y="1002"/>
                  </a:lnTo>
                  <a:lnTo>
                    <a:pt x="1695" y="1003"/>
                  </a:lnTo>
                  <a:lnTo>
                    <a:pt x="1691" y="1004"/>
                  </a:lnTo>
                  <a:lnTo>
                    <a:pt x="1688" y="1004"/>
                  </a:lnTo>
                  <a:lnTo>
                    <a:pt x="1687" y="1007"/>
                  </a:lnTo>
                  <a:lnTo>
                    <a:pt x="1685" y="1008"/>
                  </a:lnTo>
                  <a:lnTo>
                    <a:pt x="1682" y="1009"/>
                  </a:lnTo>
                  <a:lnTo>
                    <a:pt x="1680" y="1011"/>
                  </a:lnTo>
                  <a:lnTo>
                    <a:pt x="1673" y="1013"/>
                  </a:lnTo>
                  <a:lnTo>
                    <a:pt x="1669" y="1013"/>
                  </a:lnTo>
                  <a:lnTo>
                    <a:pt x="1668" y="1016"/>
                  </a:lnTo>
                  <a:lnTo>
                    <a:pt x="1665" y="1017"/>
                  </a:lnTo>
                  <a:lnTo>
                    <a:pt x="1662" y="1018"/>
                  </a:lnTo>
                  <a:lnTo>
                    <a:pt x="1658" y="1018"/>
                  </a:lnTo>
                  <a:lnTo>
                    <a:pt x="1646" y="1018"/>
                  </a:lnTo>
                  <a:lnTo>
                    <a:pt x="1631" y="1018"/>
                  </a:lnTo>
                  <a:lnTo>
                    <a:pt x="1591" y="1013"/>
                  </a:lnTo>
                  <a:lnTo>
                    <a:pt x="1544" y="1007"/>
                  </a:lnTo>
                  <a:lnTo>
                    <a:pt x="1496" y="1000"/>
                  </a:lnTo>
                  <a:lnTo>
                    <a:pt x="1450" y="992"/>
                  </a:lnTo>
                  <a:lnTo>
                    <a:pt x="1414" y="988"/>
                  </a:lnTo>
                  <a:lnTo>
                    <a:pt x="1391" y="985"/>
                  </a:lnTo>
                  <a:lnTo>
                    <a:pt x="1364" y="984"/>
                  </a:lnTo>
                  <a:lnTo>
                    <a:pt x="1336" y="981"/>
                  </a:lnTo>
                  <a:lnTo>
                    <a:pt x="1307" y="975"/>
                  </a:lnTo>
                  <a:lnTo>
                    <a:pt x="1277" y="969"/>
                  </a:lnTo>
                  <a:lnTo>
                    <a:pt x="1246" y="963"/>
                  </a:lnTo>
                  <a:lnTo>
                    <a:pt x="1214" y="958"/>
                  </a:lnTo>
                  <a:lnTo>
                    <a:pt x="1199" y="955"/>
                  </a:lnTo>
                  <a:lnTo>
                    <a:pt x="1183" y="954"/>
                  </a:lnTo>
                  <a:lnTo>
                    <a:pt x="1167" y="953"/>
                  </a:lnTo>
                  <a:lnTo>
                    <a:pt x="1152" y="953"/>
                  </a:lnTo>
                  <a:lnTo>
                    <a:pt x="1151" y="951"/>
                  </a:lnTo>
                  <a:lnTo>
                    <a:pt x="1150" y="950"/>
                  </a:lnTo>
                  <a:lnTo>
                    <a:pt x="1148" y="950"/>
                  </a:lnTo>
                  <a:lnTo>
                    <a:pt x="1146" y="949"/>
                  </a:lnTo>
                  <a:lnTo>
                    <a:pt x="1142" y="949"/>
                  </a:lnTo>
                  <a:lnTo>
                    <a:pt x="1137" y="948"/>
                  </a:lnTo>
                  <a:lnTo>
                    <a:pt x="1133" y="943"/>
                  </a:lnTo>
                  <a:lnTo>
                    <a:pt x="1128" y="934"/>
                  </a:lnTo>
                  <a:lnTo>
                    <a:pt x="1121" y="932"/>
                  </a:lnTo>
                  <a:lnTo>
                    <a:pt x="1114" y="930"/>
                  </a:lnTo>
                  <a:lnTo>
                    <a:pt x="1112" y="924"/>
                  </a:lnTo>
                  <a:lnTo>
                    <a:pt x="1109" y="920"/>
                  </a:lnTo>
                  <a:lnTo>
                    <a:pt x="1099" y="917"/>
                  </a:lnTo>
                  <a:lnTo>
                    <a:pt x="1090" y="915"/>
                  </a:lnTo>
                  <a:lnTo>
                    <a:pt x="1090" y="914"/>
                  </a:lnTo>
                  <a:lnTo>
                    <a:pt x="1089" y="913"/>
                  </a:lnTo>
                  <a:lnTo>
                    <a:pt x="1087" y="912"/>
                  </a:lnTo>
                  <a:lnTo>
                    <a:pt x="1085" y="911"/>
                  </a:lnTo>
                  <a:lnTo>
                    <a:pt x="1080" y="911"/>
                  </a:lnTo>
                  <a:lnTo>
                    <a:pt x="1076" y="911"/>
                  </a:lnTo>
                  <a:lnTo>
                    <a:pt x="860" y="877"/>
                  </a:lnTo>
                  <a:lnTo>
                    <a:pt x="850" y="889"/>
                  </a:lnTo>
                  <a:lnTo>
                    <a:pt x="841" y="906"/>
                  </a:lnTo>
                  <a:lnTo>
                    <a:pt x="833" y="911"/>
                  </a:lnTo>
                  <a:lnTo>
                    <a:pt x="830" y="921"/>
                  </a:lnTo>
                  <a:lnTo>
                    <a:pt x="827" y="934"/>
                  </a:lnTo>
                  <a:lnTo>
                    <a:pt x="824" y="948"/>
                  </a:lnTo>
                  <a:lnTo>
                    <a:pt x="823" y="958"/>
                  </a:lnTo>
                  <a:lnTo>
                    <a:pt x="814" y="958"/>
                  </a:lnTo>
                  <a:lnTo>
                    <a:pt x="812" y="960"/>
                  </a:lnTo>
                  <a:lnTo>
                    <a:pt x="811" y="962"/>
                  </a:lnTo>
                  <a:lnTo>
                    <a:pt x="809" y="964"/>
                  </a:lnTo>
                  <a:lnTo>
                    <a:pt x="807" y="965"/>
                  </a:lnTo>
                  <a:lnTo>
                    <a:pt x="799" y="968"/>
                  </a:lnTo>
                  <a:lnTo>
                    <a:pt x="791" y="970"/>
                  </a:lnTo>
                  <a:lnTo>
                    <a:pt x="773" y="971"/>
                  </a:lnTo>
                  <a:lnTo>
                    <a:pt x="761" y="971"/>
                  </a:lnTo>
                  <a:lnTo>
                    <a:pt x="752" y="962"/>
                  </a:lnTo>
                  <a:lnTo>
                    <a:pt x="743" y="962"/>
                  </a:lnTo>
                  <a:lnTo>
                    <a:pt x="738" y="953"/>
                  </a:lnTo>
                  <a:lnTo>
                    <a:pt x="725" y="951"/>
                  </a:lnTo>
                  <a:lnTo>
                    <a:pt x="711" y="948"/>
                  </a:lnTo>
                  <a:lnTo>
                    <a:pt x="703" y="948"/>
                  </a:lnTo>
                  <a:lnTo>
                    <a:pt x="696" y="949"/>
                  </a:lnTo>
                  <a:lnTo>
                    <a:pt x="693" y="950"/>
                  </a:lnTo>
                  <a:lnTo>
                    <a:pt x="691" y="952"/>
                  </a:lnTo>
                  <a:lnTo>
                    <a:pt x="689" y="954"/>
                  </a:lnTo>
                  <a:lnTo>
                    <a:pt x="686" y="958"/>
                  </a:lnTo>
                  <a:lnTo>
                    <a:pt x="672" y="958"/>
                  </a:lnTo>
                  <a:lnTo>
                    <a:pt x="672" y="959"/>
                  </a:lnTo>
                  <a:lnTo>
                    <a:pt x="671" y="960"/>
                  </a:lnTo>
                  <a:lnTo>
                    <a:pt x="670" y="961"/>
                  </a:lnTo>
                  <a:lnTo>
                    <a:pt x="667" y="962"/>
                  </a:lnTo>
                  <a:lnTo>
                    <a:pt x="663" y="962"/>
                  </a:lnTo>
                  <a:lnTo>
                    <a:pt x="658" y="962"/>
                  </a:lnTo>
                  <a:lnTo>
                    <a:pt x="657" y="963"/>
                  </a:lnTo>
                  <a:lnTo>
                    <a:pt x="654" y="965"/>
                  </a:lnTo>
                  <a:lnTo>
                    <a:pt x="649" y="965"/>
                  </a:lnTo>
                  <a:lnTo>
                    <a:pt x="644" y="967"/>
                  </a:lnTo>
                  <a:lnTo>
                    <a:pt x="633" y="967"/>
                  </a:lnTo>
                  <a:lnTo>
                    <a:pt x="625" y="967"/>
                  </a:lnTo>
                  <a:lnTo>
                    <a:pt x="623" y="965"/>
                  </a:lnTo>
                  <a:lnTo>
                    <a:pt x="617" y="964"/>
                  </a:lnTo>
                  <a:lnTo>
                    <a:pt x="608" y="963"/>
                  </a:lnTo>
                  <a:lnTo>
                    <a:pt x="599" y="962"/>
                  </a:lnTo>
                  <a:lnTo>
                    <a:pt x="598" y="950"/>
                  </a:lnTo>
                  <a:lnTo>
                    <a:pt x="598" y="941"/>
                  </a:lnTo>
                  <a:lnTo>
                    <a:pt x="590" y="927"/>
                  </a:lnTo>
                  <a:lnTo>
                    <a:pt x="581" y="913"/>
                  </a:lnTo>
                  <a:lnTo>
                    <a:pt x="581" y="902"/>
                  </a:lnTo>
                  <a:lnTo>
                    <a:pt x="570" y="892"/>
                  </a:lnTo>
                  <a:lnTo>
                    <a:pt x="552" y="892"/>
                  </a:lnTo>
                  <a:lnTo>
                    <a:pt x="532" y="892"/>
                  </a:lnTo>
                  <a:lnTo>
                    <a:pt x="512" y="892"/>
                  </a:lnTo>
                  <a:lnTo>
                    <a:pt x="493" y="892"/>
                  </a:lnTo>
                  <a:lnTo>
                    <a:pt x="493" y="893"/>
                  </a:lnTo>
                  <a:lnTo>
                    <a:pt x="491" y="894"/>
                  </a:lnTo>
                  <a:lnTo>
                    <a:pt x="486" y="895"/>
                  </a:lnTo>
                  <a:lnTo>
                    <a:pt x="482" y="896"/>
                  </a:lnTo>
                  <a:lnTo>
                    <a:pt x="470" y="896"/>
                  </a:lnTo>
                  <a:lnTo>
                    <a:pt x="455" y="895"/>
                  </a:lnTo>
                  <a:lnTo>
                    <a:pt x="428" y="893"/>
                  </a:lnTo>
                  <a:lnTo>
                    <a:pt x="417" y="892"/>
                  </a:lnTo>
                  <a:lnTo>
                    <a:pt x="414" y="889"/>
                  </a:lnTo>
                  <a:lnTo>
                    <a:pt x="406" y="888"/>
                  </a:lnTo>
                  <a:lnTo>
                    <a:pt x="395" y="887"/>
                  </a:lnTo>
                  <a:lnTo>
                    <a:pt x="383" y="886"/>
                  </a:lnTo>
                  <a:lnTo>
                    <a:pt x="357" y="886"/>
                  </a:lnTo>
                  <a:lnTo>
                    <a:pt x="340" y="886"/>
                  </a:lnTo>
                  <a:lnTo>
                    <a:pt x="329" y="885"/>
                  </a:lnTo>
                  <a:lnTo>
                    <a:pt x="319" y="883"/>
                  </a:lnTo>
                  <a:lnTo>
                    <a:pt x="309" y="881"/>
                  </a:lnTo>
                  <a:lnTo>
                    <a:pt x="299" y="877"/>
                  </a:lnTo>
                  <a:lnTo>
                    <a:pt x="289" y="875"/>
                  </a:lnTo>
                  <a:lnTo>
                    <a:pt x="278" y="872"/>
                  </a:lnTo>
                  <a:lnTo>
                    <a:pt x="268" y="869"/>
                  </a:lnTo>
                  <a:lnTo>
                    <a:pt x="258" y="869"/>
                  </a:lnTo>
                  <a:lnTo>
                    <a:pt x="254" y="860"/>
                  </a:lnTo>
                  <a:lnTo>
                    <a:pt x="252" y="853"/>
                  </a:lnTo>
                  <a:lnTo>
                    <a:pt x="249" y="852"/>
                  </a:lnTo>
                  <a:lnTo>
                    <a:pt x="245" y="847"/>
                  </a:lnTo>
                  <a:lnTo>
                    <a:pt x="244" y="845"/>
                  </a:lnTo>
                  <a:lnTo>
                    <a:pt x="242" y="844"/>
                  </a:lnTo>
                  <a:lnTo>
                    <a:pt x="239" y="843"/>
                  </a:lnTo>
                  <a:lnTo>
                    <a:pt x="235" y="842"/>
                  </a:lnTo>
                  <a:lnTo>
                    <a:pt x="233" y="825"/>
                  </a:lnTo>
                  <a:lnTo>
                    <a:pt x="230" y="809"/>
                  </a:lnTo>
                  <a:lnTo>
                    <a:pt x="224" y="804"/>
                  </a:lnTo>
                  <a:lnTo>
                    <a:pt x="219" y="798"/>
                  </a:lnTo>
                  <a:lnTo>
                    <a:pt x="219" y="781"/>
                  </a:lnTo>
                  <a:lnTo>
                    <a:pt x="216" y="781"/>
                  </a:lnTo>
                  <a:lnTo>
                    <a:pt x="214" y="779"/>
                  </a:lnTo>
                  <a:lnTo>
                    <a:pt x="212" y="777"/>
                  </a:lnTo>
                  <a:lnTo>
                    <a:pt x="209" y="773"/>
                  </a:lnTo>
                  <a:lnTo>
                    <a:pt x="202" y="766"/>
                  </a:lnTo>
                  <a:lnTo>
                    <a:pt x="196" y="756"/>
                  </a:lnTo>
                  <a:lnTo>
                    <a:pt x="190" y="744"/>
                  </a:lnTo>
                  <a:lnTo>
                    <a:pt x="185" y="735"/>
                  </a:lnTo>
                  <a:lnTo>
                    <a:pt x="182" y="727"/>
                  </a:lnTo>
                  <a:lnTo>
                    <a:pt x="181" y="721"/>
                  </a:lnTo>
                  <a:lnTo>
                    <a:pt x="175" y="719"/>
                  </a:lnTo>
                  <a:lnTo>
                    <a:pt x="169" y="715"/>
                  </a:lnTo>
                  <a:lnTo>
                    <a:pt x="169" y="693"/>
                  </a:lnTo>
                  <a:lnTo>
                    <a:pt x="167" y="693"/>
                  </a:lnTo>
                  <a:lnTo>
                    <a:pt x="166" y="690"/>
                  </a:lnTo>
                  <a:lnTo>
                    <a:pt x="165" y="686"/>
                  </a:lnTo>
                  <a:lnTo>
                    <a:pt x="163" y="682"/>
                  </a:lnTo>
                  <a:lnTo>
                    <a:pt x="161" y="670"/>
                  </a:lnTo>
                  <a:lnTo>
                    <a:pt x="158" y="655"/>
                  </a:lnTo>
                  <a:lnTo>
                    <a:pt x="155" y="641"/>
                  </a:lnTo>
                  <a:lnTo>
                    <a:pt x="152" y="628"/>
                  </a:lnTo>
                  <a:lnTo>
                    <a:pt x="149" y="624"/>
                  </a:lnTo>
                  <a:lnTo>
                    <a:pt x="147" y="621"/>
                  </a:lnTo>
                  <a:lnTo>
                    <a:pt x="145" y="617"/>
                  </a:lnTo>
                  <a:lnTo>
                    <a:pt x="143" y="617"/>
                  </a:lnTo>
                  <a:lnTo>
                    <a:pt x="143" y="606"/>
                  </a:lnTo>
                  <a:lnTo>
                    <a:pt x="140" y="605"/>
                  </a:lnTo>
                  <a:lnTo>
                    <a:pt x="138" y="604"/>
                  </a:lnTo>
                  <a:lnTo>
                    <a:pt x="136" y="602"/>
                  </a:lnTo>
                  <a:lnTo>
                    <a:pt x="135" y="599"/>
                  </a:lnTo>
                  <a:lnTo>
                    <a:pt x="133" y="594"/>
                  </a:lnTo>
                  <a:lnTo>
                    <a:pt x="132" y="589"/>
                  </a:lnTo>
                  <a:lnTo>
                    <a:pt x="127" y="588"/>
                  </a:lnTo>
                  <a:lnTo>
                    <a:pt x="123" y="586"/>
                  </a:lnTo>
                  <a:lnTo>
                    <a:pt x="119" y="583"/>
                  </a:lnTo>
                  <a:lnTo>
                    <a:pt x="115" y="578"/>
                  </a:lnTo>
                  <a:lnTo>
                    <a:pt x="115" y="567"/>
                  </a:lnTo>
                  <a:lnTo>
                    <a:pt x="109" y="565"/>
                  </a:lnTo>
                  <a:lnTo>
                    <a:pt x="104" y="561"/>
                  </a:lnTo>
                  <a:lnTo>
                    <a:pt x="104" y="540"/>
                  </a:lnTo>
                  <a:lnTo>
                    <a:pt x="109" y="535"/>
                  </a:lnTo>
                  <a:lnTo>
                    <a:pt x="115" y="531"/>
                  </a:lnTo>
                  <a:lnTo>
                    <a:pt x="120" y="529"/>
                  </a:lnTo>
                  <a:lnTo>
                    <a:pt x="120" y="518"/>
                  </a:lnTo>
                  <a:lnTo>
                    <a:pt x="132" y="518"/>
                  </a:lnTo>
                  <a:lnTo>
                    <a:pt x="137" y="504"/>
                  </a:lnTo>
                  <a:lnTo>
                    <a:pt x="143" y="490"/>
                  </a:lnTo>
                  <a:lnTo>
                    <a:pt x="146" y="490"/>
                  </a:lnTo>
                  <a:lnTo>
                    <a:pt x="149" y="487"/>
                  </a:lnTo>
                  <a:lnTo>
                    <a:pt x="153" y="483"/>
                  </a:lnTo>
                  <a:lnTo>
                    <a:pt x="153" y="480"/>
                  </a:lnTo>
                  <a:lnTo>
                    <a:pt x="158" y="477"/>
                  </a:lnTo>
                  <a:lnTo>
                    <a:pt x="164" y="474"/>
                  </a:lnTo>
                  <a:lnTo>
                    <a:pt x="164" y="463"/>
                  </a:lnTo>
                  <a:lnTo>
                    <a:pt x="166" y="462"/>
                  </a:lnTo>
                  <a:lnTo>
                    <a:pt x="167" y="460"/>
                  </a:lnTo>
                  <a:lnTo>
                    <a:pt x="168" y="458"/>
                  </a:lnTo>
                  <a:lnTo>
                    <a:pt x="169" y="454"/>
                  </a:lnTo>
                  <a:lnTo>
                    <a:pt x="169" y="446"/>
                  </a:lnTo>
                  <a:lnTo>
                    <a:pt x="169" y="441"/>
                  </a:lnTo>
                  <a:lnTo>
                    <a:pt x="164" y="435"/>
                  </a:lnTo>
                  <a:lnTo>
                    <a:pt x="154" y="435"/>
                  </a:lnTo>
                  <a:lnTo>
                    <a:pt x="142" y="433"/>
                  </a:lnTo>
                  <a:lnTo>
                    <a:pt x="129" y="431"/>
                  </a:lnTo>
                  <a:lnTo>
                    <a:pt x="117" y="427"/>
                  </a:lnTo>
                  <a:lnTo>
                    <a:pt x="104" y="424"/>
                  </a:lnTo>
                  <a:lnTo>
                    <a:pt x="91" y="422"/>
                  </a:lnTo>
                  <a:lnTo>
                    <a:pt x="78" y="420"/>
                  </a:lnTo>
                  <a:lnTo>
                    <a:pt x="66" y="419"/>
                  </a:lnTo>
                  <a:lnTo>
                    <a:pt x="62" y="401"/>
                  </a:lnTo>
                  <a:lnTo>
                    <a:pt x="60" y="386"/>
                  </a:lnTo>
                  <a:lnTo>
                    <a:pt x="49" y="386"/>
                  </a:lnTo>
                  <a:lnTo>
                    <a:pt x="41" y="378"/>
                  </a:lnTo>
                  <a:lnTo>
                    <a:pt x="32" y="369"/>
                  </a:lnTo>
                  <a:lnTo>
                    <a:pt x="21" y="369"/>
                  </a:lnTo>
                  <a:lnTo>
                    <a:pt x="15" y="364"/>
                  </a:lnTo>
                  <a:lnTo>
                    <a:pt x="11" y="358"/>
                  </a:lnTo>
                  <a:lnTo>
                    <a:pt x="5" y="353"/>
                  </a:lnTo>
                  <a:lnTo>
                    <a:pt x="0" y="347"/>
                  </a:lnTo>
                  <a:lnTo>
                    <a:pt x="0" y="330"/>
                  </a:lnTo>
                  <a:lnTo>
                    <a:pt x="2" y="312"/>
                  </a:lnTo>
                  <a:lnTo>
                    <a:pt x="4" y="296"/>
                  </a:lnTo>
                  <a:lnTo>
                    <a:pt x="5" y="281"/>
                  </a:lnTo>
                  <a:lnTo>
                    <a:pt x="6" y="281"/>
                  </a:lnTo>
                  <a:lnTo>
                    <a:pt x="8" y="280"/>
                  </a:lnTo>
                  <a:lnTo>
                    <a:pt x="9" y="278"/>
                  </a:lnTo>
                  <a:lnTo>
                    <a:pt x="10" y="276"/>
                  </a:lnTo>
                  <a:lnTo>
                    <a:pt x="10" y="270"/>
                  </a:lnTo>
                  <a:lnTo>
                    <a:pt x="11" y="266"/>
                  </a:lnTo>
                  <a:lnTo>
                    <a:pt x="12" y="265"/>
                  </a:lnTo>
                  <a:lnTo>
                    <a:pt x="13" y="262"/>
                  </a:lnTo>
                  <a:lnTo>
                    <a:pt x="14" y="258"/>
                  </a:lnTo>
                  <a:lnTo>
                    <a:pt x="15" y="253"/>
                  </a:lnTo>
                  <a:lnTo>
                    <a:pt x="15" y="244"/>
                  </a:lnTo>
                  <a:lnTo>
                    <a:pt x="15" y="238"/>
                  </a:lnTo>
                  <a:lnTo>
                    <a:pt x="18" y="237"/>
                  </a:lnTo>
                  <a:lnTo>
                    <a:pt x="20" y="234"/>
                  </a:lnTo>
                  <a:lnTo>
                    <a:pt x="21" y="231"/>
                  </a:lnTo>
                  <a:lnTo>
                    <a:pt x="23" y="227"/>
                  </a:lnTo>
                  <a:lnTo>
                    <a:pt x="25" y="214"/>
                  </a:lnTo>
                  <a:lnTo>
                    <a:pt x="28" y="200"/>
                  </a:lnTo>
                  <a:close/>
                  <a:moveTo>
                    <a:pt x="594" y="962"/>
                  </a:moveTo>
                  <a:lnTo>
                    <a:pt x="587" y="962"/>
                  </a:lnTo>
                  <a:lnTo>
                    <a:pt x="584" y="962"/>
                  </a:lnTo>
                  <a:lnTo>
                    <a:pt x="587" y="962"/>
                  </a:lnTo>
                  <a:lnTo>
                    <a:pt x="594" y="96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6" name="Freeform 42"/>
            <p:cNvSpPr>
              <a:spLocks noChangeAspect="1"/>
            </p:cNvSpPr>
            <p:nvPr/>
          </p:nvSpPr>
          <p:spPr bwMode="gray">
            <a:xfrm rot="355651">
              <a:off x="5855681" y="3003550"/>
              <a:ext cx="0" cy="4259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10" y="0"/>
                </a:cxn>
              </a:cxnLst>
              <a:rect l="0" t="0" r="r" b="b"/>
              <a:pathLst>
                <a:path w="10">
                  <a:moveTo>
                    <a:pt x="10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10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7" name="Freeform 43"/>
            <p:cNvSpPr>
              <a:spLocks noChangeAspect="1"/>
            </p:cNvSpPr>
            <p:nvPr/>
          </p:nvSpPr>
          <p:spPr bwMode="gray">
            <a:xfrm rot="355651">
              <a:off x="5705451" y="2635250"/>
              <a:ext cx="258141" cy="248052"/>
            </a:xfrm>
            <a:custGeom>
              <a:avLst/>
              <a:gdLst/>
              <a:ahLst/>
              <a:cxnLst>
                <a:cxn ang="0">
                  <a:pos x="516" y="365"/>
                </a:cxn>
                <a:cxn ang="0">
                  <a:pos x="469" y="432"/>
                </a:cxn>
                <a:cxn ang="0">
                  <a:pos x="446" y="459"/>
                </a:cxn>
                <a:cxn ang="0">
                  <a:pos x="401" y="516"/>
                </a:cxn>
                <a:cxn ang="0">
                  <a:pos x="341" y="564"/>
                </a:cxn>
                <a:cxn ang="0">
                  <a:pos x="311" y="609"/>
                </a:cxn>
                <a:cxn ang="0">
                  <a:pos x="268" y="637"/>
                </a:cxn>
                <a:cxn ang="0">
                  <a:pos x="201" y="661"/>
                </a:cxn>
                <a:cxn ang="0">
                  <a:pos x="150" y="690"/>
                </a:cxn>
                <a:cxn ang="0">
                  <a:pos x="103" y="708"/>
                </a:cxn>
                <a:cxn ang="0">
                  <a:pos x="73" y="721"/>
                </a:cxn>
                <a:cxn ang="0">
                  <a:pos x="45" y="749"/>
                </a:cxn>
                <a:cxn ang="0">
                  <a:pos x="27" y="799"/>
                </a:cxn>
                <a:cxn ang="0">
                  <a:pos x="2" y="995"/>
                </a:cxn>
                <a:cxn ang="0">
                  <a:pos x="7" y="1013"/>
                </a:cxn>
                <a:cxn ang="0">
                  <a:pos x="95" y="1018"/>
                </a:cxn>
                <a:cxn ang="0">
                  <a:pos x="128" y="1055"/>
                </a:cxn>
                <a:cxn ang="0">
                  <a:pos x="159" y="1093"/>
                </a:cxn>
                <a:cxn ang="0">
                  <a:pos x="229" y="1111"/>
                </a:cxn>
                <a:cxn ang="0">
                  <a:pos x="283" y="1130"/>
                </a:cxn>
                <a:cxn ang="0">
                  <a:pos x="349" y="1191"/>
                </a:cxn>
                <a:cxn ang="0">
                  <a:pos x="388" y="1325"/>
                </a:cxn>
                <a:cxn ang="0">
                  <a:pos x="399" y="1372"/>
                </a:cxn>
                <a:cxn ang="0">
                  <a:pos x="419" y="1493"/>
                </a:cxn>
                <a:cxn ang="0">
                  <a:pos x="524" y="1537"/>
                </a:cxn>
                <a:cxn ang="0">
                  <a:pos x="617" y="1507"/>
                </a:cxn>
                <a:cxn ang="0">
                  <a:pos x="603" y="1488"/>
                </a:cxn>
                <a:cxn ang="0">
                  <a:pos x="554" y="1431"/>
                </a:cxn>
                <a:cxn ang="0">
                  <a:pos x="542" y="1402"/>
                </a:cxn>
                <a:cxn ang="0">
                  <a:pos x="534" y="1345"/>
                </a:cxn>
                <a:cxn ang="0">
                  <a:pos x="508" y="1294"/>
                </a:cxn>
                <a:cxn ang="0">
                  <a:pos x="480" y="1223"/>
                </a:cxn>
                <a:cxn ang="0">
                  <a:pos x="488" y="1147"/>
                </a:cxn>
                <a:cxn ang="0">
                  <a:pos x="591" y="1111"/>
                </a:cxn>
                <a:cxn ang="0">
                  <a:pos x="656" y="1094"/>
                </a:cxn>
                <a:cxn ang="0">
                  <a:pos x="852" y="947"/>
                </a:cxn>
                <a:cxn ang="0">
                  <a:pos x="872" y="934"/>
                </a:cxn>
                <a:cxn ang="0">
                  <a:pos x="888" y="924"/>
                </a:cxn>
                <a:cxn ang="0">
                  <a:pos x="952" y="930"/>
                </a:cxn>
                <a:cxn ang="0">
                  <a:pos x="1002" y="902"/>
                </a:cxn>
                <a:cxn ang="0">
                  <a:pos x="1083" y="897"/>
                </a:cxn>
                <a:cxn ang="0">
                  <a:pos x="1144" y="921"/>
                </a:cxn>
                <a:cxn ang="0">
                  <a:pos x="1284" y="939"/>
                </a:cxn>
                <a:cxn ang="0">
                  <a:pos x="1344" y="929"/>
                </a:cxn>
                <a:cxn ang="0">
                  <a:pos x="1370" y="868"/>
                </a:cxn>
                <a:cxn ang="0">
                  <a:pos x="1377" y="712"/>
                </a:cxn>
                <a:cxn ang="0">
                  <a:pos x="1395" y="524"/>
                </a:cxn>
                <a:cxn ang="0">
                  <a:pos x="1416" y="425"/>
                </a:cxn>
                <a:cxn ang="0">
                  <a:pos x="1260" y="382"/>
                </a:cxn>
                <a:cxn ang="0">
                  <a:pos x="1216" y="326"/>
                </a:cxn>
                <a:cxn ang="0">
                  <a:pos x="1219" y="193"/>
                </a:cxn>
                <a:cxn ang="0">
                  <a:pos x="1171" y="164"/>
                </a:cxn>
                <a:cxn ang="0">
                  <a:pos x="1125" y="141"/>
                </a:cxn>
                <a:cxn ang="0">
                  <a:pos x="1004" y="97"/>
                </a:cxn>
                <a:cxn ang="0">
                  <a:pos x="984" y="35"/>
                </a:cxn>
                <a:cxn ang="0">
                  <a:pos x="970" y="0"/>
                </a:cxn>
                <a:cxn ang="0">
                  <a:pos x="937" y="46"/>
                </a:cxn>
                <a:cxn ang="0">
                  <a:pos x="912" y="87"/>
                </a:cxn>
                <a:cxn ang="0">
                  <a:pos x="886" y="161"/>
                </a:cxn>
                <a:cxn ang="0">
                  <a:pos x="872" y="207"/>
                </a:cxn>
                <a:cxn ang="0">
                  <a:pos x="829" y="232"/>
                </a:cxn>
                <a:cxn ang="0">
                  <a:pos x="734" y="327"/>
                </a:cxn>
                <a:cxn ang="0">
                  <a:pos x="619" y="314"/>
                </a:cxn>
              </a:cxnLst>
              <a:rect l="0" t="0" r="r" b="b"/>
              <a:pathLst>
                <a:path w="1416" h="1538">
                  <a:moveTo>
                    <a:pt x="564" y="341"/>
                  </a:moveTo>
                  <a:lnTo>
                    <a:pt x="551" y="345"/>
                  </a:lnTo>
                  <a:lnTo>
                    <a:pt x="542" y="348"/>
                  </a:lnTo>
                  <a:lnTo>
                    <a:pt x="538" y="349"/>
                  </a:lnTo>
                  <a:lnTo>
                    <a:pt x="536" y="353"/>
                  </a:lnTo>
                  <a:lnTo>
                    <a:pt x="533" y="356"/>
                  </a:lnTo>
                  <a:lnTo>
                    <a:pt x="531" y="361"/>
                  </a:lnTo>
                  <a:lnTo>
                    <a:pt x="517" y="361"/>
                  </a:lnTo>
                  <a:lnTo>
                    <a:pt x="516" y="365"/>
                  </a:lnTo>
                  <a:lnTo>
                    <a:pt x="514" y="370"/>
                  </a:lnTo>
                  <a:lnTo>
                    <a:pt x="509" y="375"/>
                  </a:lnTo>
                  <a:lnTo>
                    <a:pt x="504" y="378"/>
                  </a:lnTo>
                  <a:lnTo>
                    <a:pt x="493" y="387"/>
                  </a:lnTo>
                  <a:lnTo>
                    <a:pt x="485" y="393"/>
                  </a:lnTo>
                  <a:lnTo>
                    <a:pt x="485" y="406"/>
                  </a:lnTo>
                  <a:lnTo>
                    <a:pt x="472" y="413"/>
                  </a:lnTo>
                  <a:lnTo>
                    <a:pt x="472" y="432"/>
                  </a:lnTo>
                  <a:lnTo>
                    <a:pt x="469" y="432"/>
                  </a:lnTo>
                  <a:lnTo>
                    <a:pt x="468" y="433"/>
                  </a:lnTo>
                  <a:lnTo>
                    <a:pt x="467" y="434"/>
                  </a:lnTo>
                  <a:lnTo>
                    <a:pt x="466" y="436"/>
                  </a:lnTo>
                  <a:lnTo>
                    <a:pt x="466" y="441"/>
                  </a:lnTo>
                  <a:lnTo>
                    <a:pt x="465" y="445"/>
                  </a:lnTo>
                  <a:lnTo>
                    <a:pt x="460" y="450"/>
                  </a:lnTo>
                  <a:lnTo>
                    <a:pt x="456" y="454"/>
                  </a:lnTo>
                  <a:lnTo>
                    <a:pt x="450" y="458"/>
                  </a:lnTo>
                  <a:lnTo>
                    <a:pt x="446" y="459"/>
                  </a:lnTo>
                  <a:lnTo>
                    <a:pt x="446" y="471"/>
                  </a:lnTo>
                  <a:lnTo>
                    <a:pt x="436" y="474"/>
                  </a:lnTo>
                  <a:lnTo>
                    <a:pt x="426" y="478"/>
                  </a:lnTo>
                  <a:lnTo>
                    <a:pt x="419" y="484"/>
                  </a:lnTo>
                  <a:lnTo>
                    <a:pt x="416" y="498"/>
                  </a:lnTo>
                  <a:lnTo>
                    <a:pt x="412" y="511"/>
                  </a:lnTo>
                  <a:lnTo>
                    <a:pt x="410" y="511"/>
                  </a:lnTo>
                  <a:lnTo>
                    <a:pt x="406" y="514"/>
                  </a:lnTo>
                  <a:lnTo>
                    <a:pt x="401" y="516"/>
                  </a:lnTo>
                  <a:lnTo>
                    <a:pt x="397" y="519"/>
                  </a:lnTo>
                  <a:lnTo>
                    <a:pt x="393" y="524"/>
                  </a:lnTo>
                  <a:lnTo>
                    <a:pt x="390" y="528"/>
                  </a:lnTo>
                  <a:lnTo>
                    <a:pt x="388" y="532"/>
                  </a:lnTo>
                  <a:lnTo>
                    <a:pt x="387" y="537"/>
                  </a:lnTo>
                  <a:lnTo>
                    <a:pt x="373" y="537"/>
                  </a:lnTo>
                  <a:lnTo>
                    <a:pt x="363" y="550"/>
                  </a:lnTo>
                  <a:lnTo>
                    <a:pt x="354" y="564"/>
                  </a:lnTo>
                  <a:lnTo>
                    <a:pt x="341" y="564"/>
                  </a:lnTo>
                  <a:lnTo>
                    <a:pt x="340" y="566"/>
                  </a:lnTo>
                  <a:lnTo>
                    <a:pt x="339" y="568"/>
                  </a:lnTo>
                  <a:lnTo>
                    <a:pt x="336" y="570"/>
                  </a:lnTo>
                  <a:lnTo>
                    <a:pt x="334" y="573"/>
                  </a:lnTo>
                  <a:lnTo>
                    <a:pt x="330" y="575"/>
                  </a:lnTo>
                  <a:lnTo>
                    <a:pt x="327" y="576"/>
                  </a:lnTo>
                  <a:lnTo>
                    <a:pt x="327" y="589"/>
                  </a:lnTo>
                  <a:lnTo>
                    <a:pt x="314" y="596"/>
                  </a:lnTo>
                  <a:lnTo>
                    <a:pt x="311" y="609"/>
                  </a:lnTo>
                  <a:lnTo>
                    <a:pt x="309" y="622"/>
                  </a:lnTo>
                  <a:lnTo>
                    <a:pt x="302" y="624"/>
                  </a:lnTo>
                  <a:lnTo>
                    <a:pt x="295" y="626"/>
                  </a:lnTo>
                  <a:lnTo>
                    <a:pt x="293" y="628"/>
                  </a:lnTo>
                  <a:lnTo>
                    <a:pt x="291" y="631"/>
                  </a:lnTo>
                  <a:lnTo>
                    <a:pt x="288" y="633"/>
                  </a:lnTo>
                  <a:lnTo>
                    <a:pt x="288" y="635"/>
                  </a:lnTo>
                  <a:lnTo>
                    <a:pt x="278" y="636"/>
                  </a:lnTo>
                  <a:lnTo>
                    <a:pt x="268" y="637"/>
                  </a:lnTo>
                  <a:lnTo>
                    <a:pt x="258" y="640"/>
                  </a:lnTo>
                  <a:lnTo>
                    <a:pt x="249" y="642"/>
                  </a:lnTo>
                  <a:lnTo>
                    <a:pt x="239" y="644"/>
                  </a:lnTo>
                  <a:lnTo>
                    <a:pt x="229" y="646"/>
                  </a:lnTo>
                  <a:lnTo>
                    <a:pt x="219" y="647"/>
                  </a:lnTo>
                  <a:lnTo>
                    <a:pt x="209" y="649"/>
                  </a:lnTo>
                  <a:lnTo>
                    <a:pt x="208" y="653"/>
                  </a:lnTo>
                  <a:lnTo>
                    <a:pt x="206" y="657"/>
                  </a:lnTo>
                  <a:lnTo>
                    <a:pt x="201" y="661"/>
                  </a:lnTo>
                  <a:lnTo>
                    <a:pt x="197" y="662"/>
                  </a:lnTo>
                  <a:lnTo>
                    <a:pt x="196" y="664"/>
                  </a:lnTo>
                  <a:lnTo>
                    <a:pt x="192" y="668"/>
                  </a:lnTo>
                  <a:lnTo>
                    <a:pt x="188" y="671"/>
                  </a:lnTo>
                  <a:lnTo>
                    <a:pt x="182" y="674"/>
                  </a:lnTo>
                  <a:lnTo>
                    <a:pt x="171" y="682"/>
                  </a:lnTo>
                  <a:lnTo>
                    <a:pt x="163" y="688"/>
                  </a:lnTo>
                  <a:lnTo>
                    <a:pt x="157" y="689"/>
                  </a:lnTo>
                  <a:lnTo>
                    <a:pt x="150" y="690"/>
                  </a:lnTo>
                  <a:lnTo>
                    <a:pt x="143" y="692"/>
                  </a:lnTo>
                  <a:lnTo>
                    <a:pt x="138" y="694"/>
                  </a:lnTo>
                  <a:lnTo>
                    <a:pt x="131" y="697"/>
                  </a:lnTo>
                  <a:lnTo>
                    <a:pt x="125" y="699"/>
                  </a:lnTo>
                  <a:lnTo>
                    <a:pt x="119" y="700"/>
                  </a:lnTo>
                  <a:lnTo>
                    <a:pt x="111" y="701"/>
                  </a:lnTo>
                  <a:lnTo>
                    <a:pt x="110" y="703"/>
                  </a:lnTo>
                  <a:lnTo>
                    <a:pt x="108" y="705"/>
                  </a:lnTo>
                  <a:lnTo>
                    <a:pt x="103" y="708"/>
                  </a:lnTo>
                  <a:lnTo>
                    <a:pt x="98" y="710"/>
                  </a:lnTo>
                  <a:lnTo>
                    <a:pt x="86" y="713"/>
                  </a:lnTo>
                  <a:lnTo>
                    <a:pt x="79" y="714"/>
                  </a:lnTo>
                  <a:lnTo>
                    <a:pt x="79" y="718"/>
                  </a:lnTo>
                  <a:lnTo>
                    <a:pt x="77" y="720"/>
                  </a:lnTo>
                  <a:lnTo>
                    <a:pt x="76" y="720"/>
                  </a:lnTo>
                  <a:lnTo>
                    <a:pt x="75" y="721"/>
                  </a:lnTo>
                  <a:lnTo>
                    <a:pt x="74" y="721"/>
                  </a:lnTo>
                  <a:lnTo>
                    <a:pt x="73" y="721"/>
                  </a:lnTo>
                  <a:lnTo>
                    <a:pt x="72" y="723"/>
                  </a:lnTo>
                  <a:lnTo>
                    <a:pt x="72" y="727"/>
                  </a:lnTo>
                  <a:lnTo>
                    <a:pt x="58" y="727"/>
                  </a:lnTo>
                  <a:lnTo>
                    <a:pt x="58" y="740"/>
                  </a:lnTo>
                  <a:lnTo>
                    <a:pt x="54" y="741"/>
                  </a:lnTo>
                  <a:lnTo>
                    <a:pt x="51" y="742"/>
                  </a:lnTo>
                  <a:lnTo>
                    <a:pt x="48" y="745"/>
                  </a:lnTo>
                  <a:lnTo>
                    <a:pt x="46" y="747"/>
                  </a:lnTo>
                  <a:lnTo>
                    <a:pt x="45" y="749"/>
                  </a:lnTo>
                  <a:lnTo>
                    <a:pt x="43" y="751"/>
                  </a:lnTo>
                  <a:lnTo>
                    <a:pt x="42" y="752"/>
                  </a:lnTo>
                  <a:lnTo>
                    <a:pt x="39" y="753"/>
                  </a:lnTo>
                  <a:lnTo>
                    <a:pt x="39" y="767"/>
                  </a:lnTo>
                  <a:lnTo>
                    <a:pt x="37" y="768"/>
                  </a:lnTo>
                  <a:lnTo>
                    <a:pt x="34" y="771"/>
                  </a:lnTo>
                  <a:lnTo>
                    <a:pt x="32" y="778"/>
                  </a:lnTo>
                  <a:lnTo>
                    <a:pt x="31" y="785"/>
                  </a:lnTo>
                  <a:lnTo>
                    <a:pt x="27" y="799"/>
                  </a:lnTo>
                  <a:lnTo>
                    <a:pt x="26" y="813"/>
                  </a:lnTo>
                  <a:lnTo>
                    <a:pt x="13" y="819"/>
                  </a:lnTo>
                  <a:lnTo>
                    <a:pt x="13" y="843"/>
                  </a:lnTo>
                  <a:lnTo>
                    <a:pt x="12" y="866"/>
                  </a:lnTo>
                  <a:lnTo>
                    <a:pt x="9" y="892"/>
                  </a:lnTo>
                  <a:lnTo>
                    <a:pt x="7" y="918"/>
                  </a:lnTo>
                  <a:lnTo>
                    <a:pt x="5" y="943"/>
                  </a:lnTo>
                  <a:lnTo>
                    <a:pt x="3" y="969"/>
                  </a:lnTo>
                  <a:lnTo>
                    <a:pt x="2" y="995"/>
                  </a:lnTo>
                  <a:lnTo>
                    <a:pt x="0" y="1020"/>
                  </a:lnTo>
                  <a:lnTo>
                    <a:pt x="2" y="1020"/>
                  </a:lnTo>
                  <a:lnTo>
                    <a:pt x="3" y="1020"/>
                  </a:lnTo>
                  <a:lnTo>
                    <a:pt x="2" y="1017"/>
                  </a:lnTo>
                  <a:lnTo>
                    <a:pt x="2" y="1016"/>
                  </a:lnTo>
                  <a:lnTo>
                    <a:pt x="3" y="1015"/>
                  </a:lnTo>
                  <a:lnTo>
                    <a:pt x="4" y="1015"/>
                  </a:lnTo>
                  <a:lnTo>
                    <a:pt x="5" y="1015"/>
                  </a:lnTo>
                  <a:lnTo>
                    <a:pt x="7" y="1013"/>
                  </a:lnTo>
                  <a:lnTo>
                    <a:pt x="8" y="1012"/>
                  </a:lnTo>
                  <a:lnTo>
                    <a:pt x="8" y="1009"/>
                  </a:lnTo>
                  <a:lnTo>
                    <a:pt x="27" y="1009"/>
                  </a:lnTo>
                  <a:lnTo>
                    <a:pt x="56" y="1010"/>
                  </a:lnTo>
                  <a:lnTo>
                    <a:pt x="72" y="1012"/>
                  </a:lnTo>
                  <a:lnTo>
                    <a:pt x="84" y="1013"/>
                  </a:lnTo>
                  <a:lnTo>
                    <a:pt x="90" y="1015"/>
                  </a:lnTo>
                  <a:lnTo>
                    <a:pt x="93" y="1017"/>
                  </a:lnTo>
                  <a:lnTo>
                    <a:pt x="95" y="1018"/>
                  </a:lnTo>
                  <a:lnTo>
                    <a:pt x="96" y="1020"/>
                  </a:lnTo>
                  <a:lnTo>
                    <a:pt x="113" y="1020"/>
                  </a:lnTo>
                  <a:lnTo>
                    <a:pt x="113" y="1025"/>
                  </a:lnTo>
                  <a:lnTo>
                    <a:pt x="113" y="1028"/>
                  </a:lnTo>
                  <a:lnTo>
                    <a:pt x="115" y="1030"/>
                  </a:lnTo>
                  <a:lnTo>
                    <a:pt x="119" y="1031"/>
                  </a:lnTo>
                  <a:lnTo>
                    <a:pt x="120" y="1039"/>
                  </a:lnTo>
                  <a:lnTo>
                    <a:pt x="124" y="1049"/>
                  </a:lnTo>
                  <a:lnTo>
                    <a:pt x="128" y="1055"/>
                  </a:lnTo>
                  <a:lnTo>
                    <a:pt x="130" y="1059"/>
                  </a:lnTo>
                  <a:lnTo>
                    <a:pt x="132" y="1063"/>
                  </a:lnTo>
                  <a:lnTo>
                    <a:pt x="134" y="1064"/>
                  </a:lnTo>
                  <a:lnTo>
                    <a:pt x="134" y="1075"/>
                  </a:lnTo>
                  <a:lnTo>
                    <a:pt x="140" y="1080"/>
                  </a:lnTo>
                  <a:lnTo>
                    <a:pt x="146" y="1086"/>
                  </a:lnTo>
                  <a:lnTo>
                    <a:pt x="157" y="1086"/>
                  </a:lnTo>
                  <a:lnTo>
                    <a:pt x="157" y="1089"/>
                  </a:lnTo>
                  <a:lnTo>
                    <a:pt x="159" y="1093"/>
                  </a:lnTo>
                  <a:lnTo>
                    <a:pt x="160" y="1095"/>
                  </a:lnTo>
                  <a:lnTo>
                    <a:pt x="162" y="1096"/>
                  </a:lnTo>
                  <a:lnTo>
                    <a:pt x="166" y="1099"/>
                  </a:lnTo>
                  <a:lnTo>
                    <a:pt x="168" y="1103"/>
                  </a:lnTo>
                  <a:lnTo>
                    <a:pt x="182" y="1104"/>
                  </a:lnTo>
                  <a:lnTo>
                    <a:pt x="198" y="1105"/>
                  </a:lnTo>
                  <a:lnTo>
                    <a:pt x="214" y="1107"/>
                  </a:lnTo>
                  <a:lnTo>
                    <a:pt x="228" y="1108"/>
                  </a:lnTo>
                  <a:lnTo>
                    <a:pt x="229" y="1111"/>
                  </a:lnTo>
                  <a:lnTo>
                    <a:pt x="231" y="1112"/>
                  </a:lnTo>
                  <a:lnTo>
                    <a:pt x="235" y="1114"/>
                  </a:lnTo>
                  <a:lnTo>
                    <a:pt x="239" y="1115"/>
                  </a:lnTo>
                  <a:lnTo>
                    <a:pt x="249" y="1118"/>
                  </a:lnTo>
                  <a:lnTo>
                    <a:pt x="256" y="1120"/>
                  </a:lnTo>
                  <a:lnTo>
                    <a:pt x="258" y="1121"/>
                  </a:lnTo>
                  <a:lnTo>
                    <a:pt x="265" y="1124"/>
                  </a:lnTo>
                  <a:lnTo>
                    <a:pt x="274" y="1128"/>
                  </a:lnTo>
                  <a:lnTo>
                    <a:pt x="283" y="1130"/>
                  </a:lnTo>
                  <a:lnTo>
                    <a:pt x="288" y="1141"/>
                  </a:lnTo>
                  <a:lnTo>
                    <a:pt x="292" y="1142"/>
                  </a:lnTo>
                  <a:lnTo>
                    <a:pt x="295" y="1143"/>
                  </a:lnTo>
                  <a:lnTo>
                    <a:pt x="300" y="1145"/>
                  </a:lnTo>
                  <a:lnTo>
                    <a:pt x="304" y="1149"/>
                  </a:lnTo>
                  <a:lnTo>
                    <a:pt x="313" y="1156"/>
                  </a:lnTo>
                  <a:lnTo>
                    <a:pt x="323" y="1165"/>
                  </a:lnTo>
                  <a:lnTo>
                    <a:pt x="340" y="1183"/>
                  </a:lnTo>
                  <a:lnTo>
                    <a:pt x="349" y="1191"/>
                  </a:lnTo>
                  <a:lnTo>
                    <a:pt x="377" y="1267"/>
                  </a:lnTo>
                  <a:lnTo>
                    <a:pt x="377" y="1276"/>
                  </a:lnTo>
                  <a:lnTo>
                    <a:pt x="377" y="1288"/>
                  </a:lnTo>
                  <a:lnTo>
                    <a:pt x="378" y="1295"/>
                  </a:lnTo>
                  <a:lnTo>
                    <a:pt x="379" y="1300"/>
                  </a:lnTo>
                  <a:lnTo>
                    <a:pt x="380" y="1305"/>
                  </a:lnTo>
                  <a:lnTo>
                    <a:pt x="382" y="1306"/>
                  </a:lnTo>
                  <a:lnTo>
                    <a:pt x="382" y="1323"/>
                  </a:lnTo>
                  <a:lnTo>
                    <a:pt x="388" y="1325"/>
                  </a:lnTo>
                  <a:lnTo>
                    <a:pt x="393" y="1328"/>
                  </a:lnTo>
                  <a:lnTo>
                    <a:pt x="393" y="1333"/>
                  </a:lnTo>
                  <a:lnTo>
                    <a:pt x="393" y="1338"/>
                  </a:lnTo>
                  <a:lnTo>
                    <a:pt x="394" y="1341"/>
                  </a:lnTo>
                  <a:lnTo>
                    <a:pt x="396" y="1343"/>
                  </a:lnTo>
                  <a:lnTo>
                    <a:pt x="397" y="1344"/>
                  </a:lnTo>
                  <a:lnTo>
                    <a:pt x="399" y="1344"/>
                  </a:lnTo>
                  <a:lnTo>
                    <a:pt x="399" y="1358"/>
                  </a:lnTo>
                  <a:lnTo>
                    <a:pt x="399" y="1372"/>
                  </a:lnTo>
                  <a:lnTo>
                    <a:pt x="409" y="1432"/>
                  </a:lnTo>
                  <a:lnTo>
                    <a:pt x="410" y="1438"/>
                  </a:lnTo>
                  <a:lnTo>
                    <a:pt x="412" y="1451"/>
                  </a:lnTo>
                  <a:lnTo>
                    <a:pt x="415" y="1459"/>
                  </a:lnTo>
                  <a:lnTo>
                    <a:pt x="417" y="1464"/>
                  </a:lnTo>
                  <a:lnTo>
                    <a:pt x="418" y="1469"/>
                  </a:lnTo>
                  <a:lnTo>
                    <a:pt x="420" y="1470"/>
                  </a:lnTo>
                  <a:lnTo>
                    <a:pt x="420" y="1480"/>
                  </a:lnTo>
                  <a:lnTo>
                    <a:pt x="419" y="1493"/>
                  </a:lnTo>
                  <a:lnTo>
                    <a:pt x="418" y="1509"/>
                  </a:lnTo>
                  <a:lnTo>
                    <a:pt x="416" y="1526"/>
                  </a:lnTo>
                  <a:lnTo>
                    <a:pt x="421" y="1530"/>
                  </a:lnTo>
                  <a:lnTo>
                    <a:pt x="424" y="1532"/>
                  </a:lnTo>
                  <a:lnTo>
                    <a:pt x="448" y="1534"/>
                  </a:lnTo>
                  <a:lnTo>
                    <a:pt x="473" y="1536"/>
                  </a:lnTo>
                  <a:lnTo>
                    <a:pt x="498" y="1538"/>
                  </a:lnTo>
                  <a:lnTo>
                    <a:pt x="522" y="1538"/>
                  </a:lnTo>
                  <a:lnTo>
                    <a:pt x="524" y="1537"/>
                  </a:lnTo>
                  <a:lnTo>
                    <a:pt x="531" y="1535"/>
                  </a:lnTo>
                  <a:lnTo>
                    <a:pt x="542" y="1534"/>
                  </a:lnTo>
                  <a:lnTo>
                    <a:pt x="556" y="1534"/>
                  </a:lnTo>
                  <a:lnTo>
                    <a:pt x="593" y="1534"/>
                  </a:lnTo>
                  <a:lnTo>
                    <a:pt x="637" y="1534"/>
                  </a:lnTo>
                  <a:lnTo>
                    <a:pt x="636" y="1534"/>
                  </a:lnTo>
                  <a:lnTo>
                    <a:pt x="629" y="1527"/>
                  </a:lnTo>
                  <a:lnTo>
                    <a:pt x="617" y="1520"/>
                  </a:lnTo>
                  <a:lnTo>
                    <a:pt x="617" y="1507"/>
                  </a:lnTo>
                  <a:lnTo>
                    <a:pt x="612" y="1507"/>
                  </a:lnTo>
                  <a:lnTo>
                    <a:pt x="610" y="1506"/>
                  </a:lnTo>
                  <a:lnTo>
                    <a:pt x="610" y="1505"/>
                  </a:lnTo>
                  <a:lnTo>
                    <a:pt x="610" y="1503"/>
                  </a:lnTo>
                  <a:lnTo>
                    <a:pt x="610" y="1502"/>
                  </a:lnTo>
                  <a:lnTo>
                    <a:pt x="609" y="1501"/>
                  </a:lnTo>
                  <a:lnTo>
                    <a:pt x="607" y="1501"/>
                  </a:lnTo>
                  <a:lnTo>
                    <a:pt x="603" y="1500"/>
                  </a:lnTo>
                  <a:lnTo>
                    <a:pt x="603" y="1488"/>
                  </a:lnTo>
                  <a:lnTo>
                    <a:pt x="599" y="1487"/>
                  </a:lnTo>
                  <a:lnTo>
                    <a:pt x="595" y="1484"/>
                  </a:lnTo>
                  <a:lnTo>
                    <a:pt x="591" y="1482"/>
                  </a:lnTo>
                  <a:lnTo>
                    <a:pt x="588" y="1478"/>
                  </a:lnTo>
                  <a:lnTo>
                    <a:pt x="580" y="1469"/>
                  </a:lnTo>
                  <a:lnTo>
                    <a:pt x="572" y="1458"/>
                  </a:lnTo>
                  <a:lnTo>
                    <a:pt x="565" y="1448"/>
                  </a:lnTo>
                  <a:lnTo>
                    <a:pt x="559" y="1438"/>
                  </a:lnTo>
                  <a:lnTo>
                    <a:pt x="554" y="1431"/>
                  </a:lnTo>
                  <a:lnTo>
                    <a:pt x="551" y="1429"/>
                  </a:lnTo>
                  <a:lnTo>
                    <a:pt x="551" y="1415"/>
                  </a:lnTo>
                  <a:lnTo>
                    <a:pt x="549" y="1415"/>
                  </a:lnTo>
                  <a:lnTo>
                    <a:pt x="546" y="1414"/>
                  </a:lnTo>
                  <a:lnTo>
                    <a:pt x="545" y="1413"/>
                  </a:lnTo>
                  <a:lnTo>
                    <a:pt x="545" y="1411"/>
                  </a:lnTo>
                  <a:lnTo>
                    <a:pt x="544" y="1407"/>
                  </a:lnTo>
                  <a:lnTo>
                    <a:pt x="544" y="1402"/>
                  </a:lnTo>
                  <a:lnTo>
                    <a:pt x="542" y="1402"/>
                  </a:lnTo>
                  <a:lnTo>
                    <a:pt x="540" y="1401"/>
                  </a:lnTo>
                  <a:lnTo>
                    <a:pt x="538" y="1399"/>
                  </a:lnTo>
                  <a:lnTo>
                    <a:pt x="537" y="1396"/>
                  </a:lnTo>
                  <a:lnTo>
                    <a:pt x="536" y="1390"/>
                  </a:lnTo>
                  <a:lnTo>
                    <a:pt x="536" y="1382"/>
                  </a:lnTo>
                  <a:lnTo>
                    <a:pt x="536" y="1366"/>
                  </a:lnTo>
                  <a:lnTo>
                    <a:pt x="537" y="1356"/>
                  </a:lnTo>
                  <a:lnTo>
                    <a:pt x="536" y="1352"/>
                  </a:lnTo>
                  <a:lnTo>
                    <a:pt x="534" y="1345"/>
                  </a:lnTo>
                  <a:lnTo>
                    <a:pt x="531" y="1339"/>
                  </a:lnTo>
                  <a:lnTo>
                    <a:pt x="527" y="1333"/>
                  </a:lnTo>
                  <a:lnTo>
                    <a:pt x="524" y="1326"/>
                  </a:lnTo>
                  <a:lnTo>
                    <a:pt x="521" y="1318"/>
                  </a:lnTo>
                  <a:lnTo>
                    <a:pt x="518" y="1311"/>
                  </a:lnTo>
                  <a:lnTo>
                    <a:pt x="517" y="1304"/>
                  </a:lnTo>
                  <a:lnTo>
                    <a:pt x="515" y="1303"/>
                  </a:lnTo>
                  <a:lnTo>
                    <a:pt x="512" y="1299"/>
                  </a:lnTo>
                  <a:lnTo>
                    <a:pt x="508" y="1294"/>
                  </a:lnTo>
                  <a:lnTo>
                    <a:pt x="505" y="1287"/>
                  </a:lnTo>
                  <a:lnTo>
                    <a:pt x="501" y="1274"/>
                  </a:lnTo>
                  <a:lnTo>
                    <a:pt x="498" y="1265"/>
                  </a:lnTo>
                  <a:lnTo>
                    <a:pt x="495" y="1263"/>
                  </a:lnTo>
                  <a:lnTo>
                    <a:pt x="492" y="1261"/>
                  </a:lnTo>
                  <a:lnTo>
                    <a:pt x="489" y="1257"/>
                  </a:lnTo>
                  <a:lnTo>
                    <a:pt x="487" y="1252"/>
                  </a:lnTo>
                  <a:lnTo>
                    <a:pt x="483" y="1239"/>
                  </a:lnTo>
                  <a:lnTo>
                    <a:pt x="480" y="1223"/>
                  </a:lnTo>
                  <a:lnTo>
                    <a:pt x="478" y="1190"/>
                  </a:lnTo>
                  <a:lnTo>
                    <a:pt x="478" y="1166"/>
                  </a:lnTo>
                  <a:lnTo>
                    <a:pt x="483" y="1165"/>
                  </a:lnTo>
                  <a:lnTo>
                    <a:pt x="484" y="1163"/>
                  </a:lnTo>
                  <a:lnTo>
                    <a:pt x="485" y="1160"/>
                  </a:lnTo>
                  <a:lnTo>
                    <a:pt x="485" y="1156"/>
                  </a:lnTo>
                  <a:lnTo>
                    <a:pt x="485" y="1153"/>
                  </a:lnTo>
                  <a:lnTo>
                    <a:pt x="486" y="1150"/>
                  </a:lnTo>
                  <a:lnTo>
                    <a:pt x="488" y="1147"/>
                  </a:lnTo>
                  <a:lnTo>
                    <a:pt x="492" y="1146"/>
                  </a:lnTo>
                  <a:lnTo>
                    <a:pt x="492" y="1127"/>
                  </a:lnTo>
                  <a:lnTo>
                    <a:pt x="498" y="1121"/>
                  </a:lnTo>
                  <a:lnTo>
                    <a:pt x="505" y="1114"/>
                  </a:lnTo>
                  <a:lnTo>
                    <a:pt x="525" y="1114"/>
                  </a:lnTo>
                  <a:lnTo>
                    <a:pt x="547" y="1114"/>
                  </a:lnTo>
                  <a:lnTo>
                    <a:pt x="569" y="1114"/>
                  </a:lnTo>
                  <a:lnTo>
                    <a:pt x="590" y="1114"/>
                  </a:lnTo>
                  <a:lnTo>
                    <a:pt x="591" y="1111"/>
                  </a:lnTo>
                  <a:lnTo>
                    <a:pt x="593" y="1108"/>
                  </a:lnTo>
                  <a:lnTo>
                    <a:pt x="597" y="1107"/>
                  </a:lnTo>
                  <a:lnTo>
                    <a:pt x="600" y="1107"/>
                  </a:lnTo>
                  <a:lnTo>
                    <a:pt x="603" y="1107"/>
                  </a:lnTo>
                  <a:lnTo>
                    <a:pt x="607" y="1106"/>
                  </a:lnTo>
                  <a:lnTo>
                    <a:pt x="609" y="1105"/>
                  </a:lnTo>
                  <a:lnTo>
                    <a:pt x="610" y="1101"/>
                  </a:lnTo>
                  <a:lnTo>
                    <a:pt x="642" y="1101"/>
                  </a:lnTo>
                  <a:lnTo>
                    <a:pt x="656" y="1094"/>
                  </a:lnTo>
                  <a:lnTo>
                    <a:pt x="677" y="1079"/>
                  </a:lnTo>
                  <a:lnTo>
                    <a:pt x="725" y="1045"/>
                  </a:lnTo>
                  <a:lnTo>
                    <a:pt x="774" y="1011"/>
                  </a:lnTo>
                  <a:lnTo>
                    <a:pt x="800" y="996"/>
                  </a:lnTo>
                  <a:lnTo>
                    <a:pt x="813" y="980"/>
                  </a:lnTo>
                  <a:lnTo>
                    <a:pt x="825" y="963"/>
                  </a:lnTo>
                  <a:lnTo>
                    <a:pt x="839" y="957"/>
                  </a:lnTo>
                  <a:lnTo>
                    <a:pt x="852" y="950"/>
                  </a:lnTo>
                  <a:lnTo>
                    <a:pt x="852" y="947"/>
                  </a:lnTo>
                  <a:lnTo>
                    <a:pt x="853" y="944"/>
                  </a:lnTo>
                  <a:lnTo>
                    <a:pt x="854" y="943"/>
                  </a:lnTo>
                  <a:lnTo>
                    <a:pt x="856" y="943"/>
                  </a:lnTo>
                  <a:lnTo>
                    <a:pt x="857" y="943"/>
                  </a:lnTo>
                  <a:lnTo>
                    <a:pt x="858" y="943"/>
                  </a:lnTo>
                  <a:lnTo>
                    <a:pt x="859" y="941"/>
                  </a:lnTo>
                  <a:lnTo>
                    <a:pt x="859" y="936"/>
                  </a:lnTo>
                  <a:lnTo>
                    <a:pt x="872" y="936"/>
                  </a:lnTo>
                  <a:lnTo>
                    <a:pt x="872" y="934"/>
                  </a:lnTo>
                  <a:lnTo>
                    <a:pt x="873" y="933"/>
                  </a:lnTo>
                  <a:lnTo>
                    <a:pt x="874" y="932"/>
                  </a:lnTo>
                  <a:lnTo>
                    <a:pt x="876" y="931"/>
                  </a:lnTo>
                  <a:lnTo>
                    <a:pt x="880" y="931"/>
                  </a:lnTo>
                  <a:lnTo>
                    <a:pt x="885" y="930"/>
                  </a:lnTo>
                  <a:lnTo>
                    <a:pt x="886" y="926"/>
                  </a:lnTo>
                  <a:lnTo>
                    <a:pt x="886" y="924"/>
                  </a:lnTo>
                  <a:lnTo>
                    <a:pt x="887" y="924"/>
                  </a:lnTo>
                  <a:lnTo>
                    <a:pt x="888" y="924"/>
                  </a:lnTo>
                  <a:lnTo>
                    <a:pt x="889" y="924"/>
                  </a:lnTo>
                  <a:lnTo>
                    <a:pt x="890" y="923"/>
                  </a:lnTo>
                  <a:lnTo>
                    <a:pt x="891" y="921"/>
                  </a:lnTo>
                  <a:lnTo>
                    <a:pt x="891" y="918"/>
                  </a:lnTo>
                  <a:lnTo>
                    <a:pt x="907" y="919"/>
                  </a:lnTo>
                  <a:lnTo>
                    <a:pt x="929" y="922"/>
                  </a:lnTo>
                  <a:lnTo>
                    <a:pt x="939" y="925"/>
                  </a:lnTo>
                  <a:lnTo>
                    <a:pt x="948" y="929"/>
                  </a:lnTo>
                  <a:lnTo>
                    <a:pt x="952" y="930"/>
                  </a:lnTo>
                  <a:lnTo>
                    <a:pt x="955" y="932"/>
                  </a:lnTo>
                  <a:lnTo>
                    <a:pt x="956" y="934"/>
                  </a:lnTo>
                  <a:lnTo>
                    <a:pt x="957" y="936"/>
                  </a:lnTo>
                  <a:lnTo>
                    <a:pt x="970" y="936"/>
                  </a:lnTo>
                  <a:lnTo>
                    <a:pt x="979" y="924"/>
                  </a:lnTo>
                  <a:lnTo>
                    <a:pt x="989" y="911"/>
                  </a:lnTo>
                  <a:lnTo>
                    <a:pt x="995" y="910"/>
                  </a:lnTo>
                  <a:lnTo>
                    <a:pt x="998" y="906"/>
                  </a:lnTo>
                  <a:lnTo>
                    <a:pt x="1002" y="902"/>
                  </a:lnTo>
                  <a:lnTo>
                    <a:pt x="1003" y="897"/>
                  </a:lnTo>
                  <a:lnTo>
                    <a:pt x="1016" y="897"/>
                  </a:lnTo>
                  <a:lnTo>
                    <a:pt x="1017" y="895"/>
                  </a:lnTo>
                  <a:lnTo>
                    <a:pt x="1020" y="894"/>
                  </a:lnTo>
                  <a:lnTo>
                    <a:pt x="1025" y="893"/>
                  </a:lnTo>
                  <a:lnTo>
                    <a:pt x="1031" y="892"/>
                  </a:lnTo>
                  <a:lnTo>
                    <a:pt x="1048" y="893"/>
                  </a:lnTo>
                  <a:lnTo>
                    <a:pt x="1065" y="894"/>
                  </a:lnTo>
                  <a:lnTo>
                    <a:pt x="1083" y="897"/>
                  </a:lnTo>
                  <a:lnTo>
                    <a:pt x="1099" y="901"/>
                  </a:lnTo>
                  <a:lnTo>
                    <a:pt x="1106" y="903"/>
                  </a:lnTo>
                  <a:lnTo>
                    <a:pt x="1110" y="906"/>
                  </a:lnTo>
                  <a:lnTo>
                    <a:pt x="1113" y="909"/>
                  </a:lnTo>
                  <a:lnTo>
                    <a:pt x="1114" y="911"/>
                  </a:lnTo>
                  <a:lnTo>
                    <a:pt x="1133" y="911"/>
                  </a:lnTo>
                  <a:lnTo>
                    <a:pt x="1137" y="914"/>
                  </a:lnTo>
                  <a:lnTo>
                    <a:pt x="1140" y="918"/>
                  </a:lnTo>
                  <a:lnTo>
                    <a:pt x="1144" y="921"/>
                  </a:lnTo>
                  <a:lnTo>
                    <a:pt x="1148" y="923"/>
                  </a:lnTo>
                  <a:lnTo>
                    <a:pt x="1158" y="928"/>
                  </a:lnTo>
                  <a:lnTo>
                    <a:pt x="1169" y="931"/>
                  </a:lnTo>
                  <a:lnTo>
                    <a:pt x="1181" y="934"/>
                  </a:lnTo>
                  <a:lnTo>
                    <a:pt x="1196" y="936"/>
                  </a:lnTo>
                  <a:lnTo>
                    <a:pt x="1211" y="938"/>
                  </a:lnTo>
                  <a:lnTo>
                    <a:pt x="1225" y="939"/>
                  </a:lnTo>
                  <a:lnTo>
                    <a:pt x="1255" y="939"/>
                  </a:lnTo>
                  <a:lnTo>
                    <a:pt x="1284" y="939"/>
                  </a:lnTo>
                  <a:lnTo>
                    <a:pt x="1310" y="938"/>
                  </a:lnTo>
                  <a:lnTo>
                    <a:pt x="1331" y="936"/>
                  </a:lnTo>
                  <a:lnTo>
                    <a:pt x="1331" y="934"/>
                  </a:lnTo>
                  <a:lnTo>
                    <a:pt x="1332" y="933"/>
                  </a:lnTo>
                  <a:lnTo>
                    <a:pt x="1333" y="932"/>
                  </a:lnTo>
                  <a:lnTo>
                    <a:pt x="1334" y="931"/>
                  </a:lnTo>
                  <a:lnTo>
                    <a:pt x="1339" y="931"/>
                  </a:lnTo>
                  <a:lnTo>
                    <a:pt x="1343" y="930"/>
                  </a:lnTo>
                  <a:lnTo>
                    <a:pt x="1344" y="929"/>
                  </a:lnTo>
                  <a:lnTo>
                    <a:pt x="1344" y="926"/>
                  </a:lnTo>
                  <a:lnTo>
                    <a:pt x="1346" y="925"/>
                  </a:lnTo>
                  <a:lnTo>
                    <a:pt x="1348" y="924"/>
                  </a:lnTo>
                  <a:lnTo>
                    <a:pt x="1352" y="924"/>
                  </a:lnTo>
                  <a:lnTo>
                    <a:pt x="1357" y="924"/>
                  </a:lnTo>
                  <a:lnTo>
                    <a:pt x="1363" y="918"/>
                  </a:lnTo>
                  <a:lnTo>
                    <a:pt x="1370" y="911"/>
                  </a:lnTo>
                  <a:lnTo>
                    <a:pt x="1370" y="891"/>
                  </a:lnTo>
                  <a:lnTo>
                    <a:pt x="1370" y="868"/>
                  </a:lnTo>
                  <a:lnTo>
                    <a:pt x="1370" y="845"/>
                  </a:lnTo>
                  <a:lnTo>
                    <a:pt x="1370" y="822"/>
                  </a:lnTo>
                  <a:lnTo>
                    <a:pt x="1370" y="797"/>
                  </a:lnTo>
                  <a:lnTo>
                    <a:pt x="1370" y="774"/>
                  </a:lnTo>
                  <a:lnTo>
                    <a:pt x="1370" y="750"/>
                  </a:lnTo>
                  <a:lnTo>
                    <a:pt x="1370" y="727"/>
                  </a:lnTo>
                  <a:lnTo>
                    <a:pt x="1372" y="726"/>
                  </a:lnTo>
                  <a:lnTo>
                    <a:pt x="1375" y="720"/>
                  </a:lnTo>
                  <a:lnTo>
                    <a:pt x="1377" y="712"/>
                  </a:lnTo>
                  <a:lnTo>
                    <a:pt x="1379" y="701"/>
                  </a:lnTo>
                  <a:lnTo>
                    <a:pt x="1382" y="673"/>
                  </a:lnTo>
                  <a:lnTo>
                    <a:pt x="1385" y="641"/>
                  </a:lnTo>
                  <a:lnTo>
                    <a:pt x="1387" y="607"/>
                  </a:lnTo>
                  <a:lnTo>
                    <a:pt x="1388" y="575"/>
                  </a:lnTo>
                  <a:lnTo>
                    <a:pt x="1389" y="548"/>
                  </a:lnTo>
                  <a:lnTo>
                    <a:pt x="1389" y="530"/>
                  </a:lnTo>
                  <a:lnTo>
                    <a:pt x="1392" y="529"/>
                  </a:lnTo>
                  <a:lnTo>
                    <a:pt x="1395" y="524"/>
                  </a:lnTo>
                  <a:lnTo>
                    <a:pt x="1397" y="516"/>
                  </a:lnTo>
                  <a:lnTo>
                    <a:pt x="1399" y="507"/>
                  </a:lnTo>
                  <a:lnTo>
                    <a:pt x="1401" y="489"/>
                  </a:lnTo>
                  <a:lnTo>
                    <a:pt x="1403" y="478"/>
                  </a:lnTo>
                  <a:lnTo>
                    <a:pt x="1416" y="466"/>
                  </a:lnTo>
                  <a:lnTo>
                    <a:pt x="1416" y="457"/>
                  </a:lnTo>
                  <a:lnTo>
                    <a:pt x="1416" y="445"/>
                  </a:lnTo>
                  <a:lnTo>
                    <a:pt x="1416" y="433"/>
                  </a:lnTo>
                  <a:lnTo>
                    <a:pt x="1416" y="425"/>
                  </a:lnTo>
                  <a:lnTo>
                    <a:pt x="1409" y="419"/>
                  </a:lnTo>
                  <a:lnTo>
                    <a:pt x="1403" y="413"/>
                  </a:lnTo>
                  <a:lnTo>
                    <a:pt x="1378" y="410"/>
                  </a:lnTo>
                  <a:lnTo>
                    <a:pt x="1328" y="401"/>
                  </a:lnTo>
                  <a:lnTo>
                    <a:pt x="1302" y="396"/>
                  </a:lnTo>
                  <a:lnTo>
                    <a:pt x="1280" y="391"/>
                  </a:lnTo>
                  <a:lnTo>
                    <a:pt x="1271" y="387"/>
                  </a:lnTo>
                  <a:lnTo>
                    <a:pt x="1264" y="385"/>
                  </a:lnTo>
                  <a:lnTo>
                    <a:pt x="1260" y="382"/>
                  </a:lnTo>
                  <a:lnTo>
                    <a:pt x="1259" y="380"/>
                  </a:lnTo>
                  <a:lnTo>
                    <a:pt x="1250" y="375"/>
                  </a:lnTo>
                  <a:lnTo>
                    <a:pt x="1242" y="370"/>
                  </a:lnTo>
                  <a:lnTo>
                    <a:pt x="1235" y="363"/>
                  </a:lnTo>
                  <a:lnTo>
                    <a:pt x="1229" y="356"/>
                  </a:lnTo>
                  <a:lnTo>
                    <a:pt x="1225" y="349"/>
                  </a:lnTo>
                  <a:lnTo>
                    <a:pt x="1221" y="343"/>
                  </a:lnTo>
                  <a:lnTo>
                    <a:pt x="1218" y="335"/>
                  </a:lnTo>
                  <a:lnTo>
                    <a:pt x="1216" y="326"/>
                  </a:lnTo>
                  <a:lnTo>
                    <a:pt x="1213" y="309"/>
                  </a:lnTo>
                  <a:lnTo>
                    <a:pt x="1213" y="290"/>
                  </a:lnTo>
                  <a:lnTo>
                    <a:pt x="1213" y="270"/>
                  </a:lnTo>
                  <a:lnTo>
                    <a:pt x="1213" y="249"/>
                  </a:lnTo>
                  <a:lnTo>
                    <a:pt x="1215" y="246"/>
                  </a:lnTo>
                  <a:lnTo>
                    <a:pt x="1216" y="239"/>
                  </a:lnTo>
                  <a:lnTo>
                    <a:pt x="1217" y="229"/>
                  </a:lnTo>
                  <a:lnTo>
                    <a:pt x="1218" y="218"/>
                  </a:lnTo>
                  <a:lnTo>
                    <a:pt x="1219" y="193"/>
                  </a:lnTo>
                  <a:lnTo>
                    <a:pt x="1219" y="176"/>
                  </a:lnTo>
                  <a:lnTo>
                    <a:pt x="1213" y="170"/>
                  </a:lnTo>
                  <a:lnTo>
                    <a:pt x="1205" y="170"/>
                  </a:lnTo>
                  <a:lnTo>
                    <a:pt x="1193" y="170"/>
                  </a:lnTo>
                  <a:lnTo>
                    <a:pt x="1181" y="170"/>
                  </a:lnTo>
                  <a:lnTo>
                    <a:pt x="1174" y="170"/>
                  </a:lnTo>
                  <a:lnTo>
                    <a:pt x="1173" y="166"/>
                  </a:lnTo>
                  <a:lnTo>
                    <a:pt x="1173" y="164"/>
                  </a:lnTo>
                  <a:lnTo>
                    <a:pt x="1171" y="164"/>
                  </a:lnTo>
                  <a:lnTo>
                    <a:pt x="1170" y="163"/>
                  </a:lnTo>
                  <a:lnTo>
                    <a:pt x="1169" y="163"/>
                  </a:lnTo>
                  <a:lnTo>
                    <a:pt x="1168" y="163"/>
                  </a:lnTo>
                  <a:lnTo>
                    <a:pt x="1167" y="161"/>
                  </a:lnTo>
                  <a:lnTo>
                    <a:pt x="1167" y="157"/>
                  </a:lnTo>
                  <a:lnTo>
                    <a:pt x="1150" y="154"/>
                  </a:lnTo>
                  <a:lnTo>
                    <a:pt x="1133" y="151"/>
                  </a:lnTo>
                  <a:lnTo>
                    <a:pt x="1129" y="145"/>
                  </a:lnTo>
                  <a:lnTo>
                    <a:pt x="1125" y="141"/>
                  </a:lnTo>
                  <a:lnTo>
                    <a:pt x="1122" y="135"/>
                  </a:lnTo>
                  <a:lnTo>
                    <a:pt x="1121" y="131"/>
                  </a:lnTo>
                  <a:lnTo>
                    <a:pt x="1099" y="130"/>
                  </a:lnTo>
                  <a:lnTo>
                    <a:pt x="1074" y="127"/>
                  </a:lnTo>
                  <a:lnTo>
                    <a:pt x="1048" y="125"/>
                  </a:lnTo>
                  <a:lnTo>
                    <a:pt x="1023" y="124"/>
                  </a:lnTo>
                  <a:lnTo>
                    <a:pt x="1015" y="116"/>
                  </a:lnTo>
                  <a:lnTo>
                    <a:pt x="1010" y="107"/>
                  </a:lnTo>
                  <a:lnTo>
                    <a:pt x="1004" y="97"/>
                  </a:lnTo>
                  <a:lnTo>
                    <a:pt x="998" y="86"/>
                  </a:lnTo>
                  <a:lnTo>
                    <a:pt x="995" y="75"/>
                  </a:lnTo>
                  <a:lnTo>
                    <a:pt x="992" y="64"/>
                  </a:lnTo>
                  <a:lnTo>
                    <a:pt x="991" y="51"/>
                  </a:lnTo>
                  <a:lnTo>
                    <a:pt x="989" y="39"/>
                  </a:lnTo>
                  <a:lnTo>
                    <a:pt x="987" y="39"/>
                  </a:lnTo>
                  <a:lnTo>
                    <a:pt x="986" y="38"/>
                  </a:lnTo>
                  <a:lnTo>
                    <a:pt x="985" y="37"/>
                  </a:lnTo>
                  <a:lnTo>
                    <a:pt x="984" y="35"/>
                  </a:lnTo>
                  <a:lnTo>
                    <a:pt x="983" y="30"/>
                  </a:lnTo>
                  <a:lnTo>
                    <a:pt x="983" y="26"/>
                  </a:lnTo>
                  <a:lnTo>
                    <a:pt x="981" y="26"/>
                  </a:lnTo>
                  <a:lnTo>
                    <a:pt x="979" y="24"/>
                  </a:lnTo>
                  <a:lnTo>
                    <a:pt x="978" y="21"/>
                  </a:lnTo>
                  <a:lnTo>
                    <a:pt x="977" y="18"/>
                  </a:lnTo>
                  <a:lnTo>
                    <a:pt x="977" y="12"/>
                  </a:lnTo>
                  <a:lnTo>
                    <a:pt x="976" y="6"/>
                  </a:lnTo>
                  <a:lnTo>
                    <a:pt x="970" y="0"/>
                  </a:lnTo>
                  <a:lnTo>
                    <a:pt x="957" y="0"/>
                  </a:lnTo>
                  <a:lnTo>
                    <a:pt x="954" y="9"/>
                  </a:lnTo>
                  <a:lnTo>
                    <a:pt x="950" y="19"/>
                  </a:lnTo>
                  <a:lnTo>
                    <a:pt x="948" y="20"/>
                  </a:lnTo>
                  <a:lnTo>
                    <a:pt x="946" y="22"/>
                  </a:lnTo>
                  <a:lnTo>
                    <a:pt x="944" y="26"/>
                  </a:lnTo>
                  <a:lnTo>
                    <a:pt x="941" y="30"/>
                  </a:lnTo>
                  <a:lnTo>
                    <a:pt x="938" y="39"/>
                  </a:lnTo>
                  <a:lnTo>
                    <a:pt x="937" y="46"/>
                  </a:lnTo>
                  <a:lnTo>
                    <a:pt x="933" y="50"/>
                  </a:lnTo>
                  <a:lnTo>
                    <a:pt x="928" y="56"/>
                  </a:lnTo>
                  <a:lnTo>
                    <a:pt x="927" y="59"/>
                  </a:lnTo>
                  <a:lnTo>
                    <a:pt x="926" y="63"/>
                  </a:lnTo>
                  <a:lnTo>
                    <a:pt x="925" y="67"/>
                  </a:lnTo>
                  <a:lnTo>
                    <a:pt x="925" y="72"/>
                  </a:lnTo>
                  <a:lnTo>
                    <a:pt x="918" y="85"/>
                  </a:lnTo>
                  <a:lnTo>
                    <a:pt x="915" y="86"/>
                  </a:lnTo>
                  <a:lnTo>
                    <a:pt x="912" y="87"/>
                  </a:lnTo>
                  <a:lnTo>
                    <a:pt x="910" y="91"/>
                  </a:lnTo>
                  <a:lnTo>
                    <a:pt x="908" y="94"/>
                  </a:lnTo>
                  <a:lnTo>
                    <a:pt x="904" y="104"/>
                  </a:lnTo>
                  <a:lnTo>
                    <a:pt x="899" y="116"/>
                  </a:lnTo>
                  <a:lnTo>
                    <a:pt x="893" y="141"/>
                  </a:lnTo>
                  <a:lnTo>
                    <a:pt x="891" y="157"/>
                  </a:lnTo>
                  <a:lnTo>
                    <a:pt x="889" y="157"/>
                  </a:lnTo>
                  <a:lnTo>
                    <a:pt x="887" y="159"/>
                  </a:lnTo>
                  <a:lnTo>
                    <a:pt x="886" y="161"/>
                  </a:lnTo>
                  <a:lnTo>
                    <a:pt x="883" y="163"/>
                  </a:lnTo>
                  <a:lnTo>
                    <a:pt x="881" y="170"/>
                  </a:lnTo>
                  <a:lnTo>
                    <a:pt x="880" y="178"/>
                  </a:lnTo>
                  <a:lnTo>
                    <a:pt x="879" y="193"/>
                  </a:lnTo>
                  <a:lnTo>
                    <a:pt x="878" y="203"/>
                  </a:lnTo>
                  <a:lnTo>
                    <a:pt x="874" y="203"/>
                  </a:lnTo>
                  <a:lnTo>
                    <a:pt x="872" y="204"/>
                  </a:lnTo>
                  <a:lnTo>
                    <a:pt x="872" y="205"/>
                  </a:lnTo>
                  <a:lnTo>
                    <a:pt x="872" y="207"/>
                  </a:lnTo>
                  <a:lnTo>
                    <a:pt x="871" y="208"/>
                  </a:lnTo>
                  <a:lnTo>
                    <a:pt x="871" y="209"/>
                  </a:lnTo>
                  <a:lnTo>
                    <a:pt x="869" y="209"/>
                  </a:lnTo>
                  <a:lnTo>
                    <a:pt x="866" y="210"/>
                  </a:lnTo>
                  <a:lnTo>
                    <a:pt x="859" y="222"/>
                  </a:lnTo>
                  <a:lnTo>
                    <a:pt x="851" y="223"/>
                  </a:lnTo>
                  <a:lnTo>
                    <a:pt x="844" y="226"/>
                  </a:lnTo>
                  <a:lnTo>
                    <a:pt x="837" y="229"/>
                  </a:lnTo>
                  <a:lnTo>
                    <a:pt x="829" y="232"/>
                  </a:lnTo>
                  <a:lnTo>
                    <a:pt x="822" y="236"/>
                  </a:lnTo>
                  <a:lnTo>
                    <a:pt x="814" y="239"/>
                  </a:lnTo>
                  <a:lnTo>
                    <a:pt x="808" y="241"/>
                  </a:lnTo>
                  <a:lnTo>
                    <a:pt x="800" y="242"/>
                  </a:lnTo>
                  <a:lnTo>
                    <a:pt x="761" y="281"/>
                  </a:lnTo>
                  <a:lnTo>
                    <a:pt x="757" y="298"/>
                  </a:lnTo>
                  <a:lnTo>
                    <a:pt x="754" y="314"/>
                  </a:lnTo>
                  <a:lnTo>
                    <a:pt x="747" y="327"/>
                  </a:lnTo>
                  <a:lnTo>
                    <a:pt x="734" y="327"/>
                  </a:lnTo>
                  <a:lnTo>
                    <a:pt x="733" y="328"/>
                  </a:lnTo>
                  <a:lnTo>
                    <a:pt x="730" y="328"/>
                  </a:lnTo>
                  <a:lnTo>
                    <a:pt x="726" y="328"/>
                  </a:lnTo>
                  <a:lnTo>
                    <a:pt x="719" y="327"/>
                  </a:lnTo>
                  <a:lnTo>
                    <a:pt x="705" y="324"/>
                  </a:lnTo>
                  <a:lnTo>
                    <a:pt x="687" y="320"/>
                  </a:lnTo>
                  <a:lnTo>
                    <a:pt x="651" y="311"/>
                  </a:lnTo>
                  <a:lnTo>
                    <a:pt x="629" y="308"/>
                  </a:lnTo>
                  <a:lnTo>
                    <a:pt x="619" y="314"/>
                  </a:lnTo>
                  <a:lnTo>
                    <a:pt x="603" y="320"/>
                  </a:lnTo>
                  <a:lnTo>
                    <a:pt x="603" y="334"/>
                  </a:lnTo>
                  <a:lnTo>
                    <a:pt x="590" y="334"/>
                  </a:lnTo>
                  <a:lnTo>
                    <a:pt x="583" y="341"/>
                  </a:lnTo>
                  <a:lnTo>
                    <a:pt x="564" y="34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8" name="Freeform 44"/>
            <p:cNvSpPr>
              <a:spLocks noChangeAspect="1"/>
            </p:cNvSpPr>
            <p:nvPr/>
          </p:nvSpPr>
          <p:spPr bwMode="gray">
            <a:xfrm rot="355651">
              <a:off x="5777393" y="2566988"/>
              <a:ext cx="324793" cy="175659"/>
            </a:xfrm>
            <a:custGeom>
              <a:avLst/>
              <a:gdLst/>
              <a:ahLst/>
              <a:cxnLst>
                <a:cxn ang="0">
                  <a:pos x="223" y="715"/>
                </a:cxn>
                <a:cxn ang="0">
                  <a:pos x="198" y="674"/>
                </a:cxn>
                <a:cxn ang="0">
                  <a:pos x="172" y="627"/>
                </a:cxn>
                <a:cxn ang="0">
                  <a:pos x="129" y="536"/>
                </a:cxn>
                <a:cxn ang="0">
                  <a:pos x="107" y="482"/>
                </a:cxn>
                <a:cxn ang="0">
                  <a:pos x="73" y="431"/>
                </a:cxn>
                <a:cxn ang="0">
                  <a:pos x="12" y="347"/>
                </a:cxn>
                <a:cxn ang="0">
                  <a:pos x="6" y="254"/>
                </a:cxn>
                <a:cxn ang="0">
                  <a:pos x="33" y="226"/>
                </a:cxn>
                <a:cxn ang="0">
                  <a:pos x="76" y="209"/>
                </a:cxn>
                <a:cxn ang="0">
                  <a:pos x="251" y="193"/>
                </a:cxn>
                <a:cxn ang="0">
                  <a:pos x="339" y="173"/>
                </a:cxn>
                <a:cxn ang="0">
                  <a:pos x="408" y="147"/>
                </a:cxn>
                <a:cxn ang="0">
                  <a:pos x="530" y="154"/>
                </a:cxn>
                <a:cxn ang="0">
                  <a:pos x="674" y="160"/>
                </a:cxn>
                <a:cxn ang="0">
                  <a:pos x="869" y="132"/>
                </a:cxn>
                <a:cxn ang="0">
                  <a:pos x="1123" y="94"/>
                </a:cxn>
                <a:cxn ang="0">
                  <a:pos x="1374" y="65"/>
                </a:cxn>
                <a:cxn ang="0">
                  <a:pos x="1530" y="39"/>
                </a:cxn>
                <a:cxn ang="0">
                  <a:pos x="1619" y="11"/>
                </a:cxn>
                <a:cxn ang="0">
                  <a:pos x="1789" y="14"/>
                </a:cxn>
                <a:cxn ang="0">
                  <a:pos x="1794" y="68"/>
                </a:cxn>
                <a:cxn ang="0">
                  <a:pos x="1774" y="120"/>
                </a:cxn>
                <a:cxn ang="0">
                  <a:pos x="1763" y="142"/>
                </a:cxn>
                <a:cxn ang="0">
                  <a:pos x="1705" y="305"/>
                </a:cxn>
                <a:cxn ang="0">
                  <a:pos x="1648" y="347"/>
                </a:cxn>
                <a:cxn ang="0">
                  <a:pos x="1611" y="378"/>
                </a:cxn>
                <a:cxn ang="0">
                  <a:pos x="1582" y="448"/>
                </a:cxn>
                <a:cxn ang="0">
                  <a:pos x="1619" y="532"/>
                </a:cxn>
                <a:cxn ang="0">
                  <a:pos x="1650" y="609"/>
                </a:cxn>
                <a:cxn ang="0">
                  <a:pos x="1646" y="681"/>
                </a:cxn>
                <a:cxn ang="0">
                  <a:pos x="1627" y="708"/>
                </a:cxn>
                <a:cxn ang="0">
                  <a:pos x="1618" y="745"/>
                </a:cxn>
                <a:cxn ang="0">
                  <a:pos x="1598" y="876"/>
                </a:cxn>
                <a:cxn ang="0">
                  <a:pos x="1550" y="891"/>
                </a:cxn>
                <a:cxn ang="0">
                  <a:pos x="1391" y="885"/>
                </a:cxn>
                <a:cxn ang="0">
                  <a:pos x="1312" y="916"/>
                </a:cxn>
                <a:cxn ang="0">
                  <a:pos x="1247" y="969"/>
                </a:cxn>
                <a:cxn ang="0">
                  <a:pos x="1220" y="1010"/>
                </a:cxn>
                <a:cxn ang="0">
                  <a:pos x="1166" y="1053"/>
                </a:cxn>
                <a:cxn ang="0">
                  <a:pos x="1141" y="1071"/>
                </a:cxn>
                <a:cxn ang="0">
                  <a:pos x="1110" y="1084"/>
                </a:cxn>
                <a:cxn ang="0">
                  <a:pos x="1091" y="1034"/>
                </a:cxn>
                <a:cxn ang="0">
                  <a:pos x="1115" y="938"/>
                </a:cxn>
                <a:cxn ang="0">
                  <a:pos x="963" y="890"/>
                </a:cxn>
                <a:cxn ang="0">
                  <a:pos x="917" y="840"/>
                </a:cxn>
                <a:cxn ang="0">
                  <a:pos x="917" y="723"/>
                </a:cxn>
                <a:cxn ang="0">
                  <a:pos x="872" y="669"/>
                </a:cxn>
                <a:cxn ang="0">
                  <a:pos x="828" y="650"/>
                </a:cxn>
                <a:cxn ang="0">
                  <a:pos x="709" y="612"/>
                </a:cxn>
                <a:cxn ang="0">
                  <a:pos x="684" y="542"/>
                </a:cxn>
                <a:cxn ang="0">
                  <a:pos x="675" y="511"/>
                </a:cxn>
                <a:cxn ang="0">
                  <a:pos x="637" y="544"/>
                </a:cxn>
                <a:cxn ang="0">
                  <a:pos x="614" y="591"/>
                </a:cxn>
                <a:cxn ang="0">
                  <a:pos x="586" y="664"/>
                </a:cxn>
                <a:cxn ang="0">
                  <a:pos x="571" y="710"/>
                </a:cxn>
                <a:cxn ang="0">
                  <a:pos x="536" y="734"/>
                </a:cxn>
                <a:cxn ang="0">
                  <a:pos x="446" y="832"/>
                </a:cxn>
                <a:cxn ang="0">
                  <a:pos x="328" y="813"/>
                </a:cxn>
              </a:cxnLst>
              <a:rect l="0" t="0" r="r" b="b"/>
              <a:pathLst>
                <a:path w="1797" h="1094">
                  <a:moveTo>
                    <a:pt x="263" y="846"/>
                  </a:moveTo>
                  <a:lnTo>
                    <a:pt x="263" y="825"/>
                  </a:lnTo>
                  <a:lnTo>
                    <a:pt x="263" y="805"/>
                  </a:lnTo>
                  <a:lnTo>
                    <a:pt x="263" y="786"/>
                  </a:lnTo>
                  <a:lnTo>
                    <a:pt x="263" y="766"/>
                  </a:lnTo>
                  <a:lnTo>
                    <a:pt x="250" y="754"/>
                  </a:lnTo>
                  <a:lnTo>
                    <a:pt x="250" y="741"/>
                  </a:lnTo>
                  <a:lnTo>
                    <a:pt x="236" y="727"/>
                  </a:lnTo>
                  <a:lnTo>
                    <a:pt x="223" y="715"/>
                  </a:lnTo>
                  <a:lnTo>
                    <a:pt x="223" y="707"/>
                  </a:lnTo>
                  <a:lnTo>
                    <a:pt x="221" y="702"/>
                  </a:lnTo>
                  <a:lnTo>
                    <a:pt x="217" y="697"/>
                  </a:lnTo>
                  <a:lnTo>
                    <a:pt x="213" y="693"/>
                  </a:lnTo>
                  <a:lnTo>
                    <a:pt x="210" y="688"/>
                  </a:lnTo>
                  <a:lnTo>
                    <a:pt x="206" y="684"/>
                  </a:lnTo>
                  <a:lnTo>
                    <a:pt x="204" y="679"/>
                  </a:lnTo>
                  <a:lnTo>
                    <a:pt x="204" y="675"/>
                  </a:lnTo>
                  <a:lnTo>
                    <a:pt x="198" y="674"/>
                  </a:lnTo>
                  <a:lnTo>
                    <a:pt x="194" y="671"/>
                  </a:lnTo>
                  <a:lnTo>
                    <a:pt x="188" y="667"/>
                  </a:lnTo>
                  <a:lnTo>
                    <a:pt x="184" y="662"/>
                  </a:lnTo>
                  <a:lnTo>
                    <a:pt x="184" y="649"/>
                  </a:lnTo>
                  <a:lnTo>
                    <a:pt x="179" y="644"/>
                  </a:lnTo>
                  <a:lnTo>
                    <a:pt x="175" y="638"/>
                  </a:lnTo>
                  <a:lnTo>
                    <a:pt x="173" y="635"/>
                  </a:lnTo>
                  <a:lnTo>
                    <a:pt x="172" y="631"/>
                  </a:lnTo>
                  <a:lnTo>
                    <a:pt x="172" y="627"/>
                  </a:lnTo>
                  <a:lnTo>
                    <a:pt x="171" y="622"/>
                  </a:lnTo>
                  <a:lnTo>
                    <a:pt x="164" y="622"/>
                  </a:lnTo>
                  <a:lnTo>
                    <a:pt x="159" y="621"/>
                  </a:lnTo>
                  <a:lnTo>
                    <a:pt x="158" y="617"/>
                  </a:lnTo>
                  <a:lnTo>
                    <a:pt x="158" y="610"/>
                  </a:lnTo>
                  <a:lnTo>
                    <a:pt x="145" y="603"/>
                  </a:lnTo>
                  <a:lnTo>
                    <a:pt x="141" y="583"/>
                  </a:lnTo>
                  <a:lnTo>
                    <a:pt x="134" y="552"/>
                  </a:lnTo>
                  <a:lnTo>
                    <a:pt x="129" y="536"/>
                  </a:lnTo>
                  <a:lnTo>
                    <a:pt x="125" y="524"/>
                  </a:lnTo>
                  <a:lnTo>
                    <a:pt x="121" y="515"/>
                  </a:lnTo>
                  <a:lnTo>
                    <a:pt x="118" y="511"/>
                  </a:lnTo>
                  <a:lnTo>
                    <a:pt x="118" y="506"/>
                  </a:lnTo>
                  <a:lnTo>
                    <a:pt x="116" y="502"/>
                  </a:lnTo>
                  <a:lnTo>
                    <a:pt x="115" y="496"/>
                  </a:lnTo>
                  <a:lnTo>
                    <a:pt x="111" y="492"/>
                  </a:lnTo>
                  <a:lnTo>
                    <a:pt x="109" y="486"/>
                  </a:lnTo>
                  <a:lnTo>
                    <a:pt x="107" y="482"/>
                  </a:lnTo>
                  <a:lnTo>
                    <a:pt x="106" y="477"/>
                  </a:lnTo>
                  <a:lnTo>
                    <a:pt x="106" y="472"/>
                  </a:lnTo>
                  <a:lnTo>
                    <a:pt x="102" y="471"/>
                  </a:lnTo>
                  <a:lnTo>
                    <a:pt x="98" y="466"/>
                  </a:lnTo>
                  <a:lnTo>
                    <a:pt x="92" y="460"/>
                  </a:lnTo>
                  <a:lnTo>
                    <a:pt x="87" y="454"/>
                  </a:lnTo>
                  <a:lnTo>
                    <a:pt x="81" y="446"/>
                  </a:lnTo>
                  <a:lnTo>
                    <a:pt x="77" y="439"/>
                  </a:lnTo>
                  <a:lnTo>
                    <a:pt x="73" y="431"/>
                  </a:lnTo>
                  <a:lnTo>
                    <a:pt x="72" y="426"/>
                  </a:lnTo>
                  <a:lnTo>
                    <a:pt x="59" y="419"/>
                  </a:lnTo>
                  <a:lnTo>
                    <a:pt x="53" y="407"/>
                  </a:lnTo>
                  <a:lnTo>
                    <a:pt x="47" y="394"/>
                  </a:lnTo>
                  <a:lnTo>
                    <a:pt x="33" y="387"/>
                  </a:lnTo>
                  <a:lnTo>
                    <a:pt x="26" y="370"/>
                  </a:lnTo>
                  <a:lnTo>
                    <a:pt x="20" y="354"/>
                  </a:lnTo>
                  <a:lnTo>
                    <a:pt x="15" y="351"/>
                  </a:lnTo>
                  <a:lnTo>
                    <a:pt x="12" y="347"/>
                  </a:lnTo>
                  <a:lnTo>
                    <a:pt x="9" y="342"/>
                  </a:lnTo>
                  <a:lnTo>
                    <a:pt x="6" y="337"/>
                  </a:lnTo>
                  <a:lnTo>
                    <a:pt x="2" y="324"/>
                  </a:lnTo>
                  <a:lnTo>
                    <a:pt x="1" y="310"/>
                  </a:lnTo>
                  <a:lnTo>
                    <a:pt x="0" y="280"/>
                  </a:lnTo>
                  <a:lnTo>
                    <a:pt x="1" y="255"/>
                  </a:lnTo>
                  <a:lnTo>
                    <a:pt x="4" y="255"/>
                  </a:lnTo>
                  <a:lnTo>
                    <a:pt x="6" y="255"/>
                  </a:lnTo>
                  <a:lnTo>
                    <a:pt x="6" y="254"/>
                  </a:lnTo>
                  <a:lnTo>
                    <a:pt x="8" y="253"/>
                  </a:lnTo>
                  <a:lnTo>
                    <a:pt x="8" y="251"/>
                  </a:lnTo>
                  <a:lnTo>
                    <a:pt x="8" y="250"/>
                  </a:lnTo>
                  <a:lnTo>
                    <a:pt x="10" y="250"/>
                  </a:lnTo>
                  <a:lnTo>
                    <a:pt x="13" y="250"/>
                  </a:lnTo>
                  <a:lnTo>
                    <a:pt x="13" y="236"/>
                  </a:lnTo>
                  <a:lnTo>
                    <a:pt x="26" y="236"/>
                  </a:lnTo>
                  <a:lnTo>
                    <a:pt x="33" y="229"/>
                  </a:lnTo>
                  <a:lnTo>
                    <a:pt x="33" y="226"/>
                  </a:lnTo>
                  <a:lnTo>
                    <a:pt x="34" y="224"/>
                  </a:lnTo>
                  <a:lnTo>
                    <a:pt x="35" y="223"/>
                  </a:lnTo>
                  <a:lnTo>
                    <a:pt x="37" y="223"/>
                  </a:lnTo>
                  <a:lnTo>
                    <a:pt x="38" y="223"/>
                  </a:lnTo>
                  <a:lnTo>
                    <a:pt x="39" y="222"/>
                  </a:lnTo>
                  <a:lnTo>
                    <a:pt x="40" y="221"/>
                  </a:lnTo>
                  <a:lnTo>
                    <a:pt x="40" y="216"/>
                  </a:lnTo>
                  <a:lnTo>
                    <a:pt x="53" y="209"/>
                  </a:lnTo>
                  <a:lnTo>
                    <a:pt x="76" y="209"/>
                  </a:lnTo>
                  <a:lnTo>
                    <a:pt x="98" y="208"/>
                  </a:lnTo>
                  <a:lnTo>
                    <a:pt x="121" y="206"/>
                  </a:lnTo>
                  <a:lnTo>
                    <a:pt x="146" y="203"/>
                  </a:lnTo>
                  <a:lnTo>
                    <a:pt x="169" y="200"/>
                  </a:lnTo>
                  <a:lnTo>
                    <a:pt x="194" y="198"/>
                  </a:lnTo>
                  <a:lnTo>
                    <a:pt x="219" y="197"/>
                  </a:lnTo>
                  <a:lnTo>
                    <a:pt x="243" y="197"/>
                  </a:lnTo>
                  <a:lnTo>
                    <a:pt x="246" y="195"/>
                  </a:lnTo>
                  <a:lnTo>
                    <a:pt x="251" y="193"/>
                  </a:lnTo>
                  <a:lnTo>
                    <a:pt x="256" y="191"/>
                  </a:lnTo>
                  <a:lnTo>
                    <a:pt x="263" y="190"/>
                  </a:lnTo>
                  <a:lnTo>
                    <a:pt x="277" y="187"/>
                  </a:lnTo>
                  <a:lnTo>
                    <a:pt x="289" y="184"/>
                  </a:lnTo>
                  <a:lnTo>
                    <a:pt x="321" y="184"/>
                  </a:lnTo>
                  <a:lnTo>
                    <a:pt x="325" y="179"/>
                  </a:lnTo>
                  <a:lnTo>
                    <a:pt x="329" y="176"/>
                  </a:lnTo>
                  <a:lnTo>
                    <a:pt x="333" y="174"/>
                  </a:lnTo>
                  <a:lnTo>
                    <a:pt x="339" y="173"/>
                  </a:lnTo>
                  <a:lnTo>
                    <a:pt x="350" y="170"/>
                  </a:lnTo>
                  <a:lnTo>
                    <a:pt x="361" y="170"/>
                  </a:lnTo>
                  <a:lnTo>
                    <a:pt x="370" y="167"/>
                  </a:lnTo>
                  <a:lnTo>
                    <a:pt x="380" y="164"/>
                  </a:lnTo>
                  <a:lnTo>
                    <a:pt x="387" y="150"/>
                  </a:lnTo>
                  <a:lnTo>
                    <a:pt x="397" y="150"/>
                  </a:lnTo>
                  <a:lnTo>
                    <a:pt x="407" y="150"/>
                  </a:lnTo>
                  <a:lnTo>
                    <a:pt x="407" y="148"/>
                  </a:lnTo>
                  <a:lnTo>
                    <a:pt x="408" y="147"/>
                  </a:lnTo>
                  <a:lnTo>
                    <a:pt x="409" y="145"/>
                  </a:lnTo>
                  <a:lnTo>
                    <a:pt x="413" y="144"/>
                  </a:lnTo>
                  <a:lnTo>
                    <a:pt x="418" y="141"/>
                  </a:lnTo>
                  <a:lnTo>
                    <a:pt x="426" y="140"/>
                  </a:lnTo>
                  <a:lnTo>
                    <a:pt x="446" y="139"/>
                  </a:lnTo>
                  <a:lnTo>
                    <a:pt x="470" y="141"/>
                  </a:lnTo>
                  <a:lnTo>
                    <a:pt x="493" y="146"/>
                  </a:lnTo>
                  <a:lnTo>
                    <a:pt x="514" y="150"/>
                  </a:lnTo>
                  <a:lnTo>
                    <a:pt x="530" y="154"/>
                  </a:lnTo>
                  <a:lnTo>
                    <a:pt x="538" y="157"/>
                  </a:lnTo>
                  <a:lnTo>
                    <a:pt x="556" y="158"/>
                  </a:lnTo>
                  <a:lnTo>
                    <a:pt x="577" y="160"/>
                  </a:lnTo>
                  <a:lnTo>
                    <a:pt x="600" y="161"/>
                  </a:lnTo>
                  <a:lnTo>
                    <a:pt x="626" y="164"/>
                  </a:lnTo>
                  <a:lnTo>
                    <a:pt x="638" y="164"/>
                  </a:lnTo>
                  <a:lnTo>
                    <a:pt x="651" y="162"/>
                  </a:lnTo>
                  <a:lnTo>
                    <a:pt x="662" y="161"/>
                  </a:lnTo>
                  <a:lnTo>
                    <a:pt x="674" y="160"/>
                  </a:lnTo>
                  <a:lnTo>
                    <a:pt x="684" y="158"/>
                  </a:lnTo>
                  <a:lnTo>
                    <a:pt x="693" y="155"/>
                  </a:lnTo>
                  <a:lnTo>
                    <a:pt x="702" y="150"/>
                  </a:lnTo>
                  <a:lnTo>
                    <a:pt x="709" y="145"/>
                  </a:lnTo>
                  <a:lnTo>
                    <a:pt x="741" y="145"/>
                  </a:lnTo>
                  <a:lnTo>
                    <a:pt x="754" y="131"/>
                  </a:lnTo>
                  <a:lnTo>
                    <a:pt x="793" y="131"/>
                  </a:lnTo>
                  <a:lnTo>
                    <a:pt x="831" y="131"/>
                  </a:lnTo>
                  <a:lnTo>
                    <a:pt x="869" y="132"/>
                  </a:lnTo>
                  <a:lnTo>
                    <a:pt x="906" y="131"/>
                  </a:lnTo>
                  <a:lnTo>
                    <a:pt x="943" y="129"/>
                  </a:lnTo>
                  <a:lnTo>
                    <a:pt x="979" y="126"/>
                  </a:lnTo>
                  <a:lnTo>
                    <a:pt x="997" y="123"/>
                  </a:lnTo>
                  <a:lnTo>
                    <a:pt x="1014" y="120"/>
                  </a:lnTo>
                  <a:lnTo>
                    <a:pt x="1032" y="116"/>
                  </a:lnTo>
                  <a:lnTo>
                    <a:pt x="1049" y="111"/>
                  </a:lnTo>
                  <a:lnTo>
                    <a:pt x="1085" y="102"/>
                  </a:lnTo>
                  <a:lnTo>
                    <a:pt x="1123" y="94"/>
                  </a:lnTo>
                  <a:lnTo>
                    <a:pt x="1162" y="88"/>
                  </a:lnTo>
                  <a:lnTo>
                    <a:pt x="1202" y="82"/>
                  </a:lnTo>
                  <a:lnTo>
                    <a:pt x="1242" y="78"/>
                  </a:lnTo>
                  <a:lnTo>
                    <a:pt x="1283" y="74"/>
                  </a:lnTo>
                  <a:lnTo>
                    <a:pt x="1324" y="73"/>
                  </a:lnTo>
                  <a:lnTo>
                    <a:pt x="1364" y="72"/>
                  </a:lnTo>
                  <a:lnTo>
                    <a:pt x="1365" y="70"/>
                  </a:lnTo>
                  <a:lnTo>
                    <a:pt x="1368" y="68"/>
                  </a:lnTo>
                  <a:lnTo>
                    <a:pt x="1374" y="65"/>
                  </a:lnTo>
                  <a:lnTo>
                    <a:pt x="1381" y="63"/>
                  </a:lnTo>
                  <a:lnTo>
                    <a:pt x="1397" y="60"/>
                  </a:lnTo>
                  <a:lnTo>
                    <a:pt x="1419" y="58"/>
                  </a:lnTo>
                  <a:lnTo>
                    <a:pt x="1458" y="54"/>
                  </a:lnTo>
                  <a:lnTo>
                    <a:pt x="1482" y="52"/>
                  </a:lnTo>
                  <a:lnTo>
                    <a:pt x="1488" y="50"/>
                  </a:lnTo>
                  <a:lnTo>
                    <a:pt x="1499" y="46"/>
                  </a:lnTo>
                  <a:lnTo>
                    <a:pt x="1513" y="43"/>
                  </a:lnTo>
                  <a:lnTo>
                    <a:pt x="1530" y="39"/>
                  </a:lnTo>
                  <a:lnTo>
                    <a:pt x="1548" y="34"/>
                  </a:lnTo>
                  <a:lnTo>
                    <a:pt x="1566" y="30"/>
                  </a:lnTo>
                  <a:lnTo>
                    <a:pt x="1582" y="24"/>
                  </a:lnTo>
                  <a:lnTo>
                    <a:pt x="1594" y="20"/>
                  </a:lnTo>
                  <a:lnTo>
                    <a:pt x="1613" y="20"/>
                  </a:lnTo>
                  <a:lnTo>
                    <a:pt x="1614" y="17"/>
                  </a:lnTo>
                  <a:lnTo>
                    <a:pt x="1615" y="15"/>
                  </a:lnTo>
                  <a:lnTo>
                    <a:pt x="1617" y="13"/>
                  </a:lnTo>
                  <a:lnTo>
                    <a:pt x="1619" y="11"/>
                  </a:lnTo>
                  <a:lnTo>
                    <a:pt x="1624" y="7"/>
                  </a:lnTo>
                  <a:lnTo>
                    <a:pt x="1626" y="6"/>
                  </a:lnTo>
                  <a:lnTo>
                    <a:pt x="1662" y="5"/>
                  </a:lnTo>
                  <a:lnTo>
                    <a:pt x="1699" y="3"/>
                  </a:lnTo>
                  <a:lnTo>
                    <a:pt x="1738" y="1"/>
                  </a:lnTo>
                  <a:lnTo>
                    <a:pt x="1777" y="0"/>
                  </a:lnTo>
                  <a:lnTo>
                    <a:pt x="1784" y="13"/>
                  </a:lnTo>
                  <a:lnTo>
                    <a:pt x="1787" y="13"/>
                  </a:lnTo>
                  <a:lnTo>
                    <a:pt x="1789" y="14"/>
                  </a:lnTo>
                  <a:lnTo>
                    <a:pt x="1790" y="15"/>
                  </a:lnTo>
                  <a:lnTo>
                    <a:pt x="1790" y="16"/>
                  </a:lnTo>
                  <a:lnTo>
                    <a:pt x="1790" y="17"/>
                  </a:lnTo>
                  <a:lnTo>
                    <a:pt x="1791" y="19"/>
                  </a:lnTo>
                  <a:lnTo>
                    <a:pt x="1793" y="20"/>
                  </a:lnTo>
                  <a:lnTo>
                    <a:pt x="1797" y="20"/>
                  </a:lnTo>
                  <a:lnTo>
                    <a:pt x="1796" y="35"/>
                  </a:lnTo>
                  <a:lnTo>
                    <a:pt x="1795" y="58"/>
                  </a:lnTo>
                  <a:lnTo>
                    <a:pt x="1794" y="68"/>
                  </a:lnTo>
                  <a:lnTo>
                    <a:pt x="1791" y="77"/>
                  </a:lnTo>
                  <a:lnTo>
                    <a:pt x="1789" y="80"/>
                  </a:lnTo>
                  <a:lnTo>
                    <a:pt x="1788" y="83"/>
                  </a:lnTo>
                  <a:lnTo>
                    <a:pt x="1786" y="84"/>
                  </a:lnTo>
                  <a:lnTo>
                    <a:pt x="1784" y="85"/>
                  </a:lnTo>
                  <a:lnTo>
                    <a:pt x="1780" y="101"/>
                  </a:lnTo>
                  <a:lnTo>
                    <a:pt x="1777" y="118"/>
                  </a:lnTo>
                  <a:lnTo>
                    <a:pt x="1775" y="119"/>
                  </a:lnTo>
                  <a:lnTo>
                    <a:pt x="1774" y="120"/>
                  </a:lnTo>
                  <a:lnTo>
                    <a:pt x="1772" y="122"/>
                  </a:lnTo>
                  <a:lnTo>
                    <a:pt x="1771" y="126"/>
                  </a:lnTo>
                  <a:lnTo>
                    <a:pt x="1770" y="132"/>
                  </a:lnTo>
                  <a:lnTo>
                    <a:pt x="1770" y="138"/>
                  </a:lnTo>
                  <a:lnTo>
                    <a:pt x="1767" y="138"/>
                  </a:lnTo>
                  <a:lnTo>
                    <a:pt x="1765" y="139"/>
                  </a:lnTo>
                  <a:lnTo>
                    <a:pt x="1763" y="140"/>
                  </a:lnTo>
                  <a:lnTo>
                    <a:pt x="1763" y="141"/>
                  </a:lnTo>
                  <a:lnTo>
                    <a:pt x="1763" y="142"/>
                  </a:lnTo>
                  <a:lnTo>
                    <a:pt x="1763" y="144"/>
                  </a:lnTo>
                  <a:lnTo>
                    <a:pt x="1761" y="144"/>
                  </a:lnTo>
                  <a:lnTo>
                    <a:pt x="1757" y="145"/>
                  </a:lnTo>
                  <a:lnTo>
                    <a:pt x="1757" y="269"/>
                  </a:lnTo>
                  <a:lnTo>
                    <a:pt x="1751" y="275"/>
                  </a:lnTo>
                  <a:lnTo>
                    <a:pt x="1746" y="277"/>
                  </a:lnTo>
                  <a:lnTo>
                    <a:pt x="1734" y="284"/>
                  </a:lnTo>
                  <a:lnTo>
                    <a:pt x="1721" y="294"/>
                  </a:lnTo>
                  <a:lnTo>
                    <a:pt x="1705" y="305"/>
                  </a:lnTo>
                  <a:lnTo>
                    <a:pt x="1691" y="318"/>
                  </a:lnTo>
                  <a:lnTo>
                    <a:pt x="1678" y="328"/>
                  </a:lnTo>
                  <a:lnTo>
                    <a:pt x="1669" y="337"/>
                  </a:lnTo>
                  <a:lnTo>
                    <a:pt x="1665" y="341"/>
                  </a:lnTo>
                  <a:lnTo>
                    <a:pt x="1661" y="341"/>
                  </a:lnTo>
                  <a:lnTo>
                    <a:pt x="1656" y="342"/>
                  </a:lnTo>
                  <a:lnTo>
                    <a:pt x="1653" y="343"/>
                  </a:lnTo>
                  <a:lnTo>
                    <a:pt x="1651" y="344"/>
                  </a:lnTo>
                  <a:lnTo>
                    <a:pt x="1648" y="347"/>
                  </a:lnTo>
                  <a:lnTo>
                    <a:pt x="1647" y="349"/>
                  </a:lnTo>
                  <a:lnTo>
                    <a:pt x="1646" y="351"/>
                  </a:lnTo>
                  <a:lnTo>
                    <a:pt x="1646" y="354"/>
                  </a:lnTo>
                  <a:lnTo>
                    <a:pt x="1636" y="357"/>
                  </a:lnTo>
                  <a:lnTo>
                    <a:pt x="1626" y="360"/>
                  </a:lnTo>
                  <a:lnTo>
                    <a:pt x="1619" y="373"/>
                  </a:lnTo>
                  <a:lnTo>
                    <a:pt x="1617" y="375"/>
                  </a:lnTo>
                  <a:lnTo>
                    <a:pt x="1614" y="376"/>
                  </a:lnTo>
                  <a:lnTo>
                    <a:pt x="1611" y="378"/>
                  </a:lnTo>
                  <a:lnTo>
                    <a:pt x="1607" y="381"/>
                  </a:lnTo>
                  <a:lnTo>
                    <a:pt x="1605" y="385"/>
                  </a:lnTo>
                  <a:lnTo>
                    <a:pt x="1602" y="388"/>
                  </a:lnTo>
                  <a:lnTo>
                    <a:pt x="1600" y="390"/>
                  </a:lnTo>
                  <a:lnTo>
                    <a:pt x="1599" y="394"/>
                  </a:lnTo>
                  <a:lnTo>
                    <a:pt x="1587" y="400"/>
                  </a:lnTo>
                  <a:lnTo>
                    <a:pt x="1586" y="412"/>
                  </a:lnTo>
                  <a:lnTo>
                    <a:pt x="1584" y="430"/>
                  </a:lnTo>
                  <a:lnTo>
                    <a:pt x="1582" y="448"/>
                  </a:lnTo>
                  <a:lnTo>
                    <a:pt x="1580" y="465"/>
                  </a:lnTo>
                  <a:lnTo>
                    <a:pt x="1580" y="469"/>
                  </a:lnTo>
                  <a:lnTo>
                    <a:pt x="1583" y="474"/>
                  </a:lnTo>
                  <a:lnTo>
                    <a:pt x="1585" y="478"/>
                  </a:lnTo>
                  <a:lnTo>
                    <a:pt x="1587" y="484"/>
                  </a:lnTo>
                  <a:lnTo>
                    <a:pt x="1595" y="496"/>
                  </a:lnTo>
                  <a:lnTo>
                    <a:pt x="1603" y="508"/>
                  </a:lnTo>
                  <a:lnTo>
                    <a:pt x="1612" y="520"/>
                  </a:lnTo>
                  <a:lnTo>
                    <a:pt x="1619" y="532"/>
                  </a:lnTo>
                  <a:lnTo>
                    <a:pt x="1622" y="537"/>
                  </a:lnTo>
                  <a:lnTo>
                    <a:pt x="1624" y="542"/>
                  </a:lnTo>
                  <a:lnTo>
                    <a:pt x="1626" y="546"/>
                  </a:lnTo>
                  <a:lnTo>
                    <a:pt x="1626" y="551"/>
                  </a:lnTo>
                  <a:lnTo>
                    <a:pt x="1636" y="561"/>
                  </a:lnTo>
                  <a:lnTo>
                    <a:pt x="1646" y="570"/>
                  </a:lnTo>
                  <a:lnTo>
                    <a:pt x="1646" y="583"/>
                  </a:lnTo>
                  <a:lnTo>
                    <a:pt x="1647" y="596"/>
                  </a:lnTo>
                  <a:lnTo>
                    <a:pt x="1650" y="609"/>
                  </a:lnTo>
                  <a:lnTo>
                    <a:pt x="1652" y="622"/>
                  </a:lnTo>
                  <a:lnTo>
                    <a:pt x="1655" y="636"/>
                  </a:lnTo>
                  <a:lnTo>
                    <a:pt x="1656" y="649"/>
                  </a:lnTo>
                  <a:lnTo>
                    <a:pt x="1659" y="662"/>
                  </a:lnTo>
                  <a:lnTo>
                    <a:pt x="1659" y="675"/>
                  </a:lnTo>
                  <a:lnTo>
                    <a:pt x="1654" y="676"/>
                  </a:lnTo>
                  <a:lnTo>
                    <a:pt x="1651" y="677"/>
                  </a:lnTo>
                  <a:lnTo>
                    <a:pt x="1648" y="679"/>
                  </a:lnTo>
                  <a:lnTo>
                    <a:pt x="1646" y="681"/>
                  </a:lnTo>
                  <a:lnTo>
                    <a:pt x="1645" y="684"/>
                  </a:lnTo>
                  <a:lnTo>
                    <a:pt x="1643" y="686"/>
                  </a:lnTo>
                  <a:lnTo>
                    <a:pt x="1642" y="688"/>
                  </a:lnTo>
                  <a:lnTo>
                    <a:pt x="1640" y="688"/>
                  </a:lnTo>
                  <a:lnTo>
                    <a:pt x="1640" y="702"/>
                  </a:lnTo>
                  <a:lnTo>
                    <a:pt x="1635" y="702"/>
                  </a:lnTo>
                  <a:lnTo>
                    <a:pt x="1632" y="704"/>
                  </a:lnTo>
                  <a:lnTo>
                    <a:pt x="1630" y="706"/>
                  </a:lnTo>
                  <a:lnTo>
                    <a:pt x="1627" y="708"/>
                  </a:lnTo>
                  <a:lnTo>
                    <a:pt x="1625" y="710"/>
                  </a:lnTo>
                  <a:lnTo>
                    <a:pt x="1624" y="713"/>
                  </a:lnTo>
                  <a:lnTo>
                    <a:pt x="1622" y="714"/>
                  </a:lnTo>
                  <a:lnTo>
                    <a:pt x="1619" y="715"/>
                  </a:lnTo>
                  <a:lnTo>
                    <a:pt x="1619" y="727"/>
                  </a:lnTo>
                  <a:lnTo>
                    <a:pt x="1618" y="728"/>
                  </a:lnTo>
                  <a:lnTo>
                    <a:pt x="1618" y="733"/>
                  </a:lnTo>
                  <a:lnTo>
                    <a:pt x="1617" y="738"/>
                  </a:lnTo>
                  <a:lnTo>
                    <a:pt x="1618" y="745"/>
                  </a:lnTo>
                  <a:lnTo>
                    <a:pt x="1618" y="764"/>
                  </a:lnTo>
                  <a:lnTo>
                    <a:pt x="1621" y="785"/>
                  </a:lnTo>
                  <a:lnTo>
                    <a:pt x="1624" y="830"/>
                  </a:lnTo>
                  <a:lnTo>
                    <a:pt x="1626" y="859"/>
                  </a:lnTo>
                  <a:lnTo>
                    <a:pt x="1619" y="866"/>
                  </a:lnTo>
                  <a:lnTo>
                    <a:pt x="1613" y="871"/>
                  </a:lnTo>
                  <a:lnTo>
                    <a:pt x="1599" y="871"/>
                  </a:lnTo>
                  <a:lnTo>
                    <a:pt x="1599" y="873"/>
                  </a:lnTo>
                  <a:lnTo>
                    <a:pt x="1598" y="876"/>
                  </a:lnTo>
                  <a:lnTo>
                    <a:pt x="1597" y="877"/>
                  </a:lnTo>
                  <a:lnTo>
                    <a:pt x="1596" y="878"/>
                  </a:lnTo>
                  <a:lnTo>
                    <a:pt x="1592" y="878"/>
                  </a:lnTo>
                  <a:lnTo>
                    <a:pt x="1587" y="878"/>
                  </a:lnTo>
                  <a:lnTo>
                    <a:pt x="1586" y="881"/>
                  </a:lnTo>
                  <a:lnTo>
                    <a:pt x="1582" y="885"/>
                  </a:lnTo>
                  <a:lnTo>
                    <a:pt x="1576" y="887"/>
                  </a:lnTo>
                  <a:lnTo>
                    <a:pt x="1569" y="889"/>
                  </a:lnTo>
                  <a:lnTo>
                    <a:pt x="1550" y="891"/>
                  </a:lnTo>
                  <a:lnTo>
                    <a:pt x="1529" y="892"/>
                  </a:lnTo>
                  <a:lnTo>
                    <a:pt x="1484" y="892"/>
                  </a:lnTo>
                  <a:lnTo>
                    <a:pt x="1455" y="891"/>
                  </a:lnTo>
                  <a:lnTo>
                    <a:pt x="1453" y="889"/>
                  </a:lnTo>
                  <a:lnTo>
                    <a:pt x="1446" y="888"/>
                  </a:lnTo>
                  <a:lnTo>
                    <a:pt x="1436" y="887"/>
                  </a:lnTo>
                  <a:lnTo>
                    <a:pt x="1425" y="886"/>
                  </a:lnTo>
                  <a:lnTo>
                    <a:pt x="1403" y="885"/>
                  </a:lnTo>
                  <a:lnTo>
                    <a:pt x="1391" y="885"/>
                  </a:lnTo>
                  <a:lnTo>
                    <a:pt x="1390" y="887"/>
                  </a:lnTo>
                  <a:lnTo>
                    <a:pt x="1386" y="889"/>
                  </a:lnTo>
                  <a:lnTo>
                    <a:pt x="1382" y="890"/>
                  </a:lnTo>
                  <a:lnTo>
                    <a:pt x="1376" y="890"/>
                  </a:lnTo>
                  <a:lnTo>
                    <a:pt x="1365" y="891"/>
                  </a:lnTo>
                  <a:lnTo>
                    <a:pt x="1357" y="891"/>
                  </a:lnTo>
                  <a:lnTo>
                    <a:pt x="1345" y="899"/>
                  </a:lnTo>
                  <a:lnTo>
                    <a:pt x="1324" y="910"/>
                  </a:lnTo>
                  <a:lnTo>
                    <a:pt x="1312" y="916"/>
                  </a:lnTo>
                  <a:lnTo>
                    <a:pt x="1301" y="920"/>
                  </a:lnTo>
                  <a:lnTo>
                    <a:pt x="1292" y="923"/>
                  </a:lnTo>
                  <a:lnTo>
                    <a:pt x="1286" y="924"/>
                  </a:lnTo>
                  <a:lnTo>
                    <a:pt x="1279" y="937"/>
                  </a:lnTo>
                  <a:lnTo>
                    <a:pt x="1266" y="937"/>
                  </a:lnTo>
                  <a:lnTo>
                    <a:pt x="1259" y="944"/>
                  </a:lnTo>
                  <a:lnTo>
                    <a:pt x="1252" y="950"/>
                  </a:lnTo>
                  <a:lnTo>
                    <a:pt x="1252" y="964"/>
                  </a:lnTo>
                  <a:lnTo>
                    <a:pt x="1247" y="969"/>
                  </a:lnTo>
                  <a:lnTo>
                    <a:pt x="1240" y="976"/>
                  </a:lnTo>
                  <a:lnTo>
                    <a:pt x="1235" y="984"/>
                  </a:lnTo>
                  <a:lnTo>
                    <a:pt x="1233" y="989"/>
                  </a:lnTo>
                  <a:lnTo>
                    <a:pt x="1230" y="991"/>
                  </a:lnTo>
                  <a:lnTo>
                    <a:pt x="1228" y="992"/>
                  </a:lnTo>
                  <a:lnTo>
                    <a:pt x="1225" y="994"/>
                  </a:lnTo>
                  <a:lnTo>
                    <a:pt x="1224" y="997"/>
                  </a:lnTo>
                  <a:lnTo>
                    <a:pt x="1221" y="1004"/>
                  </a:lnTo>
                  <a:lnTo>
                    <a:pt x="1220" y="1010"/>
                  </a:lnTo>
                  <a:lnTo>
                    <a:pt x="1206" y="1016"/>
                  </a:lnTo>
                  <a:lnTo>
                    <a:pt x="1203" y="1025"/>
                  </a:lnTo>
                  <a:lnTo>
                    <a:pt x="1200" y="1035"/>
                  </a:lnTo>
                  <a:lnTo>
                    <a:pt x="1195" y="1036"/>
                  </a:lnTo>
                  <a:lnTo>
                    <a:pt x="1190" y="1040"/>
                  </a:lnTo>
                  <a:lnTo>
                    <a:pt x="1185" y="1044"/>
                  </a:lnTo>
                  <a:lnTo>
                    <a:pt x="1181" y="1049"/>
                  </a:lnTo>
                  <a:lnTo>
                    <a:pt x="1167" y="1049"/>
                  </a:lnTo>
                  <a:lnTo>
                    <a:pt x="1166" y="1053"/>
                  </a:lnTo>
                  <a:lnTo>
                    <a:pt x="1165" y="1056"/>
                  </a:lnTo>
                  <a:lnTo>
                    <a:pt x="1163" y="1059"/>
                  </a:lnTo>
                  <a:lnTo>
                    <a:pt x="1161" y="1061"/>
                  </a:lnTo>
                  <a:lnTo>
                    <a:pt x="1158" y="1063"/>
                  </a:lnTo>
                  <a:lnTo>
                    <a:pt x="1156" y="1064"/>
                  </a:lnTo>
                  <a:lnTo>
                    <a:pt x="1155" y="1066"/>
                  </a:lnTo>
                  <a:lnTo>
                    <a:pt x="1154" y="1069"/>
                  </a:lnTo>
                  <a:lnTo>
                    <a:pt x="1141" y="1069"/>
                  </a:lnTo>
                  <a:lnTo>
                    <a:pt x="1141" y="1071"/>
                  </a:lnTo>
                  <a:lnTo>
                    <a:pt x="1138" y="1072"/>
                  </a:lnTo>
                  <a:lnTo>
                    <a:pt x="1136" y="1073"/>
                  </a:lnTo>
                  <a:lnTo>
                    <a:pt x="1134" y="1074"/>
                  </a:lnTo>
                  <a:lnTo>
                    <a:pt x="1127" y="1074"/>
                  </a:lnTo>
                  <a:lnTo>
                    <a:pt x="1122" y="1075"/>
                  </a:lnTo>
                  <a:lnTo>
                    <a:pt x="1120" y="1078"/>
                  </a:lnTo>
                  <a:lnTo>
                    <a:pt x="1118" y="1080"/>
                  </a:lnTo>
                  <a:lnTo>
                    <a:pt x="1115" y="1082"/>
                  </a:lnTo>
                  <a:lnTo>
                    <a:pt x="1110" y="1084"/>
                  </a:lnTo>
                  <a:lnTo>
                    <a:pt x="1102" y="1087"/>
                  </a:lnTo>
                  <a:lnTo>
                    <a:pt x="1095" y="1088"/>
                  </a:lnTo>
                  <a:lnTo>
                    <a:pt x="1091" y="1091"/>
                  </a:lnTo>
                  <a:lnTo>
                    <a:pt x="1087" y="1094"/>
                  </a:lnTo>
                  <a:lnTo>
                    <a:pt x="1087" y="1075"/>
                  </a:lnTo>
                  <a:lnTo>
                    <a:pt x="1088" y="1059"/>
                  </a:lnTo>
                  <a:lnTo>
                    <a:pt x="1088" y="1045"/>
                  </a:lnTo>
                  <a:lnTo>
                    <a:pt x="1088" y="1035"/>
                  </a:lnTo>
                  <a:lnTo>
                    <a:pt x="1091" y="1034"/>
                  </a:lnTo>
                  <a:lnTo>
                    <a:pt x="1094" y="1029"/>
                  </a:lnTo>
                  <a:lnTo>
                    <a:pt x="1096" y="1021"/>
                  </a:lnTo>
                  <a:lnTo>
                    <a:pt x="1098" y="1012"/>
                  </a:lnTo>
                  <a:lnTo>
                    <a:pt x="1100" y="994"/>
                  </a:lnTo>
                  <a:lnTo>
                    <a:pt x="1102" y="983"/>
                  </a:lnTo>
                  <a:lnTo>
                    <a:pt x="1115" y="971"/>
                  </a:lnTo>
                  <a:lnTo>
                    <a:pt x="1115" y="962"/>
                  </a:lnTo>
                  <a:lnTo>
                    <a:pt x="1115" y="950"/>
                  </a:lnTo>
                  <a:lnTo>
                    <a:pt x="1115" y="938"/>
                  </a:lnTo>
                  <a:lnTo>
                    <a:pt x="1115" y="930"/>
                  </a:lnTo>
                  <a:lnTo>
                    <a:pt x="1108" y="924"/>
                  </a:lnTo>
                  <a:lnTo>
                    <a:pt x="1102" y="918"/>
                  </a:lnTo>
                  <a:lnTo>
                    <a:pt x="1077" y="915"/>
                  </a:lnTo>
                  <a:lnTo>
                    <a:pt x="1027" y="906"/>
                  </a:lnTo>
                  <a:lnTo>
                    <a:pt x="1001" y="901"/>
                  </a:lnTo>
                  <a:lnTo>
                    <a:pt x="979" y="896"/>
                  </a:lnTo>
                  <a:lnTo>
                    <a:pt x="970" y="892"/>
                  </a:lnTo>
                  <a:lnTo>
                    <a:pt x="963" y="890"/>
                  </a:lnTo>
                  <a:lnTo>
                    <a:pt x="959" y="887"/>
                  </a:lnTo>
                  <a:lnTo>
                    <a:pt x="958" y="885"/>
                  </a:lnTo>
                  <a:lnTo>
                    <a:pt x="949" y="880"/>
                  </a:lnTo>
                  <a:lnTo>
                    <a:pt x="941" y="875"/>
                  </a:lnTo>
                  <a:lnTo>
                    <a:pt x="934" y="868"/>
                  </a:lnTo>
                  <a:lnTo>
                    <a:pt x="928" y="861"/>
                  </a:lnTo>
                  <a:lnTo>
                    <a:pt x="924" y="854"/>
                  </a:lnTo>
                  <a:lnTo>
                    <a:pt x="920" y="848"/>
                  </a:lnTo>
                  <a:lnTo>
                    <a:pt x="917" y="840"/>
                  </a:lnTo>
                  <a:lnTo>
                    <a:pt x="915" y="831"/>
                  </a:lnTo>
                  <a:lnTo>
                    <a:pt x="912" y="814"/>
                  </a:lnTo>
                  <a:lnTo>
                    <a:pt x="912" y="795"/>
                  </a:lnTo>
                  <a:lnTo>
                    <a:pt x="912" y="775"/>
                  </a:lnTo>
                  <a:lnTo>
                    <a:pt x="912" y="754"/>
                  </a:lnTo>
                  <a:lnTo>
                    <a:pt x="914" y="751"/>
                  </a:lnTo>
                  <a:lnTo>
                    <a:pt x="915" y="744"/>
                  </a:lnTo>
                  <a:lnTo>
                    <a:pt x="916" y="734"/>
                  </a:lnTo>
                  <a:lnTo>
                    <a:pt x="917" y="723"/>
                  </a:lnTo>
                  <a:lnTo>
                    <a:pt x="918" y="698"/>
                  </a:lnTo>
                  <a:lnTo>
                    <a:pt x="918" y="681"/>
                  </a:lnTo>
                  <a:lnTo>
                    <a:pt x="912" y="675"/>
                  </a:lnTo>
                  <a:lnTo>
                    <a:pt x="904" y="675"/>
                  </a:lnTo>
                  <a:lnTo>
                    <a:pt x="892" y="675"/>
                  </a:lnTo>
                  <a:lnTo>
                    <a:pt x="880" y="675"/>
                  </a:lnTo>
                  <a:lnTo>
                    <a:pt x="873" y="675"/>
                  </a:lnTo>
                  <a:lnTo>
                    <a:pt x="872" y="671"/>
                  </a:lnTo>
                  <a:lnTo>
                    <a:pt x="872" y="669"/>
                  </a:lnTo>
                  <a:lnTo>
                    <a:pt x="870" y="669"/>
                  </a:lnTo>
                  <a:lnTo>
                    <a:pt x="869" y="668"/>
                  </a:lnTo>
                  <a:lnTo>
                    <a:pt x="868" y="668"/>
                  </a:lnTo>
                  <a:lnTo>
                    <a:pt x="867" y="668"/>
                  </a:lnTo>
                  <a:lnTo>
                    <a:pt x="866" y="666"/>
                  </a:lnTo>
                  <a:lnTo>
                    <a:pt x="866" y="662"/>
                  </a:lnTo>
                  <a:lnTo>
                    <a:pt x="849" y="659"/>
                  </a:lnTo>
                  <a:lnTo>
                    <a:pt x="832" y="656"/>
                  </a:lnTo>
                  <a:lnTo>
                    <a:pt x="828" y="650"/>
                  </a:lnTo>
                  <a:lnTo>
                    <a:pt x="824" y="646"/>
                  </a:lnTo>
                  <a:lnTo>
                    <a:pt x="821" y="640"/>
                  </a:lnTo>
                  <a:lnTo>
                    <a:pt x="820" y="636"/>
                  </a:lnTo>
                  <a:lnTo>
                    <a:pt x="798" y="635"/>
                  </a:lnTo>
                  <a:lnTo>
                    <a:pt x="773" y="632"/>
                  </a:lnTo>
                  <a:lnTo>
                    <a:pt x="747" y="630"/>
                  </a:lnTo>
                  <a:lnTo>
                    <a:pt x="722" y="629"/>
                  </a:lnTo>
                  <a:lnTo>
                    <a:pt x="714" y="621"/>
                  </a:lnTo>
                  <a:lnTo>
                    <a:pt x="709" y="612"/>
                  </a:lnTo>
                  <a:lnTo>
                    <a:pt x="703" y="602"/>
                  </a:lnTo>
                  <a:lnTo>
                    <a:pt x="697" y="591"/>
                  </a:lnTo>
                  <a:lnTo>
                    <a:pt x="694" y="580"/>
                  </a:lnTo>
                  <a:lnTo>
                    <a:pt x="691" y="569"/>
                  </a:lnTo>
                  <a:lnTo>
                    <a:pt x="690" y="556"/>
                  </a:lnTo>
                  <a:lnTo>
                    <a:pt x="688" y="544"/>
                  </a:lnTo>
                  <a:lnTo>
                    <a:pt x="686" y="544"/>
                  </a:lnTo>
                  <a:lnTo>
                    <a:pt x="685" y="543"/>
                  </a:lnTo>
                  <a:lnTo>
                    <a:pt x="684" y="542"/>
                  </a:lnTo>
                  <a:lnTo>
                    <a:pt x="683" y="540"/>
                  </a:lnTo>
                  <a:lnTo>
                    <a:pt x="682" y="535"/>
                  </a:lnTo>
                  <a:lnTo>
                    <a:pt x="682" y="531"/>
                  </a:lnTo>
                  <a:lnTo>
                    <a:pt x="680" y="531"/>
                  </a:lnTo>
                  <a:lnTo>
                    <a:pt x="678" y="529"/>
                  </a:lnTo>
                  <a:lnTo>
                    <a:pt x="677" y="526"/>
                  </a:lnTo>
                  <a:lnTo>
                    <a:pt x="676" y="523"/>
                  </a:lnTo>
                  <a:lnTo>
                    <a:pt x="676" y="517"/>
                  </a:lnTo>
                  <a:lnTo>
                    <a:pt x="675" y="511"/>
                  </a:lnTo>
                  <a:lnTo>
                    <a:pt x="669" y="505"/>
                  </a:lnTo>
                  <a:lnTo>
                    <a:pt x="656" y="505"/>
                  </a:lnTo>
                  <a:lnTo>
                    <a:pt x="653" y="514"/>
                  </a:lnTo>
                  <a:lnTo>
                    <a:pt x="649" y="524"/>
                  </a:lnTo>
                  <a:lnTo>
                    <a:pt x="647" y="525"/>
                  </a:lnTo>
                  <a:lnTo>
                    <a:pt x="645" y="527"/>
                  </a:lnTo>
                  <a:lnTo>
                    <a:pt x="643" y="531"/>
                  </a:lnTo>
                  <a:lnTo>
                    <a:pt x="640" y="535"/>
                  </a:lnTo>
                  <a:lnTo>
                    <a:pt x="637" y="544"/>
                  </a:lnTo>
                  <a:lnTo>
                    <a:pt x="636" y="551"/>
                  </a:lnTo>
                  <a:lnTo>
                    <a:pt x="632" y="555"/>
                  </a:lnTo>
                  <a:lnTo>
                    <a:pt x="627" y="561"/>
                  </a:lnTo>
                  <a:lnTo>
                    <a:pt x="626" y="564"/>
                  </a:lnTo>
                  <a:lnTo>
                    <a:pt x="625" y="568"/>
                  </a:lnTo>
                  <a:lnTo>
                    <a:pt x="624" y="572"/>
                  </a:lnTo>
                  <a:lnTo>
                    <a:pt x="624" y="577"/>
                  </a:lnTo>
                  <a:lnTo>
                    <a:pt x="617" y="590"/>
                  </a:lnTo>
                  <a:lnTo>
                    <a:pt x="614" y="591"/>
                  </a:lnTo>
                  <a:lnTo>
                    <a:pt x="611" y="592"/>
                  </a:lnTo>
                  <a:lnTo>
                    <a:pt x="609" y="596"/>
                  </a:lnTo>
                  <a:lnTo>
                    <a:pt x="607" y="599"/>
                  </a:lnTo>
                  <a:lnTo>
                    <a:pt x="603" y="609"/>
                  </a:lnTo>
                  <a:lnTo>
                    <a:pt x="598" y="621"/>
                  </a:lnTo>
                  <a:lnTo>
                    <a:pt x="592" y="646"/>
                  </a:lnTo>
                  <a:lnTo>
                    <a:pt x="590" y="662"/>
                  </a:lnTo>
                  <a:lnTo>
                    <a:pt x="588" y="662"/>
                  </a:lnTo>
                  <a:lnTo>
                    <a:pt x="586" y="664"/>
                  </a:lnTo>
                  <a:lnTo>
                    <a:pt x="585" y="666"/>
                  </a:lnTo>
                  <a:lnTo>
                    <a:pt x="582" y="668"/>
                  </a:lnTo>
                  <a:lnTo>
                    <a:pt x="580" y="675"/>
                  </a:lnTo>
                  <a:lnTo>
                    <a:pt x="579" y="683"/>
                  </a:lnTo>
                  <a:lnTo>
                    <a:pt x="578" y="698"/>
                  </a:lnTo>
                  <a:lnTo>
                    <a:pt x="577" y="708"/>
                  </a:lnTo>
                  <a:lnTo>
                    <a:pt x="573" y="708"/>
                  </a:lnTo>
                  <a:lnTo>
                    <a:pt x="571" y="709"/>
                  </a:lnTo>
                  <a:lnTo>
                    <a:pt x="571" y="710"/>
                  </a:lnTo>
                  <a:lnTo>
                    <a:pt x="571" y="712"/>
                  </a:lnTo>
                  <a:lnTo>
                    <a:pt x="570" y="713"/>
                  </a:lnTo>
                  <a:lnTo>
                    <a:pt x="570" y="714"/>
                  </a:lnTo>
                  <a:lnTo>
                    <a:pt x="568" y="714"/>
                  </a:lnTo>
                  <a:lnTo>
                    <a:pt x="565" y="715"/>
                  </a:lnTo>
                  <a:lnTo>
                    <a:pt x="558" y="727"/>
                  </a:lnTo>
                  <a:lnTo>
                    <a:pt x="550" y="728"/>
                  </a:lnTo>
                  <a:lnTo>
                    <a:pt x="543" y="731"/>
                  </a:lnTo>
                  <a:lnTo>
                    <a:pt x="536" y="734"/>
                  </a:lnTo>
                  <a:lnTo>
                    <a:pt x="528" y="737"/>
                  </a:lnTo>
                  <a:lnTo>
                    <a:pt x="521" y="741"/>
                  </a:lnTo>
                  <a:lnTo>
                    <a:pt x="513" y="744"/>
                  </a:lnTo>
                  <a:lnTo>
                    <a:pt x="507" y="746"/>
                  </a:lnTo>
                  <a:lnTo>
                    <a:pt x="499" y="747"/>
                  </a:lnTo>
                  <a:lnTo>
                    <a:pt x="460" y="786"/>
                  </a:lnTo>
                  <a:lnTo>
                    <a:pt x="456" y="803"/>
                  </a:lnTo>
                  <a:lnTo>
                    <a:pt x="453" y="819"/>
                  </a:lnTo>
                  <a:lnTo>
                    <a:pt x="446" y="832"/>
                  </a:lnTo>
                  <a:lnTo>
                    <a:pt x="433" y="832"/>
                  </a:lnTo>
                  <a:lnTo>
                    <a:pt x="432" y="833"/>
                  </a:lnTo>
                  <a:lnTo>
                    <a:pt x="429" y="833"/>
                  </a:lnTo>
                  <a:lnTo>
                    <a:pt x="425" y="833"/>
                  </a:lnTo>
                  <a:lnTo>
                    <a:pt x="418" y="832"/>
                  </a:lnTo>
                  <a:lnTo>
                    <a:pt x="404" y="829"/>
                  </a:lnTo>
                  <a:lnTo>
                    <a:pt x="386" y="825"/>
                  </a:lnTo>
                  <a:lnTo>
                    <a:pt x="350" y="816"/>
                  </a:lnTo>
                  <a:lnTo>
                    <a:pt x="328" y="813"/>
                  </a:lnTo>
                  <a:lnTo>
                    <a:pt x="318" y="819"/>
                  </a:lnTo>
                  <a:lnTo>
                    <a:pt x="302" y="825"/>
                  </a:lnTo>
                  <a:lnTo>
                    <a:pt x="302" y="839"/>
                  </a:lnTo>
                  <a:lnTo>
                    <a:pt x="289" y="839"/>
                  </a:lnTo>
                  <a:lnTo>
                    <a:pt x="282" y="846"/>
                  </a:lnTo>
                  <a:lnTo>
                    <a:pt x="263" y="8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9" name="Freeform 45"/>
            <p:cNvSpPr>
              <a:spLocks noChangeAspect="1"/>
            </p:cNvSpPr>
            <p:nvPr/>
          </p:nvSpPr>
          <p:spPr bwMode="gray">
            <a:xfrm rot="355651">
              <a:off x="5783740" y="2678113"/>
              <a:ext cx="408372" cy="306606"/>
            </a:xfrm>
            <a:custGeom>
              <a:avLst/>
              <a:gdLst/>
              <a:ahLst/>
              <a:cxnLst>
                <a:cxn ang="0">
                  <a:pos x="1743" y="1"/>
                </a:cxn>
                <a:cxn ang="0">
                  <a:pos x="1699" y="96"/>
                </a:cxn>
                <a:cxn ang="0">
                  <a:pos x="1679" y="303"/>
                </a:cxn>
                <a:cxn ang="0">
                  <a:pos x="1714" y="384"/>
                </a:cxn>
                <a:cxn ang="0">
                  <a:pos x="1745" y="511"/>
                </a:cxn>
                <a:cxn ang="0">
                  <a:pos x="1829" y="600"/>
                </a:cxn>
                <a:cxn ang="0">
                  <a:pos x="1876" y="650"/>
                </a:cxn>
                <a:cxn ang="0">
                  <a:pos x="1966" y="702"/>
                </a:cxn>
                <a:cxn ang="0">
                  <a:pos x="2079" y="755"/>
                </a:cxn>
                <a:cxn ang="0">
                  <a:pos x="2193" y="989"/>
                </a:cxn>
                <a:cxn ang="0">
                  <a:pos x="2246" y="1071"/>
                </a:cxn>
                <a:cxn ang="0">
                  <a:pos x="2129" y="1224"/>
                </a:cxn>
                <a:cxn ang="0">
                  <a:pos x="2087" y="1335"/>
                </a:cxn>
                <a:cxn ang="0">
                  <a:pos x="2036" y="1405"/>
                </a:cxn>
                <a:cxn ang="0">
                  <a:pos x="1994" y="1486"/>
                </a:cxn>
                <a:cxn ang="0">
                  <a:pos x="1953" y="1570"/>
                </a:cxn>
                <a:cxn ang="0">
                  <a:pos x="1892" y="1637"/>
                </a:cxn>
                <a:cxn ang="0">
                  <a:pos x="1824" y="1723"/>
                </a:cxn>
                <a:cxn ang="0">
                  <a:pos x="1778" y="1778"/>
                </a:cxn>
                <a:cxn ang="0">
                  <a:pos x="1714" y="1835"/>
                </a:cxn>
                <a:cxn ang="0">
                  <a:pos x="1647" y="1906"/>
                </a:cxn>
                <a:cxn ang="0">
                  <a:pos x="1502" y="1881"/>
                </a:cxn>
                <a:cxn ang="0">
                  <a:pos x="1486" y="1762"/>
                </a:cxn>
                <a:cxn ang="0">
                  <a:pos x="1517" y="1646"/>
                </a:cxn>
                <a:cxn ang="0">
                  <a:pos x="1464" y="1546"/>
                </a:cxn>
                <a:cxn ang="0">
                  <a:pos x="1401" y="1506"/>
                </a:cxn>
                <a:cxn ang="0">
                  <a:pos x="1316" y="1455"/>
                </a:cxn>
                <a:cxn ang="0">
                  <a:pos x="1266" y="1419"/>
                </a:cxn>
                <a:cxn ang="0">
                  <a:pos x="1230" y="1394"/>
                </a:cxn>
                <a:cxn ang="0">
                  <a:pos x="1201" y="1369"/>
                </a:cxn>
                <a:cxn ang="0">
                  <a:pos x="1153" y="1297"/>
                </a:cxn>
                <a:cxn ang="0">
                  <a:pos x="983" y="1262"/>
                </a:cxn>
                <a:cxn ang="0">
                  <a:pos x="939" y="1230"/>
                </a:cxn>
                <a:cxn ang="0">
                  <a:pos x="907" y="1210"/>
                </a:cxn>
                <a:cxn ang="0">
                  <a:pos x="864" y="1192"/>
                </a:cxn>
                <a:cxn ang="0">
                  <a:pos x="787" y="1171"/>
                </a:cxn>
                <a:cxn ang="0">
                  <a:pos x="570" y="1173"/>
                </a:cxn>
                <a:cxn ang="0">
                  <a:pos x="530" y="1225"/>
                </a:cxn>
                <a:cxn ang="0">
                  <a:pos x="494" y="1291"/>
                </a:cxn>
                <a:cxn ang="0">
                  <a:pos x="391" y="1333"/>
                </a:cxn>
                <a:cxn ang="0">
                  <a:pos x="335" y="1350"/>
                </a:cxn>
                <a:cxn ang="0">
                  <a:pos x="274" y="1375"/>
                </a:cxn>
                <a:cxn ang="0">
                  <a:pos x="129" y="1338"/>
                </a:cxn>
                <a:cxn ang="0">
                  <a:pos x="68" y="1251"/>
                </a:cxn>
                <a:cxn ang="0">
                  <a:pos x="53" y="1176"/>
                </a:cxn>
                <a:cxn ang="0">
                  <a:pos x="9" y="1089"/>
                </a:cxn>
                <a:cxn ang="0">
                  <a:pos x="27" y="951"/>
                </a:cxn>
                <a:cxn ang="0">
                  <a:pos x="199" y="916"/>
                </a:cxn>
                <a:cxn ang="0">
                  <a:pos x="381" y="773"/>
                </a:cxn>
                <a:cxn ang="0">
                  <a:pos x="413" y="755"/>
                </a:cxn>
                <a:cxn ang="0">
                  <a:pos x="525" y="734"/>
                </a:cxn>
                <a:cxn ang="0">
                  <a:pos x="659" y="751"/>
                </a:cxn>
                <a:cxn ang="0">
                  <a:pos x="854" y="770"/>
                </a:cxn>
                <a:cxn ang="0">
                  <a:pos x="892" y="682"/>
                </a:cxn>
                <a:cxn ang="0">
                  <a:pos x="918" y="420"/>
                </a:cxn>
                <a:cxn ang="0">
                  <a:pos x="979" y="396"/>
                </a:cxn>
                <a:cxn ang="0">
                  <a:pos x="1044" y="336"/>
                </a:cxn>
                <a:cxn ang="0">
                  <a:pos x="1115" y="255"/>
                </a:cxn>
                <a:cxn ang="0">
                  <a:pos x="1269" y="220"/>
                </a:cxn>
                <a:cxn ang="0">
                  <a:pos x="1422" y="205"/>
                </a:cxn>
                <a:cxn ang="0">
                  <a:pos x="1447" y="45"/>
                </a:cxn>
              </a:cxnLst>
              <a:rect l="0" t="0" r="r" b="b"/>
              <a:pathLst>
                <a:path w="2248" h="1913">
                  <a:moveTo>
                    <a:pt x="1469" y="15"/>
                  </a:moveTo>
                  <a:lnTo>
                    <a:pt x="1473" y="13"/>
                  </a:lnTo>
                  <a:lnTo>
                    <a:pt x="1475" y="13"/>
                  </a:lnTo>
                  <a:lnTo>
                    <a:pt x="1478" y="11"/>
                  </a:lnTo>
                  <a:lnTo>
                    <a:pt x="1485" y="10"/>
                  </a:lnTo>
                  <a:lnTo>
                    <a:pt x="1494" y="9"/>
                  </a:lnTo>
                  <a:lnTo>
                    <a:pt x="1506" y="8"/>
                  </a:lnTo>
                  <a:lnTo>
                    <a:pt x="1528" y="7"/>
                  </a:lnTo>
                  <a:lnTo>
                    <a:pt x="1541" y="7"/>
                  </a:lnTo>
                  <a:lnTo>
                    <a:pt x="1551" y="5"/>
                  </a:lnTo>
                  <a:lnTo>
                    <a:pt x="1576" y="3"/>
                  </a:lnTo>
                  <a:lnTo>
                    <a:pt x="1613" y="2"/>
                  </a:lnTo>
                  <a:lnTo>
                    <a:pt x="1657" y="1"/>
                  </a:lnTo>
                  <a:lnTo>
                    <a:pt x="1701" y="1"/>
                  </a:lnTo>
                  <a:lnTo>
                    <a:pt x="1743" y="1"/>
                  </a:lnTo>
                  <a:lnTo>
                    <a:pt x="1776" y="0"/>
                  </a:lnTo>
                  <a:lnTo>
                    <a:pt x="1796" y="0"/>
                  </a:lnTo>
                  <a:lnTo>
                    <a:pt x="1796" y="20"/>
                  </a:lnTo>
                  <a:lnTo>
                    <a:pt x="1790" y="27"/>
                  </a:lnTo>
                  <a:lnTo>
                    <a:pt x="1777" y="27"/>
                  </a:lnTo>
                  <a:lnTo>
                    <a:pt x="1767" y="40"/>
                  </a:lnTo>
                  <a:lnTo>
                    <a:pt x="1757" y="53"/>
                  </a:lnTo>
                  <a:lnTo>
                    <a:pt x="1744" y="53"/>
                  </a:lnTo>
                  <a:lnTo>
                    <a:pt x="1744" y="57"/>
                  </a:lnTo>
                  <a:lnTo>
                    <a:pt x="1742" y="60"/>
                  </a:lnTo>
                  <a:lnTo>
                    <a:pt x="1738" y="64"/>
                  </a:lnTo>
                  <a:lnTo>
                    <a:pt x="1734" y="68"/>
                  </a:lnTo>
                  <a:lnTo>
                    <a:pt x="1724" y="76"/>
                  </a:lnTo>
                  <a:lnTo>
                    <a:pt x="1712" y="86"/>
                  </a:lnTo>
                  <a:lnTo>
                    <a:pt x="1699" y="96"/>
                  </a:lnTo>
                  <a:lnTo>
                    <a:pt x="1689" y="108"/>
                  </a:lnTo>
                  <a:lnTo>
                    <a:pt x="1685" y="115"/>
                  </a:lnTo>
                  <a:lnTo>
                    <a:pt x="1681" y="122"/>
                  </a:lnTo>
                  <a:lnTo>
                    <a:pt x="1679" y="130"/>
                  </a:lnTo>
                  <a:lnTo>
                    <a:pt x="1679" y="138"/>
                  </a:lnTo>
                  <a:lnTo>
                    <a:pt x="1678" y="173"/>
                  </a:lnTo>
                  <a:lnTo>
                    <a:pt x="1676" y="210"/>
                  </a:lnTo>
                  <a:lnTo>
                    <a:pt x="1674" y="247"/>
                  </a:lnTo>
                  <a:lnTo>
                    <a:pt x="1672" y="282"/>
                  </a:lnTo>
                  <a:lnTo>
                    <a:pt x="1675" y="282"/>
                  </a:lnTo>
                  <a:lnTo>
                    <a:pt x="1676" y="285"/>
                  </a:lnTo>
                  <a:lnTo>
                    <a:pt x="1677" y="287"/>
                  </a:lnTo>
                  <a:lnTo>
                    <a:pt x="1678" y="290"/>
                  </a:lnTo>
                  <a:lnTo>
                    <a:pt x="1678" y="296"/>
                  </a:lnTo>
                  <a:lnTo>
                    <a:pt x="1679" y="303"/>
                  </a:lnTo>
                  <a:lnTo>
                    <a:pt x="1680" y="303"/>
                  </a:lnTo>
                  <a:lnTo>
                    <a:pt x="1682" y="304"/>
                  </a:lnTo>
                  <a:lnTo>
                    <a:pt x="1684" y="307"/>
                  </a:lnTo>
                  <a:lnTo>
                    <a:pt x="1685" y="309"/>
                  </a:lnTo>
                  <a:lnTo>
                    <a:pt x="1685" y="316"/>
                  </a:lnTo>
                  <a:lnTo>
                    <a:pt x="1685" y="321"/>
                  </a:lnTo>
                  <a:lnTo>
                    <a:pt x="1688" y="324"/>
                  </a:lnTo>
                  <a:lnTo>
                    <a:pt x="1693" y="329"/>
                  </a:lnTo>
                  <a:lnTo>
                    <a:pt x="1696" y="337"/>
                  </a:lnTo>
                  <a:lnTo>
                    <a:pt x="1700" y="346"/>
                  </a:lnTo>
                  <a:lnTo>
                    <a:pt x="1705" y="356"/>
                  </a:lnTo>
                  <a:lnTo>
                    <a:pt x="1708" y="366"/>
                  </a:lnTo>
                  <a:lnTo>
                    <a:pt x="1710" y="374"/>
                  </a:lnTo>
                  <a:lnTo>
                    <a:pt x="1712" y="381"/>
                  </a:lnTo>
                  <a:lnTo>
                    <a:pt x="1714" y="384"/>
                  </a:lnTo>
                  <a:lnTo>
                    <a:pt x="1715" y="392"/>
                  </a:lnTo>
                  <a:lnTo>
                    <a:pt x="1716" y="404"/>
                  </a:lnTo>
                  <a:lnTo>
                    <a:pt x="1717" y="419"/>
                  </a:lnTo>
                  <a:lnTo>
                    <a:pt x="1718" y="446"/>
                  </a:lnTo>
                  <a:lnTo>
                    <a:pt x="1718" y="465"/>
                  </a:lnTo>
                  <a:lnTo>
                    <a:pt x="1720" y="467"/>
                  </a:lnTo>
                  <a:lnTo>
                    <a:pt x="1723" y="469"/>
                  </a:lnTo>
                  <a:lnTo>
                    <a:pt x="1725" y="472"/>
                  </a:lnTo>
                  <a:lnTo>
                    <a:pt x="1727" y="477"/>
                  </a:lnTo>
                  <a:lnTo>
                    <a:pt x="1729" y="486"/>
                  </a:lnTo>
                  <a:lnTo>
                    <a:pt x="1730" y="492"/>
                  </a:lnTo>
                  <a:lnTo>
                    <a:pt x="1734" y="493"/>
                  </a:lnTo>
                  <a:lnTo>
                    <a:pt x="1737" y="498"/>
                  </a:lnTo>
                  <a:lnTo>
                    <a:pt x="1741" y="505"/>
                  </a:lnTo>
                  <a:lnTo>
                    <a:pt x="1745" y="511"/>
                  </a:lnTo>
                  <a:lnTo>
                    <a:pt x="1749" y="519"/>
                  </a:lnTo>
                  <a:lnTo>
                    <a:pt x="1754" y="526"/>
                  </a:lnTo>
                  <a:lnTo>
                    <a:pt x="1756" y="528"/>
                  </a:lnTo>
                  <a:lnTo>
                    <a:pt x="1758" y="530"/>
                  </a:lnTo>
                  <a:lnTo>
                    <a:pt x="1762" y="531"/>
                  </a:lnTo>
                  <a:lnTo>
                    <a:pt x="1764" y="531"/>
                  </a:lnTo>
                  <a:lnTo>
                    <a:pt x="1764" y="545"/>
                  </a:lnTo>
                  <a:lnTo>
                    <a:pt x="1767" y="546"/>
                  </a:lnTo>
                  <a:lnTo>
                    <a:pt x="1773" y="550"/>
                  </a:lnTo>
                  <a:lnTo>
                    <a:pt x="1780" y="557"/>
                  </a:lnTo>
                  <a:lnTo>
                    <a:pt x="1786" y="564"/>
                  </a:lnTo>
                  <a:lnTo>
                    <a:pt x="1797" y="578"/>
                  </a:lnTo>
                  <a:lnTo>
                    <a:pt x="1803" y="584"/>
                  </a:lnTo>
                  <a:lnTo>
                    <a:pt x="1813" y="590"/>
                  </a:lnTo>
                  <a:lnTo>
                    <a:pt x="1829" y="600"/>
                  </a:lnTo>
                  <a:lnTo>
                    <a:pt x="1837" y="605"/>
                  </a:lnTo>
                  <a:lnTo>
                    <a:pt x="1843" y="609"/>
                  </a:lnTo>
                  <a:lnTo>
                    <a:pt x="1848" y="614"/>
                  </a:lnTo>
                  <a:lnTo>
                    <a:pt x="1849" y="616"/>
                  </a:lnTo>
                  <a:lnTo>
                    <a:pt x="1862" y="616"/>
                  </a:lnTo>
                  <a:lnTo>
                    <a:pt x="1862" y="630"/>
                  </a:lnTo>
                  <a:lnTo>
                    <a:pt x="1866" y="630"/>
                  </a:lnTo>
                  <a:lnTo>
                    <a:pt x="1868" y="631"/>
                  </a:lnTo>
                  <a:lnTo>
                    <a:pt x="1869" y="632"/>
                  </a:lnTo>
                  <a:lnTo>
                    <a:pt x="1869" y="633"/>
                  </a:lnTo>
                  <a:lnTo>
                    <a:pt x="1869" y="634"/>
                  </a:lnTo>
                  <a:lnTo>
                    <a:pt x="1870" y="635"/>
                  </a:lnTo>
                  <a:lnTo>
                    <a:pt x="1871" y="636"/>
                  </a:lnTo>
                  <a:lnTo>
                    <a:pt x="1876" y="636"/>
                  </a:lnTo>
                  <a:lnTo>
                    <a:pt x="1876" y="650"/>
                  </a:lnTo>
                  <a:lnTo>
                    <a:pt x="1880" y="650"/>
                  </a:lnTo>
                  <a:lnTo>
                    <a:pt x="1885" y="652"/>
                  </a:lnTo>
                  <a:lnTo>
                    <a:pt x="1888" y="654"/>
                  </a:lnTo>
                  <a:lnTo>
                    <a:pt x="1891" y="657"/>
                  </a:lnTo>
                  <a:lnTo>
                    <a:pt x="1898" y="666"/>
                  </a:lnTo>
                  <a:lnTo>
                    <a:pt x="1905" y="675"/>
                  </a:lnTo>
                  <a:lnTo>
                    <a:pt x="1909" y="681"/>
                  </a:lnTo>
                  <a:lnTo>
                    <a:pt x="1912" y="685"/>
                  </a:lnTo>
                  <a:lnTo>
                    <a:pt x="1918" y="690"/>
                  </a:lnTo>
                  <a:lnTo>
                    <a:pt x="1924" y="693"/>
                  </a:lnTo>
                  <a:lnTo>
                    <a:pt x="1929" y="696"/>
                  </a:lnTo>
                  <a:lnTo>
                    <a:pt x="1937" y="700"/>
                  </a:lnTo>
                  <a:lnTo>
                    <a:pt x="1945" y="701"/>
                  </a:lnTo>
                  <a:lnTo>
                    <a:pt x="1954" y="702"/>
                  </a:lnTo>
                  <a:lnTo>
                    <a:pt x="1966" y="702"/>
                  </a:lnTo>
                  <a:lnTo>
                    <a:pt x="1979" y="704"/>
                  </a:lnTo>
                  <a:lnTo>
                    <a:pt x="1993" y="707"/>
                  </a:lnTo>
                  <a:lnTo>
                    <a:pt x="2006" y="709"/>
                  </a:lnTo>
                  <a:lnTo>
                    <a:pt x="2020" y="711"/>
                  </a:lnTo>
                  <a:lnTo>
                    <a:pt x="2033" y="713"/>
                  </a:lnTo>
                  <a:lnTo>
                    <a:pt x="2046" y="714"/>
                  </a:lnTo>
                  <a:lnTo>
                    <a:pt x="2059" y="715"/>
                  </a:lnTo>
                  <a:lnTo>
                    <a:pt x="2072" y="728"/>
                  </a:lnTo>
                  <a:lnTo>
                    <a:pt x="2072" y="741"/>
                  </a:lnTo>
                  <a:lnTo>
                    <a:pt x="2074" y="741"/>
                  </a:lnTo>
                  <a:lnTo>
                    <a:pt x="2075" y="742"/>
                  </a:lnTo>
                  <a:lnTo>
                    <a:pt x="2077" y="743"/>
                  </a:lnTo>
                  <a:lnTo>
                    <a:pt x="2078" y="746"/>
                  </a:lnTo>
                  <a:lnTo>
                    <a:pt x="2079" y="749"/>
                  </a:lnTo>
                  <a:lnTo>
                    <a:pt x="2079" y="755"/>
                  </a:lnTo>
                  <a:lnTo>
                    <a:pt x="2082" y="760"/>
                  </a:lnTo>
                  <a:lnTo>
                    <a:pt x="2089" y="777"/>
                  </a:lnTo>
                  <a:lnTo>
                    <a:pt x="2096" y="800"/>
                  </a:lnTo>
                  <a:lnTo>
                    <a:pt x="2103" y="826"/>
                  </a:lnTo>
                  <a:lnTo>
                    <a:pt x="2118" y="876"/>
                  </a:lnTo>
                  <a:lnTo>
                    <a:pt x="2125" y="898"/>
                  </a:lnTo>
                  <a:lnTo>
                    <a:pt x="2129" y="902"/>
                  </a:lnTo>
                  <a:lnTo>
                    <a:pt x="2136" y="913"/>
                  </a:lnTo>
                  <a:lnTo>
                    <a:pt x="2145" y="928"/>
                  </a:lnTo>
                  <a:lnTo>
                    <a:pt x="2156" y="944"/>
                  </a:lnTo>
                  <a:lnTo>
                    <a:pt x="2167" y="961"/>
                  </a:lnTo>
                  <a:lnTo>
                    <a:pt x="2178" y="975"/>
                  </a:lnTo>
                  <a:lnTo>
                    <a:pt x="2183" y="982"/>
                  </a:lnTo>
                  <a:lnTo>
                    <a:pt x="2188" y="987"/>
                  </a:lnTo>
                  <a:lnTo>
                    <a:pt x="2193" y="989"/>
                  </a:lnTo>
                  <a:lnTo>
                    <a:pt x="2196" y="990"/>
                  </a:lnTo>
                  <a:lnTo>
                    <a:pt x="2196" y="1003"/>
                  </a:lnTo>
                  <a:lnTo>
                    <a:pt x="2199" y="1003"/>
                  </a:lnTo>
                  <a:lnTo>
                    <a:pt x="2202" y="1006"/>
                  </a:lnTo>
                  <a:lnTo>
                    <a:pt x="2205" y="1008"/>
                  </a:lnTo>
                  <a:lnTo>
                    <a:pt x="2208" y="1011"/>
                  </a:lnTo>
                  <a:lnTo>
                    <a:pt x="2215" y="1020"/>
                  </a:lnTo>
                  <a:lnTo>
                    <a:pt x="2222" y="1029"/>
                  </a:lnTo>
                  <a:lnTo>
                    <a:pt x="2228" y="1039"/>
                  </a:lnTo>
                  <a:lnTo>
                    <a:pt x="2234" y="1048"/>
                  </a:lnTo>
                  <a:lnTo>
                    <a:pt x="2240" y="1054"/>
                  </a:lnTo>
                  <a:lnTo>
                    <a:pt x="2243" y="1056"/>
                  </a:lnTo>
                  <a:lnTo>
                    <a:pt x="2243" y="1069"/>
                  </a:lnTo>
                  <a:lnTo>
                    <a:pt x="2244" y="1069"/>
                  </a:lnTo>
                  <a:lnTo>
                    <a:pt x="2246" y="1071"/>
                  </a:lnTo>
                  <a:lnTo>
                    <a:pt x="2247" y="1076"/>
                  </a:lnTo>
                  <a:lnTo>
                    <a:pt x="2248" y="1079"/>
                  </a:lnTo>
                  <a:lnTo>
                    <a:pt x="2248" y="1088"/>
                  </a:lnTo>
                  <a:lnTo>
                    <a:pt x="2248" y="1095"/>
                  </a:lnTo>
                  <a:lnTo>
                    <a:pt x="2243" y="1096"/>
                  </a:lnTo>
                  <a:lnTo>
                    <a:pt x="2237" y="1100"/>
                  </a:lnTo>
                  <a:lnTo>
                    <a:pt x="2229" y="1107"/>
                  </a:lnTo>
                  <a:lnTo>
                    <a:pt x="2222" y="1115"/>
                  </a:lnTo>
                  <a:lnTo>
                    <a:pt x="2203" y="1136"/>
                  </a:lnTo>
                  <a:lnTo>
                    <a:pt x="2184" y="1161"/>
                  </a:lnTo>
                  <a:lnTo>
                    <a:pt x="2166" y="1184"/>
                  </a:lnTo>
                  <a:lnTo>
                    <a:pt x="2148" y="1205"/>
                  </a:lnTo>
                  <a:lnTo>
                    <a:pt x="2141" y="1214"/>
                  </a:lnTo>
                  <a:lnTo>
                    <a:pt x="2135" y="1221"/>
                  </a:lnTo>
                  <a:lnTo>
                    <a:pt x="2129" y="1224"/>
                  </a:lnTo>
                  <a:lnTo>
                    <a:pt x="2125" y="1227"/>
                  </a:lnTo>
                  <a:lnTo>
                    <a:pt x="2125" y="1239"/>
                  </a:lnTo>
                  <a:lnTo>
                    <a:pt x="2114" y="1246"/>
                  </a:lnTo>
                  <a:lnTo>
                    <a:pt x="2104" y="1252"/>
                  </a:lnTo>
                  <a:lnTo>
                    <a:pt x="2104" y="1266"/>
                  </a:lnTo>
                  <a:lnTo>
                    <a:pt x="2102" y="1266"/>
                  </a:lnTo>
                  <a:lnTo>
                    <a:pt x="2101" y="1268"/>
                  </a:lnTo>
                  <a:lnTo>
                    <a:pt x="2099" y="1270"/>
                  </a:lnTo>
                  <a:lnTo>
                    <a:pt x="2098" y="1272"/>
                  </a:lnTo>
                  <a:lnTo>
                    <a:pt x="2096" y="1275"/>
                  </a:lnTo>
                  <a:lnTo>
                    <a:pt x="2092" y="1277"/>
                  </a:lnTo>
                  <a:lnTo>
                    <a:pt x="2089" y="1278"/>
                  </a:lnTo>
                  <a:lnTo>
                    <a:pt x="2085" y="1279"/>
                  </a:lnTo>
                  <a:lnTo>
                    <a:pt x="2085" y="1307"/>
                  </a:lnTo>
                  <a:lnTo>
                    <a:pt x="2087" y="1335"/>
                  </a:lnTo>
                  <a:lnTo>
                    <a:pt x="2089" y="1362"/>
                  </a:lnTo>
                  <a:lnTo>
                    <a:pt x="2092" y="1390"/>
                  </a:lnTo>
                  <a:lnTo>
                    <a:pt x="2087" y="1390"/>
                  </a:lnTo>
                  <a:lnTo>
                    <a:pt x="2081" y="1390"/>
                  </a:lnTo>
                  <a:lnTo>
                    <a:pt x="2081" y="1391"/>
                  </a:lnTo>
                  <a:lnTo>
                    <a:pt x="2079" y="1392"/>
                  </a:lnTo>
                  <a:lnTo>
                    <a:pt x="2077" y="1393"/>
                  </a:lnTo>
                  <a:lnTo>
                    <a:pt x="2073" y="1394"/>
                  </a:lnTo>
                  <a:lnTo>
                    <a:pt x="2065" y="1396"/>
                  </a:lnTo>
                  <a:lnTo>
                    <a:pt x="2058" y="1398"/>
                  </a:lnTo>
                  <a:lnTo>
                    <a:pt x="2052" y="1398"/>
                  </a:lnTo>
                  <a:lnTo>
                    <a:pt x="2048" y="1400"/>
                  </a:lnTo>
                  <a:lnTo>
                    <a:pt x="2043" y="1401"/>
                  </a:lnTo>
                  <a:lnTo>
                    <a:pt x="2040" y="1403"/>
                  </a:lnTo>
                  <a:lnTo>
                    <a:pt x="2036" y="1405"/>
                  </a:lnTo>
                  <a:lnTo>
                    <a:pt x="2034" y="1409"/>
                  </a:lnTo>
                  <a:lnTo>
                    <a:pt x="2033" y="1413"/>
                  </a:lnTo>
                  <a:lnTo>
                    <a:pt x="2033" y="1419"/>
                  </a:lnTo>
                  <a:lnTo>
                    <a:pt x="2029" y="1423"/>
                  </a:lnTo>
                  <a:lnTo>
                    <a:pt x="2023" y="1425"/>
                  </a:lnTo>
                  <a:lnTo>
                    <a:pt x="2018" y="1428"/>
                  </a:lnTo>
                  <a:lnTo>
                    <a:pt x="2017" y="1432"/>
                  </a:lnTo>
                  <a:lnTo>
                    <a:pt x="2015" y="1435"/>
                  </a:lnTo>
                  <a:lnTo>
                    <a:pt x="2012" y="1439"/>
                  </a:lnTo>
                  <a:lnTo>
                    <a:pt x="2008" y="1442"/>
                  </a:lnTo>
                  <a:lnTo>
                    <a:pt x="2008" y="1457"/>
                  </a:lnTo>
                  <a:lnTo>
                    <a:pt x="2004" y="1459"/>
                  </a:lnTo>
                  <a:lnTo>
                    <a:pt x="2000" y="1462"/>
                  </a:lnTo>
                  <a:lnTo>
                    <a:pt x="1996" y="1473"/>
                  </a:lnTo>
                  <a:lnTo>
                    <a:pt x="1994" y="1486"/>
                  </a:lnTo>
                  <a:lnTo>
                    <a:pt x="1975" y="1510"/>
                  </a:lnTo>
                  <a:lnTo>
                    <a:pt x="1975" y="1525"/>
                  </a:lnTo>
                  <a:lnTo>
                    <a:pt x="1970" y="1527"/>
                  </a:lnTo>
                  <a:lnTo>
                    <a:pt x="1965" y="1529"/>
                  </a:lnTo>
                  <a:lnTo>
                    <a:pt x="1965" y="1544"/>
                  </a:lnTo>
                  <a:lnTo>
                    <a:pt x="1964" y="1545"/>
                  </a:lnTo>
                  <a:lnTo>
                    <a:pt x="1963" y="1546"/>
                  </a:lnTo>
                  <a:lnTo>
                    <a:pt x="1962" y="1547"/>
                  </a:lnTo>
                  <a:lnTo>
                    <a:pt x="1960" y="1549"/>
                  </a:lnTo>
                  <a:lnTo>
                    <a:pt x="1960" y="1554"/>
                  </a:lnTo>
                  <a:lnTo>
                    <a:pt x="1960" y="1558"/>
                  </a:lnTo>
                  <a:lnTo>
                    <a:pt x="1957" y="1559"/>
                  </a:lnTo>
                  <a:lnTo>
                    <a:pt x="1955" y="1563"/>
                  </a:lnTo>
                  <a:lnTo>
                    <a:pt x="1954" y="1566"/>
                  </a:lnTo>
                  <a:lnTo>
                    <a:pt x="1953" y="1570"/>
                  </a:lnTo>
                  <a:lnTo>
                    <a:pt x="1950" y="1575"/>
                  </a:lnTo>
                  <a:lnTo>
                    <a:pt x="1948" y="1579"/>
                  </a:lnTo>
                  <a:lnTo>
                    <a:pt x="1946" y="1582"/>
                  </a:lnTo>
                  <a:lnTo>
                    <a:pt x="1941" y="1583"/>
                  </a:lnTo>
                  <a:lnTo>
                    <a:pt x="1936" y="1587"/>
                  </a:lnTo>
                  <a:lnTo>
                    <a:pt x="1935" y="1593"/>
                  </a:lnTo>
                  <a:lnTo>
                    <a:pt x="1930" y="1599"/>
                  </a:lnTo>
                  <a:lnTo>
                    <a:pt x="1926" y="1605"/>
                  </a:lnTo>
                  <a:lnTo>
                    <a:pt x="1921" y="1607"/>
                  </a:lnTo>
                  <a:lnTo>
                    <a:pt x="1921" y="1616"/>
                  </a:lnTo>
                  <a:lnTo>
                    <a:pt x="1917" y="1622"/>
                  </a:lnTo>
                  <a:lnTo>
                    <a:pt x="1911" y="1626"/>
                  </a:lnTo>
                  <a:lnTo>
                    <a:pt x="1902" y="1626"/>
                  </a:lnTo>
                  <a:lnTo>
                    <a:pt x="1899" y="1632"/>
                  </a:lnTo>
                  <a:lnTo>
                    <a:pt x="1892" y="1637"/>
                  </a:lnTo>
                  <a:lnTo>
                    <a:pt x="1883" y="1643"/>
                  </a:lnTo>
                  <a:lnTo>
                    <a:pt x="1878" y="1645"/>
                  </a:lnTo>
                  <a:lnTo>
                    <a:pt x="1877" y="1650"/>
                  </a:lnTo>
                  <a:lnTo>
                    <a:pt x="1872" y="1655"/>
                  </a:lnTo>
                  <a:lnTo>
                    <a:pt x="1868" y="1661"/>
                  </a:lnTo>
                  <a:lnTo>
                    <a:pt x="1863" y="1665"/>
                  </a:lnTo>
                  <a:lnTo>
                    <a:pt x="1863" y="1674"/>
                  </a:lnTo>
                  <a:lnTo>
                    <a:pt x="1858" y="1680"/>
                  </a:lnTo>
                  <a:lnTo>
                    <a:pt x="1849" y="1684"/>
                  </a:lnTo>
                  <a:lnTo>
                    <a:pt x="1849" y="1694"/>
                  </a:lnTo>
                  <a:lnTo>
                    <a:pt x="1844" y="1698"/>
                  </a:lnTo>
                  <a:lnTo>
                    <a:pt x="1838" y="1704"/>
                  </a:lnTo>
                  <a:lnTo>
                    <a:pt x="1832" y="1712"/>
                  </a:lnTo>
                  <a:lnTo>
                    <a:pt x="1830" y="1718"/>
                  </a:lnTo>
                  <a:lnTo>
                    <a:pt x="1824" y="1723"/>
                  </a:lnTo>
                  <a:lnTo>
                    <a:pt x="1815" y="1728"/>
                  </a:lnTo>
                  <a:lnTo>
                    <a:pt x="1813" y="1733"/>
                  </a:lnTo>
                  <a:lnTo>
                    <a:pt x="1808" y="1742"/>
                  </a:lnTo>
                  <a:lnTo>
                    <a:pt x="1801" y="1749"/>
                  </a:lnTo>
                  <a:lnTo>
                    <a:pt x="1795" y="1752"/>
                  </a:lnTo>
                  <a:lnTo>
                    <a:pt x="1795" y="1757"/>
                  </a:lnTo>
                  <a:lnTo>
                    <a:pt x="1792" y="1761"/>
                  </a:lnTo>
                  <a:lnTo>
                    <a:pt x="1790" y="1763"/>
                  </a:lnTo>
                  <a:lnTo>
                    <a:pt x="1787" y="1765"/>
                  </a:lnTo>
                  <a:lnTo>
                    <a:pt x="1784" y="1766"/>
                  </a:lnTo>
                  <a:lnTo>
                    <a:pt x="1781" y="1767"/>
                  </a:lnTo>
                  <a:lnTo>
                    <a:pt x="1781" y="1772"/>
                  </a:lnTo>
                  <a:lnTo>
                    <a:pt x="1781" y="1776"/>
                  </a:lnTo>
                  <a:lnTo>
                    <a:pt x="1780" y="1777"/>
                  </a:lnTo>
                  <a:lnTo>
                    <a:pt x="1778" y="1778"/>
                  </a:lnTo>
                  <a:lnTo>
                    <a:pt x="1777" y="1777"/>
                  </a:lnTo>
                  <a:lnTo>
                    <a:pt x="1777" y="1778"/>
                  </a:lnTo>
                  <a:lnTo>
                    <a:pt x="1776" y="1779"/>
                  </a:lnTo>
                  <a:lnTo>
                    <a:pt x="1776" y="1781"/>
                  </a:lnTo>
                  <a:lnTo>
                    <a:pt x="1772" y="1784"/>
                  </a:lnTo>
                  <a:lnTo>
                    <a:pt x="1767" y="1789"/>
                  </a:lnTo>
                  <a:lnTo>
                    <a:pt x="1763" y="1796"/>
                  </a:lnTo>
                  <a:lnTo>
                    <a:pt x="1762" y="1800"/>
                  </a:lnTo>
                  <a:lnTo>
                    <a:pt x="1757" y="1802"/>
                  </a:lnTo>
                  <a:lnTo>
                    <a:pt x="1752" y="1806"/>
                  </a:lnTo>
                  <a:lnTo>
                    <a:pt x="1743" y="1815"/>
                  </a:lnTo>
                  <a:lnTo>
                    <a:pt x="1733" y="1825"/>
                  </a:lnTo>
                  <a:lnTo>
                    <a:pt x="1723" y="1825"/>
                  </a:lnTo>
                  <a:lnTo>
                    <a:pt x="1723" y="1835"/>
                  </a:lnTo>
                  <a:lnTo>
                    <a:pt x="1714" y="1835"/>
                  </a:lnTo>
                  <a:lnTo>
                    <a:pt x="1712" y="1838"/>
                  </a:lnTo>
                  <a:lnTo>
                    <a:pt x="1708" y="1842"/>
                  </a:lnTo>
                  <a:lnTo>
                    <a:pt x="1704" y="1843"/>
                  </a:lnTo>
                  <a:lnTo>
                    <a:pt x="1699" y="1844"/>
                  </a:lnTo>
                  <a:lnTo>
                    <a:pt x="1698" y="1847"/>
                  </a:lnTo>
                  <a:lnTo>
                    <a:pt x="1696" y="1850"/>
                  </a:lnTo>
                  <a:lnTo>
                    <a:pt x="1693" y="1853"/>
                  </a:lnTo>
                  <a:lnTo>
                    <a:pt x="1689" y="1854"/>
                  </a:lnTo>
                  <a:lnTo>
                    <a:pt x="1675" y="1868"/>
                  </a:lnTo>
                  <a:lnTo>
                    <a:pt x="1675" y="1878"/>
                  </a:lnTo>
                  <a:lnTo>
                    <a:pt x="1675" y="1890"/>
                  </a:lnTo>
                  <a:lnTo>
                    <a:pt x="1674" y="1901"/>
                  </a:lnTo>
                  <a:lnTo>
                    <a:pt x="1674" y="1913"/>
                  </a:lnTo>
                  <a:lnTo>
                    <a:pt x="1659" y="1909"/>
                  </a:lnTo>
                  <a:lnTo>
                    <a:pt x="1647" y="1906"/>
                  </a:lnTo>
                  <a:lnTo>
                    <a:pt x="1623" y="1904"/>
                  </a:lnTo>
                  <a:lnTo>
                    <a:pt x="1584" y="1901"/>
                  </a:lnTo>
                  <a:lnTo>
                    <a:pt x="1564" y="1898"/>
                  </a:lnTo>
                  <a:lnTo>
                    <a:pt x="1547" y="1895"/>
                  </a:lnTo>
                  <a:lnTo>
                    <a:pt x="1541" y="1894"/>
                  </a:lnTo>
                  <a:lnTo>
                    <a:pt x="1535" y="1892"/>
                  </a:lnTo>
                  <a:lnTo>
                    <a:pt x="1532" y="1890"/>
                  </a:lnTo>
                  <a:lnTo>
                    <a:pt x="1531" y="1887"/>
                  </a:lnTo>
                  <a:lnTo>
                    <a:pt x="1506" y="1887"/>
                  </a:lnTo>
                  <a:lnTo>
                    <a:pt x="1506" y="1884"/>
                  </a:lnTo>
                  <a:lnTo>
                    <a:pt x="1505" y="1882"/>
                  </a:lnTo>
                  <a:lnTo>
                    <a:pt x="1505" y="1882"/>
                  </a:lnTo>
                  <a:lnTo>
                    <a:pt x="1504" y="1882"/>
                  </a:lnTo>
                  <a:lnTo>
                    <a:pt x="1503" y="1882"/>
                  </a:lnTo>
                  <a:lnTo>
                    <a:pt x="1502" y="1881"/>
                  </a:lnTo>
                  <a:lnTo>
                    <a:pt x="1501" y="1878"/>
                  </a:lnTo>
                  <a:lnTo>
                    <a:pt x="1501" y="1875"/>
                  </a:lnTo>
                  <a:lnTo>
                    <a:pt x="1488" y="1875"/>
                  </a:lnTo>
                  <a:lnTo>
                    <a:pt x="1488" y="1863"/>
                  </a:lnTo>
                  <a:lnTo>
                    <a:pt x="1485" y="1863"/>
                  </a:lnTo>
                  <a:lnTo>
                    <a:pt x="1483" y="1862"/>
                  </a:lnTo>
                  <a:lnTo>
                    <a:pt x="1483" y="1862"/>
                  </a:lnTo>
                  <a:lnTo>
                    <a:pt x="1482" y="1861"/>
                  </a:lnTo>
                  <a:lnTo>
                    <a:pt x="1482" y="1859"/>
                  </a:lnTo>
                  <a:lnTo>
                    <a:pt x="1482" y="1858"/>
                  </a:lnTo>
                  <a:lnTo>
                    <a:pt x="1479" y="1857"/>
                  </a:lnTo>
                  <a:lnTo>
                    <a:pt x="1476" y="1857"/>
                  </a:lnTo>
                  <a:lnTo>
                    <a:pt x="1478" y="1827"/>
                  </a:lnTo>
                  <a:lnTo>
                    <a:pt x="1482" y="1794"/>
                  </a:lnTo>
                  <a:lnTo>
                    <a:pt x="1486" y="1762"/>
                  </a:lnTo>
                  <a:lnTo>
                    <a:pt x="1488" y="1736"/>
                  </a:lnTo>
                  <a:lnTo>
                    <a:pt x="1492" y="1734"/>
                  </a:lnTo>
                  <a:lnTo>
                    <a:pt x="1495" y="1733"/>
                  </a:lnTo>
                  <a:lnTo>
                    <a:pt x="1497" y="1731"/>
                  </a:lnTo>
                  <a:lnTo>
                    <a:pt x="1499" y="1729"/>
                  </a:lnTo>
                  <a:lnTo>
                    <a:pt x="1503" y="1724"/>
                  </a:lnTo>
                  <a:lnTo>
                    <a:pt x="1506" y="1723"/>
                  </a:lnTo>
                  <a:lnTo>
                    <a:pt x="1506" y="1711"/>
                  </a:lnTo>
                  <a:lnTo>
                    <a:pt x="1511" y="1710"/>
                  </a:lnTo>
                  <a:lnTo>
                    <a:pt x="1515" y="1707"/>
                  </a:lnTo>
                  <a:lnTo>
                    <a:pt x="1521" y="1703"/>
                  </a:lnTo>
                  <a:lnTo>
                    <a:pt x="1525" y="1699"/>
                  </a:lnTo>
                  <a:lnTo>
                    <a:pt x="1525" y="1650"/>
                  </a:lnTo>
                  <a:lnTo>
                    <a:pt x="1521" y="1648"/>
                  </a:lnTo>
                  <a:lnTo>
                    <a:pt x="1517" y="1646"/>
                  </a:lnTo>
                  <a:lnTo>
                    <a:pt x="1515" y="1642"/>
                  </a:lnTo>
                  <a:lnTo>
                    <a:pt x="1513" y="1637"/>
                  </a:lnTo>
                  <a:lnTo>
                    <a:pt x="1512" y="1633"/>
                  </a:lnTo>
                  <a:lnTo>
                    <a:pt x="1511" y="1630"/>
                  </a:lnTo>
                  <a:lnTo>
                    <a:pt x="1508" y="1626"/>
                  </a:lnTo>
                  <a:lnTo>
                    <a:pt x="1506" y="1625"/>
                  </a:lnTo>
                  <a:lnTo>
                    <a:pt x="1506" y="1607"/>
                  </a:lnTo>
                  <a:lnTo>
                    <a:pt x="1497" y="1598"/>
                  </a:lnTo>
                  <a:lnTo>
                    <a:pt x="1488" y="1589"/>
                  </a:lnTo>
                  <a:lnTo>
                    <a:pt x="1482" y="1574"/>
                  </a:lnTo>
                  <a:lnTo>
                    <a:pt x="1476" y="1558"/>
                  </a:lnTo>
                  <a:lnTo>
                    <a:pt x="1471" y="1557"/>
                  </a:lnTo>
                  <a:lnTo>
                    <a:pt x="1467" y="1555"/>
                  </a:lnTo>
                  <a:lnTo>
                    <a:pt x="1465" y="1550"/>
                  </a:lnTo>
                  <a:lnTo>
                    <a:pt x="1464" y="1546"/>
                  </a:lnTo>
                  <a:lnTo>
                    <a:pt x="1458" y="1540"/>
                  </a:lnTo>
                  <a:lnTo>
                    <a:pt x="1448" y="1537"/>
                  </a:lnTo>
                  <a:lnTo>
                    <a:pt x="1439" y="1534"/>
                  </a:lnTo>
                  <a:lnTo>
                    <a:pt x="1434" y="1522"/>
                  </a:lnTo>
                  <a:lnTo>
                    <a:pt x="1421" y="1522"/>
                  </a:lnTo>
                  <a:lnTo>
                    <a:pt x="1421" y="1518"/>
                  </a:lnTo>
                  <a:lnTo>
                    <a:pt x="1420" y="1517"/>
                  </a:lnTo>
                  <a:lnTo>
                    <a:pt x="1419" y="1516"/>
                  </a:lnTo>
                  <a:lnTo>
                    <a:pt x="1418" y="1516"/>
                  </a:lnTo>
                  <a:lnTo>
                    <a:pt x="1417" y="1516"/>
                  </a:lnTo>
                  <a:lnTo>
                    <a:pt x="1416" y="1515"/>
                  </a:lnTo>
                  <a:lnTo>
                    <a:pt x="1416" y="1513"/>
                  </a:lnTo>
                  <a:lnTo>
                    <a:pt x="1415" y="1510"/>
                  </a:lnTo>
                  <a:lnTo>
                    <a:pt x="1402" y="1510"/>
                  </a:lnTo>
                  <a:lnTo>
                    <a:pt x="1401" y="1506"/>
                  </a:lnTo>
                  <a:lnTo>
                    <a:pt x="1398" y="1501"/>
                  </a:lnTo>
                  <a:lnTo>
                    <a:pt x="1392" y="1497"/>
                  </a:lnTo>
                  <a:lnTo>
                    <a:pt x="1386" y="1493"/>
                  </a:lnTo>
                  <a:lnTo>
                    <a:pt x="1379" y="1490"/>
                  </a:lnTo>
                  <a:lnTo>
                    <a:pt x="1372" y="1488"/>
                  </a:lnTo>
                  <a:lnTo>
                    <a:pt x="1365" y="1486"/>
                  </a:lnTo>
                  <a:lnTo>
                    <a:pt x="1360" y="1486"/>
                  </a:lnTo>
                  <a:lnTo>
                    <a:pt x="1359" y="1482"/>
                  </a:lnTo>
                  <a:lnTo>
                    <a:pt x="1354" y="1479"/>
                  </a:lnTo>
                  <a:lnTo>
                    <a:pt x="1349" y="1474"/>
                  </a:lnTo>
                  <a:lnTo>
                    <a:pt x="1341" y="1471"/>
                  </a:lnTo>
                  <a:lnTo>
                    <a:pt x="1326" y="1464"/>
                  </a:lnTo>
                  <a:lnTo>
                    <a:pt x="1317" y="1461"/>
                  </a:lnTo>
                  <a:lnTo>
                    <a:pt x="1317" y="1458"/>
                  </a:lnTo>
                  <a:lnTo>
                    <a:pt x="1316" y="1455"/>
                  </a:lnTo>
                  <a:lnTo>
                    <a:pt x="1315" y="1455"/>
                  </a:lnTo>
                  <a:lnTo>
                    <a:pt x="1314" y="1454"/>
                  </a:lnTo>
                  <a:lnTo>
                    <a:pt x="1313" y="1454"/>
                  </a:lnTo>
                  <a:lnTo>
                    <a:pt x="1312" y="1454"/>
                  </a:lnTo>
                  <a:lnTo>
                    <a:pt x="1312" y="1452"/>
                  </a:lnTo>
                  <a:lnTo>
                    <a:pt x="1312" y="1449"/>
                  </a:lnTo>
                  <a:lnTo>
                    <a:pt x="1305" y="1443"/>
                  </a:lnTo>
                  <a:lnTo>
                    <a:pt x="1293" y="1443"/>
                  </a:lnTo>
                  <a:lnTo>
                    <a:pt x="1287" y="1433"/>
                  </a:lnTo>
                  <a:lnTo>
                    <a:pt x="1281" y="1424"/>
                  </a:lnTo>
                  <a:lnTo>
                    <a:pt x="1268" y="1424"/>
                  </a:lnTo>
                  <a:lnTo>
                    <a:pt x="1268" y="1421"/>
                  </a:lnTo>
                  <a:lnTo>
                    <a:pt x="1267" y="1419"/>
                  </a:lnTo>
                  <a:lnTo>
                    <a:pt x="1267" y="1419"/>
                  </a:lnTo>
                  <a:lnTo>
                    <a:pt x="1266" y="1419"/>
                  </a:lnTo>
                  <a:lnTo>
                    <a:pt x="1265" y="1419"/>
                  </a:lnTo>
                  <a:lnTo>
                    <a:pt x="1264" y="1417"/>
                  </a:lnTo>
                  <a:lnTo>
                    <a:pt x="1263" y="1415"/>
                  </a:lnTo>
                  <a:lnTo>
                    <a:pt x="1263" y="1412"/>
                  </a:lnTo>
                  <a:lnTo>
                    <a:pt x="1256" y="1406"/>
                  </a:lnTo>
                  <a:lnTo>
                    <a:pt x="1252" y="1406"/>
                  </a:lnTo>
                  <a:lnTo>
                    <a:pt x="1248" y="1405"/>
                  </a:lnTo>
                  <a:lnTo>
                    <a:pt x="1246" y="1404"/>
                  </a:lnTo>
                  <a:lnTo>
                    <a:pt x="1245" y="1403"/>
                  </a:lnTo>
                  <a:lnTo>
                    <a:pt x="1245" y="1402"/>
                  </a:lnTo>
                  <a:lnTo>
                    <a:pt x="1244" y="1400"/>
                  </a:lnTo>
                  <a:lnTo>
                    <a:pt x="1233" y="1400"/>
                  </a:lnTo>
                  <a:lnTo>
                    <a:pt x="1231" y="1396"/>
                  </a:lnTo>
                  <a:lnTo>
                    <a:pt x="1231" y="1395"/>
                  </a:lnTo>
                  <a:lnTo>
                    <a:pt x="1230" y="1394"/>
                  </a:lnTo>
                  <a:lnTo>
                    <a:pt x="1229" y="1394"/>
                  </a:lnTo>
                  <a:lnTo>
                    <a:pt x="1228" y="1394"/>
                  </a:lnTo>
                  <a:lnTo>
                    <a:pt x="1227" y="1393"/>
                  </a:lnTo>
                  <a:lnTo>
                    <a:pt x="1226" y="1392"/>
                  </a:lnTo>
                  <a:lnTo>
                    <a:pt x="1226" y="1387"/>
                  </a:lnTo>
                  <a:lnTo>
                    <a:pt x="1214" y="1387"/>
                  </a:lnTo>
                  <a:lnTo>
                    <a:pt x="1214" y="1384"/>
                  </a:lnTo>
                  <a:lnTo>
                    <a:pt x="1213" y="1383"/>
                  </a:lnTo>
                  <a:lnTo>
                    <a:pt x="1211" y="1382"/>
                  </a:lnTo>
                  <a:lnTo>
                    <a:pt x="1210" y="1382"/>
                  </a:lnTo>
                  <a:lnTo>
                    <a:pt x="1209" y="1382"/>
                  </a:lnTo>
                  <a:lnTo>
                    <a:pt x="1209" y="1381"/>
                  </a:lnTo>
                  <a:lnTo>
                    <a:pt x="1208" y="1380"/>
                  </a:lnTo>
                  <a:lnTo>
                    <a:pt x="1208" y="1375"/>
                  </a:lnTo>
                  <a:lnTo>
                    <a:pt x="1201" y="1369"/>
                  </a:lnTo>
                  <a:lnTo>
                    <a:pt x="1189" y="1364"/>
                  </a:lnTo>
                  <a:lnTo>
                    <a:pt x="1188" y="1358"/>
                  </a:lnTo>
                  <a:lnTo>
                    <a:pt x="1186" y="1352"/>
                  </a:lnTo>
                  <a:lnTo>
                    <a:pt x="1183" y="1349"/>
                  </a:lnTo>
                  <a:lnTo>
                    <a:pt x="1181" y="1347"/>
                  </a:lnTo>
                  <a:lnTo>
                    <a:pt x="1179" y="1346"/>
                  </a:lnTo>
                  <a:lnTo>
                    <a:pt x="1177" y="1345"/>
                  </a:lnTo>
                  <a:lnTo>
                    <a:pt x="1176" y="1336"/>
                  </a:lnTo>
                  <a:lnTo>
                    <a:pt x="1171" y="1327"/>
                  </a:lnTo>
                  <a:lnTo>
                    <a:pt x="1167" y="1318"/>
                  </a:lnTo>
                  <a:lnTo>
                    <a:pt x="1165" y="1308"/>
                  </a:lnTo>
                  <a:lnTo>
                    <a:pt x="1163" y="1307"/>
                  </a:lnTo>
                  <a:lnTo>
                    <a:pt x="1159" y="1305"/>
                  </a:lnTo>
                  <a:lnTo>
                    <a:pt x="1154" y="1301"/>
                  </a:lnTo>
                  <a:lnTo>
                    <a:pt x="1153" y="1297"/>
                  </a:lnTo>
                  <a:lnTo>
                    <a:pt x="1124" y="1296"/>
                  </a:lnTo>
                  <a:lnTo>
                    <a:pt x="1095" y="1295"/>
                  </a:lnTo>
                  <a:lnTo>
                    <a:pt x="1082" y="1294"/>
                  </a:lnTo>
                  <a:lnTo>
                    <a:pt x="1069" y="1291"/>
                  </a:lnTo>
                  <a:lnTo>
                    <a:pt x="1055" y="1288"/>
                  </a:lnTo>
                  <a:lnTo>
                    <a:pt x="1043" y="1285"/>
                  </a:lnTo>
                  <a:lnTo>
                    <a:pt x="1018" y="1285"/>
                  </a:lnTo>
                  <a:lnTo>
                    <a:pt x="1009" y="1281"/>
                  </a:lnTo>
                  <a:lnTo>
                    <a:pt x="1000" y="1278"/>
                  </a:lnTo>
                  <a:lnTo>
                    <a:pt x="995" y="1266"/>
                  </a:lnTo>
                  <a:lnTo>
                    <a:pt x="990" y="1266"/>
                  </a:lnTo>
                  <a:lnTo>
                    <a:pt x="986" y="1266"/>
                  </a:lnTo>
                  <a:lnTo>
                    <a:pt x="985" y="1265"/>
                  </a:lnTo>
                  <a:lnTo>
                    <a:pt x="984" y="1263"/>
                  </a:lnTo>
                  <a:lnTo>
                    <a:pt x="983" y="1262"/>
                  </a:lnTo>
                  <a:lnTo>
                    <a:pt x="983" y="1260"/>
                  </a:lnTo>
                  <a:lnTo>
                    <a:pt x="970" y="1260"/>
                  </a:lnTo>
                  <a:lnTo>
                    <a:pt x="970" y="1257"/>
                  </a:lnTo>
                  <a:lnTo>
                    <a:pt x="969" y="1255"/>
                  </a:lnTo>
                  <a:lnTo>
                    <a:pt x="968" y="1253"/>
                  </a:lnTo>
                  <a:lnTo>
                    <a:pt x="967" y="1253"/>
                  </a:lnTo>
                  <a:lnTo>
                    <a:pt x="966" y="1253"/>
                  </a:lnTo>
                  <a:lnTo>
                    <a:pt x="965" y="1253"/>
                  </a:lnTo>
                  <a:lnTo>
                    <a:pt x="965" y="1251"/>
                  </a:lnTo>
                  <a:lnTo>
                    <a:pt x="964" y="1248"/>
                  </a:lnTo>
                  <a:lnTo>
                    <a:pt x="958" y="1241"/>
                  </a:lnTo>
                  <a:lnTo>
                    <a:pt x="949" y="1239"/>
                  </a:lnTo>
                  <a:lnTo>
                    <a:pt x="939" y="1236"/>
                  </a:lnTo>
                  <a:lnTo>
                    <a:pt x="939" y="1232"/>
                  </a:lnTo>
                  <a:lnTo>
                    <a:pt x="939" y="1230"/>
                  </a:lnTo>
                  <a:lnTo>
                    <a:pt x="938" y="1230"/>
                  </a:lnTo>
                  <a:lnTo>
                    <a:pt x="937" y="1229"/>
                  </a:lnTo>
                  <a:lnTo>
                    <a:pt x="936" y="1229"/>
                  </a:lnTo>
                  <a:lnTo>
                    <a:pt x="935" y="1229"/>
                  </a:lnTo>
                  <a:lnTo>
                    <a:pt x="933" y="1227"/>
                  </a:lnTo>
                  <a:lnTo>
                    <a:pt x="933" y="1223"/>
                  </a:lnTo>
                  <a:lnTo>
                    <a:pt x="928" y="1218"/>
                  </a:lnTo>
                  <a:lnTo>
                    <a:pt x="923" y="1217"/>
                  </a:lnTo>
                  <a:lnTo>
                    <a:pt x="919" y="1217"/>
                  </a:lnTo>
                  <a:lnTo>
                    <a:pt x="918" y="1215"/>
                  </a:lnTo>
                  <a:lnTo>
                    <a:pt x="917" y="1214"/>
                  </a:lnTo>
                  <a:lnTo>
                    <a:pt x="916" y="1213"/>
                  </a:lnTo>
                  <a:lnTo>
                    <a:pt x="916" y="1211"/>
                  </a:lnTo>
                  <a:lnTo>
                    <a:pt x="911" y="1211"/>
                  </a:lnTo>
                  <a:lnTo>
                    <a:pt x="907" y="1210"/>
                  </a:lnTo>
                  <a:lnTo>
                    <a:pt x="906" y="1210"/>
                  </a:lnTo>
                  <a:lnTo>
                    <a:pt x="904" y="1209"/>
                  </a:lnTo>
                  <a:lnTo>
                    <a:pt x="903" y="1207"/>
                  </a:lnTo>
                  <a:lnTo>
                    <a:pt x="903" y="1205"/>
                  </a:lnTo>
                  <a:lnTo>
                    <a:pt x="884" y="1205"/>
                  </a:lnTo>
                  <a:lnTo>
                    <a:pt x="884" y="1201"/>
                  </a:lnTo>
                  <a:lnTo>
                    <a:pt x="883" y="1200"/>
                  </a:lnTo>
                  <a:lnTo>
                    <a:pt x="881" y="1199"/>
                  </a:lnTo>
                  <a:lnTo>
                    <a:pt x="879" y="1199"/>
                  </a:lnTo>
                  <a:lnTo>
                    <a:pt x="877" y="1199"/>
                  </a:lnTo>
                  <a:lnTo>
                    <a:pt x="874" y="1198"/>
                  </a:lnTo>
                  <a:lnTo>
                    <a:pt x="873" y="1196"/>
                  </a:lnTo>
                  <a:lnTo>
                    <a:pt x="872" y="1193"/>
                  </a:lnTo>
                  <a:lnTo>
                    <a:pt x="868" y="1193"/>
                  </a:lnTo>
                  <a:lnTo>
                    <a:pt x="864" y="1192"/>
                  </a:lnTo>
                  <a:lnTo>
                    <a:pt x="862" y="1191"/>
                  </a:lnTo>
                  <a:lnTo>
                    <a:pt x="861" y="1190"/>
                  </a:lnTo>
                  <a:lnTo>
                    <a:pt x="861" y="1189"/>
                  </a:lnTo>
                  <a:lnTo>
                    <a:pt x="860" y="1186"/>
                  </a:lnTo>
                  <a:lnTo>
                    <a:pt x="845" y="1185"/>
                  </a:lnTo>
                  <a:lnTo>
                    <a:pt x="825" y="1183"/>
                  </a:lnTo>
                  <a:lnTo>
                    <a:pt x="815" y="1181"/>
                  </a:lnTo>
                  <a:lnTo>
                    <a:pt x="807" y="1179"/>
                  </a:lnTo>
                  <a:lnTo>
                    <a:pt x="802" y="1176"/>
                  </a:lnTo>
                  <a:lnTo>
                    <a:pt x="799" y="1174"/>
                  </a:lnTo>
                  <a:lnTo>
                    <a:pt x="795" y="1174"/>
                  </a:lnTo>
                  <a:lnTo>
                    <a:pt x="791" y="1174"/>
                  </a:lnTo>
                  <a:lnTo>
                    <a:pt x="789" y="1173"/>
                  </a:lnTo>
                  <a:lnTo>
                    <a:pt x="788" y="1172"/>
                  </a:lnTo>
                  <a:lnTo>
                    <a:pt x="787" y="1171"/>
                  </a:lnTo>
                  <a:lnTo>
                    <a:pt x="787" y="1169"/>
                  </a:lnTo>
                  <a:lnTo>
                    <a:pt x="778" y="1167"/>
                  </a:lnTo>
                  <a:lnTo>
                    <a:pt x="758" y="1166"/>
                  </a:lnTo>
                  <a:lnTo>
                    <a:pt x="730" y="1165"/>
                  </a:lnTo>
                  <a:lnTo>
                    <a:pt x="699" y="1164"/>
                  </a:lnTo>
                  <a:lnTo>
                    <a:pt x="669" y="1163"/>
                  </a:lnTo>
                  <a:lnTo>
                    <a:pt x="642" y="1163"/>
                  </a:lnTo>
                  <a:lnTo>
                    <a:pt x="632" y="1164"/>
                  </a:lnTo>
                  <a:lnTo>
                    <a:pt x="623" y="1165"/>
                  </a:lnTo>
                  <a:lnTo>
                    <a:pt x="619" y="1166"/>
                  </a:lnTo>
                  <a:lnTo>
                    <a:pt x="616" y="1169"/>
                  </a:lnTo>
                  <a:lnTo>
                    <a:pt x="574" y="1169"/>
                  </a:lnTo>
                  <a:lnTo>
                    <a:pt x="573" y="1171"/>
                  </a:lnTo>
                  <a:lnTo>
                    <a:pt x="572" y="1172"/>
                  </a:lnTo>
                  <a:lnTo>
                    <a:pt x="570" y="1173"/>
                  </a:lnTo>
                  <a:lnTo>
                    <a:pt x="567" y="1174"/>
                  </a:lnTo>
                  <a:lnTo>
                    <a:pt x="561" y="1174"/>
                  </a:lnTo>
                  <a:lnTo>
                    <a:pt x="555" y="1174"/>
                  </a:lnTo>
                  <a:lnTo>
                    <a:pt x="555" y="1178"/>
                  </a:lnTo>
                  <a:lnTo>
                    <a:pt x="555" y="1180"/>
                  </a:lnTo>
                  <a:lnTo>
                    <a:pt x="554" y="1181"/>
                  </a:lnTo>
                  <a:lnTo>
                    <a:pt x="553" y="1181"/>
                  </a:lnTo>
                  <a:lnTo>
                    <a:pt x="552" y="1181"/>
                  </a:lnTo>
                  <a:lnTo>
                    <a:pt x="551" y="1181"/>
                  </a:lnTo>
                  <a:lnTo>
                    <a:pt x="549" y="1183"/>
                  </a:lnTo>
                  <a:lnTo>
                    <a:pt x="549" y="1186"/>
                  </a:lnTo>
                  <a:lnTo>
                    <a:pt x="544" y="1193"/>
                  </a:lnTo>
                  <a:lnTo>
                    <a:pt x="532" y="1193"/>
                  </a:lnTo>
                  <a:lnTo>
                    <a:pt x="532" y="1205"/>
                  </a:lnTo>
                  <a:lnTo>
                    <a:pt x="530" y="1225"/>
                  </a:lnTo>
                  <a:lnTo>
                    <a:pt x="529" y="1236"/>
                  </a:lnTo>
                  <a:lnTo>
                    <a:pt x="528" y="1246"/>
                  </a:lnTo>
                  <a:lnTo>
                    <a:pt x="527" y="1251"/>
                  </a:lnTo>
                  <a:lnTo>
                    <a:pt x="525" y="1253"/>
                  </a:lnTo>
                  <a:lnTo>
                    <a:pt x="525" y="1262"/>
                  </a:lnTo>
                  <a:lnTo>
                    <a:pt x="525" y="1272"/>
                  </a:lnTo>
                  <a:lnTo>
                    <a:pt x="519" y="1278"/>
                  </a:lnTo>
                  <a:lnTo>
                    <a:pt x="513" y="1285"/>
                  </a:lnTo>
                  <a:lnTo>
                    <a:pt x="508" y="1285"/>
                  </a:lnTo>
                  <a:lnTo>
                    <a:pt x="505" y="1285"/>
                  </a:lnTo>
                  <a:lnTo>
                    <a:pt x="503" y="1286"/>
                  </a:lnTo>
                  <a:lnTo>
                    <a:pt x="501" y="1287"/>
                  </a:lnTo>
                  <a:lnTo>
                    <a:pt x="501" y="1288"/>
                  </a:lnTo>
                  <a:lnTo>
                    <a:pt x="500" y="1290"/>
                  </a:lnTo>
                  <a:lnTo>
                    <a:pt x="494" y="1291"/>
                  </a:lnTo>
                  <a:lnTo>
                    <a:pt x="484" y="1294"/>
                  </a:lnTo>
                  <a:lnTo>
                    <a:pt x="478" y="1296"/>
                  </a:lnTo>
                  <a:lnTo>
                    <a:pt x="475" y="1298"/>
                  </a:lnTo>
                  <a:lnTo>
                    <a:pt x="471" y="1300"/>
                  </a:lnTo>
                  <a:lnTo>
                    <a:pt x="470" y="1303"/>
                  </a:lnTo>
                  <a:lnTo>
                    <a:pt x="459" y="1306"/>
                  </a:lnTo>
                  <a:lnTo>
                    <a:pt x="440" y="1315"/>
                  </a:lnTo>
                  <a:lnTo>
                    <a:pt x="423" y="1323"/>
                  </a:lnTo>
                  <a:lnTo>
                    <a:pt x="415" y="1327"/>
                  </a:lnTo>
                  <a:lnTo>
                    <a:pt x="409" y="1327"/>
                  </a:lnTo>
                  <a:lnTo>
                    <a:pt x="401" y="1327"/>
                  </a:lnTo>
                  <a:lnTo>
                    <a:pt x="398" y="1328"/>
                  </a:lnTo>
                  <a:lnTo>
                    <a:pt x="394" y="1329"/>
                  </a:lnTo>
                  <a:lnTo>
                    <a:pt x="392" y="1330"/>
                  </a:lnTo>
                  <a:lnTo>
                    <a:pt x="391" y="1333"/>
                  </a:lnTo>
                  <a:lnTo>
                    <a:pt x="383" y="1333"/>
                  </a:lnTo>
                  <a:lnTo>
                    <a:pt x="373" y="1334"/>
                  </a:lnTo>
                  <a:lnTo>
                    <a:pt x="369" y="1335"/>
                  </a:lnTo>
                  <a:lnTo>
                    <a:pt x="364" y="1336"/>
                  </a:lnTo>
                  <a:lnTo>
                    <a:pt x="362" y="1337"/>
                  </a:lnTo>
                  <a:lnTo>
                    <a:pt x="361" y="1339"/>
                  </a:lnTo>
                  <a:lnTo>
                    <a:pt x="356" y="1339"/>
                  </a:lnTo>
                  <a:lnTo>
                    <a:pt x="352" y="1339"/>
                  </a:lnTo>
                  <a:lnTo>
                    <a:pt x="351" y="1340"/>
                  </a:lnTo>
                  <a:lnTo>
                    <a:pt x="350" y="1342"/>
                  </a:lnTo>
                  <a:lnTo>
                    <a:pt x="348" y="1343"/>
                  </a:lnTo>
                  <a:lnTo>
                    <a:pt x="348" y="1345"/>
                  </a:lnTo>
                  <a:lnTo>
                    <a:pt x="336" y="1345"/>
                  </a:lnTo>
                  <a:lnTo>
                    <a:pt x="336" y="1348"/>
                  </a:lnTo>
                  <a:lnTo>
                    <a:pt x="335" y="1350"/>
                  </a:lnTo>
                  <a:lnTo>
                    <a:pt x="334" y="1352"/>
                  </a:lnTo>
                  <a:lnTo>
                    <a:pt x="333" y="1352"/>
                  </a:lnTo>
                  <a:lnTo>
                    <a:pt x="332" y="1352"/>
                  </a:lnTo>
                  <a:lnTo>
                    <a:pt x="331" y="1352"/>
                  </a:lnTo>
                  <a:lnTo>
                    <a:pt x="331" y="1354"/>
                  </a:lnTo>
                  <a:lnTo>
                    <a:pt x="330" y="1357"/>
                  </a:lnTo>
                  <a:lnTo>
                    <a:pt x="324" y="1364"/>
                  </a:lnTo>
                  <a:lnTo>
                    <a:pt x="318" y="1369"/>
                  </a:lnTo>
                  <a:lnTo>
                    <a:pt x="312" y="1369"/>
                  </a:lnTo>
                  <a:lnTo>
                    <a:pt x="304" y="1371"/>
                  </a:lnTo>
                  <a:lnTo>
                    <a:pt x="299" y="1371"/>
                  </a:lnTo>
                  <a:lnTo>
                    <a:pt x="296" y="1372"/>
                  </a:lnTo>
                  <a:lnTo>
                    <a:pt x="294" y="1374"/>
                  </a:lnTo>
                  <a:lnTo>
                    <a:pt x="294" y="1375"/>
                  </a:lnTo>
                  <a:lnTo>
                    <a:pt x="274" y="1375"/>
                  </a:lnTo>
                  <a:lnTo>
                    <a:pt x="242" y="1374"/>
                  </a:lnTo>
                  <a:lnTo>
                    <a:pt x="202" y="1373"/>
                  </a:lnTo>
                  <a:lnTo>
                    <a:pt x="159" y="1371"/>
                  </a:lnTo>
                  <a:lnTo>
                    <a:pt x="159" y="1371"/>
                  </a:lnTo>
                  <a:lnTo>
                    <a:pt x="158" y="1371"/>
                  </a:lnTo>
                  <a:lnTo>
                    <a:pt x="151" y="1364"/>
                  </a:lnTo>
                  <a:lnTo>
                    <a:pt x="139" y="1357"/>
                  </a:lnTo>
                  <a:lnTo>
                    <a:pt x="139" y="1344"/>
                  </a:lnTo>
                  <a:lnTo>
                    <a:pt x="134" y="1344"/>
                  </a:lnTo>
                  <a:lnTo>
                    <a:pt x="132" y="1343"/>
                  </a:lnTo>
                  <a:lnTo>
                    <a:pt x="132" y="1342"/>
                  </a:lnTo>
                  <a:lnTo>
                    <a:pt x="132" y="1340"/>
                  </a:lnTo>
                  <a:lnTo>
                    <a:pt x="132" y="1339"/>
                  </a:lnTo>
                  <a:lnTo>
                    <a:pt x="131" y="1338"/>
                  </a:lnTo>
                  <a:lnTo>
                    <a:pt x="129" y="1338"/>
                  </a:lnTo>
                  <a:lnTo>
                    <a:pt x="125" y="1337"/>
                  </a:lnTo>
                  <a:lnTo>
                    <a:pt x="125" y="1325"/>
                  </a:lnTo>
                  <a:lnTo>
                    <a:pt x="121" y="1324"/>
                  </a:lnTo>
                  <a:lnTo>
                    <a:pt x="117" y="1321"/>
                  </a:lnTo>
                  <a:lnTo>
                    <a:pt x="113" y="1319"/>
                  </a:lnTo>
                  <a:lnTo>
                    <a:pt x="110" y="1315"/>
                  </a:lnTo>
                  <a:lnTo>
                    <a:pt x="102" y="1306"/>
                  </a:lnTo>
                  <a:lnTo>
                    <a:pt x="94" y="1295"/>
                  </a:lnTo>
                  <a:lnTo>
                    <a:pt x="87" y="1285"/>
                  </a:lnTo>
                  <a:lnTo>
                    <a:pt x="81" y="1275"/>
                  </a:lnTo>
                  <a:lnTo>
                    <a:pt x="76" y="1268"/>
                  </a:lnTo>
                  <a:lnTo>
                    <a:pt x="73" y="1266"/>
                  </a:lnTo>
                  <a:lnTo>
                    <a:pt x="73" y="1252"/>
                  </a:lnTo>
                  <a:lnTo>
                    <a:pt x="71" y="1252"/>
                  </a:lnTo>
                  <a:lnTo>
                    <a:pt x="68" y="1251"/>
                  </a:lnTo>
                  <a:lnTo>
                    <a:pt x="67" y="1250"/>
                  </a:lnTo>
                  <a:lnTo>
                    <a:pt x="67" y="1248"/>
                  </a:lnTo>
                  <a:lnTo>
                    <a:pt x="66" y="1244"/>
                  </a:lnTo>
                  <a:lnTo>
                    <a:pt x="66" y="1239"/>
                  </a:lnTo>
                  <a:lnTo>
                    <a:pt x="64" y="1239"/>
                  </a:lnTo>
                  <a:lnTo>
                    <a:pt x="62" y="1238"/>
                  </a:lnTo>
                  <a:lnTo>
                    <a:pt x="60" y="1236"/>
                  </a:lnTo>
                  <a:lnTo>
                    <a:pt x="59" y="1233"/>
                  </a:lnTo>
                  <a:lnTo>
                    <a:pt x="58" y="1227"/>
                  </a:lnTo>
                  <a:lnTo>
                    <a:pt x="58" y="1219"/>
                  </a:lnTo>
                  <a:lnTo>
                    <a:pt x="58" y="1203"/>
                  </a:lnTo>
                  <a:lnTo>
                    <a:pt x="59" y="1193"/>
                  </a:lnTo>
                  <a:lnTo>
                    <a:pt x="58" y="1189"/>
                  </a:lnTo>
                  <a:lnTo>
                    <a:pt x="56" y="1182"/>
                  </a:lnTo>
                  <a:lnTo>
                    <a:pt x="53" y="1176"/>
                  </a:lnTo>
                  <a:lnTo>
                    <a:pt x="49" y="1170"/>
                  </a:lnTo>
                  <a:lnTo>
                    <a:pt x="46" y="1163"/>
                  </a:lnTo>
                  <a:lnTo>
                    <a:pt x="43" y="1155"/>
                  </a:lnTo>
                  <a:lnTo>
                    <a:pt x="40" y="1148"/>
                  </a:lnTo>
                  <a:lnTo>
                    <a:pt x="39" y="1141"/>
                  </a:lnTo>
                  <a:lnTo>
                    <a:pt x="37" y="1140"/>
                  </a:lnTo>
                  <a:lnTo>
                    <a:pt x="34" y="1136"/>
                  </a:lnTo>
                  <a:lnTo>
                    <a:pt x="30" y="1131"/>
                  </a:lnTo>
                  <a:lnTo>
                    <a:pt x="27" y="1124"/>
                  </a:lnTo>
                  <a:lnTo>
                    <a:pt x="23" y="1111"/>
                  </a:lnTo>
                  <a:lnTo>
                    <a:pt x="20" y="1102"/>
                  </a:lnTo>
                  <a:lnTo>
                    <a:pt x="17" y="1100"/>
                  </a:lnTo>
                  <a:lnTo>
                    <a:pt x="14" y="1098"/>
                  </a:lnTo>
                  <a:lnTo>
                    <a:pt x="11" y="1094"/>
                  </a:lnTo>
                  <a:lnTo>
                    <a:pt x="9" y="1089"/>
                  </a:lnTo>
                  <a:lnTo>
                    <a:pt x="5" y="1076"/>
                  </a:lnTo>
                  <a:lnTo>
                    <a:pt x="2" y="1060"/>
                  </a:lnTo>
                  <a:lnTo>
                    <a:pt x="0" y="1027"/>
                  </a:lnTo>
                  <a:lnTo>
                    <a:pt x="0" y="1003"/>
                  </a:lnTo>
                  <a:lnTo>
                    <a:pt x="5" y="1002"/>
                  </a:lnTo>
                  <a:lnTo>
                    <a:pt x="6" y="1000"/>
                  </a:lnTo>
                  <a:lnTo>
                    <a:pt x="7" y="997"/>
                  </a:lnTo>
                  <a:lnTo>
                    <a:pt x="7" y="993"/>
                  </a:lnTo>
                  <a:lnTo>
                    <a:pt x="7" y="990"/>
                  </a:lnTo>
                  <a:lnTo>
                    <a:pt x="8" y="987"/>
                  </a:lnTo>
                  <a:lnTo>
                    <a:pt x="10" y="984"/>
                  </a:lnTo>
                  <a:lnTo>
                    <a:pt x="14" y="983"/>
                  </a:lnTo>
                  <a:lnTo>
                    <a:pt x="14" y="964"/>
                  </a:lnTo>
                  <a:lnTo>
                    <a:pt x="20" y="958"/>
                  </a:lnTo>
                  <a:lnTo>
                    <a:pt x="27" y="951"/>
                  </a:lnTo>
                  <a:lnTo>
                    <a:pt x="47" y="951"/>
                  </a:lnTo>
                  <a:lnTo>
                    <a:pt x="69" y="951"/>
                  </a:lnTo>
                  <a:lnTo>
                    <a:pt x="91" y="951"/>
                  </a:lnTo>
                  <a:lnTo>
                    <a:pt x="112" y="951"/>
                  </a:lnTo>
                  <a:lnTo>
                    <a:pt x="113" y="948"/>
                  </a:lnTo>
                  <a:lnTo>
                    <a:pt x="115" y="945"/>
                  </a:lnTo>
                  <a:lnTo>
                    <a:pt x="119" y="944"/>
                  </a:lnTo>
                  <a:lnTo>
                    <a:pt x="122" y="944"/>
                  </a:lnTo>
                  <a:lnTo>
                    <a:pt x="125" y="944"/>
                  </a:lnTo>
                  <a:lnTo>
                    <a:pt x="129" y="943"/>
                  </a:lnTo>
                  <a:lnTo>
                    <a:pt x="131" y="942"/>
                  </a:lnTo>
                  <a:lnTo>
                    <a:pt x="132" y="938"/>
                  </a:lnTo>
                  <a:lnTo>
                    <a:pt x="164" y="938"/>
                  </a:lnTo>
                  <a:lnTo>
                    <a:pt x="178" y="931"/>
                  </a:lnTo>
                  <a:lnTo>
                    <a:pt x="199" y="916"/>
                  </a:lnTo>
                  <a:lnTo>
                    <a:pt x="247" y="882"/>
                  </a:lnTo>
                  <a:lnTo>
                    <a:pt x="296" y="848"/>
                  </a:lnTo>
                  <a:lnTo>
                    <a:pt x="322" y="833"/>
                  </a:lnTo>
                  <a:lnTo>
                    <a:pt x="335" y="817"/>
                  </a:lnTo>
                  <a:lnTo>
                    <a:pt x="347" y="800"/>
                  </a:lnTo>
                  <a:lnTo>
                    <a:pt x="361" y="794"/>
                  </a:lnTo>
                  <a:lnTo>
                    <a:pt x="374" y="787"/>
                  </a:lnTo>
                  <a:lnTo>
                    <a:pt x="374" y="784"/>
                  </a:lnTo>
                  <a:lnTo>
                    <a:pt x="375" y="781"/>
                  </a:lnTo>
                  <a:lnTo>
                    <a:pt x="376" y="780"/>
                  </a:lnTo>
                  <a:lnTo>
                    <a:pt x="378" y="780"/>
                  </a:lnTo>
                  <a:lnTo>
                    <a:pt x="379" y="780"/>
                  </a:lnTo>
                  <a:lnTo>
                    <a:pt x="380" y="780"/>
                  </a:lnTo>
                  <a:lnTo>
                    <a:pt x="381" y="778"/>
                  </a:lnTo>
                  <a:lnTo>
                    <a:pt x="381" y="773"/>
                  </a:lnTo>
                  <a:lnTo>
                    <a:pt x="394" y="773"/>
                  </a:lnTo>
                  <a:lnTo>
                    <a:pt x="394" y="771"/>
                  </a:lnTo>
                  <a:lnTo>
                    <a:pt x="395" y="770"/>
                  </a:lnTo>
                  <a:lnTo>
                    <a:pt x="396" y="769"/>
                  </a:lnTo>
                  <a:lnTo>
                    <a:pt x="398" y="768"/>
                  </a:lnTo>
                  <a:lnTo>
                    <a:pt x="402" y="768"/>
                  </a:lnTo>
                  <a:lnTo>
                    <a:pt x="407" y="767"/>
                  </a:lnTo>
                  <a:lnTo>
                    <a:pt x="408" y="763"/>
                  </a:lnTo>
                  <a:lnTo>
                    <a:pt x="408" y="761"/>
                  </a:lnTo>
                  <a:lnTo>
                    <a:pt x="409" y="761"/>
                  </a:lnTo>
                  <a:lnTo>
                    <a:pt x="410" y="761"/>
                  </a:lnTo>
                  <a:lnTo>
                    <a:pt x="411" y="761"/>
                  </a:lnTo>
                  <a:lnTo>
                    <a:pt x="412" y="760"/>
                  </a:lnTo>
                  <a:lnTo>
                    <a:pt x="413" y="758"/>
                  </a:lnTo>
                  <a:lnTo>
                    <a:pt x="413" y="755"/>
                  </a:lnTo>
                  <a:lnTo>
                    <a:pt x="429" y="756"/>
                  </a:lnTo>
                  <a:lnTo>
                    <a:pt x="451" y="759"/>
                  </a:lnTo>
                  <a:lnTo>
                    <a:pt x="461" y="762"/>
                  </a:lnTo>
                  <a:lnTo>
                    <a:pt x="470" y="766"/>
                  </a:lnTo>
                  <a:lnTo>
                    <a:pt x="474" y="767"/>
                  </a:lnTo>
                  <a:lnTo>
                    <a:pt x="477" y="769"/>
                  </a:lnTo>
                  <a:lnTo>
                    <a:pt x="478" y="771"/>
                  </a:lnTo>
                  <a:lnTo>
                    <a:pt x="479" y="773"/>
                  </a:lnTo>
                  <a:lnTo>
                    <a:pt x="492" y="773"/>
                  </a:lnTo>
                  <a:lnTo>
                    <a:pt x="501" y="761"/>
                  </a:lnTo>
                  <a:lnTo>
                    <a:pt x="511" y="748"/>
                  </a:lnTo>
                  <a:lnTo>
                    <a:pt x="517" y="747"/>
                  </a:lnTo>
                  <a:lnTo>
                    <a:pt x="520" y="743"/>
                  </a:lnTo>
                  <a:lnTo>
                    <a:pt x="524" y="739"/>
                  </a:lnTo>
                  <a:lnTo>
                    <a:pt x="525" y="734"/>
                  </a:lnTo>
                  <a:lnTo>
                    <a:pt x="538" y="734"/>
                  </a:lnTo>
                  <a:lnTo>
                    <a:pt x="539" y="732"/>
                  </a:lnTo>
                  <a:lnTo>
                    <a:pt x="542" y="731"/>
                  </a:lnTo>
                  <a:lnTo>
                    <a:pt x="547" y="730"/>
                  </a:lnTo>
                  <a:lnTo>
                    <a:pt x="553" y="729"/>
                  </a:lnTo>
                  <a:lnTo>
                    <a:pt x="570" y="730"/>
                  </a:lnTo>
                  <a:lnTo>
                    <a:pt x="587" y="731"/>
                  </a:lnTo>
                  <a:lnTo>
                    <a:pt x="605" y="734"/>
                  </a:lnTo>
                  <a:lnTo>
                    <a:pt x="621" y="738"/>
                  </a:lnTo>
                  <a:lnTo>
                    <a:pt x="628" y="740"/>
                  </a:lnTo>
                  <a:lnTo>
                    <a:pt x="632" y="743"/>
                  </a:lnTo>
                  <a:lnTo>
                    <a:pt x="635" y="746"/>
                  </a:lnTo>
                  <a:lnTo>
                    <a:pt x="636" y="748"/>
                  </a:lnTo>
                  <a:lnTo>
                    <a:pt x="655" y="748"/>
                  </a:lnTo>
                  <a:lnTo>
                    <a:pt x="659" y="751"/>
                  </a:lnTo>
                  <a:lnTo>
                    <a:pt x="662" y="755"/>
                  </a:lnTo>
                  <a:lnTo>
                    <a:pt x="666" y="758"/>
                  </a:lnTo>
                  <a:lnTo>
                    <a:pt x="670" y="760"/>
                  </a:lnTo>
                  <a:lnTo>
                    <a:pt x="680" y="765"/>
                  </a:lnTo>
                  <a:lnTo>
                    <a:pt x="691" y="768"/>
                  </a:lnTo>
                  <a:lnTo>
                    <a:pt x="703" y="771"/>
                  </a:lnTo>
                  <a:lnTo>
                    <a:pt x="718" y="773"/>
                  </a:lnTo>
                  <a:lnTo>
                    <a:pt x="733" y="775"/>
                  </a:lnTo>
                  <a:lnTo>
                    <a:pt x="747" y="776"/>
                  </a:lnTo>
                  <a:lnTo>
                    <a:pt x="777" y="776"/>
                  </a:lnTo>
                  <a:lnTo>
                    <a:pt x="806" y="776"/>
                  </a:lnTo>
                  <a:lnTo>
                    <a:pt x="832" y="775"/>
                  </a:lnTo>
                  <a:lnTo>
                    <a:pt x="853" y="773"/>
                  </a:lnTo>
                  <a:lnTo>
                    <a:pt x="853" y="771"/>
                  </a:lnTo>
                  <a:lnTo>
                    <a:pt x="854" y="770"/>
                  </a:lnTo>
                  <a:lnTo>
                    <a:pt x="855" y="769"/>
                  </a:lnTo>
                  <a:lnTo>
                    <a:pt x="856" y="768"/>
                  </a:lnTo>
                  <a:lnTo>
                    <a:pt x="861" y="768"/>
                  </a:lnTo>
                  <a:lnTo>
                    <a:pt x="865" y="767"/>
                  </a:lnTo>
                  <a:lnTo>
                    <a:pt x="866" y="766"/>
                  </a:lnTo>
                  <a:lnTo>
                    <a:pt x="866" y="763"/>
                  </a:lnTo>
                  <a:lnTo>
                    <a:pt x="868" y="762"/>
                  </a:lnTo>
                  <a:lnTo>
                    <a:pt x="870" y="761"/>
                  </a:lnTo>
                  <a:lnTo>
                    <a:pt x="874" y="761"/>
                  </a:lnTo>
                  <a:lnTo>
                    <a:pt x="879" y="761"/>
                  </a:lnTo>
                  <a:lnTo>
                    <a:pt x="885" y="755"/>
                  </a:lnTo>
                  <a:lnTo>
                    <a:pt x="892" y="748"/>
                  </a:lnTo>
                  <a:lnTo>
                    <a:pt x="892" y="728"/>
                  </a:lnTo>
                  <a:lnTo>
                    <a:pt x="892" y="705"/>
                  </a:lnTo>
                  <a:lnTo>
                    <a:pt x="892" y="682"/>
                  </a:lnTo>
                  <a:lnTo>
                    <a:pt x="892" y="659"/>
                  </a:lnTo>
                  <a:lnTo>
                    <a:pt x="892" y="634"/>
                  </a:lnTo>
                  <a:lnTo>
                    <a:pt x="892" y="611"/>
                  </a:lnTo>
                  <a:lnTo>
                    <a:pt x="892" y="587"/>
                  </a:lnTo>
                  <a:lnTo>
                    <a:pt x="892" y="564"/>
                  </a:lnTo>
                  <a:lnTo>
                    <a:pt x="893" y="564"/>
                  </a:lnTo>
                  <a:lnTo>
                    <a:pt x="895" y="560"/>
                  </a:lnTo>
                  <a:lnTo>
                    <a:pt x="897" y="557"/>
                  </a:lnTo>
                  <a:lnTo>
                    <a:pt x="898" y="551"/>
                  </a:lnTo>
                  <a:lnTo>
                    <a:pt x="901" y="536"/>
                  </a:lnTo>
                  <a:lnTo>
                    <a:pt x="903" y="518"/>
                  </a:lnTo>
                  <a:lnTo>
                    <a:pt x="907" y="473"/>
                  </a:lnTo>
                  <a:lnTo>
                    <a:pt x="910" y="426"/>
                  </a:lnTo>
                  <a:lnTo>
                    <a:pt x="914" y="423"/>
                  </a:lnTo>
                  <a:lnTo>
                    <a:pt x="918" y="420"/>
                  </a:lnTo>
                  <a:lnTo>
                    <a:pt x="925" y="419"/>
                  </a:lnTo>
                  <a:lnTo>
                    <a:pt x="933" y="416"/>
                  </a:lnTo>
                  <a:lnTo>
                    <a:pt x="938" y="414"/>
                  </a:lnTo>
                  <a:lnTo>
                    <a:pt x="941" y="412"/>
                  </a:lnTo>
                  <a:lnTo>
                    <a:pt x="943" y="410"/>
                  </a:lnTo>
                  <a:lnTo>
                    <a:pt x="945" y="407"/>
                  </a:lnTo>
                  <a:lnTo>
                    <a:pt x="950" y="406"/>
                  </a:lnTo>
                  <a:lnTo>
                    <a:pt x="957" y="406"/>
                  </a:lnTo>
                  <a:lnTo>
                    <a:pt x="959" y="405"/>
                  </a:lnTo>
                  <a:lnTo>
                    <a:pt x="961" y="404"/>
                  </a:lnTo>
                  <a:lnTo>
                    <a:pt x="964" y="403"/>
                  </a:lnTo>
                  <a:lnTo>
                    <a:pt x="964" y="401"/>
                  </a:lnTo>
                  <a:lnTo>
                    <a:pt x="977" y="401"/>
                  </a:lnTo>
                  <a:lnTo>
                    <a:pt x="978" y="398"/>
                  </a:lnTo>
                  <a:lnTo>
                    <a:pt x="979" y="396"/>
                  </a:lnTo>
                  <a:lnTo>
                    <a:pt x="981" y="395"/>
                  </a:lnTo>
                  <a:lnTo>
                    <a:pt x="984" y="393"/>
                  </a:lnTo>
                  <a:lnTo>
                    <a:pt x="986" y="391"/>
                  </a:lnTo>
                  <a:lnTo>
                    <a:pt x="988" y="388"/>
                  </a:lnTo>
                  <a:lnTo>
                    <a:pt x="989" y="385"/>
                  </a:lnTo>
                  <a:lnTo>
                    <a:pt x="990" y="381"/>
                  </a:lnTo>
                  <a:lnTo>
                    <a:pt x="1004" y="381"/>
                  </a:lnTo>
                  <a:lnTo>
                    <a:pt x="1008" y="376"/>
                  </a:lnTo>
                  <a:lnTo>
                    <a:pt x="1013" y="372"/>
                  </a:lnTo>
                  <a:lnTo>
                    <a:pt x="1018" y="368"/>
                  </a:lnTo>
                  <a:lnTo>
                    <a:pt x="1023" y="367"/>
                  </a:lnTo>
                  <a:lnTo>
                    <a:pt x="1026" y="357"/>
                  </a:lnTo>
                  <a:lnTo>
                    <a:pt x="1029" y="348"/>
                  </a:lnTo>
                  <a:lnTo>
                    <a:pt x="1043" y="342"/>
                  </a:lnTo>
                  <a:lnTo>
                    <a:pt x="1044" y="336"/>
                  </a:lnTo>
                  <a:lnTo>
                    <a:pt x="1047" y="329"/>
                  </a:lnTo>
                  <a:lnTo>
                    <a:pt x="1048" y="326"/>
                  </a:lnTo>
                  <a:lnTo>
                    <a:pt x="1051" y="324"/>
                  </a:lnTo>
                  <a:lnTo>
                    <a:pt x="1053" y="323"/>
                  </a:lnTo>
                  <a:lnTo>
                    <a:pt x="1056" y="321"/>
                  </a:lnTo>
                  <a:lnTo>
                    <a:pt x="1058" y="316"/>
                  </a:lnTo>
                  <a:lnTo>
                    <a:pt x="1063" y="308"/>
                  </a:lnTo>
                  <a:lnTo>
                    <a:pt x="1070" y="301"/>
                  </a:lnTo>
                  <a:lnTo>
                    <a:pt x="1075" y="296"/>
                  </a:lnTo>
                  <a:lnTo>
                    <a:pt x="1075" y="282"/>
                  </a:lnTo>
                  <a:lnTo>
                    <a:pt x="1082" y="276"/>
                  </a:lnTo>
                  <a:lnTo>
                    <a:pt x="1089" y="269"/>
                  </a:lnTo>
                  <a:lnTo>
                    <a:pt x="1102" y="269"/>
                  </a:lnTo>
                  <a:lnTo>
                    <a:pt x="1109" y="256"/>
                  </a:lnTo>
                  <a:lnTo>
                    <a:pt x="1115" y="255"/>
                  </a:lnTo>
                  <a:lnTo>
                    <a:pt x="1124" y="252"/>
                  </a:lnTo>
                  <a:lnTo>
                    <a:pt x="1135" y="248"/>
                  </a:lnTo>
                  <a:lnTo>
                    <a:pt x="1147" y="242"/>
                  </a:lnTo>
                  <a:lnTo>
                    <a:pt x="1168" y="231"/>
                  </a:lnTo>
                  <a:lnTo>
                    <a:pt x="1180" y="223"/>
                  </a:lnTo>
                  <a:lnTo>
                    <a:pt x="1188" y="223"/>
                  </a:lnTo>
                  <a:lnTo>
                    <a:pt x="1199" y="222"/>
                  </a:lnTo>
                  <a:lnTo>
                    <a:pt x="1205" y="222"/>
                  </a:lnTo>
                  <a:lnTo>
                    <a:pt x="1209" y="221"/>
                  </a:lnTo>
                  <a:lnTo>
                    <a:pt x="1213" y="219"/>
                  </a:lnTo>
                  <a:lnTo>
                    <a:pt x="1214" y="217"/>
                  </a:lnTo>
                  <a:lnTo>
                    <a:pt x="1226" y="217"/>
                  </a:lnTo>
                  <a:lnTo>
                    <a:pt x="1248" y="218"/>
                  </a:lnTo>
                  <a:lnTo>
                    <a:pt x="1259" y="219"/>
                  </a:lnTo>
                  <a:lnTo>
                    <a:pt x="1269" y="220"/>
                  </a:lnTo>
                  <a:lnTo>
                    <a:pt x="1276" y="221"/>
                  </a:lnTo>
                  <a:lnTo>
                    <a:pt x="1278" y="223"/>
                  </a:lnTo>
                  <a:lnTo>
                    <a:pt x="1307" y="224"/>
                  </a:lnTo>
                  <a:lnTo>
                    <a:pt x="1352" y="224"/>
                  </a:lnTo>
                  <a:lnTo>
                    <a:pt x="1373" y="223"/>
                  </a:lnTo>
                  <a:lnTo>
                    <a:pt x="1392" y="221"/>
                  </a:lnTo>
                  <a:lnTo>
                    <a:pt x="1399" y="219"/>
                  </a:lnTo>
                  <a:lnTo>
                    <a:pt x="1405" y="217"/>
                  </a:lnTo>
                  <a:lnTo>
                    <a:pt x="1409" y="213"/>
                  </a:lnTo>
                  <a:lnTo>
                    <a:pt x="1410" y="210"/>
                  </a:lnTo>
                  <a:lnTo>
                    <a:pt x="1415" y="210"/>
                  </a:lnTo>
                  <a:lnTo>
                    <a:pt x="1419" y="210"/>
                  </a:lnTo>
                  <a:lnTo>
                    <a:pt x="1420" y="209"/>
                  </a:lnTo>
                  <a:lnTo>
                    <a:pt x="1421" y="208"/>
                  </a:lnTo>
                  <a:lnTo>
                    <a:pt x="1422" y="205"/>
                  </a:lnTo>
                  <a:lnTo>
                    <a:pt x="1422" y="203"/>
                  </a:lnTo>
                  <a:lnTo>
                    <a:pt x="1436" y="203"/>
                  </a:lnTo>
                  <a:lnTo>
                    <a:pt x="1442" y="198"/>
                  </a:lnTo>
                  <a:lnTo>
                    <a:pt x="1449" y="191"/>
                  </a:lnTo>
                  <a:lnTo>
                    <a:pt x="1447" y="162"/>
                  </a:lnTo>
                  <a:lnTo>
                    <a:pt x="1444" y="117"/>
                  </a:lnTo>
                  <a:lnTo>
                    <a:pt x="1441" y="96"/>
                  </a:lnTo>
                  <a:lnTo>
                    <a:pt x="1441" y="77"/>
                  </a:lnTo>
                  <a:lnTo>
                    <a:pt x="1440" y="70"/>
                  </a:lnTo>
                  <a:lnTo>
                    <a:pt x="1441" y="65"/>
                  </a:lnTo>
                  <a:lnTo>
                    <a:pt x="1441" y="60"/>
                  </a:lnTo>
                  <a:lnTo>
                    <a:pt x="1442" y="59"/>
                  </a:lnTo>
                  <a:lnTo>
                    <a:pt x="1442" y="47"/>
                  </a:lnTo>
                  <a:lnTo>
                    <a:pt x="1445" y="46"/>
                  </a:lnTo>
                  <a:lnTo>
                    <a:pt x="1447" y="45"/>
                  </a:lnTo>
                  <a:lnTo>
                    <a:pt x="1448" y="42"/>
                  </a:lnTo>
                  <a:lnTo>
                    <a:pt x="1450" y="40"/>
                  </a:lnTo>
                  <a:lnTo>
                    <a:pt x="1453" y="38"/>
                  </a:lnTo>
                  <a:lnTo>
                    <a:pt x="1455" y="36"/>
                  </a:lnTo>
                  <a:lnTo>
                    <a:pt x="1458" y="34"/>
                  </a:lnTo>
                  <a:lnTo>
                    <a:pt x="1463" y="34"/>
                  </a:lnTo>
                  <a:lnTo>
                    <a:pt x="1463" y="20"/>
                  </a:lnTo>
                  <a:lnTo>
                    <a:pt x="1466" y="19"/>
                  </a:lnTo>
                  <a:lnTo>
                    <a:pt x="1469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0" name="Freeform 46"/>
            <p:cNvSpPr>
              <a:spLocks noChangeAspect="1" noEditPoints="1"/>
            </p:cNvSpPr>
            <p:nvPr/>
          </p:nvSpPr>
          <p:spPr bwMode="gray">
            <a:xfrm rot="355651">
              <a:off x="6157200" y="2771775"/>
              <a:ext cx="197836" cy="242730"/>
            </a:xfrm>
            <a:custGeom>
              <a:avLst/>
              <a:gdLst/>
              <a:ahLst/>
              <a:cxnLst>
                <a:cxn ang="0">
                  <a:pos x="829" y="52"/>
                </a:cxn>
                <a:cxn ang="0">
                  <a:pos x="813" y="35"/>
                </a:cxn>
                <a:cxn ang="0">
                  <a:pos x="782" y="0"/>
                </a:cxn>
                <a:cxn ang="0">
                  <a:pos x="687" y="46"/>
                </a:cxn>
                <a:cxn ang="0">
                  <a:pos x="665" y="77"/>
                </a:cxn>
                <a:cxn ang="0">
                  <a:pos x="640" y="103"/>
                </a:cxn>
                <a:cxn ang="0">
                  <a:pos x="604" y="134"/>
                </a:cxn>
                <a:cxn ang="0">
                  <a:pos x="592" y="222"/>
                </a:cxn>
                <a:cxn ang="0">
                  <a:pos x="578" y="242"/>
                </a:cxn>
                <a:cxn ang="0">
                  <a:pos x="505" y="300"/>
                </a:cxn>
                <a:cxn ang="0">
                  <a:pos x="489" y="340"/>
                </a:cxn>
                <a:cxn ang="0">
                  <a:pos x="417" y="395"/>
                </a:cxn>
                <a:cxn ang="0">
                  <a:pos x="395" y="420"/>
                </a:cxn>
                <a:cxn ang="0">
                  <a:pos x="340" y="455"/>
                </a:cxn>
                <a:cxn ang="0">
                  <a:pos x="310" y="521"/>
                </a:cxn>
                <a:cxn ang="0">
                  <a:pos x="261" y="569"/>
                </a:cxn>
                <a:cxn ang="0">
                  <a:pos x="213" y="614"/>
                </a:cxn>
                <a:cxn ang="0">
                  <a:pos x="187" y="629"/>
                </a:cxn>
                <a:cxn ang="0">
                  <a:pos x="158" y="662"/>
                </a:cxn>
                <a:cxn ang="0">
                  <a:pos x="144" y="713"/>
                </a:cxn>
                <a:cxn ang="0">
                  <a:pos x="40" y="845"/>
                </a:cxn>
                <a:cxn ang="0">
                  <a:pos x="4" y="884"/>
                </a:cxn>
                <a:cxn ang="0">
                  <a:pos x="65" y="1007"/>
                </a:cxn>
                <a:cxn ang="0">
                  <a:pos x="189" y="1011"/>
                </a:cxn>
                <a:cxn ang="0">
                  <a:pos x="216" y="1037"/>
                </a:cxn>
                <a:cxn ang="0">
                  <a:pos x="257" y="1077"/>
                </a:cxn>
                <a:cxn ang="0">
                  <a:pos x="418" y="1052"/>
                </a:cxn>
                <a:cxn ang="0">
                  <a:pos x="456" y="1054"/>
                </a:cxn>
                <a:cxn ang="0">
                  <a:pos x="473" y="1102"/>
                </a:cxn>
                <a:cxn ang="0">
                  <a:pos x="493" y="1179"/>
                </a:cxn>
                <a:cxn ang="0">
                  <a:pos x="503" y="1203"/>
                </a:cxn>
                <a:cxn ang="0">
                  <a:pos x="534" y="1251"/>
                </a:cxn>
                <a:cxn ang="0">
                  <a:pos x="543" y="1280"/>
                </a:cxn>
                <a:cxn ang="0">
                  <a:pos x="593" y="1323"/>
                </a:cxn>
                <a:cxn ang="0">
                  <a:pos x="633" y="1365"/>
                </a:cxn>
                <a:cxn ang="0">
                  <a:pos x="708" y="1412"/>
                </a:cxn>
                <a:cxn ang="0">
                  <a:pos x="748" y="1425"/>
                </a:cxn>
                <a:cxn ang="0">
                  <a:pos x="790" y="1455"/>
                </a:cxn>
                <a:cxn ang="0">
                  <a:pos x="858" y="1487"/>
                </a:cxn>
                <a:cxn ang="0">
                  <a:pos x="986" y="1509"/>
                </a:cxn>
                <a:cxn ang="0">
                  <a:pos x="1079" y="1480"/>
                </a:cxn>
                <a:cxn ang="0">
                  <a:pos x="1035" y="1373"/>
                </a:cxn>
                <a:cxn ang="0">
                  <a:pos x="1021" y="1342"/>
                </a:cxn>
                <a:cxn ang="0">
                  <a:pos x="1007" y="1320"/>
                </a:cxn>
                <a:cxn ang="0">
                  <a:pos x="940" y="1246"/>
                </a:cxn>
                <a:cxn ang="0">
                  <a:pos x="929" y="1154"/>
                </a:cxn>
                <a:cxn ang="0">
                  <a:pos x="902" y="1114"/>
                </a:cxn>
                <a:cxn ang="0">
                  <a:pos x="838" y="1084"/>
                </a:cxn>
                <a:cxn ang="0">
                  <a:pos x="822" y="1012"/>
                </a:cxn>
                <a:cxn ang="0">
                  <a:pos x="880" y="952"/>
                </a:cxn>
                <a:cxn ang="0">
                  <a:pos x="877" y="877"/>
                </a:cxn>
                <a:cxn ang="0">
                  <a:pos x="861" y="815"/>
                </a:cxn>
                <a:cxn ang="0">
                  <a:pos x="857" y="721"/>
                </a:cxn>
                <a:cxn ang="0">
                  <a:pos x="919" y="642"/>
                </a:cxn>
                <a:cxn ang="0">
                  <a:pos x="966" y="606"/>
                </a:cxn>
                <a:cxn ang="0">
                  <a:pos x="1007" y="570"/>
                </a:cxn>
                <a:cxn ang="0">
                  <a:pos x="1025" y="451"/>
                </a:cxn>
                <a:cxn ang="0">
                  <a:pos x="1011" y="291"/>
                </a:cxn>
                <a:cxn ang="0">
                  <a:pos x="1025" y="240"/>
                </a:cxn>
                <a:cxn ang="0">
                  <a:pos x="1038" y="165"/>
                </a:cxn>
                <a:cxn ang="0">
                  <a:pos x="1042" y="79"/>
                </a:cxn>
              </a:cxnLst>
              <a:rect l="0" t="0" r="r" b="b"/>
              <a:pathLst>
                <a:path w="1115" h="1510">
                  <a:moveTo>
                    <a:pt x="1043" y="79"/>
                  </a:moveTo>
                  <a:lnTo>
                    <a:pt x="1016" y="78"/>
                  </a:lnTo>
                  <a:lnTo>
                    <a:pt x="988" y="76"/>
                  </a:lnTo>
                  <a:lnTo>
                    <a:pt x="962" y="73"/>
                  </a:lnTo>
                  <a:lnTo>
                    <a:pt x="940" y="71"/>
                  </a:lnTo>
                  <a:lnTo>
                    <a:pt x="838" y="71"/>
                  </a:lnTo>
                  <a:lnTo>
                    <a:pt x="838" y="56"/>
                  </a:lnTo>
                  <a:lnTo>
                    <a:pt x="834" y="56"/>
                  </a:lnTo>
                  <a:lnTo>
                    <a:pt x="831" y="55"/>
                  </a:lnTo>
                  <a:lnTo>
                    <a:pt x="829" y="52"/>
                  </a:lnTo>
                  <a:lnTo>
                    <a:pt x="827" y="51"/>
                  </a:lnTo>
                  <a:lnTo>
                    <a:pt x="824" y="48"/>
                  </a:lnTo>
                  <a:lnTo>
                    <a:pt x="823" y="46"/>
                  </a:lnTo>
                  <a:lnTo>
                    <a:pt x="822" y="42"/>
                  </a:lnTo>
                  <a:lnTo>
                    <a:pt x="822" y="40"/>
                  </a:lnTo>
                  <a:lnTo>
                    <a:pt x="816" y="40"/>
                  </a:lnTo>
                  <a:lnTo>
                    <a:pt x="814" y="39"/>
                  </a:lnTo>
                  <a:lnTo>
                    <a:pt x="814" y="38"/>
                  </a:lnTo>
                  <a:lnTo>
                    <a:pt x="813" y="36"/>
                  </a:lnTo>
                  <a:lnTo>
                    <a:pt x="813" y="35"/>
                  </a:lnTo>
                  <a:lnTo>
                    <a:pt x="813" y="34"/>
                  </a:lnTo>
                  <a:lnTo>
                    <a:pt x="810" y="32"/>
                  </a:lnTo>
                  <a:lnTo>
                    <a:pt x="805" y="32"/>
                  </a:lnTo>
                  <a:lnTo>
                    <a:pt x="805" y="17"/>
                  </a:lnTo>
                  <a:lnTo>
                    <a:pt x="799" y="15"/>
                  </a:lnTo>
                  <a:lnTo>
                    <a:pt x="791" y="11"/>
                  </a:lnTo>
                  <a:lnTo>
                    <a:pt x="787" y="9"/>
                  </a:lnTo>
                  <a:lnTo>
                    <a:pt x="784" y="7"/>
                  </a:lnTo>
                  <a:lnTo>
                    <a:pt x="783" y="3"/>
                  </a:lnTo>
                  <a:lnTo>
                    <a:pt x="782" y="0"/>
                  </a:lnTo>
                  <a:lnTo>
                    <a:pt x="718" y="0"/>
                  </a:lnTo>
                  <a:lnTo>
                    <a:pt x="710" y="8"/>
                  </a:lnTo>
                  <a:lnTo>
                    <a:pt x="703" y="17"/>
                  </a:lnTo>
                  <a:lnTo>
                    <a:pt x="695" y="25"/>
                  </a:lnTo>
                  <a:lnTo>
                    <a:pt x="695" y="40"/>
                  </a:lnTo>
                  <a:lnTo>
                    <a:pt x="690" y="40"/>
                  </a:lnTo>
                  <a:lnTo>
                    <a:pt x="688" y="41"/>
                  </a:lnTo>
                  <a:lnTo>
                    <a:pt x="687" y="42"/>
                  </a:lnTo>
                  <a:lnTo>
                    <a:pt x="687" y="44"/>
                  </a:lnTo>
                  <a:lnTo>
                    <a:pt x="687" y="46"/>
                  </a:lnTo>
                  <a:lnTo>
                    <a:pt x="686" y="47"/>
                  </a:lnTo>
                  <a:lnTo>
                    <a:pt x="684" y="48"/>
                  </a:lnTo>
                  <a:lnTo>
                    <a:pt x="679" y="48"/>
                  </a:lnTo>
                  <a:lnTo>
                    <a:pt x="679" y="64"/>
                  </a:lnTo>
                  <a:lnTo>
                    <a:pt x="677" y="65"/>
                  </a:lnTo>
                  <a:lnTo>
                    <a:pt x="675" y="66"/>
                  </a:lnTo>
                  <a:lnTo>
                    <a:pt x="672" y="69"/>
                  </a:lnTo>
                  <a:lnTo>
                    <a:pt x="670" y="71"/>
                  </a:lnTo>
                  <a:lnTo>
                    <a:pt x="668" y="75"/>
                  </a:lnTo>
                  <a:lnTo>
                    <a:pt x="665" y="77"/>
                  </a:lnTo>
                  <a:lnTo>
                    <a:pt x="661" y="79"/>
                  </a:lnTo>
                  <a:lnTo>
                    <a:pt x="656" y="79"/>
                  </a:lnTo>
                  <a:lnTo>
                    <a:pt x="655" y="85"/>
                  </a:lnTo>
                  <a:lnTo>
                    <a:pt x="654" y="89"/>
                  </a:lnTo>
                  <a:lnTo>
                    <a:pt x="650" y="92"/>
                  </a:lnTo>
                  <a:lnTo>
                    <a:pt x="648" y="94"/>
                  </a:lnTo>
                  <a:lnTo>
                    <a:pt x="645" y="96"/>
                  </a:lnTo>
                  <a:lnTo>
                    <a:pt x="642" y="98"/>
                  </a:lnTo>
                  <a:lnTo>
                    <a:pt x="640" y="100"/>
                  </a:lnTo>
                  <a:lnTo>
                    <a:pt x="640" y="103"/>
                  </a:lnTo>
                  <a:lnTo>
                    <a:pt x="624" y="103"/>
                  </a:lnTo>
                  <a:lnTo>
                    <a:pt x="616" y="112"/>
                  </a:lnTo>
                  <a:lnTo>
                    <a:pt x="616" y="127"/>
                  </a:lnTo>
                  <a:lnTo>
                    <a:pt x="611" y="127"/>
                  </a:lnTo>
                  <a:lnTo>
                    <a:pt x="609" y="128"/>
                  </a:lnTo>
                  <a:lnTo>
                    <a:pt x="608" y="129"/>
                  </a:lnTo>
                  <a:lnTo>
                    <a:pt x="608" y="131"/>
                  </a:lnTo>
                  <a:lnTo>
                    <a:pt x="608" y="133"/>
                  </a:lnTo>
                  <a:lnTo>
                    <a:pt x="607" y="134"/>
                  </a:lnTo>
                  <a:lnTo>
                    <a:pt x="604" y="134"/>
                  </a:lnTo>
                  <a:lnTo>
                    <a:pt x="600" y="135"/>
                  </a:lnTo>
                  <a:lnTo>
                    <a:pt x="600" y="166"/>
                  </a:lnTo>
                  <a:lnTo>
                    <a:pt x="599" y="167"/>
                  </a:lnTo>
                  <a:lnTo>
                    <a:pt x="598" y="169"/>
                  </a:lnTo>
                  <a:lnTo>
                    <a:pt x="597" y="171"/>
                  </a:lnTo>
                  <a:lnTo>
                    <a:pt x="595" y="174"/>
                  </a:lnTo>
                  <a:lnTo>
                    <a:pt x="594" y="182"/>
                  </a:lnTo>
                  <a:lnTo>
                    <a:pt x="593" y="191"/>
                  </a:lnTo>
                  <a:lnTo>
                    <a:pt x="592" y="210"/>
                  </a:lnTo>
                  <a:lnTo>
                    <a:pt x="592" y="222"/>
                  </a:lnTo>
                  <a:lnTo>
                    <a:pt x="590" y="222"/>
                  </a:lnTo>
                  <a:lnTo>
                    <a:pt x="588" y="223"/>
                  </a:lnTo>
                  <a:lnTo>
                    <a:pt x="587" y="224"/>
                  </a:lnTo>
                  <a:lnTo>
                    <a:pt x="585" y="227"/>
                  </a:lnTo>
                  <a:lnTo>
                    <a:pt x="584" y="232"/>
                  </a:lnTo>
                  <a:lnTo>
                    <a:pt x="584" y="238"/>
                  </a:lnTo>
                  <a:lnTo>
                    <a:pt x="582" y="238"/>
                  </a:lnTo>
                  <a:lnTo>
                    <a:pt x="580" y="239"/>
                  </a:lnTo>
                  <a:lnTo>
                    <a:pt x="579" y="240"/>
                  </a:lnTo>
                  <a:lnTo>
                    <a:pt x="578" y="242"/>
                  </a:lnTo>
                  <a:lnTo>
                    <a:pt x="576" y="248"/>
                  </a:lnTo>
                  <a:lnTo>
                    <a:pt x="576" y="253"/>
                  </a:lnTo>
                  <a:lnTo>
                    <a:pt x="561" y="253"/>
                  </a:lnTo>
                  <a:lnTo>
                    <a:pt x="553" y="261"/>
                  </a:lnTo>
                  <a:lnTo>
                    <a:pt x="545" y="269"/>
                  </a:lnTo>
                  <a:lnTo>
                    <a:pt x="545" y="285"/>
                  </a:lnTo>
                  <a:lnTo>
                    <a:pt x="533" y="285"/>
                  </a:lnTo>
                  <a:lnTo>
                    <a:pt x="521" y="285"/>
                  </a:lnTo>
                  <a:lnTo>
                    <a:pt x="513" y="292"/>
                  </a:lnTo>
                  <a:lnTo>
                    <a:pt x="505" y="300"/>
                  </a:lnTo>
                  <a:lnTo>
                    <a:pt x="505" y="313"/>
                  </a:lnTo>
                  <a:lnTo>
                    <a:pt x="505" y="325"/>
                  </a:lnTo>
                  <a:lnTo>
                    <a:pt x="503" y="325"/>
                  </a:lnTo>
                  <a:lnTo>
                    <a:pt x="499" y="326"/>
                  </a:lnTo>
                  <a:lnTo>
                    <a:pt x="497" y="327"/>
                  </a:lnTo>
                  <a:lnTo>
                    <a:pt x="495" y="329"/>
                  </a:lnTo>
                  <a:lnTo>
                    <a:pt x="493" y="331"/>
                  </a:lnTo>
                  <a:lnTo>
                    <a:pt x="491" y="335"/>
                  </a:lnTo>
                  <a:lnTo>
                    <a:pt x="489" y="337"/>
                  </a:lnTo>
                  <a:lnTo>
                    <a:pt x="489" y="340"/>
                  </a:lnTo>
                  <a:lnTo>
                    <a:pt x="482" y="348"/>
                  </a:lnTo>
                  <a:lnTo>
                    <a:pt x="469" y="353"/>
                  </a:lnTo>
                  <a:lnTo>
                    <a:pt x="458" y="356"/>
                  </a:lnTo>
                  <a:lnTo>
                    <a:pt x="450" y="364"/>
                  </a:lnTo>
                  <a:lnTo>
                    <a:pt x="448" y="367"/>
                  </a:lnTo>
                  <a:lnTo>
                    <a:pt x="444" y="373"/>
                  </a:lnTo>
                  <a:lnTo>
                    <a:pt x="437" y="378"/>
                  </a:lnTo>
                  <a:lnTo>
                    <a:pt x="430" y="384"/>
                  </a:lnTo>
                  <a:lnTo>
                    <a:pt x="422" y="390"/>
                  </a:lnTo>
                  <a:lnTo>
                    <a:pt x="417" y="395"/>
                  </a:lnTo>
                  <a:lnTo>
                    <a:pt x="412" y="400"/>
                  </a:lnTo>
                  <a:lnTo>
                    <a:pt x="410" y="404"/>
                  </a:lnTo>
                  <a:lnTo>
                    <a:pt x="408" y="404"/>
                  </a:lnTo>
                  <a:lnTo>
                    <a:pt x="405" y="405"/>
                  </a:lnTo>
                  <a:lnTo>
                    <a:pt x="402" y="406"/>
                  </a:lnTo>
                  <a:lnTo>
                    <a:pt x="400" y="409"/>
                  </a:lnTo>
                  <a:lnTo>
                    <a:pt x="398" y="411"/>
                  </a:lnTo>
                  <a:lnTo>
                    <a:pt x="396" y="414"/>
                  </a:lnTo>
                  <a:lnTo>
                    <a:pt x="395" y="416"/>
                  </a:lnTo>
                  <a:lnTo>
                    <a:pt x="395" y="420"/>
                  </a:lnTo>
                  <a:lnTo>
                    <a:pt x="379" y="420"/>
                  </a:lnTo>
                  <a:lnTo>
                    <a:pt x="371" y="435"/>
                  </a:lnTo>
                  <a:lnTo>
                    <a:pt x="355" y="443"/>
                  </a:lnTo>
                  <a:lnTo>
                    <a:pt x="352" y="443"/>
                  </a:lnTo>
                  <a:lnTo>
                    <a:pt x="350" y="444"/>
                  </a:lnTo>
                  <a:lnTo>
                    <a:pt x="347" y="446"/>
                  </a:lnTo>
                  <a:lnTo>
                    <a:pt x="344" y="448"/>
                  </a:lnTo>
                  <a:lnTo>
                    <a:pt x="342" y="451"/>
                  </a:lnTo>
                  <a:lnTo>
                    <a:pt x="341" y="453"/>
                  </a:lnTo>
                  <a:lnTo>
                    <a:pt x="340" y="455"/>
                  </a:lnTo>
                  <a:lnTo>
                    <a:pt x="340" y="459"/>
                  </a:lnTo>
                  <a:lnTo>
                    <a:pt x="336" y="460"/>
                  </a:lnTo>
                  <a:lnTo>
                    <a:pt x="333" y="464"/>
                  </a:lnTo>
                  <a:lnTo>
                    <a:pt x="331" y="469"/>
                  </a:lnTo>
                  <a:lnTo>
                    <a:pt x="329" y="475"/>
                  </a:lnTo>
                  <a:lnTo>
                    <a:pt x="325" y="489"/>
                  </a:lnTo>
                  <a:lnTo>
                    <a:pt x="323" y="499"/>
                  </a:lnTo>
                  <a:lnTo>
                    <a:pt x="321" y="502"/>
                  </a:lnTo>
                  <a:lnTo>
                    <a:pt x="315" y="511"/>
                  </a:lnTo>
                  <a:lnTo>
                    <a:pt x="310" y="521"/>
                  </a:lnTo>
                  <a:lnTo>
                    <a:pt x="307" y="530"/>
                  </a:lnTo>
                  <a:lnTo>
                    <a:pt x="304" y="531"/>
                  </a:lnTo>
                  <a:lnTo>
                    <a:pt x="300" y="535"/>
                  </a:lnTo>
                  <a:lnTo>
                    <a:pt x="294" y="540"/>
                  </a:lnTo>
                  <a:lnTo>
                    <a:pt x="288" y="546"/>
                  </a:lnTo>
                  <a:lnTo>
                    <a:pt x="282" y="551"/>
                  </a:lnTo>
                  <a:lnTo>
                    <a:pt x="276" y="557"/>
                  </a:lnTo>
                  <a:lnTo>
                    <a:pt x="272" y="560"/>
                  </a:lnTo>
                  <a:lnTo>
                    <a:pt x="268" y="561"/>
                  </a:lnTo>
                  <a:lnTo>
                    <a:pt x="261" y="569"/>
                  </a:lnTo>
                  <a:lnTo>
                    <a:pt x="253" y="577"/>
                  </a:lnTo>
                  <a:lnTo>
                    <a:pt x="251" y="581"/>
                  </a:lnTo>
                  <a:lnTo>
                    <a:pt x="247" y="586"/>
                  </a:lnTo>
                  <a:lnTo>
                    <a:pt x="242" y="590"/>
                  </a:lnTo>
                  <a:lnTo>
                    <a:pt x="236" y="596"/>
                  </a:lnTo>
                  <a:lnTo>
                    <a:pt x="229" y="602"/>
                  </a:lnTo>
                  <a:lnTo>
                    <a:pt x="223" y="605"/>
                  </a:lnTo>
                  <a:lnTo>
                    <a:pt x="217" y="608"/>
                  </a:lnTo>
                  <a:lnTo>
                    <a:pt x="213" y="609"/>
                  </a:lnTo>
                  <a:lnTo>
                    <a:pt x="213" y="614"/>
                  </a:lnTo>
                  <a:lnTo>
                    <a:pt x="211" y="616"/>
                  </a:lnTo>
                  <a:lnTo>
                    <a:pt x="210" y="617"/>
                  </a:lnTo>
                  <a:lnTo>
                    <a:pt x="209" y="617"/>
                  </a:lnTo>
                  <a:lnTo>
                    <a:pt x="207" y="617"/>
                  </a:lnTo>
                  <a:lnTo>
                    <a:pt x="206" y="618"/>
                  </a:lnTo>
                  <a:lnTo>
                    <a:pt x="205" y="621"/>
                  </a:lnTo>
                  <a:lnTo>
                    <a:pt x="205" y="625"/>
                  </a:lnTo>
                  <a:lnTo>
                    <a:pt x="189" y="625"/>
                  </a:lnTo>
                  <a:lnTo>
                    <a:pt x="188" y="627"/>
                  </a:lnTo>
                  <a:lnTo>
                    <a:pt x="187" y="629"/>
                  </a:lnTo>
                  <a:lnTo>
                    <a:pt x="185" y="632"/>
                  </a:lnTo>
                  <a:lnTo>
                    <a:pt x="181" y="634"/>
                  </a:lnTo>
                  <a:lnTo>
                    <a:pt x="178" y="636"/>
                  </a:lnTo>
                  <a:lnTo>
                    <a:pt x="176" y="640"/>
                  </a:lnTo>
                  <a:lnTo>
                    <a:pt x="173" y="643"/>
                  </a:lnTo>
                  <a:lnTo>
                    <a:pt x="173" y="648"/>
                  </a:lnTo>
                  <a:lnTo>
                    <a:pt x="162" y="651"/>
                  </a:lnTo>
                  <a:lnTo>
                    <a:pt x="150" y="655"/>
                  </a:lnTo>
                  <a:lnTo>
                    <a:pt x="155" y="660"/>
                  </a:lnTo>
                  <a:lnTo>
                    <a:pt x="158" y="662"/>
                  </a:lnTo>
                  <a:lnTo>
                    <a:pt x="158" y="675"/>
                  </a:lnTo>
                  <a:lnTo>
                    <a:pt x="159" y="675"/>
                  </a:lnTo>
                  <a:lnTo>
                    <a:pt x="161" y="677"/>
                  </a:lnTo>
                  <a:lnTo>
                    <a:pt x="162" y="682"/>
                  </a:lnTo>
                  <a:lnTo>
                    <a:pt x="163" y="685"/>
                  </a:lnTo>
                  <a:lnTo>
                    <a:pt x="163" y="694"/>
                  </a:lnTo>
                  <a:lnTo>
                    <a:pt x="163" y="701"/>
                  </a:lnTo>
                  <a:lnTo>
                    <a:pt x="158" y="702"/>
                  </a:lnTo>
                  <a:lnTo>
                    <a:pt x="152" y="706"/>
                  </a:lnTo>
                  <a:lnTo>
                    <a:pt x="144" y="713"/>
                  </a:lnTo>
                  <a:lnTo>
                    <a:pt x="137" y="721"/>
                  </a:lnTo>
                  <a:lnTo>
                    <a:pt x="118" y="742"/>
                  </a:lnTo>
                  <a:lnTo>
                    <a:pt x="99" y="767"/>
                  </a:lnTo>
                  <a:lnTo>
                    <a:pt x="81" y="790"/>
                  </a:lnTo>
                  <a:lnTo>
                    <a:pt x="63" y="811"/>
                  </a:lnTo>
                  <a:lnTo>
                    <a:pt x="56" y="820"/>
                  </a:lnTo>
                  <a:lnTo>
                    <a:pt x="50" y="827"/>
                  </a:lnTo>
                  <a:lnTo>
                    <a:pt x="44" y="830"/>
                  </a:lnTo>
                  <a:lnTo>
                    <a:pt x="40" y="833"/>
                  </a:lnTo>
                  <a:lnTo>
                    <a:pt x="40" y="845"/>
                  </a:lnTo>
                  <a:lnTo>
                    <a:pt x="29" y="852"/>
                  </a:lnTo>
                  <a:lnTo>
                    <a:pt x="19" y="858"/>
                  </a:lnTo>
                  <a:lnTo>
                    <a:pt x="19" y="872"/>
                  </a:lnTo>
                  <a:lnTo>
                    <a:pt x="17" y="872"/>
                  </a:lnTo>
                  <a:lnTo>
                    <a:pt x="16" y="874"/>
                  </a:lnTo>
                  <a:lnTo>
                    <a:pt x="14" y="876"/>
                  </a:lnTo>
                  <a:lnTo>
                    <a:pt x="13" y="878"/>
                  </a:lnTo>
                  <a:lnTo>
                    <a:pt x="11" y="881"/>
                  </a:lnTo>
                  <a:lnTo>
                    <a:pt x="7" y="883"/>
                  </a:lnTo>
                  <a:lnTo>
                    <a:pt x="4" y="884"/>
                  </a:lnTo>
                  <a:lnTo>
                    <a:pt x="0" y="885"/>
                  </a:lnTo>
                  <a:lnTo>
                    <a:pt x="0" y="913"/>
                  </a:lnTo>
                  <a:lnTo>
                    <a:pt x="2" y="941"/>
                  </a:lnTo>
                  <a:lnTo>
                    <a:pt x="4" y="968"/>
                  </a:lnTo>
                  <a:lnTo>
                    <a:pt x="7" y="996"/>
                  </a:lnTo>
                  <a:lnTo>
                    <a:pt x="25" y="997"/>
                  </a:lnTo>
                  <a:lnTo>
                    <a:pt x="43" y="1000"/>
                  </a:lnTo>
                  <a:lnTo>
                    <a:pt x="52" y="1002"/>
                  </a:lnTo>
                  <a:lnTo>
                    <a:pt x="59" y="1004"/>
                  </a:lnTo>
                  <a:lnTo>
                    <a:pt x="65" y="1007"/>
                  </a:lnTo>
                  <a:lnTo>
                    <a:pt x="69" y="1010"/>
                  </a:lnTo>
                  <a:lnTo>
                    <a:pt x="83" y="1010"/>
                  </a:lnTo>
                  <a:lnTo>
                    <a:pt x="101" y="1012"/>
                  </a:lnTo>
                  <a:lnTo>
                    <a:pt x="120" y="1013"/>
                  </a:lnTo>
                  <a:lnTo>
                    <a:pt x="137" y="1015"/>
                  </a:lnTo>
                  <a:lnTo>
                    <a:pt x="146" y="1013"/>
                  </a:lnTo>
                  <a:lnTo>
                    <a:pt x="166" y="1011"/>
                  </a:lnTo>
                  <a:lnTo>
                    <a:pt x="177" y="1010"/>
                  </a:lnTo>
                  <a:lnTo>
                    <a:pt x="186" y="1010"/>
                  </a:lnTo>
                  <a:lnTo>
                    <a:pt x="189" y="1011"/>
                  </a:lnTo>
                  <a:lnTo>
                    <a:pt x="192" y="1011"/>
                  </a:lnTo>
                  <a:lnTo>
                    <a:pt x="194" y="1012"/>
                  </a:lnTo>
                  <a:lnTo>
                    <a:pt x="195" y="1015"/>
                  </a:lnTo>
                  <a:lnTo>
                    <a:pt x="205" y="1015"/>
                  </a:lnTo>
                  <a:lnTo>
                    <a:pt x="209" y="1019"/>
                  </a:lnTo>
                  <a:lnTo>
                    <a:pt x="214" y="1025"/>
                  </a:lnTo>
                  <a:lnTo>
                    <a:pt x="214" y="1028"/>
                  </a:lnTo>
                  <a:lnTo>
                    <a:pt x="215" y="1034"/>
                  </a:lnTo>
                  <a:lnTo>
                    <a:pt x="215" y="1036"/>
                  </a:lnTo>
                  <a:lnTo>
                    <a:pt x="216" y="1037"/>
                  </a:lnTo>
                  <a:lnTo>
                    <a:pt x="217" y="1038"/>
                  </a:lnTo>
                  <a:lnTo>
                    <a:pt x="219" y="1039"/>
                  </a:lnTo>
                  <a:lnTo>
                    <a:pt x="219" y="1046"/>
                  </a:lnTo>
                  <a:lnTo>
                    <a:pt x="219" y="1054"/>
                  </a:lnTo>
                  <a:lnTo>
                    <a:pt x="228" y="1054"/>
                  </a:lnTo>
                  <a:lnTo>
                    <a:pt x="248" y="1073"/>
                  </a:lnTo>
                  <a:lnTo>
                    <a:pt x="252" y="1073"/>
                  </a:lnTo>
                  <a:lnTo>
                    <a:pt x="255" y="1073"/>
                  </a:lnTo>
                  <a:lnTo>
                    <a:pt x="257" y="1075"/>
                  </a:lnTo>
                  <a:lnTo>
                    <a:pt x="257" y="1077"/>
                  </a:lnTo>
                  <a:lnTo>
                    <a:pt x="374" y="1073"/>
                  </a:lnTo>
                  <a:lnTo>
                    <a:pt x="374" y="1070"/>
                  </a:lnTo>
                  <a:lnTo>
                    <a:pt x="376" y="1068"/>
                  </a:lnTo>
                  <a:lnTo>
                    <a:pt x="379" y="1066"/>
                  </a:lnTo>
                  <a:lnTo>
                    <a:pt x="381" y="1065"/>
                  </a:lnTo>
                  <a:lnTo>
                    <a:pt x="389" y="1063"/>
                  </a:lnTo>
                  <a:lnTo>
                    <a:pt x="398" y="1060"/>
                  </a:lnTo>
                  <a:lnTo>
                    <a:pt x="407" y="1057"/>
                  </a:lnTo>
                  <a:lnTo>
                    <a:pt x="415" y="1054"/>
                  </a:lnTo>
                  <a:lnTo>
                    <a:pt x="418" y="1052"/>
                  </a:lnTo>
                  <a:lnTo>
                    <a:pt x="420" y="1049"/>
                  </a:lnTo>
                  <a:lnTo>
                    <a:pt x="421" y="1047"/>
                  </a:lnTo>
                  <a:lnTo>
                    <a:pt x="422" y="1044"/>
                  </a:lnTo>
                  <a:lnTo>
                    <a:pt x="427" y="1042"/>
                  </a:lnTo>
                  <a:lnTo>
                    <a:pt x="431" y="1040"/>
                  </a:lnTo>
                  <a:lnTo>
                    <a:pt x="435" y="1037"/>
                  </a:lnTo>
                  <a:lnTo>
                    <a:pt x="437" y="1034"/>
                  </a:lnTo>
                  <a:lnTo>
                    <a:pt x="447" y="1034"/>
                  </a:lnTo>
                  <a:lnTo>
                    <a:pt x="447" y="1044"/>
                  </a:lnTo>
                  <a:lnTo>
                    <a:pt x="456" y="1054"/>
                  </a:lnTo>
                  <a:lnTo>
                    <a:pt x="456" y="1068"/>
                  </a:lnTo>
                  <a:lnTo>
                    <a:pt x="458" y="1068"/>
                  </a:lnTo>
                  <a:lnTo>
                    <a:pt x="459" y="1070"/>
                  </a:lnTo>
                  <a:lnTo>
                    <a:pt x="462" y="1074"/>
                  </a:lnTo>
                  <a:lnTo>
                    <a:pt x="463" y="1078"/>
                  </a:lnTo>
                  <a:lnTo>
                    <a:pt x="465" y="1086"/>
                  </a:lnTo>
                  <a:lnTo>
                    <a:pt x="466" y="1092"/>
                  </a:lnTo>
                  <a:lnTo>
                    <a:pt x="469" y="1093"/>
                  </a:lnTo>
                  <a:lnTo>
                    <a:pt x="472" y="1096"/>
                  </a:lnTo>
                  <a:lnTo>
                    <a:pt x="473" y="1102"/>
                  </a:lnTo>
                  <a:lnTo>
                    <a:pt x="475" y="1107"/>
                  </a:lnTo>
                  <a:lnTo>
                    <a:pt x="475" y="1121"/>
                  </a:lnTo>
                  <a:lnTo>
                    <a:pt x="476" y="1131"/>
                  </a:lnTo>
                  <a:lnTo>
                    <a:pt x="480" y="1143"/>
                  </a:lnTo>
                  <a:lnTo>
                    <a:pt x="485" y="1155"/>
                  </a:lnTo>
                  <a:lnTo>
                    <a:pt x="486" y="1161"/>
                  </a:lnTo>
                  <a:lnTo>
                    <a:pt x="488" y="1169"/>
                  </a:lnTo>
                  <a:lnTo>
                    <a:pt x="489" y="1173"/>
                  </a:lnTo>
                  <a:lnTo>
                    <a:pt x="492" y="1176"/>
                  </a:lnTo>
                  <a:lnTo>
                    <a:pt x="493" y="1179"/>
                  </a:lnTo>
                  <a:lnTo>
                    <a:pt x="495" y="1179"/>
                  </a:lnTo>
                  <a:lnTo>
                    <a:pt x="495" y="1183"/>
                  </a:lnTo>
                  <a:lnTo>
                    <a:pt x="496" y="1185"/>
                  </a:lnTo>
                  <a:lnTo>
                    <a:pt x="497" y="1188"/>
                  </a:lnTo>
                  <a:lnTo>
                    <a:pt x="499" y="1189"/>
                  </a:lnTo>
                  <a:lnTo>
                    <a:pt x="499" y="1193"/>
                  </a:lnTo>
                  <a:lnTo>
                    <a:pt x="501" y="1198"/>
                  </a:lnTo>
                  <a:lnTo>
                    <a:pt x="501" y="1200"/>
                  </a:lnTo>
                  <a:lnTo>
                    <a:pt x="502" y="1202"/>
                  </a:lnTo>
                  <a:lnTo>
                    <a:pt x="503" y="1203"/>
                  </a:lnTo>
                  <a:lnTo>
                    <a:pt x="505" y="1203"/>
                  </a:lnTo>
                  <a:lnTo>
                    <a:pt x="505" y="1211"/>
                  </a:lnTo>
                  <a:lnTo>
                    <a:pt x="505" y="1218"/>
                  </a:lnTo>
                  <a:lnTo>
                    <a:pt x="514" y="1222"/>
                  </a:lnTo>
                  <a:lnTo>
                    <a:pt x="514" y="1232"/>
                  </a:lnTo>
                  <a:lnTo>
                    <a:pt x="520" y="1234"/>
                  </a:lnTo>
                  <a:lnTo>
                    <a:pt x="524" y="1237"/>
                  </a:lnTo>
                  <a:lnTo>
                    <a:pt x="524" y="1247"/>
                  </a:lnTo>
                  <a:lnTo>
                    <a:pt x="534" y="1247"/>
                  </a:lnTo>
                  <a:lnTo>
                    <a:pt x="534" y="1251"/>
                  </a:lnTo>
                  <a:lnTo>
                    <a:pt x="534" y="1256"/>
                  </a:lnTo>
                  <a:lnTo>
                    <a:pt x="535" y="1258"/>
                  </a:lnTo>
                  <a:lnTo>
                    <a:pt x="535" y="1260"/>
                  </a:lnTo>
                  <a:lnTo>
                    <a:pt x="537" y="1261"/>
                  </a:lnTo>
                  <a:lnTo>
                    <a:pt x="539" y="1261"/>
                  </a:lnTo>
                  <a:lnTo>
                    <a:pt x="539" y="1265"/>
                  </a:lnTo>
                  <a:lnTo>
                    <a:pt x="540" y="1268"/>
                  </a:lnTo>
                  <a:lnTo>
                    <a:pt x="541" y="1270"/>
                  </a:lnTo>
                  <a:lnTo>
                    <a:pt x="543" y="1271"/>
                  </a:lnTo>
                  <a:lnTo>
                    <a:pt x="543" y="1280"/>
                  </a:lnTo>
                  <a:lnTo>
                    <a:pt x="552" y="1286"/>
                  </a:lnTo>
                  <a:lnTo>
                    <a:pt x="558" y="1290"/>
                  </a:lnTo>
                  <a:lnTo>
                    <a:pt x="565" y="1301"/>
                  </a:lnTo>
                  <a:lnTo>
                    <a:pt x="572" y="1309"/>
                  </a:lnTo>
                  <a:lnTo>
                    <a:pt x="576" y="1310"/>
                  </a:lnTo>
                  <a:lnTo>
                    <a:pt x="579" y="1313"/>
                  </a:lnTo>
                  <a:lnTo>
                    <a:pt x="581" y="1316"/>
                  </a:lnTo>
                  <a:lnTo>
                    <a:pt x="582" y="1319"/>
                  </a:lnTo>
                  <a:lnTo>
                    <a:pt x="592" y="1319"/>
                  </a:lnTo>
                  <a:lnTo>
                    <a:pt x="593" y="1323"/>
                  </a:lnTo>
                  <a:lnTo>
                    <a:pt x="598" y="1326"/>
                  </a:lnTo>
                  <a:lnTo>
                    <a:pt x="602" y="1328"/>
                  </a:lnTo>
                  <a:lnTo>
                    <a:pt x="607" y="1329"/>
                  </a:lnTo>
                  <a:lnTo>
                    <a:pt x="611" y="1334"/>
                  </a:lnTo>
                  <a:lnTo>
                    <a:pt x="613" y="1342"/>
                  </a:lnTo>
                  <a:lnTo>
                    <a:pt x="616" y="1348"/>
                  </a:lnTo>
                  <a:lnTo>
                    <a:pt x="621" y="1350"/>
                  </a:lnTo>
                  <a:lnTo>
                    <a:pt x="626" y="1353"/>
                  </a:lnTo>
                  <a:lnTo>
                    <a:pt x="628" y="1358"/>
                  </a:lnTo>
                  <a:lnTo>
                    <a:pt x="633" y="1365"/>
                  </a:lnTo>
                  <a:lnTo>
                    <a:pt x="640" y="1371"/>
                  </a:lnTo>
                  <a:lnTo>
                    <a:pt x="645" y="1373"/>
                  </a:lnTo>
                  <a:lnTo>
                    <a:pt x="655" y="1383"/>
                  </a:lnTo>
                  <a:lnTo>
                    <a:pt x="665" y="1392"/>
                  </a:lnTo>
                  <a:lnTo>
                    <a:pt x="674" y="1392"/>
                  </a:lnTo>
                  <a:lnTo>
                    <a:pt x="677" y="1396"/>
                  </a:lnTo>
                  <a:lnTo>
                    <a:pt x="679" y="1402"/>
                  </a:lnTo>
                  <a:lnTo>
                    <a:pt x="694" y="1402"/>
                  </a:lnTo>
                  <a:lnTo>
                    <a:pt x="700" y="1406"/>
                  </a:lnTo>
                  <a:lnTo>
                    <a:pt x="708" y="1412"/>
                  </a:lnTo>
                  <a:lnTo>
                    <a:pt x="713" y="1412"/>
                  </a:lnTo>
                  <a:lnTo>
                    <a:pt x="719" y="1414"/>
                  </a:lnTo>
                  <a:lnTo>
                    <a:pt x="723" y="1416"/>
                  </a:lnTo>
                  <a:lnTo>
                    <a:pt x="725" y="1417"/>
                  </a:lnTo>
                  <a:lnTo>
                    <a:pt x="727" y="1420"/>
                  </a:lnTo>
                  <a:lnTo>
                    <a:pt x="727" y="1421"/>
                  </a:lnTo>
                  <a:lnTo>
                    <a:pt x="742" y="1421"/>
                  </a:lnTo>
                  <a:lnTo>
                    <a:pt x="743" y="1424"/>
                  </a:lnTo>
                  <a:lnTo>
                    <a:pt x="745" y="1425"/>
                  </a:lnTo>
                  <a:lnTo>
                    <a:pt x="748" y="1425"/>
                  </a:lnTo>
                  <a:lnTo>
                    <a:pt x="752" y="1426"/>
                  </a:lnTo>
                  <a:lnTo>
                    <a:pt x="756" y="1435"/>
                  </a:lnTo>
                  <a:lnTo>
                    <a:pt x="766" y="1435"/>
                  </a:lnTo>
                  <a:lnTo>
                    <a:pt x="767" y="1439"/>
                  </a:lnTo>
                  <a:lnTo>
                    <a:pt x="772" y="1442"/>
                  </a:lnTo>
                  <a:lnTo>
                    <a:pt x="776" y="1444"/>
                  </a:lnTo>
                  <a:lnTo>
                    <a:pt x="781" y="1445"/>
                  </a:lnTo>
                  <a:lnTo>
                    <a:pt x="781" y="1455"/>
                  </a:lnTo>
                  <a:lnTo>
                    <a:pt x="785" y="1455"/>
                  </a:lnTo>
                  <a:lnTo>
                    <a:pt x="790" y="1455"/>
                  </a:lnTo>
                  <a:lnTo>
                    <a:pt x="792" y="1456"/>
                  </a:lnTo>
                  <a:lnTo>
                    <a:pt x="793" y="1456"/>
                  </a:lnTo>
                  <a:lnTo>
                    <a:pt x="794" y="1458"/>
                  </a:lnTo>
                  <a:lnTo>
                    <a:pt x="795" y="1460"/>
                  </a:lnTo>
                  <a:lnTo>
                    <a:pt x="801" y="1461"/>
                  </a:lnTo>
                  <a:lnTo>
                    <a:pt x="811" y="1464"/>
                  </a:lnTo>
                  <a:lnTo>
                    <a:pt x="822" y="1469"/>
                  </a:lnTo>
                  <a:lnTo>
                    <a:pt x="835" y="1474"/>
                  </a:lnTo>
                  <a:lnTo>
                    <a:pt x="848" y="1481"/>
                  </a:lnTo>
                  <a:lnTo>
                    <a:pt x="858" y="1487"/>
                  </a:lnTo>
                  <a:lnTo>
                    <a:pt x="864" y="1491"/>
                  </a:lnTo>
                  <a:lnTo>
                    <a:pt x="868" y="1493"/>
                  </a:lnTo>
                  <a:lnTo>
                    <a:pt x="878" y="1494"/>
                  </a:lnTo>
                  <a:lnTo>
                    <a:pt x="887" y="1496"/>
                  </a:lnTo>
                  <a:lnTo>
                    <a:pt x="896" y="1498"/>
                  </a:lnTo>
                  <a:lnTo>
                    <a:pt x="907" y="1499"/>
                  </a:lnTo>
                  <a:lnTo>
                    <a:pt x="911" y="1508"/>
                  </a:lnTo>
                  <a:lnTo>
                    <a:pt x="931" y="1509"/>
                  </a:lnTo>
                  <a:lnTo>
                    <a:pt x="968" y="1510"/>
                  </a:lnTo>
                  <a:lnTo>
                    <a:pt x="986" y="1509"/>
                  </a:lnTo>
                  <a:lnTo>
                    <a:pt x="1003" y="1506"/>
                  </a:lnTo>
                  <a:lnTo>
                    <a:pt x="1008" y="1504"/>
                  </a:lnTo>
                  <a:lnTo>
                    <a:pt x="1014" y="1501"/>
                  </a:lnTo>
                  <a:lnTo>
                    <a:pt x="1016" y="1498"/>
                  </a:lnTo>
                  <a:lnTo>
                    <a:pt x="1017" y="1493"/>
                  </a:lnTo>
                  <a:lnTo>
                    <a:pt x="1032" y="1492"/>
                  </a:lnTo>
                  <a:lnTo>
                    <a:pt x="1048" y="1489"/>
                  </a:lnTo>
                  <a:lnTo>
                    <a:pt x="1064" y="1486"/>
                  </a:lnTo>
                  <a:lnTo>
                    <a:pt x="1081" y="1481"/>
                  </a:lnTo>
                  <a:lnTo>
                    <a:pt x="1079" y="1480"/>
                  </a:lnTo>
                  <a:lnTo>
                    <a:pt x="1075" y="1479"/>
                  </a:lnTo>
                  <a:lnTo>
                    <a:pt x="1071" y="1479"/>
                  </a:lnTo>
                  <a:lnTo>
                    <a:pt x="1067" y="1479"/>
                  </a:lnTo>
                  <a:lnTo>
                    <a:pt x="1059" y="1470"/>
                  </a:lnTo>
                  <a:lnTo>
                    <a:pt x="1051" y="1462"/>
                  </a:lnTo>
                  <a:lnTo>
                    <a:pt x="1049" y="1441"/>
                  </a:lnTo>
                  <a:lnTo>
                    <a:pt x="1043" y="1414"/>
                  </a:lnTo>
                  <a:lnTo>
                    <a:pt x="1040" y="1400"/>
                  </a:lnTo>
                  <a:lnTo>
                    <a:pt x="1038" y="1386"/>
                  </a:lnTo>
                  <a:lnTo>
                    <a:pt x="1035" y="1373"/>
                  </a:lnTo>
                  <a:lnTo>
                    <a:pt x="1035" y="1359"/>
                  </a:lnTo>
                  <a:lnTo>
                    <a:pt x="1032" y="1359"/>
                  </a:lnTo>
                  <a:lnTo>
                    <a:pt x="1031" y="1358"/>
                  </a:lnTo>
                  <a:lnTo>
                    <a:pt x="1029" y="1357"/>
                  </a:lnTo>
                  <a:lnTo>
                    <a:pt x="1029" y="1355"/>
                  </a:lnTo>
                  <a:lnTo>
                    <a:pt x="1027" y="1349"/>
                  </a:lnTo>
                  <a:lnTo>
                    <a:pt x="1027" y="1344"/>
                  </a:lnTo>
                  <a:lnTo>
                    <a:pt x="1024" y="1344"/>
                  </a:lnTo>
                  <a:lnTo>
                    <a:pt x="1023" y="1343"/>
                  </a:lnTo>
                  <a:lnTo>
                    <a:pt x="1021" y="1342"/>
                  </a:lnTo>
                  <a:lnTo>
                    <a:pt x="1020" y="1339"/>
                  </a:lnTo>
                  <a:lnTo>
                    <a:pt x="1020" y="1334"/>
                  </a:lnTo>
                  <a:lnTo>
                    <a:pt x="1020" y="1328"/>
                  </a:lnTo>
                  <a:lnTo>
                    <a:pt x="1014" y="1328"/>
                  </a:lnTo>
                  <a:lnTo>
                    <a:pt x="1012" y="1327"/>
                  </a:lnTo>
                  <a:lnTo>
                    <a:pt x="1012" y="1326"/>
                  </a:lnTo>
                  <a:lnTo>
                    <a:pt x="1011" y="1325"/>
                  </a:lnTo>
                  <a:lnTo>
                    <a:pt x="1011" y="1323"/>
                  </a:lnTo>
                  <a:lnTo>
                    <a:pt x="1011" y="1321"/>
                  </a:lnTo>
                  <a:lnTo>
                    <a:pt x="1007" y="1320"/>
                  </a:lnTo>
                  <a:lnTo>
                    <a:pt x="1003" y="1320"/>
                  </a:lnTo>
                  <a:lnTo>
                    <a:pt x="1003" y="1305"/>
                  </a:lnTo>
                  <a:lnTo>
                    <a:pt x="995" y="1297"/>
                  </a:lnTo>
                  <a:lnTo>
                    <a:pt x="987" y="1289"/>
                  </a:lnTo>
                  <a:lnTo>
                    <a:pt x="979" y="1281"/>
                  </a:lnTo>
                  <a:lnTo>
                    <a:pt x="964" y="1281"/>
                  </a:lnTo>
                  <a:lnTo>
                    <a:pt x="956" y="1272"/>
                  </a:lnTo>
                  <a:lnTo>
                    <a:pt x="948" y="1265"/>
                  </a:lnTo>
                  <a:lnTo>
                    <a:pt x="940" y="1257"/>
                  </a:lnTo>
                  <a:lnTo>
                    <a:pt x="940" y="1246"/>
                  </a:lnTo>
                  <a:lnTo>
                    <a:pt x="940" y="1233"/>
                  </a:lnTo>
                  <a:lnTo>
                    <a:pt x="938" y="1232"/>
                  </a:lnTo>
                  <a:lnTo>
                    <a:pt x="937" y="1230"/>
                  </a:lnTo>
                  <a:lnTo>
                    <a:pt x="936" y="1227"/>
                  </a:lnTo>
                  <a:lnTo>
                    <a:pt x="936" y="1222"/>
                  </a:lnTo>
                  <a:lnTo>
                    <a:pt x="934" y="1211"/>
                  </a:lnTo>
                  <a:lnTo>
                    <a:pt x="934" y="1196"/>
                  </a:lnTo>
                  <a:lnTo>
                    <a:pt x="933" y="1170"/>
                  </a:lnTo>
                  <a:lnTo>
                    <a:pt x="933" y="1154"/>
                  </a:lnTo>
                  <a:lnTo>
                    <a:pt x="929" y="1154"/>
                  </a:lnTo>
                  <a:lnTo>
                    <a:pt x="926" y="1152"/>
                  </a:lnTo>
                  <a:lnTo>
                    <a:pt x="924" y="1148"/>
                  </a:lnTo>
                  <a:lnTo>
                    <a:pt x="921" y="1145"/>
                  </a:lnTo>
                  <a:lnTo>
                    <a:pt x="918" y="1137"/>
                  </a:lnTo>
                  <a:lnTo>
                    <a:pt x="917" y="1131"/>
                  </a:lnTo>
                  <a:lnTo>
                    <a:pt x="914" y="1129"/>
                  </a:lnTo>
                  <a:lnTo>
                    <a:pt x="910" y="1128"/>
                  </a:lnTo>
                  <a:lnTo>
                    <a:pt x="908" y="1125"/>
                  </a:lnTo>
                  <a:lnTo>
                    <a:pt x="906" y="1122"/>
                  </a:lnTo>
                  <a:lnTo>
                    <a:pt x="902" y="1114"/>
                  </a:lnTo>
                  <a:lnTo>
                    <a:pt x="900" y="1107"/>
                  </a:lnTo>
                  <a:lnTo>
                    <a:pt x="885" y="1107"/>
                  </a:lnTo>
                  <a:lnTo>
                    <a:pt x="883" y="1104"/>
                  </a:lnTo>
                  <a:lnTo>
                    <a:pt x="881" y="1103"/>
                  </a:lnTo>
                  <a:lnTo>
                    <a:pt x="877" y="1100"/>
                  </a:lnTo>
                  <a:lnTo>
                    <a:pt x="872" y="1100"/>
                  </a:lnTo>
                  <a:lnTo>
                    <a:pt x="861" y="1099"/>
                  </a:lnTo>
                  <a:lnTo>
                    <a:pt x="853" y="1099"/>
                  </a:lnTo>
                  <a:lnTo>
                    <a:pt x="846" y="1092"/>
                  </a:lnTo>
                  <a:lnTo>
                    <a:pt x="838" y="1084"/>
                  </a:lnTo>
                  <a:lnTo>
                    <a:pt x="838" y="1067"/>
                  </a:lnTo>
                  <a:lnTo>
                    <a:pt x="833" y="1067"/>
                  </a:lnTo>
                  <a:lnTo>
                    <a:pt x="830" y="1066"/>
                  </a:lnTo>
                  <a:lnTo>
                    <a:pt x="830" y="1065"/>
                  </a:lnTo>
                  <a:lnTo>
                    <a:pt x="830" y="1064"/>
                  </a:lnTo>
                  <a:lnTo>
                    <a:pt x="829" y="1063"/>
                  </a:lnTo>
                  <a:lnTo>
                    <a:pt x="829" y="1060"/>
                  </a:lnTo>
                  <a:lnTo>
                    <a:pt x="827" y="1060"/>
                  </a:lnTo>
                  <a:lnTo>
                    <a:pt x="822" y="1059"/>
                  </a:lnTo>
                  <a:lnTo>
                    <a:pt x="822" y="1012"/>
                  </a:lnTo>
                  <a:lnTo>
                    <a:pt x="830" y="1004"/>
                  </a:lnTo>
                  <a:lnTo>
                    <a:pt x="846" y="1004"/>
                  </a:lnTo>
                  <a:lnTo>
                    <a:pt x="853" y="997"/>
                  </a:lnTo>
                  <a:lnTo>
                    <a:pt x="861" y="989"/>
                  </a:lnTo>
                  <a:lnTo>
                    <a:pt x="869" y="980"/>
                  </a:lnTo>
                  <a:lnTo>
                    <a:pt x="877" y="972"/>
                  </a:lnTo>
                  <a:lnTo>
                    <a:pt x="877" y="956"/>
                  </a:lnTo>
                  <a:lnTo>
                    <a:pt x="878" y="956"/>
                  </a:lnTo>
                  <a:lnTo>
                    <a:pt x="879" y="954"/>
                  </a:lnTo>
                  <a:lnTo>
                    <a:pt x="880" y="952"/>
                  </a:lnTo>
                  <a:lnTo>
                    <a:pt x="881" y="948"/>
                  </a:lnTo>
                  <a:lnTo>
                    <a:pt x="882" y="939"/>
                  </a:lnTo>
                  <a:lnTo>
                    <a:pt x="883" y="929"/>
                  </a:lnTo>
                  <a:lnTo>
                    <a:pt x="885" y="906"/>
                  </a:lnTo>
                  <a:lnTo>
                    <a:pt x="885" y="894"/>
                  </a:lnTo>
                  <a:lnTo>
                    <a:pt x="882" y="893"/>
                  </a:lnTo>
                  <a:lnTo>
                    <a:pt x="880" y="891"/>
                  </a:lnTo>
                  <a:lnTo>
                    <a:pt x="879" y="888"/>
                  </a:lnTo>
                  <a:lnTo>
                    <a:pt x="878" y="885"/>
                  </a:lnTo>
                  <a:lnTo>
                    <a:pt x="877" y="877"/>
                  </a:lnTo>
                  <a:lnTo>
                    <a:pt x="877" y="869"/>
                  </a:lnTo>
                  <a:lnTo>
                    <a:pt x="872" y="869"/>
                  </a:lnTo>
                  <a:lnTo>
                    <a:pt x="870" y="868"/>
                  </a:lnTo>
                  <a:lnTo>
                    <a:pt x="869" y="867"/>
                  </a:lnTo>
                  <a:lnTo>
                    <a:pt x="869" y="866"/>
                  </a:lnTo>
                  <a:lnTo>
                    <a:pt x="869" y="865"/>
                  </a:lnTo>
                  <a:lnTo>
                    <a:pt x="868" y="863"/>
                  </a:lnTo>
                  <a:lnTo>
                    <a:pt x="866" y="863"/>
                  </a:lnTo>
                  <a:lnTo>
                    <a:pt x="861" y="862"/>
                  </a:lnTo>
                  <a:lnTo>
                    <a:pt x="861" y="815"/>
                  </a:lnTo>
                  <a:lnTo>
                    <a:pt x="860" y="814"/>
                  </a:lnTo>
                  <a:lnTo>
                    <a:pt x="859" y="813"/>
                  </a:lnTo>
                  <a:lnTo>
                    <a:pt x="858" y="810"/>
                  </a:lnTo>
                  <a:lnTo>
                    <a:pt x="857" y="807"/>
                  </a:lnTo>
                  <a:lnTo>
                    <a:pt x="856" y="799"/>
                  </a:lnTo>
                  <a:lnTo>
                    <a:pt x="854" y="790"/>
                  </a:lnTo>
                  <a:lnTo>
                    <a:pt x="853" y="771"/>
                  </a:lnTo>
                  <a:lnTo>
                    <a:pt x="853" y="759"/>
                  </a:lnTo>
                  <a:lnTo>
                    <a:pt x="854" y="740"/>
                  </a:lnTo>
                  <a:lnTo>
                    <a:pt x="857" y="721"/>
                  </a:lnTo>
                  <a:lnTo>
                    <a:pt x="860" y="702"/>
                  </a:lnTo>
                  <a:lnTo>
                    <a:pt x="861" y="688"/>
                  </a:lnTo>
                  <a:lnTo>
                    <a:pt x="869" y="680"/>
                  </a:lnTo>
                  <a:lnTo>
                    <a:pt x="877" y="672"/>
                  </a:lnTo>
                  <a:lnTo>
                    <a:pt x="885" y="664"/>
                  </a:lnTo>
                  <a:lnTo>
                    <a:pt x="892" y="656"/>
                  </a:lnTo>
                  <a:lnTo>
                    <a:pt x="900" y="648"/>
                  </a:lnTo>
                  <a:lnTo>
                    <a:pt x="908" y="647"/>
                  </a:lnTo>
                  <a:lnTo>
                    <a:pt x="916" y="644"/>
                  </a:lnTo>
                  <a:lnTo>
                    <a:pt x="919" y="642"/>
                  </a:lnTo>
                  <a:lnTo>
                    <a:pt x="921" y="638"/>
                  </a:lnTo>
                  <a:lnTo>
                    <a:pt x="924" y="636"/>
                  </a:lnTo>
                  <a:lnTo>
                    <a:pt x="925" y="633"/>
                  </a:lnTo>
                  <a:lnTo>
                    <a:pt x="940" y="633"/>
                  </a:lnTo>
                  <a:lnTo>
                    <a:pt x="948" y="625"/>
                  </a:lnTo>
                  <a:lnTo>
                    <a:pt x="949" y="622"/>
                  </a:lnTo>
                  <a:lnTo>
                    <a:pt x="952" y="618"/>
                  </a:lnTo>
                  <a:lnTo>
                    <a:pt x="956" y="614"/>
                  </a:lnTo>
                  <a:lnTo>
                    <a:pt x="960" y="611"/>
                  </a:lnTo>
                  <a:lnTo>
                    <a:pt x="966" y="606"/>
                  </a:lnTo>
                  <a:lnTo>
                    <a:pt x="972" y="604"/>
                  </a:lnTo>
                  <a:lnTo>
                    <a:pt x="976" y="602"/>
                  </a:lnTo>
                  <a:lnTo>
                    <a:pt x="979" y="602"/>
                  </a:lnTo>
                  <a:lnTo>
                    <a:pt x="981" y="597"/>
                  </a:lnTo>
                  <a:lnTo>
                    <a:pt x="984" y="593"/>
                  </a:lnTo>
                  <a:lnTo>
                    <a:pt x="987" y="588"/>
                  </a:lnTo>
                  <a:lnTo>
                    <a:pt x="993" y="583"/>
                  </a:lnTo>
                  <a:lnTo>
                    <a:pt x="997" y="577"/>
                  </a:lnTo>
                  <a:lnTo>
                    <a:pt x="1003" y="574"/>
                  </a:lnTo>
                  <a:lnTo>
                    <a:pt x="1007" y="570"/>
                  </a:lnTo>
                  <a:lnTo>
                    <a:pt x="1011" y="569"/>
                  </a:lnTo>
                  <a:lnTo>
                    <a:pt x="1012" y="557"/>
                  </a:lnTo>
                  <a:lnTo>
                    <a:pt x="1014" y="544"/>
                  </a:lnTo>
                  <a:lnTo>
                    <a:pt x="1016" y="529"/>
                  </a:lnTo>
                  <a:lnTo>
                    <a:pt x="1020" y="513"/>
                  </a:lnTo>
                  <a:lnTo>
                    <a:pt x="1022" y="498"/>
                  </a:lnTo>
                  <a:lnTo>
                    <a:pt x="1024" y="482"/>
                  </a:lnTo>
                  <a:lnTo>
                    <a:pt x="1026" y="467"/>
                  </a:lnTo>
                  <a:lnTo>
                    <a:pt x="1027" y="451"/>
                  </a:lnTo>
                  <a:lnTo>
                    <a:pt x="1025" y="451"/>
                  </a:lnTo>
                  <a:lnTo>
                    <a:pt x="1024" y="450"/>
                  </a:lnTo>
                  <a:lnTo>
                    <a:pt x="1023" y="448"/>
                  </a:lnTo>
                  <a:lnTo>
                    <a:pt x="1022" y="444"/>
                  </a:lnTo>
                  <a:lnTo>
                    <a:pt x="1020" y="436"/>
                  </a:lnTo>
                  <a:lnTo>
                    <a:pt x="1017" y="427"/>
                  </a:lnTo>
                  <a:lnTo>
                    <a:pt x="1015" y="402"/>
                  </a:lnTo>
                  <a:lnTo>
                    <a:pt x="1013" y="373"/>
                  </a:lnTo>
                  <a:lnTo>
                    <a:pt x="1012" y="343"/>
                  </a:lnTo>
                  <a:lnTo>
                    <a:pt x="1012" y="315"/>
                  </a:lnTo>
                  <a:lnTo>
                    <a:pt x="1011" y="291"/>
                  </a:lnTo>
                  <a:lnTo>
                    <a:pt x="1011" y="277"/>
                  </a:lnTo>
                  <a:lnTo>
                    <a:pt x="1014" y="277"/>
                  </a:lnTo>
                  <a:lnTo>
                    <a:pt x="1016" y="275"/>
                  </a:lnTo>
                  <a:lnTo>
                    <a:pt x="1017" y="271"/>
                  </a:lnTo>
                  <a:lnTo>
                    <a:pt x="1019" y="268"/>
                  </a:lnTo>
                  <a:lnTo>
                    <a:pt x="1019" y="260"/>
                  </a:lnTo>
                  <a:lnTo>
                    <a:pt x="1020" y="253"/>
                  </a:lnTo>
                  <a:lnTo>
                    <a:pt x="1022" y="251"/>
                  </a:lnTo>
                  <a:lnTo>
                    <a:pt x="1024" y="247"/>
                  </a:lnTo>
                  <a:lnTo>
                    <a:pt x="1025" y="240"/>
                  </a:lnTo>
                  <a:lnTo>
                    <a:pt x="1026" y="232"/>
                  </a:lnTo>
                  <a:lnTo>
                    <a:pt x="1027" y="217"/>
                  </a:lnTo>
                  <a:lnTo>
                    <a:pt x="1027" y="206"/>
                  </a:lnTo>
                  <a:lnTo>
                    <a:pt x="1030" y="204"/>
                  </a:lnTo>
                  <a:lnTo>
                    <a:pt x="1032" y="201"/>
                  </a:lnTo>
                  <a:lnTo>
                    <a:pt x="1033" y="195"/>
                  </a:lnTo>
                  <a:lnTo>
                    <a:pt x="1034" y="189"/>
                  </a:lnTo>
                  <a:lnTo>
                    <a:pt x="1035" y="176"/>
                  </a:lnTo>
                  <a:lnTo>
                    <a:pt x="1035" y="166"/>
                  </a:lnTo>
                  <a:lnTo>
                    <a:pt x="1038" y="165"/>
                  </a:lnTo>
                  <a:lnTo>
                    <a:pt x="1040" y="162"/>
                  </a:lnTo>
                  <a:lnTo>
                    <a:pt x="1041" y="157"/>
                  </a:lnTo>
                  <a:lnTo>
                    <a:pt x="1042" y="152"/>
                  </a:lnTo>
                  <a:lnTo>
                    <a:pt x="1042" y="137"/>
                  </a:lnTo>
                  <a:lnTo>
                    <a:pt x="1042" y="121"/>
                  </a:lnTo>
                  <a:lnTo>
                    <a:pt x="1041" y="104"/>
                  </a:lnTo>
                  <a:lnTo>
                    <a:pt x="1041" y="89"/>
                  </a:lnTo>
                  <a:lnTo>
                    <a:pt x="1041" y="85"/>
                  </a:lnTo>
                  <a:lnTo>
                    <a:pt x="1041" y="81"/>
                  </a:lnTo>
                  <a:lnTo>
                    <a:pt x="1042" y="79"/>
                  </a:lnTo>
                  <a:lnTo>
                    <a:pt x="1043" y="79"/>
                  </a:lnTo>
                  <a:close/>
                  <a:moveTo>
                    <a:pt x="1113" y="1498"/>
                  </a:moveTo>
                  <a:lnTo>
                    <a:pt x="1115" y="1494"/>
                  </a:lnTo>
                  <a:lnTo>
                    <a:pt x="1109" y="1489"/>
                  </a:lnTo>
                  <a:lnTo>
                    <a:pt x="1111" y="1493"/>
                  </a:lnTo>
                  <a:lnTo>
                    <a:pt x="1113" y="149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1" name="Freeform 47"/>
            <p:cNvSpPr>
              <a:spLocks noChangeAspect="1"/>
            </p:cNvSpPr>
            <p:nvPr/>
          </p:nvSpPr>
          <p:spPr bwMode="gray">
            <a:xfrm rot="355651">
              <a:off x="6342341" y="3021013"/>
              <a:ext cx="4232" cy="3195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6" y="5"/>
                </a:cxn>
                <a:cxn ang="0">
                  <a:pos x="0" y="0"/>
                </a:cxn>
                <a:cxn ang="0">
                  <a:pos x="2" y="4"/>
                </a:cxn>
                <a:cxn ang="0">
                  <a:pos x="4" y="9"/>
                </a:cxn>
              </a:cxnLst>
              <a:rect l="0" t="0" r="r" b="b"/>
              <a:pathLst>
                <a:path w="6" h="9">
                  <a:moveTo>
                    <a:pt x="4" y="9"/>
                  </a:moveTo>
                  <a:lnTo>
                    <a:pt x="6" y="5"/>
                  </a:lnTo>
                  <a:lnTo>
                    <a:pt x="0" y="0"/>
                  </a:lnTo>
                  <a:lnTo>
                    <a:pt x="2" y="4"/>
                  </a:lnTo>
                  <a:lnTo>
                    <a:pt x="4" y="9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2" name="Freeform 48"/>
            <p:cNvSpPr>
              <a:spLocks noChangeAspect="1"/>
            </p:cNvSpPr>
            <p:nvPr/>
          </p:nvSpPr>
          <p:spPr bwMode="gray">
            <a:xfrm rot="355651">
              <a:off x="6091606" y="2703513"/>
              <a:ext cx="262373" cy="169273"/>
            </a:xfrm>
            <a:custGeom>
              <a:avLst/>
              <a:gdLst/>
              <a:ahLst/>
              <a:cxnLst>
                <a:cxn ang="0">
                  <a:pos x="215" y="40"/>
                </a:cxn>
                <a:cxn ang="0">
                  <a:pos x="346" y="27"/>
                </a:cxn>
                <a:cxn ang="0">
                  <a:pos x="420" y="9"/>
                </a:cxn>
                <a:cxn ang="0">
                  <a:pos x="580" y="0"/>
                </a:cxn>
                <a:cxn ang="0">
                  <a:pos x="616" y="14"/>
                </a:cxn>
                <a:cxn ang="0">
                  <a:pos x="713" y="56"/>
                </a:cxn>
                <a:cxn ang="0">
                  <a:pos x="745" y="79"/>
                </a:cxn>
                <a:cxn ang="0">
                  <a:pos x="768" y="95"/>
                </a:cxn>
                <a:cxn ang="0">
                  <a:pos x="808" y="119"/>
                </a:cxn>
                <a:cxn ang="0">
                  <a:pos x="895" y="119"/>
                </a:cxn>
                <a:cxn ang="0">
                  <a:pos x="972" y="66"/>
                </a:cxn>
                <a:cxn ang="0">
                  <a:pos x="1005" y="56"/>
                </a:cxn>
                <a:cxn ang="0">
                  <a:pos x="1082" y="27"/>
                </a:cxn>
                <a:cxn ang="0">
                  <a:pos x="1176" y="10"/>
                </a:cxn>
                <a:cxn ang="0">
                  <a:pos x="1247" y="58"/>
                </a:cxn>
                <a:cxn ang="0">
                  <a:pos x="1259" y="89"/>
                </a:cxn>
                <a:cxn ang="0">
                  <a:pos x="1339" y="140"/>
                </a:cxn>
                <a:cxn ang="0">
                  <a:pos x="1384" y="159"/>
                </a:cxn>
                <a:cxn ang="0">
                  <a:pos x="1439" y="215"/>
                </a:cxn>
                <a:cxn ang="0">
                  <a:pos x="1455" y="264"/>
                </a:cxn>
                <a:cxn ang="0">
                  <a:pos x="1461" y="431"/>
                </a:cxn>
                <a:cxn ang="0">
                  <a:pos x="1423" y="465"/>
                </a:cxn>
                <a:cxn ang="0">
                  <a:pos x="1240" y="438"/>
                </a:cxn>
                <a:cxn ang="0">
                  <a:pos x="1226" y="422"/>
                </a:cxn>
                <a:cxn ang="0">
                  <a:pos x="1196" y="390"/>
                </a:cxn>
                <a:cxn ang="0">
                  <a:pos x="1100" y="429"/>
                </a:cxn>
                <a:cxn ang="0">
                  <a:pos x="1085" y="456"/>
                </a:cxn>
                <a:cxn ang="0">
                  <a:pos x="1061" y="481"/>
                </a:cxn>
                <a:cxn ang="0">
                  <a:pos x="1022" y="515"/>
                </a:cxn>
                <a:cxn ang="0">
                  <a:pos x="1011" y="556"/>
                </a:cxn>
                <a:cxn ang="0">
                  <a:pos x="1000" y="611"/>
                </a:cxn>
                <a:cxn ang="0">
                  <a:pos x="989" y="640"/>
                </a:cxn>
                <a:cxn ang="0">
                  <a:pos x="918" y="700"/>
                </a:cxn>
                <a:cxn ang="0">
                  <a:pos x="902" y="727"/>
                </a:cxn>
                <a:cxn ang="0">
                  <a:pos x="835" y="777"/>
                </a:cxn>
                <a:cxn ang="0">
                  <a:pos x="809" y="801"/>
                </a:cxn>
                <a:cxn ang="0">
                  <a:pos x="757" y="835"/>
                </a:cxn>
                <a:cxn ang="0">
                  <a:pos x="738" y="876"/>
                </a:cxn>
                <a:cxn ang="0">
                  <a:pos x="701" y="933"/>
                </a:cxn>
                <a:cxn ang="0">
                  <a:pos x="655" y="977"/>
                </a:cxn>
                <a:cxn ang="0">
                  <a:pos x="622" y="1004"/>
                </a:cxn>
                <a:cxn ang="0">
                  <a:pos x="594" y="1021"/>
                </a:cxn>
                <a:cxn ang="0">
                  <a:pos x="561" y="1038"/>
                </a:cxn>
                <a:cxn ang="0">
                  <a:pos x="521" y="982"/>
                </a:cxn>
                <a:cxn ang="0">
                  <a:pos x="453" y="891"/>
                </a:cxn>
                <a:cxn ang="0">
                  <a:pos x="405" y="736"/>
                </a:cxn>
                <a:cxn ang="0">
                  <a:pos x="334" y="702"/>
                </a:cxn>
                <a:cxn ang="0">
                  <a:pos x="246" y="683"/>
                </a:cxn>
                <a:cxn ang="0">
                  <a:pos x="204" y="643"/>
                </a:cxn>
                <a:cxn ang="0">
                  <a:pos x="190" y="623"/>
                </a:cxn>
                <a:cxn ang="0">
                  <a:pos x="125" y="571"/>
                </a:cxn>
                <a:cxn ang="0">
                  <a:pos x="84" y="521"/>
                </a:cxn>
                <a:cxn ang="0">
                  <a:pos x="55" y="470"/>
                </a:cxn>
                <a:cxn ang="0">
                  <a:pos x="42" y="377"/>
                </a:cxn>
                <a:cxn ang="0">
                  <a:pos x="13" y="314"/>
                </a:cxn>
                <a:cxn ang="0">
                  <a:pos x="5" y="280"/>
                </a:cxn>
                <a:cxn ang="0">
                  <a:pos x="9" y="115"/>
                </a:cxn>
                <a:cxn ang="0">
                  <a:pos x="72" y="50"/>
                </a:cxn>
              </a:cxnLst>
              <a:rect l="0" t="0" r="r" b="b"/>
              <a:pathLst>
                <a:path w="1464" h="1048">
                  <a:moveTo>
                    <a:pt x="104" y="23"/>
                  </a:moveTo>
                  <a:lnTo>
                    <a:pt x="146" y="24"/>
                  </a:lnTo>
                  <a:lnTo>
                    <a:pt x="181" y="28"/>
                  </a:lnTo>
                  <a:lnTo>
                    <a:pt x="195" y="30"/>
                  </a:lnTo>
                  <a:lnTo>
                    <a:pt x="206" y="32"/>
                  </a:lnTo>
                  <a:lnTo>
                    <a:pt x="209" y="34"/>
                  </a:lnTo>
                  <a:lnTo>
                    <a:pt x="213" y="35"/>
                  </a:lnTo>
                  <a:lnTo>
                    <a:pt x="215" y="38"/>
                  </a:lnTo>
                  <a:lnTo>
                    <a:pt x="215" y="40"/>
                  </a:lnTo>
                  <a:lnTo>
                    <a:pt x="317" y="40"/>
                  </a:lnTo>
                  <a:lnTo>
                    <a:pt x="319" y="38"/>
                  </a:lnTo>
                  <a:lnTo>
                    <a:pt x="320" y="35"/>
                  </a:lnTo>
                  <a:lnTo>
                    <a:pt x="323" y="33"/>
                  </a:lnTo>
                  <a:lnTo>
                    <a:pt x="326" y="33"/>
                  </a:lnTo>
                  <a:lnTo>
                    <a:pt x="334" y="32"/>
                  </a:lnTo>
                  <a:lnTo>
                    <a:pt x="341" y="32"/>
                  </a:lnTo>
                  <a:lnTo>
                    <a:pt x="343" y="29"/>
                  </a:lnTo>
                  <a:lnTo>
                    <a:pt x="346" y="27"/>
                  </a:lnTo>
                  <a:lnTo>
                    <a:pt x="351" y="25"/>
                  </a:lnTo>
                  <a:lnTo>
                    <a:pt x="358" y="23"/>
                  </a:lnTo>
                  <a:lnTo>
                    <a:pt x="363" y="21"/>
                  </a:lnTo>
                  <a:lnTo>
                    <a:pt x="368" y="18"/>
                  </a:lnTo>
                  <a:lnTo>
                    <a:pt x="370" y="15"/>
                  </a:lnTo>
                  <a:lnTo>
                    <a:pt x="371" y="13"/>
                  </a:lnTo>
                  <a:lnTo>
                    <a:pt x="372" y="11"/>
                  </a:lnTo>
                  <a:lnTo>
                    <a:pt x="373" y="9"/>
                  </a:lnTo>
                  <a:lnTo>
                    <a:pt x="420" y="9"/>
                  </a:lnTo>
                  <a:lnTo>
                    <a:pt x="422" y="6"/>
                  </a:lnTo>
                  <a:lnTo>
                    <a:pt x="427" y="5"/>
                  </a:lnTo>
                  <a:lnTo>
                    <a:pt x="435" y="4"/>
                  </a:lnTo>
                  <a:lnTo>
                    <a:pt x="445" y="3"/>
                  </a:lnTo>
                  <a:lnTo>
                    <a:pt x="469" y="2"/>
                  </a:lnTo>
                  <a:lnTo>
                    <a:pt x="498" y="1"/>
                  </a:lnTo>
                  <a:lnTo>
                    <a:pt x="528" y="1"/>
                  </a:lnTo>
                  <a:lnTo>
                    <a:pt x="557" y="1"/>
                  </a:lnTo>
                  <a:lnTo>
                    <a:pt x="580" y="0"/>
                  </a:lnTo>
                  <a:lnTo>
                    <a:pt x="594" y="0"/>
                  </a:lnTo>
                  <a:lnTo>
                    <a:pt x="594" y="3"/>
                  </a:lnTo>
                  <a:lnTo>
                    <a:pt x="595" y="5"/>
                  </a:lnTo>
                  <a:lnTo>
                    <a:pt x="598" y="6"/>
                  </a:lnTo>
                  <a:lnTo>
                    <a:pt x="599" y="8"/>
                  </a:lnTo>
                  <a:lnTo>
                    <a:pt x="604" y="8"/>
                  </a:lnTo>
                  <a:lnTo>
                    <a:pt x="610" y="9"/>
                  </a:lnTo>
                  <a:lnTo>
                    <a:pt x="611" y="11"/>
                  </a:lnTo>
                  <a:lnTo>
                    <a:pt x="616" y="14"/>
                  </a:lnTo>
                  <a:lnTo>
                    <a:pt x="620" y="16"/>
                  </a:lnTo>
                  <a:lnTo>
                    <a:pt x="627" y="19"/>
                  </a:lnTo>
                  <a:lnTo>
                    <a:pt x="640" y="22"/>
                  </a:lnTo>
                  <a:lnTo>
                    <a:pt x="650" y="24"/>
                  </a:lnTo>
                  <a:lnTo>
                    <a:pt x="656" y="28"/>
                  </a:lnTo>
                  <a:lnTo>
                    <a:pt x="670" y="37"/>
                  </a:lnTo>
                  <a:lnTo>
                    <a:pt x="686" y="48"/>
                  </a:lnTo>
                  <a:lnTo>
                    <a:pt x="697" y="56"/>
                  </a:lnTo>
                  <a:lnTo>
                    <a:pt x="713" y="56"/>
                  </a:lnTo>
                  <a:lnTo>
                    <a:pt x="714" y="58"/>
                  </a:lnTo>
                  <a:lnTo>
                    <a:pt x="715" y="60"/>
                  </a:lnTo>
                  <a:lnTo>
                    <a:pt x="718" y="62"/>
                  </a:lnTo>
                  <a:lnTo>
                    <a:pt x="720" y="64"/>
                  </a:lnTo>
                  <a:lnTo>
                    <a:pt x="724" y="67"/>
                  </a:lnTo>
                  <a:lnTo>
                    <a:pt x="726" y="70"/>
                  </a:lnTo>
                  <a:lnTo>
                    <a:pt x="728" y="75"/>
                  </a:lnTo>
                  <a:lnTo>
                    <a:pt x="728" y="79"/>
                  </a:lnTo>
                  <a:lnTo>
                    <a:pt x="745" y="79"/>
                  </a:lnTo>
                  <a:lnTo>
                    <a:pt x="745" y="83"/>
                  </a:lnTo>
                  <a:lnTo>
                    <a:pt x="746" y="86"/>
                  </a:lnTo>
                  <a:lnTo>
                    <a:pt x="747" y="87"/>
                  </a:lnTo>
                  <a:lnTo>
                    <a:pt x="748" y="87"/>
                  </a:lnTo>
                  <a:lnTo>
                    <a:pt x="749" y="87"/>
                  </a:lnTo>
                  <a:lnTo>
                    <a:pt x="751" y="88"/>
                  </a:lnTo>
                  <a:lnTo>
                    <a:pt x="752" y="90"/>
                  </a:lnTo>
                  <a:lnTo>
                    <a:pt x="753" y="95"/>
                  </a:lnTo>
                  <a:lnTo>
                    <a:pt x="768" y="95"/>
                  </a:lnTo>
                  <a:lnTo>
                    <a:pt x="768" y="98"/>
                  </a:lnTo>
                  <a:lnTo>
                    <a:pt x="770" y="100"/>
                  </a:lnTo>
                  <a:lnTo>
                    <a:pt x="771" y="101"/>
                  </a:lnTo>
                  <a:lnTo>
                    <a:pt x="773" y="102"/>
                  </a:lnTo>
                  <a:lnTo>
                    <a:pt x="779" y="102"/>
                  </a:lnTo>
                  <a:lnTo>
                    <a:pt x="784" y="102"/>
                  </a:lnTo>
                  <a:lnTo>
                    <a:pt x="784" y="119"/>
                  </a:lnTo>
                  <a:lnTo>
                    <a:pt x="796" y="119"/>
                  </a:lnTo>
                  <a:lnTo>
                    <a:pt x="808" y="119"/>
                  </a:lnTo>
                  <a:lnTo>
                    <a:pt x="809" y="120"/>
                  </a:lnTo>
                  <a:lnTo>
                    <a:pt x="811" y="121"/>
                  </a:lnTo>
                  <a:lnTo>
                    <a:pt x="813" y="123"/>
                  </a:lnTo>
                  <a:lnTo>
                    <a:pt x="818" y="124"/>
                  </a:lnTo>
                  <a:lnTo>
                    <a:pt x="829" y="125"/>
                  </a:lnTo>
                  <a:lnTo>
                    <a:pt x="841" y="126"/>
                  </a:lnTo>
                  <a:lnTo>
                    <a:pt x="868" y="127"/>
                  </a:lnTo>
                  <a:lnTo>
                    <a:pt x="887" y="127"/>
                  </a:lnTo>
                  <a:lnTo>
                    <a:pt x="895" y="119"/>
                  </a:lnTo>
                  <a:lnTo>
                    <a:pt x="895" y="102"/>
                  </a:lnTo>
                  <a:lnTo>
                    <a:pt x="910" y="99"/>
                  </a:lnTo>
                  <a:lnTo>
                    <a:pt x="926" y="95"/>
                  </a:lnTo>
                  <a:lnTo>
                    <a:pt x="934" y="79"/>
                  </a:lnTo>
                  <a:lnTo>
                    <a:pt x="950" y="76"/>
                  </a:lnTo>
                  <a:lnTo>
                    <a:pt x="966" y="71"/>
                  </a:lnTo>
                  <a:lnTo>
                    <a:pt x="966" y="69"/>
                  </a:lnTo>
                  <a:lnTo>
                    <a:pt x="968" y="67"/>
                  </a:lnTo>
                  <a:lnTo>
                    <a:pt x="972" y="66"/>
                  </a:lnTo>
                  <a:lnTo>
                    <a:pt x="975" y="64"/>
                  </a:lnTo>
                  <a:lnTo>
                    <a:pt x="983" y="63"/>
                  </a:lnTo>
                  <a:lnTo>
                    <a:pt x="989" y="63"/>
                  </a:lnTo>
                  <a:lnTo>
                    <a:pt x="989" y="61"/>
                  </a:lnTo>
                  <a:lnTo>
                    <a:pt x="991" y="59"/>
                  </a:lnTo>
                  <a:lnTo>
                    <a:pt x="993" y="58"/>
                  </a:lnTo>
                  <a:lnTo>
                    <a:pt x="994" y="57"/>
                  </a:lnTo>
                  <a:lnTo>
                    <a:pt x="1000" y="56"/>
                  </a:lnTo>
                  <a:lnTo>
                    <a:pt x="1005" y="56"/>
                  </a:lnTo>
                  <a:lnTo>
                    <a:pt x="1021" y="40"/>
                  </a:lnTo>
                  <a:lnTo>
                    <a:pt x="1033" y="39"/>
                  </a:lnTo>
                  <a:lnTo>
                    <a:pt x="1045" y="35"/>
                  </a:lnTo>
                  <a:lnTo>
                    <a:pt x="1056" y="33"/>
                  </a:lnTo>
                  <a:lnTo>
                    <a:pt x="1069" y="32"/>
                  </a:lnTo>
                  <a:lnTo>
                    <a:pt x="1070" y="30"/>
                  </a:lnTo>
                  <a:lnTo>
                    <a:pt x="1072" y="29"/>
                  </a:lnTo>
                  <a:lnTo>
                    <a:pt x="1077" y="28"/>
                  </a:lnTo>
                  <a:lnTo>
                    <a:pt x="1082" y="27"/>
                  </a:lnTo>
                  <a:lnTo>
                    <a:pt x="1096" y="23"/>
                  </a:lnTo>
                  <a:lnTo>
                    <a:pt x="1112" y="21"/>
                  </a:lnTo>
                  <a:lnTo>
                    <a:pt x="1142" y="18"/>
                  </a:lnTo>
                  <a:lnTo>
                    <a:pt x="1156" y="16"/>
                  </a:lnTo>
                  <a:lnTo>
                    <a:pt x="1156" y="14"/>
                  </a:lnTo>
                  <a:lnTo>
                    <a:pt x="1158" y="13"/>
                  </a:lnTo>
                  <a:lnTo>
                    <a:pt x="1161" y="12"/>
                  </a:lnTo>
                  <a:lnTo>
                    <a:pt x="1166" y="12"/>
                  </a:lnTo>
                  <a:lnTo>
                    <a:pt x="1176" y="10"/>
                  </a:lnTo>
                  <a:lnTo>
                    <a:pt x="1188" y="9"/>
                  </a:lnTo>
                  <a:lnTo>
                    <a:pt x="1212" y="9"/>
                  </a:lnTo>
                  <a:lnTo>
                    <a:pt x="1226" y="9"/>
                  </a:lnTo>
                  <a:lnTo>
                    <a:pt x="1226" y="24"/>
                  </a:lnTo>
                  <a:lnTo>
                    <a:pt x="1243" y="32"/>
                  </a:lnTo>
                  <a:lnTo>
                    <a:pt x="1243" y="43"/>
                  </a:lnTo>
                  <a:lnTo>
                    <a:pt x="1243" y="56"/>
                  </a:lnTo>
                  <a:lnTo>
                    <a:pt x="1245" y="57"/>
                  </a:lnTo>
                  <a:lnTo>
                    <a:pt x="1247" y="58"/>
                  </a:lnTo>
                  <a:lnTo>
                    <a:pt x="1248" y="61"/>
                  </a:lnTo>
                  <a:lnTo>
                    <a:pt x="1250" y="64"/>
                  </a:lnTo>
                  <a:lnTo>
                    <a:pt x="1251" y="72"/>
                  </a:lnTo>
                  <a:lnTo>
                    <a:pt x="1251" y="79"/>
                  </a:lnTo>
                  <a:lnTo>
                    <a:pt x="1253" y="80"/>
                  </a:lnTo>
                  <a:lnTo>
                    <a:pt x="1255" y="80"/>
                  </a:lnTo>
                  <a:lnTo>
                    <a:pt x="1256" y="82"/>
                  </a:lnTo>
                  <a:lnTo>
                    <a:pt x="1257" y="85"/>
                  </a:lnTo>
                  <a:lnTo>
                    <a:pt x="1259" y="89"/>
                  </a:lnTo>
                  <a:lnTo>
                    <a:pt x="1259" y="95"/>
                  </a:lnTo>
                  <a:lnTo>
                    <a:pt x="1274" y="95"/>
                  </a:lnTo>
                  <a:lnTo>
                    <a:pt x="1282" y="102"/>
                  </a:lnTo>
                  <a:lnTo>
                    <a:pt x="1282" y="119"/>
                  </a:lnTo>
                  <a:lnTo>
                    <a:pt x="1292" y="120"/>
                  </a:lnTo>
                  <a:lnTo>
                    <a:pt x="1302" y="124"/>
                  </a:lnTo>
                  <a:lnTo>
                    <a:pt x="1314" y="129"/>
                  </a:lnTo>
                  <a:lnTo>
                    <a:pt x="1327" y="135"/>
                  </a:lnTo>
                  <a:lnTo>
                    <a:pt x="1339" y="140"/>
                  </a:lnTo>
                  <a:lnTo>
                    <a:pt x="1352" y="146"/>
                  </a:lnTo>
                  <a:lnTo>
                    <a:pt x="1365" y="149"/>
                  </a:lnTo>
                  <a:lnTo>
                    <a:pt x="1377" y="150"/>
                  </a:lnTo>
                  <a:lnTo>
                    <a:pt x="1377" y="155"/>
                  </a:lnTo>
                  <a:lnTo>
                    <a:pt x="1378" y="157"/>
                  </a:lnTo>
                  <a:lnTo>
                    <a:pt x="1379" y="158"/>
                  </a:lnTo>
                  <a:lnTo>
                    <a:pt x="1381" y="158"/>
                  </a:lnTo>
                  <a:lnTo>
                    <a:pt x="1382" y="158"/>
                  </a:lnTo>
                  <a:lnTo>
                    <a:pt x="1384" y="159"/>
                  </a:lnTo>
                  <a:lnTo>
                    <a:pt x="1385" y="162"/>
                  </a:lnTo>
                  <a:lnTo>
                    <a:pt x="1385" y="166"/>
                  </a:lnTo>
                  <a:lnTo>
                    <a:pt x="1400" y="166"/>
                  </a:lnTo>
                  <a:lnTo>
                    <a:pt x="1413" y="178"/>
                  </a:lnTo>
                  <a:lnTo>
                    <a:pt x="1424" y="189"/>
                  </a:lnTo>
                  <a:lnTo>
                    <a:pt x="1424" y="206"/>
                  </a:lnTo>
                  <a:lnTo>
                    <a:pt x="1433" y="214"/>
                  </a:lnTo>
                  <a:lnTo>
                    <a:pt x="1437" y="214"/>
                  </a:lnTo>
                  <a:lnTo>
                    <a:pt x="1439" y="215"/>
                  </a:lnTo>
                  <a:lnTo>
                    <a:pt x="1440" y="216"/>
                  </a:lnTo>
                  <a:lnTo>
                    <a:pt x="1440" y="217"/>
                  </a:lnTo>
                  <a:lnTo>
                    <a:pt x="1440" y="219"/>
                  </a:lnTo>
                  <a:lnTo>
                    <a:pt x="1442" y="221"/>
                  </a:lnTo>
                  <a:lnTo>
                    <a:pt x="1444" y="221"/>
                  </a:lnTo>
                  <a:lnTo>
                    <a:pt x="1448" y="222"/>
                  </a:lnTo>
                  <a:lnTo>
                    <a:pt x="1449" y="234"/>
                  </a:lnTo>
                  <a:lnTo>
                    <a:pt x="1452" y="249"/>
                  </a:lnTo>
                  <a:lnTo>
                    <a:pt x="1455" y="264"/>
                  </a:lnTo>
                  <a:lnTo>
                    <a:pt x="1456" y="277"/>
                  </a:lnTo>
                  <a:lnTo>
                    <a:pt x="1457" y="279"/>
                  </a:lnTo>
                  <a:lnTo>
                    <a:pt x="1458" y="284"/>
                  </a:lnTo>
                  <a:lnTo>
                    <a:pt x="1461" y="293"/>
                  </a:lnTo>
                  <a:lnTo>
                    <a:pt x="1462" y="306"/>
                  </a:lnTo>
                  <a:lnTo>
                    <a:pt x="1463" y="335"/>
                  </a:lnTo>
                  <a:lnTo>
                    <a:pt x="1464" y="368"/>
                  </a:lnTo>
                  <a:lnTo>
                    <a:pt x="1463" y="402"/>
                  </a:lnTo>
                  <a:lnTo>
                    <a:pt x="1461" y="431"/>
                  </a:lnTo>
                  <a:lnTo>
                    <a:pt x="1458" y="442"/>
                  </a:lnTo>
                  <a:lnTo>
                    <a:pt x="1455" y="451"/>
                  </a:lnTo>
                  <a:lnTo>
                    <a:pt x="1454" y="454"/>
                  </a:lnTo>
                  <a:lnTo>
                    <a:pt x="1452" y="456"/>
                  </a:lnTo>
                  <a:lnTo>
                    <a:pt x="1451" y="458"/>
                  </a:lnTo>
                  <a:lnTo>
                    <a:pt x="1448" y="458"/>
                  </a:lnTo>
                  <a:lnTo>
                    <a:pt x="1448" y="463"/>
                  </a:lnTo>
                  <a:lnTo>
                    <a:pt x="1447" y="466"/>
                  </a:lnTo>
                  <a:lnTo>
                    <a:pt x="1423" y="465"/>
                  </a:lnTo>
                  <a:lnTo>
                    <a:pt x="1397" y="462"/>
                  </a:lnTo>
                  <a:lnTo>
                    <a:pt x="1372" y="460"/>
                  </a:lnTo>
                  <a:lnTo>
                    <a:pt x="1353" y="458"/>
                  </a:lnTo>
                  <a:lnTo>
                    <a:pt x="1251" y="458"/>
                  </a:lnTo>
                  <a:lnTo>
                    <a:pt x="1251" y="443"/>
                  </a:lnTo>
                  <a:lnTo>
                    <a:pt x="1247" y="443"/>
                  </a:lnTo>
                  <a:lnTo>
                    <a:pt x="1244" y="442"/>
                  </a:lnTo>
                  <a:lnTo>
                    <a:pt x="1242" y="439"/>
                  </a:lnTo>
                  <a:lnTo>
                    <a:pt x="1240" y="438"/>
                  </a:lnTo>
                  <a:lnTo>
                    <a:pt x="1237" y="435"/>
                  </a:lnTo>
                  <a:lnTo>
                    <a:pt x="1236" y="433"/>
                  </a:lnTo>
                  <a:lnTo>
                    <a:pt x="1235" y="429"/>
                  </a:lnTo>
                  <a:lnTo>
                    <a:pt x="1235" y="427"/>
                  </a:lnTo>
                  <a:lnTo>
                    <a:pt x="1229" y="427"/>
                  </a:lnTo>
                  <a:lnTo>
                    <a:pt x="1227" y="426"/>
                  </a:lnTo>
                  <a:lnTo>
                    <a:pt x="1227" y="425"/>
                  </a:lnTo>
                  <a:lnTo>
                    <a:pt x="1226" y="423"/>
                  </a:lnTo>
                  <a:lnTo>
                    <a:pt x="1226" y="422"/>
                  </a:lnTo>
                  <a:lnTo>
                    <a:pt x="1226" y="421"/>
                  </a:lnTo>
                  <a:lnTo>
                    <a:pt x="1223" y="419"/>
                  </a:lnTo>
                  <a:lnTo>
                    <a:pt x="1218" y="419"/>
                  </a:lnTo>
                  <a:lnTo>
                    <a:pt x="1218" y="404"/>
                  </a:lnTo>
                  <a:lnTo>
                    <a:pt x="1212" y="402"/>
                  </a:lnTo>
                  <a:lnTo>
                    <a:pt x="1204" y="398"/>
                  </a:lnTo>
                  <a:lnTo>
                    <a:pt x="1200" y="396"/>
                  </a:lnTo>
                  <a:lnTo>
                    <a:pt x="1197" y="394"/>
                  </a:lnTo>
                  <a:lnTo>
                    <a:pt x="1196" y="390"/>
                  </a:lnTo>
                  <a:lnTo>
                    <a:pt x="1195" y="387"/>
                  </a:lnTo>
                  <a:lnTo>
                    <a:pt x="1131" y="387"/>
                  </a:lnTo>
                  <a:lnTo>
                    <a:pt x="1123" y="395"/>
                  </a:lnTo>
                  <a:lnTo>
                    <a:pt x="1116" y="404"/>
                  </a:lnTo>
                  <a:lnTo>
                    <a:pt x="1108" y="412"/>
                  </a:lnTo>
                  <a:lnTo>
                    <a:pt x="1108" y="427"/>
                  </a:lnTo>
                  <a:lnTo>
                    <a:pt x="1103" y="427"/>
                  </a:lnTo>
                  <a:lnTo>
                    <a:pt x="1101" y="428"/>
                  </a:lnTo>
                  <a:lnTo>
                    <a:pt x="1100" y="429"/>
                  </a:lnTo>
                  <a:lnTo>
                    <a:pt x="1100" y="431"/>
                  </a:lnTo>
                  <a:lnTo>
                    <a:pt x="1100" y="433"/>
                  </a:lnTo>
                  <a:lnTo>
                    <a:pt x="1099" y="434"/>
                  </a:lnTo>
                  <a:lnTo>
                    <a:pt x="1097" y="435"/>
                  </a:lnTo>
                  <a:lnTo>
                    <a:pt x="1092" y="435"/>
                  </a:lnTo>
                  <a:lnTo>
                    <a:pt x="1092" y="451"/>
                  </a:lnTo>
                  <a:lnTo>
                    <a:pt x="1090" y="452"/>
                  </a:lnTo>
                  <a:lnTo>
                    <a:pt x="1088" y="453"/>
                  </a:lnTo>
                  <a:lnTo>
                    <a:pt x="1085" y="456"/>
                  </a:lnTo>
                  <a:lnTo>
                    <a:pt x="1083" y="458"/>
                  </a:lnTo>
                  <a:lnTo>
                    <a:pt x="1081" y="462"/>
                  </a:lnTo>
                  <a:lnTo>
                    <a:pt x="1078" y="464"/>
                  </a:lnTo>
                  <a:lnTo>
                    <a:pt x="1074" y="466"/>
                  </a:lnTo>
                  <a:lnTo>
                    <a:pt x="1069" y="466"/>
                  </a:lnTo>
                  <a:lnTo>
                    <a:pt x="1068" y="472"/>
                  </a:lnTo>
                  <a:lnTo>
                    <a:pt x="1067" y="476"/>
                  </a:lnTo>
                  <a:lnTo>
                    <a:pt x="1063" y="479"/>
                  </a:lnTo>
                  <a:lnTo>
                    <a:pt x="1061" y="481"/>
                  </a:lnTo>
                  <a:lnTo>
                    <a:pt x="1058" y="483"/>
                  </a:lnTo>
                  <a:lnTo>
                    <a:pt x="1055" y="485"/>
                  </a:lnTo>
                  <a:lnTo>
                    <a:pt x="1053" y="487"/>
                  </a:lnTo>
                  <a:lnTo>
                    <a:pt x="1053" y="490"/>
                  </a:lnTo>
                  <a:lnTo>
                    <a:pt x="1037" y="490"/>
                  </a:lnTo>
                  <a:lnTo>
                    <a:pt x="1029" y="499"/>
                  </a:lnTo>
                  <a:lnTo>
                    <a:pt x="1029" y="514"/>
                  </a:lnTo>
                  <a:lnTo>
                    <a:pt x="1024" y="514"/>
                  </a:lnTo>
                  <a:lnTo>
                    <a:pt x="1022" y="515"/>
                  </a:lnTo>
                  <a:lnTo>
                    <a:pt x="1021" y="516"/>
                  </a:lnTo>
                  <a:lnTo>
                    <a:pt x="1021" y="518"/>
                  </a:lnTo>
                  <a:lnTo>
                    <a:pt x="1021" y="520"/>
                  </a:lnTo>
                  <a:lnTo>
                    <a:pt x="1020" y="521"/>
                  </a:lnTo>
                  <a:lnTo>
                    <a:pt x="1017" y="521"/>
                  </a:lnTo>
                  <a:lnTo>
                    <a:pt x="1013" y="522"/>
                  </a:lnTo>
                  <a:lnTo>
                    <a:pt x="1013" y="553"/>
                  </a:lnTo>
                  <a:lnTo>
                    <a:pt x="1012" y="554"/>
                  </a:lnTo>
                  <a:lnTo>
                    <a:pt x="1011" y="556"/>
                  </a:lnTo>
                  <a:lnTo>
                    <a:pt x="1010" y="558"/>
                  </a:lnTo>
                  <a:lnTo>
                    <a:pt x="1008" y="561"/>
                  </a:lnTo>
                  <a:lnTo>
                    <a:pt x="1007" y="569"/>
                  </a:lnTo>
                  <a:lnTo>
                    <a:pt x="1006" y="578"/>
                  </a:lnTo>
                  <a:lnTo>
                    <a:pt x="1005" y="597"/>
                  </a:lnTo>
                  <a:lnTo>
                    <a:pt x="1005" y="609"/>
                  </a:lnTo>
                  <a:lnTo>
                    <a:pt x="1003" y="609"/>
                  </a:lnTo>
                  <a:lnTo>
                    <a:pt x="1001" y="610"/>
                  </a:lnTo>
                  <a:lnTo>
                    <a:pt x="1000" y="611"/>
                  </a:lnTo>
                  <a:lnTo>
                    <a:pt x="998" y="614"/>
                  </a:lnTo>
                  <a:lnTo>
                    <a:pt x="997" y="619"/>
                  </a:lnTo>
                  <a:lnTo>
                    <a:pt x="997" y="625"/>
                  </a:lnTo>
                  <a:lnTo>
                    <a:pt x="995" y="625"/>
                  </a:lnTo>
                  <a:lnTo>
                    <a:pt x="993" y="626"/>
                  </a:lnTo>
                  <a:lnTo>
                    <a:pt x="992" y="627"/>
                  </a:lnTo>
                  <a:lnTo>
                    <a:pt x="991" y="629"/>
                  </a:lnTo>
                  <a:lnTo>
                    <a:pt x="989" y="635"/>
                  </a:lnTo>
                  <a:lnTo>
                    <a:pt x="989" y="640"/>
                  </a:lnTo>
                  <a:lnTo>
                    <a:pt x="974" y="640"/>
                  </a:lnTo>
                  <a:lnTo>
                    <a:pt x="966" y="648"/>
                  </a:lnTo>
                  <a:lnTo>
                    <a:pt x="958" y="656"/>
                  </a:lnTo>
                  <a:lnTo>
                    <a:pt x="958" y="672"/>
                  </a:lnTo>
                  <a:lnTo>
                    <a:pt x="946" y="672"/>
                  </a:lnTo>
                  <a:lnTo>
                    <a:pt x="934" y="672"/>
                  </a:lnTo>
                  <a:lnTo>
                    <a:pt x="926" y="679"/>
                  </a:lnTo>
                  <a:lnTo>
                    <a:pt x="918" y="687"/>
                  </a:lnTo>
                  <a:lnTo>
                    <a:pt x="918" y="700"/>
                  </a:lnTo>
                  <a:lnTo>
                    <a:pt x="918" y="712"/>
                  </a:lnTo>
                  <a:lnTo>
                    <a:pt x="916" y="712"/>
                  </a:lnTo>
                  <a:lnTo>
                    <a:pt x="912" y="713"/>
                  </a:lnTo>
                  <a:lnTo>
                    <a:pt x="910" y="714"/>
                  </a:lnTo>
                  <a:lnTo>
                    <a:pt x="908" y="716"/>
                  </a:lnTo>
                  <a:lnTo>
                    <a:pt x="906" y="718"/>
                  </a:lnTo>
                  <a:lnTo>
                    <a:pt x="904" y="722"/>
                  </a:lnTo>
                  <a:lnTo>
                    <a:pt x="902" y="724"/>
                  </a:lnTo>
                  <a:lnTo>
                    <a:pt x="902" y="727"/>
                  </a:lnTo>
                  <a:lnTo>
                    <a:pt x="895" y="735"/>
                  </a:lnTo>
                  <a:lnTo>
                    <a:pt x="882" y="740"/>
                  </a:lnTo>
                  <a:lnTo>
                    <a:pt x="871" y="743"/>
                  </a:lnTo>
                  <a:lnTo>
                    <a:pt x="863" y="751"/>
                  </a:lnTo>
                  <a:lnTo>
                    <a:pt x="861" y="754"/>
                  </a:lnTo>
                  <a:lnTo>
                    <a:pt x="857" y="760"/>
                  </a:lnTo>
                  <a:lnTo>
                    <a:pt x="850" y="765"/>
                  </a:lnTo>
                  <a:lnTo>
                    <a:pt x="843" y="771"/>
                  </a:lnTo>
                  <a:lnTo>
                    <a:pt x="835" y="777"/>
                  </a:lnTo>
                  <a:lnTo>
                    <a:pt x="830" y="782"/>
                  </a:lnTo>
                  <a:lnTo>
                    <a:pt x="825" y="787"/>
                  </a:lnTo>
                  <a:lnTo>
                    <a:pt x="823" y="791"/>
                  </a:lnTo>
                  <a:lnTo>
                    <a:pt x="821" y="791"/>
                  </a:lnTo>
                  <a:lnTo>
                    <a:pt x="818" y="792"/>
                  </a:lnTo>
                  <a:lnTo>
                    <a:pt x="815" y="793"/>
                  </a:lnTo>
                  <a:lnTo>
                    <a:pt x="813" y="796"/>
                  </a:lnTo>
                  <a:lnTo>
                    <a:pt x="811" y="798"/>
                  </a:lnTo>
                  <a:lnTo>
                    <a:pt x="809" y="801"/>
                  </a:lnTo>
                  <a:lnTo>
                    <a:pt x="808" y="803"/>
                  </a:lnTo>
                  <a:lnTo>
                    <a:pt x="808" y="807"/>
                  </a:lnTo>
                  <a:lnTo>
                    <a:pt x="792" y="807"/>
                  </a:lnTo>
                  <a:lnTo>
                    <a:pt x="784" y="822"/>
                  </a:lnTo>
                  <a:lnTo>
                    <a:pt x="768" y="830"/>
                  </a:lnTo>
                  <a:lnTo>
                    <a:pt x="765" y="830"/>
                  </a:lnTo>
                  <a:lnTo>
                    <a:pt x="763" y="831"/>
                  </a:lnTo>
                  <a:lnTo>
                    <a:pt x="760" y="833"/>
                  </a:lnTo>
                  <a:lnTo>
                    <a:pt x="757" y="835"/>
                  </a:lnTo>
                  <a:lnTo>
                    <a:pt x="755" y="838"/>
                  </a:lnTo>
                  <a:lnTo>
                    <a:pt x="754" y="840"/>
                  </a:lnTo>
                  <a:lnTo>
                    <a:pt x="753" y="842"/>
                  </a:lnTo>
                  <a:lnTo>
                    <a:pt x="753" y="846"/>
                  </a:lnTo>
                  <a:lnTo>
                    <a:pt x="749" y="847"/>
                  </a:lnTo>
                  <a:lnTo>
                    <a:pt x="746" y="851"/>
                  </a:lnTo>
                  <a:lnTo>
                    <a:pt x="744" y="856"/>
                  </a:lnTo>
                  <a:lnTo>
                    <a:pt x="742" y="862"/>
                  </a:lnTo>
                  <a:lnTo>
                    <a:pt x="738" y="876"/>
                  </a:lnTo>
                  <a:lnTo>
                    <a:pt x="736" y="886"/>
                  </a:lnTo>
                  <a:lnTo>
                    <a:pt x="734" y="889"/>
                  </a:lnTo>
                  <a:lnTo>
                    <a:pt x="728" y="898"/>
                  </a:lnTo>
                  <a:lnTo>
                    <a:pt x="723" y="908"/>
                  </a:lnTo>
                  <a:lnTo>
                    <a:pt x="720" y="917"/>
                  </a:lnTo>
                  <a:lnTo>
                    <a:pt x="717" y="918"/>
                  </a:lnTo>
                  <a:lnTo>
                    <a:pt x="713" y="922"/>
                  </a:lnTo>
                  <a:lnTo>
                    <a:pt x="707" y="927"/>
                  </a:lnTo>
                  <a:lnTo>
                    <a:pt x="701" y="933"/>
                  </a:lnTo>
                  <a:lnTo>
                    <a:pt x="695" y="938"/>
                  </a:lnTo>
                  <a:lnTo>
                    <a:pt x="689" y="944"/>
                  </a:lnTo>
                  <a:lnTo>
                    <a:pt x="685" y="947"/>
                  </a:lnTo>
                  <a:lnTo>
                    <a:pt x="681" y="948"/>
                  </a:lnTo>
                  <a:lnTo>
                    <a:pt x="674" y="956"/>
                  </a:lnTo>
                  <a:lnTo>
                    <a:pt x="666" y="964"/>
                  </a:lnTo>
                  <a:lnTo>
                    <a:pt x="664" y="968"/>
                  </a:lnTo>
                  <a:lnTo>
                    <a:pt x="660" y="973"/>
                  </a:lnTo>
                  <a:lnTo>
                    <a:pt x="655" y="977"/>
                  </a:lnTo>
                  <a:lnTo>
                    <a:pt x="649" y="983"/>
                  </a:lnTo>
                  <a:lnTo>
                    <a:pt x="642" y="989"/>
                  </a:lnTo>
                  <a:lnTo>
                    <a:pt x="636" y="992"/>
                  </a:lnTo>
                  <a:lnTo>
                    <a:pt x="630" y="995"/>
                  </a:lnTo>
                  <a:lnTo>
                    <a:pt x="626" y="996"/>
                  </a:lnTo>
                  <a:lnTo>
                    <a:pt x="626" y="1001"/>
                  </a:lnTo>
                  <a:lnTo>
                    <a:pt x="624" y="1003"/>
                  </a:lnTo>
                  <a:lnTo>
                    <a:pt x="623" y="1004"/>
                  </a:lnTo>
                  <a:lnTo>
                    <a:pt x="622" y="1004"/>
                  </a:lnTo>
                  <a:lnTo>
                    <a:pt x="620" y="1004"/>
                  </a:lnTo>
                  <a:lnTo>
                    <a:pt x="619" y="1005"/>
                  </a:lnTo>
                  <a:lnTo>
                    <a:pt x="618" y="1008"/>
                  </a:lnTo>
                  <a:lnTo>
                    <a:pt x="618" y="1012"/>
                  </a:lnTo>
                  <a:lnTo>
                    <a:pt x="602" y="1012"/>
                  </a:lnTo>
                  <a:lnTo>
                    <a:pt x="601" y="1014"/>
                  </a:lnTo>
                  <a:lnTo>
                    <a:pt x="600" y="1016"/>
                  </a:lnTo>
                  <a:lnTo>
                    <a:pt x="598" y="1019"/>
                  </a:lnTo>
                  <a:lnTo>
                    <a:pt x="594" y="1021"/>
                  </a:lnTo>
                  <a:lnTo>
                    <a:pt x="591" y="1023"/>
                  </a:lnTo>
                  <a:lnTo>
                    <a:pt x="589" y="1027"/>
                  </a:lnTo>
                  <a:lnTo>
                    <a:pt x="586" y="1030"/>
                  </a:lnTo>
                  <a:lnTo>
                    <a:pt x="586" y="1035"/>
                  </a:lnTo>
                  <a:lnTo>
                    <a:pt x="575" y="1038"/>
                  </a:lnTo>
                  <a:lnTo>
                    <a:pt x="563" y="1042"/>
                  </a:lnTo>
                  <a:lnTo>
                    <a:pt x="566" y="1046"/>
                  </a:lnTo>
                  <a:lnTo>
                    <a:pt x="569" y="1048"/>
                  </a:lnTo>
                  <a:lnTo>
                    <a:pt x="561" y="1038"/>
                  </a:lnTo>
                  <a:lnTo>
                    <a:pt x="549" y="1020"/>
                  </a:lnTo>
                  <a:lnTo>
                    <a:pt x="542" y="1011"/>
                  </a:lnTo>
                  <a:lnTo>
                    <a:pt x="535" y="1004"/>
                  </a:lnTo>
                  <a:lnTo>
                    <a:pt x="533" y="1001"/>
                  </a:lnTo>
                  <a:lnTo>
                    <a:pt x="530" y="999"/>
                  </a:lnTo>
                  <a:lnTo>
                    <a:pt x="527" y="996"/>
                  </a:lnTo>
                  <a:lnTo>
                    <a:pt x="524" y="996"/>
                  </a:lnTo>
                  <a:lnTo>
                    <a:pt x="524" y="983"/>
                  </a:lnTo>
                  <a:lnTo>
                    <a:pt x="521" y="982"/>
                  </a:lnTo>
                  <a:lnTo>
                    <a:pt x="516" y="980"/>
                  </a:lnTo>
                  <a:lnTo>
                    <a:pt x="511" y="975"/>
                  </a:lnTo>
                  <a:lnTo>
                    <a:pt x="506" y="968"/>
                  </a:lnTo>
                  <a:lnTo>
                    <a:pt x="495" y="954"/>
                  </a:lnTo>
                  <a:lnTo>
                    <a:pt x="484" y="937"/>
                  </a:lnTo>
                  <a:lnTo>
                    <a:pt x="473" y="921"/>
                  </a:lnTo>
                  <a:lnTo>
                    <a:pt x="464" y="906"/>
                  </a:lnTo>
                  <a:lnTo>
                    <a:pt x="457" y="895"/>
                  </a:lnTo>
                  <a:lnTo>
                    <a:pt x="453" y="891"/>
                  </a:lnTo>
                  <a:lnTo>
                    <a:pt x="446" y="869"/>
                  </a:lnTo>
                  <a:lnTo>
                    <a:pt x="431" y="819"/>
                  </a:lnTo>
                  <a:lnTo>
                    <a:pt x="424" y="793"/>
                  </a:lnTo>
                  <a:lnTo>
                    <a:pt x="417" y="770"/>
                  </a:lnTo>
                  <a:lnTo>
                    <a:pt x="410" y="753"/>
                  </a:lnTo>
                  <a:lnTo>
                    <a:pt x="407" y="748"/>
                  </a:lnTo>
                  <a:lnTo>
                    <a:pt x="407" y="742"/>
                  </a:lnTo>
                  <a:lnTo>
                    <a:pt x="406" y="739"/>
                  </a:lnTo>
                  <a:lnTo>
                    <a:pt x="405" y="736"/>
                  </a:lnTo>
                  <a:lnTo>
                    <a:pt x="403" y="735"/>
                  </a:lnTo>
                  <a:lnTo>
                    <a:pt x="402" y="734"/>
                  </a:lnTo>
                  <a:lnTo>
                    <a:pt x="400" y="734"/>
                  </a:lnTo>
                  <a:lnTo>
                    <a:pt x="400" y="721"/>
                  </a:lnTo>
                  <a:lnTo>
                    <a:pt x="387" y="708"/>
                  </a:lnTo>
                  <a:lnTo>
                    <a:pt x="374" y="707"/>
                  </a:lnTo>
                  <a:lnTo>
                    <a:pt x="361" y="706"/>
                  </a:lnTo>
                  <a:lnTo>
                    <a:pt x="348" y="704"/>
                  </a:lnTo>
                  <a:lnTo>
                    <a:pt x="334" y="702"/>
                  </a:lnTo>
                  <a:lnTo>
                    <a:pt x="321" y="700"/>
                  </a:lnTo>
                  <a:lnTo>
                    <a:pt x="307" y="697"/>
                  </a:lnTo>
                  <a:lnTo>
                    <a:pt x="294" y="695"/>
                  </a:lnTo>
                  <a:lnTo>
                    <a:pt x="282" y="695"/>
                  </a:lnTo>
                  <a:lnTo>
                    <a:pt x="273" y="694"/>
                  </a:lnTo>
                  <a:lnTo>
                    <a:pt x="265" y="693"/>
                  </a:lnTo>
                  <a:lnTo>
                    <a:pt x="257" y="689"/>
                  </a:lnTo>
                  <a:lnTo>
                    <a:pt x="252" y="686"/>
                  </a:lnTo>
                  <a:lnTo>
                    <a:pt x="246" y="683"/>
                  </a:lnTo>
                  <a:lnTo>
                    <a:pt x="240" y="678"/>
                  </a:lnTo>
                  <a:lnTo>
                    <a:pt x="237" y="674"/>
                  </a:lnTo>
                  <a:lnTo>
                    <a:pt x="233" y="668"/>
                  </a:lnTo>
                  <a:lnTo>
                    <a:pt x="226" y="659"/>
                  </a:lnTo>
                  <a:lnTo>
                    <a:pt x="219" y="650"/>
                  </a:lnTo>
                  <a:lnTo>
                    <a:pt x="216" y="647"/>
                  </a:lnTo>
                  <a:lnTo>
                    <a:pt x="213" y="645"/>
                  </a:lnTo>
                  <a:lnTo>
                    <a:pt x="208" y="643"/>
                  </a:lnTo>
                  <a:lnTo>
                    <a:pt x="204" y="643"/>
                  </a:lnTo>
                  <a:lnTo>
                    <a:pt x="204" y="629"/>
                  </a:lnTo>
                  <a:lnTo>
                    <a:pt x="199" y="629"/>
                  </a:lnTo>
                  <a:lnTo>
                    <a:pt x="198" y="628"/>
                  </a:lnTo>
                  <a:lnTo>
                    <a:pt x="197" y="627"/>
                  </a:lnTo>
                  <a:lnTo>
                    <a:pt x="197" y="626"/>
                  </a:lnTo>
                  <a:lnTo>
                    <a:pt x="197" y="625"/>
                  </a:lnTo>
                  <a:lnTo>
                    <a:pt x="196" y="624"/>
                  </a:lnTo>
                  <a:lnTo>
                    <a:pt x="194" y="623"/>
                  </a:lnTo>
                  <a:lnTo>
                    <a:pt x="190" y="623"/>
                  </a:lnTo>
                  <a:lnTo>
                    <a:pt x="190" y="609"/>
                  </a:lnTo>
                  <a:lnTo>
                    <a:pt x="177" y="609"/>
                  </a:lnTo>
                  <a:lnTo>
                    <a:pt x="176" y="607"/>
                  </a:lnTo>
                  <a:lnTo>
                    <a:pt x="171" y="602"/>
                  </a:lnTo>
                  <a:lnTo>
                    <a:pt x="165" y="598"/>
                  </a:lnTo>
                  <a:lnTo>
                    <a:pt x="157" y="593"/>
                  </a:lnTo>
                  <a:lnTo>
                    <a:pt x="141" y="583"/>
                  </a:lnTo>
                  <a:lnTo>
                    <a:pt x="131" y="577"/>
                  </a:lnTo>
                  <a:lnTo>
                    <a:pt x="125" y="571"/>
                  </a:lnTo>
                  <a:lnTo>
                    <a:pt x="114" y="557"/>
                  </a:lnTo>
                  <a:lnTo>
                    <a:pt x="108" y="550"/>
                  </a:lnTo>
                  <a:lnTo>
                    <a:pt x="101" y="543"/>
                  </a:lnTo>
                  <a:lnTo>
                    <a:pt x="95" y="539"/>
                  </a:lnTo>
                  <a:lnTo>
                    <a:pt x="92" y="538"/>
                  </a:lnTo>
                  <a:lnTo>
                    <a:pt x="92" y="524"/>
                  </a:lnTo>
                  <a:lnTo>
                    <a:pt x="90" y="524"/>
                  </a:lnTo>
                  <a:lnTo>
                    <a:pt x="86" y="523"/>
                  </a:lnTo>
                  <a:lnTo>
                    <a:pt x="84" y="521"/>
                  </a:lnTo>
                  <a:lnTo>
                    <a:pt x="82" y="519"/>
                  </a:lnTo>
                  <a:lnTo>
                    <a:pt x="77" y="512"/>
                  </a:lnTo>
                  <a:lnTo>
                    <a:pt x="73" y="504"/>
                  </a:lnTo>
                  <a:lnTo>
                    <a:pt x="69" y="498"/>
                  </a:lnTo>
                  <a:lnTo>
                    <a:pt x="65" y="491"/>
                  </a:lnTo>
                  <a:lnTo>
                    <a:pt x="62" y="486"/>
                  </a:lnTo>
                  <a:lnTo>
                    <a:pt x="58" y="485"/>
                  </a:lnTo>
                  <a:lnTo>
                    <a:pt x="57" y="479"/>
                  </a:lnTo>
                  <a:lnTo>
                    <a:pt x="55" y="470"/>
                  </a:lnTo>
                  <a:lnTo>
                    <a:pt x="53" y="465"/>
                  </a:lnTo>
                  <a:lnTo>
                    <a:pt x="51" y="462"/>
                  </a:lnTo>
                  <a:lnTo>
                    <a:pt x="48" y="460"/>
                  </a:lnTo>
                  <a:lnTo>
                    <a:pt x="46" y="458"/>
                  </a:lnTo>
                  <a:lnTo>
                    <a:pt x="46" y="439"/>
                  </a:lnTo>
                  <a:lnTo>
                    <a:pt x="45" y="412"/>
                  </a:lnTo>
                  <a:lnTo>
                    <a:pt x="44" y="397"/>
                  </a:lnTo>
                  <a:lnTo>
                    <a:pt x="43" y="385"/>
                  </a:lnTo>
                  <a:lnTo>
                    <a:pt x="42" y="377"/>
                  </a:lnTo>
                  <a:lnTo>
                    <a:pt x="40" y="374"/>
                  </a:lnTo>
                  <a:lnTo>
                    <a:pt x="38" y="367"/>
                  </a:lnTo>
                  <a:lnTo>
                    <a:pt x="36" y="359"/>
                  </a:lnTo>
                  <a:lnTo>
                    <a:pt x="33" y="349"/>
                  </a:lnTo>
                  <a:lnTo>
                    <a:pt x="28" y="339"/>
                  </a:lnTo>
                  <a:lnTo>
                    <a:pt x="24" y="330"/>
                  </a:lnTo>
                  <a:lnTo>
                    <a:pt x="21" y="322"/>
                  </a:lnTo>
                  <a:lnTo>
                    <a:pt x="16" y="317"/>
                  </a:lnTo>
                  <a:lnTo>
                    <a:pt x="13" y="314"/>
                  </a:lnTo>
                  <a:lnTo>
                    <a:pt x="13" y="309"/>
                  </a:lnTo>
                  <a:lnTo>
                    <a:pt x="13" y="302"/>
                  </a:lnTo>
                  <a:lnTo>
                    <a:pt x="12" y="300"/>
                  </a:lnTo>
                  <a:lnTo>
                    <a:pt x="10" y="297"/>
                  </a:lnTo>
                  <a:lnTo>
                    <a:pt x="8" y="296"/>
                  </a:lnTo>
                  <a:lnTo>
                    <a:pt x="7" y="296"/>
                  </a:lnTo>
                  <a:lnTo>
                    <a:pt x="6" y="289"/>
                  </a:lnTo>
                  <a:lnTo>
                    <a:pt x="6" y="283"/>
                  </a:lnTo>
                  <a:lnTo>
                    <a:pt x="5" y="280"/>
                  </a:lnTo>
                  <a:lnTo>
                    <a:pt x="4" y="278"/>
                  </a:lnTo>
                  <a:lnTo>
                    <a:pt x="3" y="275"/>
                  </a:lnTo>
                  <a:lnTo>
                    <a:pt x="0" y="275"/>
                  </a:lnTo>
                  <a:lnTo>
                    <a:pt x="2" y="240"/>
                  </a:lnTo>
                  <a:lnTo>
                    <a:pt x="4" y="203"/>
                  </a:lnTo>
                  <a:lnTo>
                    <a:pt x="6" y="166"/>
                  </a:lnTo>
                  <a:lnTo>
                    <a:pt x="7" y="131"/>
                  </a:lnTo>
                  <a:lnTo>
                    <a:pt x="7" y="123"/>
                  </a:lnTo>
                  <a:lnTo>
                    <a:pt x="9" y="115"/>
                  </a:lnTo>
                  <a:lnTo>
                    <a:pt x="13" y="108"/>
                  </a:lnTo>
                  <a:lnTo>
                    <a:pt x="17" y="101"/>
                  </a:lnTo>
                  <a:lnTo>
                    <a:pt x="27" y="89"/>
                  </a:lnTo>
                  <a:lnTo>
                    <a:pt x="40" y="79"/>
                  </a:lnTo>
                  <a:lnTo>
                    <a:pt x="52" y="69"/>
                  </a:lnTo>
                  <a:lnTo>
                    <a:pt x="62" y="61"/>
                  </a:lnTo>
                  <a:lnTo>
                    <a:pt x="66" y="57"/>
                  </a:lnTo>
                  <a:lnTo>
                    <a:pt x="70" y="53"/>
                  </a:lnTo>
                  <a:lnTo>
                    <a:pt x="72" y="50"/>
                  </a:lnTo>
                  <a:lnTo>
                    <a:pt x="72" y="46"/>
                  </a:lnTo>
                  <a:lnTo>
                    <a:pt x="85" y="46"/>
                  </a:lnTo>
                  <a:lnTo>
                    <a:pt x="93" y="35"/>
                  </a:lnTo>
                  <a:lnTo>
                    <a:pt x="104" y="2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3" name="Freeform 49"/>
            <p:cNvSpPr>
              <a:spLocks noChangeAspect="1"/>
            </p:cNvSpPr>
            <p:nvPr/>
          </p:nvSpPr>
          <p:spPr bwMode="gray">
            <a:xfrm rot="355651">
              <a:off x="6057751" y="2511425"/>
              <a:ext cx="313155" cy="219309"/>
            </a:xfrm>
            <a:custGeom>
              <a:avLst/>
              <a:gdLst/>
              <a:ahLst/>
              <a:cxnLst>
                <a:cxn ang="0">
                  <a:pos x="225" y="519"/>
                </a:cxn>
                <a:cxn ang="0">
                  <a:pos x="243" y="499"/>
                </a:cxn>
                <a:cxn ang="0">
                  <a:pos x="259" y="475"/>
                </a:cxn>
                <a:cxn ang="0">
                  <a:pos x="301" y="285"/>
                </a:cxn>
                <a:cxn ang="0">
                  <a:pos x="324" y="243"/>
                </a:cxn>
                <a:cxn ang="0">
                  <a:pos x="362" y="175"/>
                </a:cxn>
                <a:cxn ang="0">
                  <a:pos x="444" y="149"/>
                </a:cxn>
                <a:cxn ang="0">
                  <a:pos x="486" y="128"/>
                </a:cxn>
                <a:cxn ang="0">
                  <a:pos x="706" y="94"/>
                </a:cxn>
                <a:cxn ang="0">
                  <a:pos x="900" y="2"/>
                </a:cxn>
                <a:cxn ang="0">
                  <a:pos x="1149" y="31"/>
                </a:cxn>
                <a:cxn ang="0">
                  <a:pos x="1232" y="58"/>
                </a:cxn>
                <a:cxn ang="0">
                  <a:pos x="1269" y="81"/>
                </a:cxn>
                <a:cxn ang="0">
                  <a:pos x="1225" y="99"/>
                </a:cxn>
                <a:cxn ang="0">
                  <a:pos x="1192" y="125"/>
                </a:cxn>
                <a:cxn ang="0">
                  <a:pos x="1150" y="178"/>
                </a:cxn>
                <a:cxn ang="0">
                  <a:pos x="1131" y="356"/>
                </a:cxn>
                <a:cxn ang="0">
                  <a:pos x="1102" y="396"/>
                </a:cxn>
                <a:cxn ang="0">
                  <a:pos x="1059" y="411"/>
                </a:cxn>
                <a:cxn ang="0">
                  <a:pos x="1018" y="431"/>
                </a:cxn>
                <a:cxn ang="0">
                  <a:pos x="985" y="469"/>
                </a:cxn>
                <a:cxn ang="0">
                  <a:pos x="979" y="571"/>
                </a:cxn>
                <a:cxn ang="0">
                  <a:pos x="1063" y="575"/>
                </a:cxn>
                <a:cxn ang="0">
                  <a:pos x="1144" y="557"/>
                </a:cxn>
                <a:cxn ang="0">
                  <a:pos x="1194" y="618"/>
                </a:cxn>
                <a:cxn ang="0">
                  <a:pos x="1219" y="750"/>
                </a:cxn>
                <a:cxn ang="0">
                  <a:pos x="1237" y="800"/>
                </a:cxn>
                <a:cxn ang="0">
                  <a:pos x="1292" y="856"/>
                </a:cxn>
                <a:cxn ang="0">
                  <a:pos x="1396" y="833"/>
                </a:cxn>
                <a:cxn ang="0">
                  <a:pos x="1475" y="845"/>
                </a:cxn>
                <a:cxn ang="0">
                  <a:pos x="1528" y="865"/>
                </a:cxn>
                <a:cxn ang="0">
                  <a:pos x="1571" y="892"/>
                </a:cxn>
                <a:cxn ang="0">
                  <a:pos x="1713" y="925"/>
                </a:cxn>
                <a:cxn ang="0">
                  <a:pos x="1701" y="975"/>
                </a:cxn>
                <a:cxn ang="0">
                  <a:pos x="1526" y="1014"/>
                </a:cxn>
                <a:cxn ang="0">
                  <a:pos x="1500" y="1190"/>
                </a:cxn>
                <a:cxn ang="0">
                  <a:pos x="1526" y="1324"/>
                </a:cxn>
                <a:cxn ang="0">
                  <a:pos x="1512" y="1282"/>
                </a:cxn>
                <a:cxn ang="0">
                  <a:pos x="1425" y="1255"/>
                </a:cxn>
                <a:cxn ang="0">
                  <a:pos x="1302" y="1278"/>
                </a:cxn>
                <a:cxn ang="0">
                  <a:pos x="1241" y="1305"/>
                </a:cxn>
                <a:cxn ang="0">
                  <a:pos x="1137" y="1366"/>
                </a:cxn>
                <a:cxn ang="0">
                  <a:pos x="1048" y="1341"/>
                </a:cxn>
                <a:cxn ang="0">
                  <a:pos x="1016" y="1326"/>
                </a:cxn>
                <a:cxn ang="0">
                  <a:pos x="983" y="1297"/>
                </a:cxn>
                <a:cxn ang="0">
                  <a:pos x="880" y="1250"/>
                </a:cxn>
                <a:cxn ang="0">
                  <a:pos x="767" y="1240"/>
                </a:cxn>
                <a:cxn ang="0">
                  <a:pos x="637" y="1257"/>
                </a:cxn>
                <a:cxn ang="0">
                  <a:pos x="588" y="1277"/>
                </a:cxn>
                <a:cxn ang="0">
                  <a:pos x="373" y="1232"/>
                </a:cxn>
                <a:cxn ang="0">
                  <a:pos x="80" y="1242"/>
                </a:cxn>
                <a:cxn ang="0">
                  <a:pos x="66" y="1147"/>
                </a:cxn>
                <a:cxn ang="0">
                  <a:pos x="7" y="1048"/>
                </a:cxn>
                <a:cxn ang="0">
                  <a:pos x="22" y="952"/>
                </a:cxn>
                <a:cxn ang="0">
                  <a:pos x="67" y="913"/>
                </a:cxn>
                <a:cxn ang="0">
                  <a:pos x="141" y="858"/>
                </a:cxn>
                <a:cxn ang="0">
                  <a:pos x="185" y="703"/>
                </a:cxn>
                <a:cxn ang="0">
                  <a:pos x="206" y="648"/>
                </a:cxn>
                <a:cxn ang="0">
                  <a:pos x="210" y="580"/>
                </a:cxn>
              </a:cxnLst>
              <a:rect l="0" t="0" r="r" b="b"/>
              <a:pathLst>
                <a:path w="1725" h="1366">
                  <a:moveTo>
                    <a:pt x="147" y="566"/>
                  </a:moveTo>
                  <a:lnTo>
                    <a:pt x="161" y="557"/>
                  </a:lnTo>
                  <a:lnTo>
                    <a:pt x="173" y="549"/>
                  </a:lnTo>
                  <a:lnTo>
                    <a:pt x="183" y="542"/>
                  </a:lnTo>
                  <a:lnTo>
                    <a:pt x="187" y="538"/>
                  </a:lnTo>
                  <a:lnTo>
                    <a:pt x="199" y="531"/>
                  </a:lnTo>
                  <a:lnTo>
                    <a:pt x="205" y="530"/>
                  </a:lnTo>
                  <a:lnTo>
                    <a:pt x="208" y="528"/>
                  </a:lnTo>
                  <a:lnTo>
                    <a:pt x="211" y="523"/>
                  </a:lnTo>
                  <a:lnTo>
                    <a:pt x="213" y="519"/>
                  </a:lnTo>
                  <a:lnTo>
                    <a:pt x="225" y="519"/>
                  </a:lnTo>
                  <a:lnTo>
                    <a:pt x="225" y="516"/>
                  </a:lnTo>
                  <a:lnTo>
                    <a:pt x="226" y="513"/>
                  </a:lnTo>
                  <a:lnTo>
                    <a:pt x="227" y="512"/>
                  </a:lnTo>
                  <a:lnTo>
                    <a:pt x="228" y="512"/>
                  </a:lnTo>
                  <a:lnTo>
                    <a:pt x="229" y="512"/>
                  </a:lnTo>
                  <a:lnTo>
                    <a:pt x="230" y="512"/>
                  </a:lnTo>
                  <a:lnTo>
                    <a:pt x="230" y="510"/>
                  </a:lnTo>
                  <a:lnTo>
                    <a:pt x="230" y="507"/>
                  </a:lnTo>
                  <a:lnTo>
                    <a:pt x="236" y="506"/>
                  </a:lnTo>
                  <a:lnTo>
                    <a:pt x="239" y="502"/>
                  </a:lnTo>
                  <a:lnTo>
                    <a:pt x="243" y="499"/>
                  </a:lnTo>
                  <a:lnTo>
                    <a:pt x="244" y="493"/>
                  </a:lnTo>
                  <a:lnTo>
                    <a:pt x="247" y="493"/>
                  </a:lnTo>
                  <a:lnTo>
                    <a:pt x="249" y="493"/>
                  </a:lnTo>
                  <a:lnTo>
                    <a:pt x="249" y="492"/>
                  </a:lnTo>
                  <a:lnTo>
                    <a:pt x="249" y="491"/>
                  </a:lnTo>
                  <a:lnTo>
                    <a:pt x="249" y="490"/>
                  </a:lnTo>
                  <a:lnTo>
                    <a:pt x="250" y="489"/>
                  </a:lnTo>
                  <a:lnTo>
                    <a:pt x="253" y="488"/>
                  </a:lnTo>
                  <a:lnTo>
                    <a:pt x="256" y="488"/>
                  </a:lnTo>
                  <a:lnTo>
                    <a:pt x="257" y="482"/>
                  </a:lnTo>
                  <a:lnTo>
                    <a:pt x="259" y="475"/>
                  </a:lnTo>
                  <a:lnTo>
                    <a:pt x="262" y="473"/>
                  </a:lnTo>
                  <a:lnTo>
                    <a:pt x="264" y="471"/>
                  </a:lnTo>
                  <a:lnTo>
                    <a:pt x="266" y="470"/>
                  </a:lnTo>
                  <a:lnTo>
                    <a:pt x="268" y="469"/>
                  </a:lnTo>
                  <a:lnTo>
                    <a:pt x="269" y="451"/>
                  </a:lnTo>
                  <a:lnTo>
                    <a:pt x="273" y="424"/>
                  </a:lnTo>
                  <a:lnTo>
                    <a:pt x="277" y="392"/>
                  </a:lnTo>
                  <a:lnTo>
                    <a:pt x="283" y="357"/>
                  </a:lnTo>
                  <a:lnTo>
                    <a:pt x="290" y="324"/>
                  </a:lnTo>
                  <a:lnTo>
                    <a:pt x="297" y="296"/>
                  </a:lnTo>
                  <a:lnTo>
                    <a:pt x="301" y="285"/>
                  </a:lnTo>
                  <a:lnTo>
                    <a:pt x="305" y="276"/>
                  </a:lnTo>
                  <a:lnTo>
                    <a:pt x="306" y="273"/>
                  </a:lnTo>
                  <a:lnTo>
                    <a:pt x="309" y="270"/>
                  </a:lnTo>
                  <a:lnTo>
                    <a:pt x="311" y="269"/>
                  </a:lnTo>
                  <a:lnTo>
                    <a:pt x="312" y="269"/>
                  </a:lnTo>
                  <a:lnTo>
                    <a:pt x="312" y="257"/>
                  </a:lnTo>
                  <a:lnTo>
                    <a:pt x="314" y="256"/>
                  </a:lnTo>
                  <a:lnTo>
                    <a:pt x="316" y="254"/>
                  </a:lnTo>
                  <a:lnTo>
                    <a:pt x="319" y="252"/>
                  </a:lnTo>
                  <a:lnTo>
                    <a:pt x="321" y="249"/>
                  </a:lnTo>
                  <a:lnTo>
                    <a:pt x="324" y="243"/>
                  </a:lnTo>
                  <a:lnTo>
                    <a:pt x="324" y="238"/>
                  </a:lnTo>
                  <a:lnTo>
                    <a:pt x="338" y="231"/>
                  </a:lnTo>
                  <a:lnTo>
                    <a:pt x="339" y="222"/>
                  </a:lnTo>
                  <a:lnTo>
                    <a:pt x="340" y="212"/>
                  </a:lnTo>
                  <a:lnTo>
                    <a:pt x="342" y="203"/>
                  </a:lnTo>
                  <a:lnTo>
                    <a:pt x="343" y="193"/>
                  </a:lnTo>
                  <a:lnTo>
                    <a:pt x="350" y="187"/>
                  </a:lnTo>
                  <a:lnTo>
                    <a:pt x="354" y="186"/>
                  </a:lnTo>
                  <a:lnTo>
                    <a:pt x="359" y="183"/>
                  </a:lnTo>
                  <a:lnTo>
                    <a:pt x="361" y="180"/>
                  </a:lnTo>
                  <a:lnTo>
                    <a:pt x="362" y="175"/>
                  </a:lnTo>
                  <a:lnTo>
                    <a:pt x="374" y="172"/>
                  </a:lnTo>
                  <a:lnTo>
                    <a:pt x="388" y="168"/>
                  </a:lnTo>
                  <a:lnTo>
                    <a:pt x="400" y="156"/>
                  </a:lnTo>
                  <a:lnTo>
                    <a:pt x="409" y="156"/>
                  </a:lnTo>
                  <a:lnTo>
                    <a:pt x="419" y="156"/>
                  </a:lnTo>
                  <a:lnTo>
                    <a:pt x="419" y="154"/>
                  </a:lnTo>
                  <a:lnTo>
                    <a:pt x="421" y="153"/>
                  </a:lnTo>
                  <a:lnTo>
                    <a:pt x="425" y="152"/>
                  </a:lnTo>
                  <a:lnTo>
                    <a:pt x="429" y="151"/>
                  </a:lnTo>
                  <a:lnTo>
                    <a:pt x="437" y="149"/>
                  </a:lnTo>
                  <a:lnTo>
                    <a:pt x="444" y="149"/>
                  </a:lnTo>
                  <a:lnTo>
                    <a:pt x="444" y="147"/>
                  </a:lnTo>
                  <a:lnTo>
                    <a:pt x="446" y="146"/>
                  </a:lnTo>
                  <a:lnTo>
                    <a:pt x="448" y="145"/>
                  </a:lnTo>
                  <a:lnTo>
                    <a:pt x="450" y="144"/>
                  </a:lnTo>
                  <a:lnTo>
                    <a:pt x="457" y="144"/>
                  </a:lnTo>
                  <a:lnTo>
                    <a:pt x="463" y="144"/>
                  </a:lnTo>
                  <a:lnTo>
                    <a:pt x="475" y="131"/>
                  </a:lnTo>
                  <a:lnTo>
                    <a:pt x="479" y="131"/>
                  </a:lnTo>
                  <a:lnTo>
                    <a:pt x="484" y="131"/>
                  </a:lnTo>
                  <a:lnTo>
                    <a:pt x="485" y="129"/>
                  </a:lnTo>
                  <a:lnTo>
                    <a:pt x="486" y="128"/>
                  </a:lnTo>
                  <a:lnTo>
                    <a:pt x="487" y="127"/>
                  </a:lnTo>
                  <a:lnTo>
                    <a:pt x="487" y="125"/>
                  </a:lnTo>
                  <a:lnTo>
                    <a:pt x="512" y="124"/>
                  </a:lnTo>
                  <a:lnTo>
                    <a:pt x="538" y="122"/>
                  </a:lnTo>
                  <a:lnTo>
                    <a:pt x="565" y="119"/>
                  </a:lnTo>
                  <a:lnTo>
                    <a:pt x="593" y="115"/>
                  </a:lnTo>
                  <a:lnTo>
                    <a:pt x="620" y="112"/>
                  </a:lnTo>
                  <a:lnTo>
                    <a:pt x="647" y="109"/>
                  </a:lnTo>
                  <a:lnTo>
                    <a:pt x="671" y="107"/>
                  </a:lnTo>
                  <a:lnTo>
                    <a:pt x="694" y="106"/>
                  </a:lnTo>
                  <a:lnTo>
                    <a:pt x="706" y="94"/>
                  </a:lnTo>
                  <a:lnTo>
                    <a:pt x="718" y="94"/>
                  </a:lnTo>
                  <a:lnTo>
                    <a:pt x="732" y="83"/>
                  </a:lnTo>
                  <a:lnTo>
                    <a:pt x="745" y="71"/>
                  </a:lnTo>
                  <a:lnTo>
                    <a:pt x="759" y="60"/>
                  </a:lnTo>
                  <a:lnTo>
                    <a:pt x="775" y="50"/>
                  </a:lnTo>
                  <a:lnTo>
                    <a:pt x="790" y="39"/>
                  </a:lnTo>
                  <a:lnTo>
                    <a:pt x="805" y="29"/>
                  </a:lnTo>
                  <a:lnTo>
                    <a:pt x="819" y="18"/>
                  </a:lnTo>
                  <a:lnTo>
                    <a:pt x="831" y="6"/>
                  </a:lnTo>
                  <a:lnTo>
                    <a:pt x="858" y="4"/>
                  </a:lnTo>
                  <a:lnTo>
                    <a:pt x="900" y="2"/>
                  </a:lnTo>
                  <a:lnTo>
                    <a:pt x="954" y="0"/>
                  </a:lnTo>
                  <a:lnTo>
                    <a:pt x="1011" y="0"/>
                  </a:lnTo>
                  <a:lnTo>
                    <a:pt x="1039" y="1"/>
                  </a:lnTo>
                  <a:lnTo>
                    <a:pt x="1065" y="3"/>
                  </a:lnTo>
                  <a:lnTo>
                    <a:pt x="1090" y="7"/>
                  </a:lnTo>
                  <a:lnTo>
                    <a:pt x="1112" y="11"/>
                  </a:lnTo>
                  <a:lnTo>
                    <a:pt x="1121" y="14"/>
                  </a:lnTo>
                  <a:lnTo>
                    <a:pt x="1130" y="18"/>
                  </a:lnTo>
                  <a:lnTo>
                    <a:pt x="1138" y="22"/>
                  </a:lnTo>
                  <a:lnTo>
                    <a:pt x="1145" y="27"/>
                  </a:lnTo>
                  <a:lnTo>
                    <a:pt x="1149" y="31"/>
                  </a:lnTo>
                  <a:lnTo>
                    <a:pt x="1154" y="37"/>
                  </a:lnTo>
                  <a:lnTo>
                    <a:pt x="1156" y="43"/>
                  </a:lnTo>
                  <a:lnTo>
                    <a:pt x="1157" y="50"/>
                  </a:lnTo>
                  <a:lnTo>
                    <a:pt x="1175" y="50"/>
                  </a:lnTo>
                  <a:lnTo>
                    <a:pt x="1177" y="52"/>
                  </a:lnTo>
                  <a:lnTo>
                    <a:pt x="1183" y="53"/>
                  </a:lnTo>
                  <a:lnTo>
                    <a:pt x="1189" y="55"/>
                  </a:lnTo>
                  <a:lnTo>
                    <a:pt x="1198" y="56"/>
                  </a:lnTo>
                  <a:lnTo>
                    <a:pt x="1215" y="56"/>
                  </a:lnTo>
                  <a:lnTo>
                    <a:pt x="1225" y="56"/>
                  </a:lnTo>
                  <a:lnTo>
                    <a:pt x="1232" y="58"/>
                  </a:lnTo>
                  <a:lnTo>
                    <a:pt x="1248" y="62"/>
                  </a:lnTo>
                  <a:lnTo>
                    <a:pt x="1265" y="67"/>
                  </a:lnTo>
                  <a:lnTo>
                    <a:pt x="1275" y="68"/>
                  </a:lnTo>
                  <a:lnTo>
                    <a:pt x="1275" y="72"/>
                  </a:lnTo>
                  <a:lnTo>
                    <a:pt x="1274" y="74"/>
                  </a:lnTo>
                  <a:lnTo>
                    <a:pt x="1273" y="75"/>
                  </a:lnTo>
                  <a:lnTo>
                    <a:pt x="1272" y="75"/>
                  </a:lnTo>
                  <a:lnTo>
                    <a:pt x="1271" y="75"/>
                  </a:lnTo>
                  <a:lnTo>
                    <a:pt x="1270" y="76"/>
                  </a:lnTo>
                  <a:lnTo>
                    <a:pt x="1270" y="77"/>
                  </a:lnTo>
                  <a:lnTo>
                    <a:pt x="1269" y="81"/>
                  </a:lnTo>
                  <a:lnTo>
                    <a:pt x="1256" y="81"/>
                  </a:lnTo>
                  <a:lnTo>
                    <a:pt x="1251" y="87"/>
                  </a:lnTo>
                  <a:lnTo>
                    <a:pt x="1250" y="91"/>
                  </a:lnTo>
                  <a:lnTo>
                    <a:pt x="1250" y="93"/>
                  </a:lnTo>
                  <a:lnTo>
                    <a:pt x="1248" y="94"/>
                  </a:lnTo>
                  <a:lnTo>
                    <a:pt x="1247" y="94"/>
                  </a:lnTo>
                  <a:lnTo>
                    <a:pt x="1246" y="94"/>
                  </a:lnTo>
                  <a:lnTo>
                    <a:pt x="1245" y="95"/>
                  </a:lnTo>
                  <a:lnTo>
                    <a:pt x="1244" y="96"/>
                  </a:lnTo>
                  <a:lnTo>
                    <a:pt x="1244" y="99"/>
                  </a:lnTo>
                  <a:lnTo>
                    <a:pt x="1225" y="99"/>
                  </a:lnTo>
                  <a:lnTo>
                    <a:pt x="1225" y="101"/>
                  </a:lnTo>
                  <a:lnTo>
                    <a:pt x="1223" y="104"/>
                  </a:lnTo>
                  <a:lnTo>
                    <a:pt x="1221" y="105"/>
                  </a:lnTo>
                  <a:lnTo>
                    <a:pt x="1218" y="105"/>
                  </a:lnTo>
                  <a:lnTo>
                    <a:pt x="1212" y="106"/>
                  </a:lnTo>
                  <a:lnTo>
                    <a:pt x="1206" y="106"/>
                  </a:lnTo>
                  <a:lnTo>
                    <a:pt x="1200" y="113"/>
                  </a:lnTo>
                  <a:lnTo>
                    <a:pt x="1194" y="118"/>
                  </a:lnTo>
                  <a:lnTo>
                    <a:pt x="1194" y="123"/>
                  </a:lnTo>
                  <a:lnTo>
                    <a:pt x="1193" y="124"/>
                  </a:lnTo>
                  <a:lnTo>
                    <a:pt x="1192" y="125"/>
                  </a:lnTo>
                  <a:lnTo>
                    <a:pt x="1190" y="125"/>
                  </a:lnTo>
                  <a:lnTo>
                    <a:pt x="1189" y="125"/>
                  </a:lnTo>
                  <a:lnTo>
                    <a:pt x="1188" y="126"/>
                  </a:lnTo>
                  <a:lnTo>
                    <a:pt x="1188" y="127"/>
                  </a:lnTo>
                  <a:lnTo>
                    <a:pt x="1188" y="131"/>
                  </a:lnTo>
                  <a:lnTo>
                    <a:pt x="1175" y="131"/>
                  </a:lnTo>
                  <a:lnTo>
                    <a:pt x="1169" y="137"/>
                  </a:lnTo>
                  <a:lnTo>
                    <a:pt x="1162" y="144"/>
                  </a:lnTo>
                  <a:lnTo>
                    <a:pt x="1162" y="156"/>
                  </a:lnTo>
                  <a:lnTo>
                    <a:pt x="1150" y="156"/>
                  </a:lnTo>
                  <a:lnTo>
                    <a:pt x="1150" y="178"/>
                  </a:lnTo>
                  <a:lnTo>
                    <a:pt x="1150" y="201"/>
                  </a:lnTo>
                  <a:lnTo>
                    <a:pt x="1150" y="225"/>
                  </a:lnTo>
                  <a:lnTo>
                    <a:pt x="1150" y="250"/>
                  </a:lnTo>
                  <a:lnTo>
                    <a:pt x="1150" y="274"/>
                  </a:lnTo>
                  <a:lnTo>
                    <a:pt x="1150" y="299"/>
                  </a:lnTo>
                  <a:lnTo>
                    <a:pt x="1150" y="321"/>
                  </a:lnTo>
                  <a:lnTo>
                    <a:pt x="1150" y="344"/>
                  </a:lnTo>
                  <a:lnTo>
                    <a:pt x="1146" y="348"/>
                  </a:lnTo>
                  <a:lnTo>
                    <a:pt x="1141" y="353"/>
                  </a:lnTo>
                  <a:lnTo>
                    <a:pt x="1136" y="355"/>
                  </a:lnTo>
                  <a:lnTo>
                    <a:pt x="1131" y="356"/>
                  </a:lnTo>
                  <a:lnTo>
                    <a:pt x="1129" y="363"/>
                  </a:lnTo>
                  <a:lnTo>
                    <a:pt x="1125" y="370"/>
                  </a:lnTo>
                  <a:lnTo>
                    <a:pt x="1121" y="375"/>
                  </a:lnTo>
                  <a:lnTo>
                    <a:pt x="1118" y="378"/>
                  </a:lnTo>
                  <a:lnTo>
                    <a:pt x="1116" y="381"/>
                  </a:lnTo>
                  <a:lnTo>
                    <a:pt x="1112" y="382"/>
                  </a:lnTo>
                  <a:lnTo>
                    <a:pt x="1112" y="385"/>
                  </a:lnTo>
                  <a:lnTo>
                    <a:pt x="1111" y="388"/>
                  </a:lnTo>
                  <a:lnTo>
                    <a:pt x="1109" y="391"/>
                  </a:lnTo>
                  <a:lnTo>
                    <a:pt x="1107" y="393"/>
                  </a:lnTo>
                  <a:lnTo>
                    <a:pt x="1102" y="396"/>
                  </a:lnTo>
                  <a:lnTo>
                    <a:pt x="1100" y="399"/>
                  </a:lnTo>
                  <a:lnTo>
                    <a:pt x="1081" y="399"/>
                  </a:lnTo>
                  <a:lnTo>
                    <a:pt x="1081" y="402"/>
                  </a:lnTo>
                  <a:lnTo>
                    <a:pt x="1080" y="404"/>
                  </a:lnTo>
                  <a:lnTo>
                    <a:pt x="1077" y="405"/>
                  </a:lnTo>
                  <a:lnTo>
                    <a:pt x="1074" y="405"/>
                  </a:lnTo>
                  <a:lnTo>
                    <a:pt x="1069" y="406"/>
                  </a:lnTo>
                  <a:lnTo>
                    <a:pt x="1063" y="406"/>
                  </a:lnTo>
                  <a:lnTo>
                    <a:pt x="1062" y="408"/>
                  </a:lnTo>
                  <a:lnTo>
                    <a:pt x="1061" y="410"/>
                  </a:lnTo>
                  <a:lnTo>
                    <a:pt x="1059" y="411"/>
                  </a:lnTo>
                  <a:lnTo>
                    <a:pt x="1055" y="412"/>
                  </a:lnTo>
                  <a:lnTo>
                    <a:pt x="1050" y="412"/>
                  </a:lnTo>
                  <a:lnTo>
                    <a:pt x="1044" y="413"/>
                  </a:lnTo>
                  <a:lnTo>
                    <a:pt x="1043" y="414"/>
                  </a:lnTo>
                  <a:lnTo>
                    <a:pt x="1043" y="416"/>
                  </a:lnTo>
                  <a:lnTo>
                    <a:pt x="1042" y="417"/>
                  </a:lnTo>
                  <a:lnTo>
                    <a:pt x="1040" y="417"/>
                  </a:lnTo>
                  <a:lnTo>
                    <a:pt x="1036" y="418"/>
                  </a:lnTo>
                  <a:lnTo>
                    <a:pt x="1032" y="418"/>
                  </a:lnTo>
                  <a:lnTo>
                    <a:pt x="1032" y="431"/>
                  </a:lnTo>
                  <a:lnTo>
                    <a:pt x="1018" y="431"/>
                  </a:lnTo>
                  <a:lnTo>
                    <a:pt x="1012" y="437"/>
                  </a:lnTo>
                  <a:lnTo>
                    <a:pt x="1004" y="446"/>
                  </a:lnTo>
                  <a:lnTo>
                    <a:pt x="997" y="455"/>
                  </a:lnTo>
                  <a:lnTo>
                    <a:pt x="994" y="462"/>
                  </a:lnTo>
                  <a:lnTo>
                    <a:pt x="991" y="463"/>
                  </a:lnTo>
                  <a:lnTo>
                    <a:pt x="988" y="463"/>
                  </a:lnTo>
                  <a:lnTo>
                    <a:pt x="987" y="464"/>
                  </a:lnTo>
                  <a:lnTo>
                    <a:pt x="987" y="465"/>
                  </a:lnTo>
                  <a:lnTo>
                    <a:pt x="987" y="466"/>
                  </a:lnTo>
                  <a:lnTo>
                    <a:pt x="987" y="468"/>
                  </a:lnTo>
                  <a:lnTo>
                    <a:pt x="985" y="469"/>
                  </a:lnTo>
                  <a:lnTo>
                    <a:pt x="982" y="469"/>
                  </a:lnTo>
                  <a:lnTo>
                    <a:pt x="982" y="493"/>
                  </a:lnTo>
                  <a:lnTo>
                    <a:pt x="979" y="497"/>
                  </a:lnTo>
                  <a:lnTo>
                    <a:pt x="977" y="503"/>
                  </a:lnTo>
                  <a:lnTo>
                    <a:pt x="976" y="514"/>
                  </a:lnTo>
                  <a:lnTo>
                    <a:pt x="976" y="527"/>
                  </a:lnTo>
                  <a:lnTo>
                    <a:pt x="975" y="551"/>
                  </a:lnTo>
                  <a:lnTo>
                    <a:pt x="975" y="569"/>
                  </a:lnTo>
                  <a:lnTo>
                    <a:pt x="977" y="569"/>
                  </a:lnTo>
                  <a:lnTo>
                    <a:pt x="978" y="570"/>
                  </a:lnTo>
                  <a:lnTo>
                    <a:pt x="979" y="571"/>
                  </a:lnTo>
                  <a:lnTo>
                    <a:pt x="981" y="572"/>
                  </a:lnTo>
                  <a:lnTo>
                    <a:pt x="982" y="577"/>
                  </a:lnTo>
                  <a:lnTo>
                    <a:pt x="982" y="581"/>
                  </a:lnTo>
                  <a:lnTo>
                    <a:pt x="987" y="587"/>
                  </a:lnTo>
                  <a:lnTo>
                    <a:pt x="994" y="594"/>
                  </a:lnTo>
                  <a:lnTo>
                    <a:pt x="1013" y="594"/>
                  </a:lnTo>
                  <a:lnTo>
                    <a:pt x="1031" y="591"/>
                  </a:lnTo>
                  <a:lnTo>
                    <a:pt x="1040" y="589"/>
                  </a:lnTo>
                  <a:lnTo>
                    <a:pt x="1048" y="586"/>
                  </a:lnTo>
                  <a:lnTo>
                    <a:pt x="1055" y="581"/>
                  </a:lnTo>
                  <a:lnTo>
                    <a:pt x="1063" y="575"/>
                  </a:lnTo>
                  <a:lnTo>
                    <a:pt x="1073" y="574"/>
                  </a:lnTo>
                  <a:lnTo>
                    <a:pt x="1084" y="571"/>
                  </a:lnTo>
                  <a:lnTo>
                    <a:pt x="1096" y="570"/>
                  </a:lnTo>
                  <a:lnTo>
                    <a:pt x="1107" y="569"/>
                  </a:lnTo>
                  <a:lnTo>
                    <a:pt x="1107" y="567"/>
                  </a:lnTo>
                  <a:lnTo>
                    <a:pt x="1108" y="565"/>
                  </a:lnTo>
                  <a:lnTo>
                    <a:pt x="1110" y="562"/>
                  </a:lnTo>
                  <a:lnTo>
                    <a:pt x="1112" y="561"/>
                  </a:lnTo>
                  <a:lnTo>
                    <a:pt x="1119" y="559"/>
                  </a:lnTo>
                  <a:lnTo>
                    <a:pt x="1127" y="558"/>
                  </a:lnTo>
                  <a:lnTo>
                    <a:pt x="1144" y="557"/>
                  </a:lnTo>
                  <a:lnTo>
                    <a:pt x="1157" y="556"/>
                  </a:lnTo>
                  <a:lnTo>
                    <a:pt x="1158" y="561"/>
                  </a:lnTo>
                  <a:lnTo>
                    <a:pt x="1160" y="565"/>
                  </a:lnTo>
                  <a:lnTo>
                    <a:pt x="1165" y="568"/>
                  </a:lnTo>
                  <a:lnTo>
                    <a:pt x="1169" y="569"/>
                  </a:lnTo>
                  <a:lnTo>
                    <a:pt x="1171" y="579"/>
                  </a:lnTo>
                  <a:lnTo>
                    <a:pt x="1179" y="596"/>
                  </a:lnTo>
                  <a:lnTo>
                    <a:pt x="1184" y="605"/>
                  </a:lnTo>
                  <a:lnTo>
                    <a:pt x="1187" y="612"/>
                  </a:lnTo>
                  <a:lnTo>
                    <a:pt x="1192" y="617"/>
                  </a:lnTo>
                  <a:lnTo>
                    <a:pt x="1194" y="618"/>
                  </a:lnTo>
                  <a:lnTo>
                    <a:pt x="1194" y="644"/>
                  </a:lnTo>
                  <a:lnTo>
                    <a:pt x="1197" y="647"/>
                  </a:lnTo>
                  <a:lnTo>
                    <a:pt x="1199" y="656"/>
                  </a:lnTo>
                  <a:lnTo>
                    <a:pt x="1203" y="671"/>
                  </a:lnTo>
                  <a:lnTo>
                    <a:pt x="1206" y="686"/>
                  </a:lnTo>
                  <a:lnTo>
                    <a:pt x="1210" y="718"/>
                  </a:lnTo>
                  <a:lnTo>
                    <a:pt x="1213" y="738"/>
                  </a:lnTo>
                  <a:lnTo>
                    <a:pt x="1215" y="739"/>
                  </a:lnTo>
                  <a:lnTo>
                    <a:pt x="1216" y="741"/>
                  </a:lnTo>
                  <a:lnTo>
                    <a:pt x="1218" y="745"/>
                  </a:lnTo>
                  <a:lnTo>
                    <a:pt x="1219" y="750"/>
                  </a:lnTo>
                  <a:lnTo>
                    <a:pt x="1222" y="754"/>
                  </a:lnTo>
                  <a:lnTo>
                    <a:pt x="1224" y="759"/>
                  </a:lnTo>
                  <a:lnTo>
                    <a:pt x="1227" y="761"/>
                  </a:lnTo>
                  <a:lnTo>
                    <a:pt x="1232" y="762"/>
                  </a:lnTo>
                  <a:lnTo>
                    <a:pt x="1232" y="781"/>
                  </a:lnTo>
                  <a:lnTo>
                    <a:pt x="1234" y="782"/>
                  </a:lnTo>
                  <a:lnTo>
                    <a:pt x="1235" y="783"/>
                  </a:lnTo>
                  <a:lnTo>
                    <a:pt x="1236" y="786"/>
                  </a:lnTo>
                  <a:lnTo>
                    <a:pt x="1237" y="788"/>
                  </a:lnTo>
                  <a:lnTo>
                    <a:pt x="1237" y="795"/>
                  </a:lnTo>
                  <a:lnTo>
                    <a:pt x="1237" y="800"/>
                  </a:lnTo>
                  <a:lnTo>
                    <a:pt x="1241" y="801"/>
                  </a:lnTo>
                  <a:lnTo>
                    <a:pt x="1243" y="805"/>
                  </a:lnTo>
                  <a:lnTo>
                    <a:pt x="1246" y="808"/>
                  </a:lnTo>
                  <a:lnTo>
                    <a:pt x="1250" y="814"/>
                  </a:lnTo>
                  <a:lnTo>
                    <a:pt x="1254" y="824"/>
                  </a:lnTo>
                  <a:lnTo>
                    <a:pt x="1256" y="831"/>
                  </a:lnTo>
                  <a:lnTo>
                    <a:pt x="1263" y="838"/>
                  </a:lnTo>
                  <a:lnTo>
                    <a:pt x="1269" y="844"/>
                  </a:lnTo>
                  <a:lnTo>
                    <a:pt x="1275" y="850"/>
                  </a:lnTo>
                  <a:lnTo>
                    <a:pt x="1282" y="856"/>
                  </a:lnTo>
                  <a:lnTo>
                    <a:pt x="1292" y="856"/>
                  </a:lnTo>
                  <a:lnTo>
                    <a:pt x="1303" y="856"/>
                  </a:lnTo>
                  <a:lnTo>
                    <a:pt x="1315" y="856"/>
                  </a:lnTo>
                  <a:lnTo>
                    <a:pt x="1325" y="856"/>
                  </a:lnTo>
                  <a:lnTo>
                    <a:pt x="1331" y="844"/>
                  </a:lnTo>
                  <a:lnTo>
                    <a:pt x="1344" y="844"/>
                  </a:lnTo>
                  <a:lnTo>
                    <a:pt x="1346" y="841"/>
                  </a:lnTo>
                  <a:lnTo>
                    <a:pt x="1349" y="839"/>
                  </a:lnTo>
                  <a:lnTo>
                    <a:pt x="1353" y="838"/>
                  </a:lnTo>
                  <a:lnTo>
                    <a:pt x="1360" y="837"/>
                  </a:lnTo>
                  <a:lnTo>
                    <a:pt x="1377" y="835"/>
                  </a:lnTo>
                  <a:lnTo>
                    <a:pt x="1396" y="833"/>
                  </a:lnTo>
                  <a:lnTo>
                    <a:pt x="1434" y="831"/>
                  </a:lnTo>
                  <a:lnTo>
                    <a:pt x="1456" y="831"/>
                  </a:lnTo>
                  <a:lnTo>
                    <a:pt x="1457" y="834"/>
                  </a:lnTo>
                  <a:lnTo>
                    <a:pt x="1457" y="835"/>
                  </a:lnTo>
                  <a:lnTo>
                    <a:pt x="1459" y="836"/>
                  </a:lnTo>
                  <a:lnTo>
                    <a:pt x="1461" y="837"/>
                  </a:lnTo>
                  <a:lnTo>
                    <a:pt x="1465" y="837"/>
                  </a:lnTo>
                  <a:lnTo>
                    <a:pt x="1469" y="838"/>
                  </a:lnTo>
                  <a:lnTo>
                    <a:pt x="1469" y="840"/>
                  </a:lnTo>
                  <a:lnTo>
                    <a:pt x="1472" y="843"/>
                  </a:lnTo>
                  <a:lnTo>
                    <a:pt x="1475" y="845"/>
                  </a:lnTo>
                  <a:lnTo>
                    <a:pt x="1480" y="846"/>
                  </a:lnTo>
                  <a:lnTo>
                    <a:pt x="1487" y="849"/>
                  </a:lnTo>
                  <a:lnTo>
                    <a:pt x="1494" y="850"/>
                  </a:lnTo>
                  <a:lnTo>
                    <a:pt x="1498" y="854"/>
                  </a:lnTo>
                  <a:lnTo>
                    <a:pt x="1504" y="856"/>
                  </a:lnTo>
                  <a:lnTo>
                    <a:pt x="1511" y="856"/>
                  </a:lnTo>
                  <a:lnTo>
                    <a:pt x="1520" y="856"/>
                  </a:lnTo>
                  <a:lnTo>
                    <a:pt x="1520" y="858"/>
                  </a:lnTo>
                  <a:lnTo>
                    <a:pt x="1521" y="860"/>
                  </a:lnTo>
                  <a:lnTo>
                    <a:pt x="1524" y="863"/>
                  </a:lnTo>
                  <a:lnTo>
                    <a:pt x="1528" y="865"/>
                  </a:lnTo>
                  <a:lnTo>
                    <a:pt x="1535" y="868"/>
                  </a:lnTo>
                  <a:lnTo>
                    <a:pt x="1544" y="869"/>
                  </a:lnTo>
                  <a:lnTo>
                    <a:pt x="1544" y="870"/>
                  </a:lnTo>
                  <a:lnTo>
                    <a:pt x="1545" y="873"/>
                  </a:lnTo>
                  <a:lnTo>
                    <a:pt x="1546" y="874"/>
                  </a:lnTo>
                  <a:lnTo>
                    <a:pt x="1548" y="874"/>
                  </a:lnTo>
                  <a:lnTo>
                    <a:pt x="1552" y="875"/>
                  </a:lnTo>
                  <a:lnTo>
                    <a:pt x="1557" y="875"/>
                  </a:lnTo>
                  <a:lnTo>
                    <a:pt x="1563" y="882"/>
                  </a:lnTo>
                  <a:lnTo>
                    <a:pt x="1567" y="887"/>
                  </a:lnTo>
                  <a:lnTo>
                    <a:pt x="1571" y="892"/>
                  </a:lnTo>
                  <a:lnTo>
                    <a:pt x="1578" y="896"/>
                  </a:lnTo>
                  <a:lnTo>
                    <a:pt x="1587" y="901"/>
                  </a:lnTo>
                  <a:lnTo>
                    <a:pt x="1596" y="904"/>
                  </a:lnTo>
                  <a:lnTo>
                    <a:pt x="1606" y="907"/>
                  </a:lnTo>
                  <a:lnTo>
                    <a:pt x="1617" y="910"/>
                  </a:lnTo>
                  <a:lnTo>
                    <a:pt x="1628" y="912"/>
                  </a:lnTo>
                  <a:lnTo>
                    <a:pt x="1650" y="915"/>
                  </a:lnTo>
                  <a:lnTo>
                    <a:pt x="1673" y="917"/>
                  </a:lnTo>
                  <a:lnTo>
                    <a:pt x="1692" y="918"/>
                  </a:lnTo>
                  <a:lnTo>
                    <a:pt x="1707" y="918"/>
                  </a:lnTo>
                  <a:lnTo>
                    <a:pt x="1713" y="925"/>
                  </a:lnTo>
                  <a:lnTo>
                    <a:pt x="1720" y="932"/>
                  </a:lnTo>
                  <a:lnTo>
                    <a:pt x="1725" y="937"/>
                  </a:lnTo>
                  <a:lnTo>
                    <a:pt x="1725" y="953"/>
                  </a:lnTo>
                  <a:lnTo>
                    <a:pt x="1725" y="969"/>
                  </a:lnTo>
                  <a:lnTo>
                    <a:pt x="1713" y="969"/>
                  </a:lnTo>
                  <a:lnTo>
                    <a:pt x="1713" y="971"/>
                  </a:lnTo>
                  <a:lnTo>
                    <a:pt x="1712" y="972"/>
                  </a:lnTo>
                  <a:lnTo>
                    <a:pt x="1711" y="973"/>
                  </a:lnTo>
                  <a:lnTo>
                    <a:pt x="1709" y="974"/>
                  </a:lnTo>
                  <a:lnTo>
                    <a:pt x="1705" y="975"/>
                  </a:lnTo>
                  <a:lnTo>
                    <a:pt x="1701" y="975"/>
                  </a:lnTo>
                  <a:lnTo>
                    <a:pt x="1699" y="978"/>
                  </a:lnTo>
                  <a:lnTo>
                    <a:pt x="1696" y="980"/>
                  </a:lnTo>
                  <a:lnTo>
                    <a:pt x="1693" y="982"/>
                  </a:lnTo>
                  <a:lnTo>
                    <a:pt x="1687" y="983"/>
                  </a:lnTo>
                  <a:lnTo>
                    <a:pt x="1677" y="987"/>
                  </a:lnTo>
                  <a:lnTo>
                    <a:pt x="1669" y="988"/>
                  </a:lnTo>
                  <a:lnTo>
                    <a:pt x="1532" y="1000"/>
                  </a:lnTo>
                  <a:lnTo>
                    <a:pt x="1532" y="1012"/>
                  </a:lnTo>
                  <a:lnTo>
                    <a:pt x="1530" y="1013"/>
                  </a:lnTo>
                  <a:lnTo>
                    <a:pt x="1528" y="1013"/>
                  </a:lnTo>
                  <a:lnTo>
                    <a:pt x="1526" y="1014"/>
                  </a:lnTo>
                  <a:lnTo>
                    <a:pt x="1526" y="1017"/>
                  </a:lnTo>
                  <a:lnTo>
                    <a:pt x="1525" y="1021"/>
                  </a:lnTo>
                  <a:lnTo>
                    <a:pt x="1525" y="1026"/>
                  </a:lnTo>
                  <a:lnTo>
                    <a:pt x="1524" y="1031"/>
                  </a:lnTo>
                  <a:lnTo>
                    <a:pt x="1521" y="1049"/>
                  </a:lnTo>
                  <a:lnTo>
                    <a:pt x="1516" y="1075"/>
                  </a:lnTo>
                  <a:lnTo>
                    <a:pt x="1511" y="1104"/>
                  </a:lnTo>
                  <a:lnTo>
                    <a:pt x="1505" y="1135"/>
                  </a:lnTo>
                  <a:lnTo>
                    <a:pt x="1502" y="1165"/>
                  </a:lnTo>
                  <a:lnTo>
                    <a:pt x="1501" y="1178"/>
                  </a:lnTo>
                  <a:lnTo>
                    <a:pt x="1500" y="1190"/>
                  </a:lnTo>
                  <a:lnTo>
                    <a:pt x="1500" y="1200"/>
                  </a:lnTo>
                  <a:lnTo>
                    <a:pt x="1501" y="1206"/>
                  </a:lnTo>
                  <a:lnTo>
                    <a:pt x="1513" y="1253"/>
                  </a:lnTo>
                  <a:lnTo>
                    <a:pt x="1523" y="1287"/>
                  </a:lnTo>
                  <a:lnTo>
                    <a:pt x="1528" y="1301"/>
                  </a:lnTo>
                  <a:lnTo>
                    <a:pt x="1530" y="1312"/>
                  </a:lnTo>
                  <a:lnTo>
                    <a:pt x="1532" y="1324"/>
                  </a:lnTo>
                  <a:lnTo>
                    <a:pt x="1531" y="1334"/>
                  </a:lnTo>
                  <a:lnTo>
                    <a:pt x="1528" y="1334"/>
                  </a:lnTo>
                  <a:lnTo>
                    <a:pt x="1528" y="1328"/>
                  </a:lnTo>
                  <a:lnTo>
                    <a:pt x="1526" y="1324"/>
                  </a:lnTo>
                  <a:lnTo>
                    <a:pt x="1525" y="1321"/>
                  </a:lnTo>
                  <a:lnTo>
                    <a:pt x="1524" y="1319"/>
                  </a:lnTo>
                  <a:lnTo>
                    <a:pt x="1522" y="1319"/>
                  </a:lnTo>
                  <a:lnTo>
                    <a:pt x="1520" y="1318"/>
                  </a:lnTo>
                  <a:lnTo>
                    <a:pt x="1520" y="1311"/>
                  </a:lnTo>
                  <a:lnTo>
                    <a:pt x="1519" y="1303"/>
                  </a:lnTo>
                  <a:lnTo>
                    <a:pt x="1517" y="1300"/>
                  </a:lnTo>
                  <a:lnTo>
                    <a:pt x="1516" y="1297"/>
                  </a:lnTo>
                  <a:lnTo>
                    <a:pt x="1514" y="1296"/>
                  </a:lnTo>
                  <a:lnTo>
                    <a:pt x="1512" y="1295"/>
                  </a:lnTo>
                  <a:lnTo>
                    <a:pt x="1512" y="1282"/>
                  </a:lnTo>
                  <a:lnTo>
                    <a:pt x="1512" y="1271"/>
                  </a:lnTo>
                  <a:lnTo>
                    <a:pt x="1495" y="1263"/>
                  </a:lnTo>
                  <a:lnTo>
                    <a:pt x="1495" y="1248"/>
                  </a:lnTo>
                  <a:lnTo>
                    <a:pt x="1481" y="1248"/>
                  </a:lnTo>
                  <a:lnTo>
                    <a:pt x="1457" y="1248"/>
                  </a:lnTo>
                  <a:lnTo>
                    <a:pt x="1445" y="1249"/>
                  </a:lnTo>
                  <a:lnTo>
                    <a:pt x="1435" y="1251"/>
                  </a:lnTo>
                  <a:lnTo>
                    <a:pt x="1430" y="1251"/>
                  </a:lnTo>
                  <a:lnTo>
                    <a:pt x="1427" y="1252"/>
                  </a:lnTo>
                  <a:lnTo>
                    <a:pt x="1425" y="1253"/>
                  </a:lnTo>
                  <a:lnTo>
                    <a:pt x="1425" y="1255"/>
                  </a:lnTo>
                  <a:lnTo>
                    <a:pt x="1411" y="1257"/>
                  </a:lnTo>
                  <a:lnTo>
                    <a:pt x="1381" y="1260"/>
                  </a:lnTo>
                  <a:lnTo>
                    <a:pt x="1365" y="1262"/>
                  </a:lnTo>
                  <a:lnTo>
                    <a:pt x="1351" y="1266"/>
                  </a:lnTo>
                  <a:lnTo>
                    <a:pt x="1346" y="1267"/>
                  </a:lnTo>
                  <a:lnTo>
                    <a:pt x="1341" y="1268"/>
                  </a:lnTo>
                  <a:lnTo>
                    <a:pt x="1339" y="1269"/>
                  </a:lnTo>
                  <a:lnTo>
                    <a:pt x="1338" y="1271"/>
                  </a:lnTo>
                  <a:lnTo>
                    <a:pt x="1325" y="1272"/>
                  </a:lnTo>
                  <a:lnTo>
                    <a:pt x="1314" y="1274"/>
                  </a:lnTo>
                  <a:lnTo>
                    <a:pt x="1302" y="1278"/>
                  </a:lnTo>
                  <a:lnTo>
                    <a:pt x="1290" y="1279"/>
                  </a:lnTo>
                  <a:lnTo>
                    <a:pt x="1274" y="1295"/>
                  </a:lnTo>
                  <a:lnTo>
                    <a:pt x="1269" y="1295"/>
                  </a:lnTo>
                  <a:lnTo>
                    <a:pt x="1263" y="1296"/>
                  </a:lnTo>
                  <a:lnTo>
                    <a:pt x="1262" y="1297"/>
                  </a:lnTo>
                  <a:lnTo>
                    <a:pt x="1260" y="1298"/>
                  </a:lnTo>
                  <a:lnTo>
                    <a:pt x="1258" y="1300"/>
                  </a:lnTo>
                  <a:lnTo>
                    <a:pt x="1258" y="1302"/>
                  </a:lnTo>
                  <a:lnTo>
                    <a:pt x="1252" y="1302"/>
                  </a:lnTo>
                  <a:lnTo>
                    <a:pt x="1244" y="1303"/>
                  </a:lnTo>
                  <a:lnTo>
                    <a:pt x="1241" y="1305"/>
                  </a:lnTo>
                  <a:lnTo>
                    <a:pt x="1237" y="1306"/>
                  </a:lnTo>
                  <a:lnTo>
                    <a:pt x="1235" y="1308"/>
                  </a:lnTo>
                  <a:lnTo>
                    <a:pt x="1235" y="1310"/>
                  </a:lnTo>
                  <a:lnTo>
                    <a:pt x="1219" y="1315"/>
                  </a:lnTo>
                  <a:lnTo>
                    <a:pt x="1203" y="1318"/>
                  </a:lnTo>
                  <a:lnTo>
                    <a:pt x="1195" y="1334"/>
                  </a:lnTo>
                  <a:lnTo>
                    <a:pt x="1179" y="1338"/>
                  </a:lnTo>
                  <a:lnTo>
                    <a:pt x="1164" y="1341"/>
                  </a:lnTo>
                  <a:lnTo>
                    <a:pt x="1164" y="1358"/>
                  </a:lnTo>
                  <a:lnTo>
                    <a:pt x="1156" y="1366"/>
                  </a:lnTo>
                  <a:lnTo>
                    <a:pt x="1137" y="1366"/>
                  </a:lnTo>
                  <a:lnTo>
                    <a:pt x="1110" y="1365"/>
                  </a:lnTo>
                  <a:lnTo>
                    <a:pt x="1098" y="1364"/>
                  </a:lnTo>
                  <a:lnTo>
                    <a:pt x="1087" y="1363"/>
                  </a:lnTo>
                  <a:lnTo>
                    <a:pt x="1082" y="1362"/>
                  </a:lnTo>
                  <a:lnTo>
                    <a:pt x="1080" y="1360"/>
                  </a:lnTo>
                  <a:lnTo>
                    <a:pt x="1078" y="1359"/>
                  </a:lnTo>
                  <a:lnTo>
                    <a:pt x="1077" y="1358"/>
                  </a:lnTo>
                  <a:lnTo>
                    <a:pt x="1065" y="1358"/>
                  </a:lnTo>
                  <a:lnTo>
                    <a:pt x="1053" y="1358"/>
                  </a:lnTo>
                  <a:lnTo>
                    <a:pt x="1053" y="1341"/>
                  </a:lnTo>
                  <a:lnTo>
                    <a:pt x="1048" y="1341"/>
                  </a:lnTo>
                  <a:lnTo>
                    <a:pt x="1042" y="1341"/>
                  </a:lnTo>
                  <a:lnTo>
                    <a:pt x="1040" y="1340"/>
                  </a:lnTo>
                  <a:lnTo>
                    <a:pt x="1039" y="1339"/>
                  </a:lnTo>
                  <a:lnTo>
                    <a:pt x="1037" y="1337"/>
                  </a:lnTo>
                  <a:lnTo>
                    <a:pt x="1037" y="1334"/>
                  </a:lnTo>
                  <a:lnTo>
                    <a:pt x="1022" y="1334"/>
                  </a:lnTo>
                  <a:lnTo>
                    <a:pt x="1021" y="1329"/>
                  </a:lnTo>
                  <a:lnTo>
                    <a:pt x="1020" y="1327"/>
                  </a:lnTo>
                  <a:lnTo>
                    <a:pt x="1018" y="1326"/>
                  </a:lnTo>
                  <a:lnTo>
                    <a:pt x="1017" y="1326"/>
                  </a:lnTo>
                  <a:lnTo>
                    <a:pt x="1016" y="1326"/>
                  </a:lnTo>
                  <a:lnTo>
                    <a:pt x="1015" y="1325"/>
                  </a:lnTo>
                  <a:lnTo>
                    <a:pt x="1014" y="1322"/>
                  </a:lnTo>
                  <a:lnTo>
                    <a:pt x="1014" y="1318"/>
                  </a:lnTo>
                  <a:lnTo>
                    <a:pt x="997" y="1318"/>
                  </a:lnTo>
                  <a:lnTo>
                    <a:pt x="997" y="1314"/>
                  </a:lnTo>
                  <a:lnTo>
                    <a:pt x="995" y="1309"/>
                  </a:lnTo>
                  <a:lnTo>
                    <a:pt x="993" y="1306"/>
                  </a:lnTo>
                  <a:lnTo>
                    <a:pt x="989" y="1303"/>
                  </a:lnTo>
                  <a:lnTo>
                    <a:pt x="987" y="1301"/>
                  </a:lnTo>
                  <a:lnTo>
                    <a:pt x="984" y="1299"/>
                  </a:lnTo>
                  <a:lnTo>
                    <a:pt x="983" y="1297"/>
                  </a:lnTo>
                  <a:lnTo>
                    <a:pt x="982" y="1295"/>
                  </a:lnTo>
                  <a:lnTo>
                    <a:pt x="966" y="1295"/>
                  </a:lnTo>
                  <a:lnTo>
                    <a:pt x="955" y="1287"/>
                  </a:lnTo>
                  <a:lnTo>
                    <a:pt x="939" y="1276"/>
                  </a:lnTo>
                  <a:lnTo>
                    <a:pt x="925" y="1267"/>
                  </a:lnTo>
                  <a:lnTo>
                    <a:pt x="919" y="1263"/>
                  </a:lnTo>
                  <a:lnTo>
                    <a:pt x="909" y="1261"/>
                  </a:lnTo>
                  <a:lnTo>
                    <a:pt x="896" y="1258"/>
                  </a:lnTo>
                  <a:lnTo>
                    <a:pt x="889" y="1255"/>
                  </a:lnTo>
                  <a:lnTo>
                    <a:pt x="885" y="1253"/>
                  </a:lnTo>
                  <a:lnTo>
                    <a:pt x="880" y="1250"/>
                  </a:lnTo>
                  <a:lnTo>
                    <a:pt x="879" y="1248"/>
                  </a:lnTo>
                  <a:lnTo>
                    <a:pt x="873" y="1247"/>
                  </a:lnTo>
                  <a:lnTo>
                    <a:pt x="868" y="1247"/>
                  </a:lnTo>
                  <a:lnTo>
                    <a:pt x="867" y="1245"/>
                  </a:lnTo>
                  <a:lnTo>
                    <a:pt x="864" y="1244"/>
                  </a:lnTo>
                  <a:lnTo>
                    <a:pt x="863" y="1242"/>
                  </a:lnTo>
                  <a:lnTo>
                    <a:pt x="863" y="1239"/>
                  </a:lnTo>
                  <a:lnTo>
                    <a:pt x="849" y="1239"/>
                  </a:lnTo>
                  <a:lnTo>
                    <a:pt x="826" y="1240"/>
                  </a:lnTo>
                  <a:lnTo>
                    <a:pt x="797" y="1240"/>
                  </a:lnTo>
                  <a:lnTo>
                    <a:pt x="767" y="1240"/>
                  </a:lnTo>
                  <a:lnTo>
                    <a:pt x="738" y="1241"/>
                  </a:lnTo>
                  <a:lnTo>
                    <a:pt x="714" y="1242"/>
                  </a:lnTo>
                  <a:lnTo>
                    <a:pt x="704" y="1243"/>
                  </a:lnTo>
                  <a:lnTo>
                    <a:pt x="696" y="1244"/>
                  </a:lnTo>
                  <a:lnTo>
                    <a:pt x="691" y="1245"/>
                  </a:lnTo>
                  <a:lnTo>
                    <a:pt x="689" y="1248"/>
                  </a:lnTo>
                  <a:lnTo>
                    <a:pt x="642" y="1248"/>
                  </a:lnTo>
                  <a:lnTo>
                    <a:pt x="641" y="1250"/>
                  </a:lnTo>
                  <a:lnTo>
                    <a:pt x="640" y="1252"/>
                  </a:lnTo>
                  <a:lnTo>
                    <a:pt x="639" y="1254"/>
                  </a:lnTo>
                  <a:lnTo>
                    <a:pt x="637" y="1257"/>
                  </a:lnTo>
                  <a:lnTo>
                    <a:pt x="632" y="1260"/>
                  </a:lnTo>
                  <a:lnTo>
                    <a:pt x="627" y="1262"/>
                  </a:lnTo>
                  <a:lnTo>
                    <a:pt x="620" y="1264"/>
                  </a:lnTo>
                  <a:lnTo>
                    <a:pt x="615" y="1266"/>
                  </a:lnTo>
                  <a:lnTo>
                    <a:pt x="612" y="1268"/>
                  </a:lnTo>
                  <a:lnTo>
                    <a:pt x="610" y="1271"/>
                  </a:lnTo>
                  <a:lnTo>
                    <a:pt x="603" y="1271"/>
                  </a:lnTo>
                  <a:lnTo>
                    <a:pt x="595" y="1272"/>
                  </a:lnTo>
                  <a:lnTo>
                    <a:pt x="592" y="1272"/>
                  </a:lnTo>
                  <a:lnTo>
                    <a:pt x="589" y="1274"/>
                  </a:lnTo>
                  <a:lnTo>
                    <a:pt x="588" y="1277"/>
                  </a:lnTo>
                  <a:lnTo>
                    <a:pt x="586" y="1279"/>
                  </a:lnTo>
                  <a:lnTo>
                    <a:pt x="484" y="1279"/>
                  </a:lnTo>
                  <a:lnTo>
                    <a:pt x="483" y="1276"/>
                  </a:lnTo>
                  <a:lnTo>
                    <a:pt x="478" y="1273"/>
                  </a:lnTo>
                  <a:lnTo>
                    <a:pt x="473" y="1271"/>
                  </a:lnTo>
                  <a:lnTo>
                    <a:pt x="464" y="1269"/>
                  </a:lnTo>
                  <a:lnTo>
                    <a:pt x="442" y="1266"/>
                  </a:lnTo>
                  <a:lnTo>
                    <a:pt x="416" y="1263"/>
                  </a:lnTo>
                  <a:lnTo>
                    <a:pt x="393" y="1252"/>
                  </a:lnTo>
                  <a:lnTo>
                    <a:pt x="393" y="1232"/>
                  </a:lnTo>
                  <a:lnTo>
                    <a:pt x="373" y="1232"/>
                  </a:lnTo>
                  <a:lnTo>
                    <a:pt x="340" y="1233"/>
                  </a:lnTo>
                  <a:lnTo>
                    <a:pt x="298" y="1233"/>
                  </a:lnTo>
                  <a:lnTo>
                    <a:pt x="254" y="1233"/>
                  </a:lnTo>
                  <a:lnTo>
                    <a:pt x="210" y="1234"/>
                  </a:lnTo>
                  <a:lnTo>
                    <a:pt x="173" y="1235"/>
                  </a:lnTo>
                  <a:lnTo>
                    <a:pt x="148" y="1237"/>
                  </a:lnTo>
                  <a:lnTo>
                    <a:pt x="138" y="1239"/>
                  </a:lnTo>
                  <a:lnTo>
                    <a:pt x="129" y="1239"/>
                  </a:lnTo>
                  <a:lnTo>
                    <a:pt x="113" y="1240"/>
                  </a:lnTo>
                  <a:lnTo>
                    <a:pt x="95" y="1240"/>
                  </a:lnTo>
                  <a:lnTo>
                    <a:pt x="80" y="1242"/>
                  </a:lnTo>
                  <a:lnTo>
                    <a:pt x="79" y="1241"/>
                  </a:lnTo>
                  <a:lnTo>
                    <a:pt x="77" y="1240"/>
                  </a:lnTo>
                  <a:lnTo>
                    <a:pt x="77" y="1239"/>
                  </a:lnTo>
                  <a:lnTo>
                    <a:pt x="79" y="1239"/>
                  </a:lnTo>
                  <a:lnTo>
                    <a:pt x="79" y="1226"/>
                  </a:lnTo>
                  <a:lnTo>
                    <a:pt x="76" y="1213"/>
                  </a:lnTo>
                  <a:lnTo>
                    <a:pt x="75" y="1200"/>
                  </a:lnTo>
                  <a:lnTo>
                    <a:pt x="72" y="1186"/>
                  </a:lnTo>
                  <a:lnTo>
                    <a:pt x="70" y="1173"/>
                  </a:lnTo>
                  <a:lnTo>
                    <a:pt x="67" y="1160"/>
                  </a:lnTo>
                  <a:lnTo>
                    <a:pt x="66" y="1147"/>
                  </a:lnTo>
                  <a:lnTo>
                    <a:pt x="66" y="1134"/>
                  </a:lnTo>
                  <a:lnTo>
                    <a:pt x="56" y="1125"/>
                  </a:lnTo>
                  <a:lnTo>
                    <a:pt x="46" y="1115"/>
                  </a:lnTo>
                  <a:lnTo>
                    <a:pt x="46" y="1110"/>
                  </a:lnTo>
                  <a:lnTo>
                    <a:pt x="44" y="1106"/>
                  </a:lnTo>
                  <a:lnTo>
                    <a:pt x="42" y="1101"/>
                  </a:lnTo>
                  <a:lnTo>
                    <a:pt x="39" y="1096"/>
                  </a:lnTo>
                  <a:lnTo>
                    <a:pt x="32" y="1084"/>
                  </a:lnTo>
                  <a:lnTo>
                    <a:pt x="23" y="1072"/>
                  </a:lnTo>
                  <a:lnTo>
                    <a:pt x="15" y="1060"/>
                  </a:lnTo>
                  <a:lnTo>
                    <a:pt x="7" y="1048"/>
                  </a:lnTo>
                  <a:lnTo>
                    <a:pt x="5" y="1042"/>
                  </a:lnTo>
                  <a:lnTo>
                    <a:pt x="3" y="1038"/>
                  </a:lnTo>
                  <a:lnTo>
                    <a:pt x="0" y="1033"/>
                  </a:lnTo>
                  <a:lnTo>
                    <a:pt x="0" y="1029"/>
                  </a:lnTo>
                  <a:lnTo>
                    <a:pt x="2" y="1012"/>
                  </a:lnTo>
                  <a:lnTo>
                    <a:pt x="4" y="994"/>
                  </a:lnTo>
                  <a:lnTo>
                    <a:pt x="6" y="976"/>
                  </a:lnTo>
                  <a:lnTo>
                    <a:pt x="7" y="964"/>
                  </a:lnTo>
                  <a:lnTo>
                    <a:pt x="19" y="958"/>
                  </a:lnTo>
                  <a:lnTo>
                    <a:pt x="20" y="954"/>
                  </a:lnTo>
                  <a:lnTo>
                    <a:pt x="22" y="952"/>
                  </a:lnTo>
                  <a:lnTo>
                    <a:pt x="25" y="949"/>
                  </a:lnTo>
                  <a:lnTo>
                    <a:pt x="27" y="945"/>
                  </a:lnTo>
                  <a:lnTo>
                    <a:pt x="31" y="942"/>
                  </a:lnTo>
                  <a:lnTo>
                    <a:pt x="34" y="940"/>
                  </a:lnTo>
                  <a:lnTo>
                    <a:pt x="37" y="939"/>
                  </a:lnTo>
                  <a:lnTo>
                    <a:pt x="39" y="937"/>
                  </a:lnTo>
                  <a:lnTo>
                    <a:pt x="46" y="924"/>
                  </a:lnTo>
                  <a:lnTo>
                    <a:pt x="56" y="921"/>
                  </a:lnTo>
                  <a:lnTo>
                    <a:pt x="66" y="918"/>
                  </a:lnTo>
                  <a:lnTo>
                    <a:pt x="66" y="915"/>
                  </a:lnTo>
                  <a:lnTo>
                    <a:pt x="67" y="913"/>
                  </a:lnTo>
                  <a:lnTo>
                    <a:pt x="68" y="911"/>
                  </a:lnTo>
                  <a:lnTo>
                    <a:pt x="71" y="908"/>
                  </a:lnTo>
                  <a:lnTo>
                    <a:pt x="73" y="907"/>
                  </a:lnTo>
                  <a:lnTo>
                    <a:pt x="76" y="906"/>
                  </a:lnTo>
                  <a:lnTo>
                    <a:pt x="81" y="905"/>
                  </a:lnTo>
                  <a:lnTo>
                    <a:pt x="85" y="905"/>
                  </a:lnTo>
                  <a:lnTo>
                    <a:pt x="89" y="901"/>
                  </a:lnTo>
                  <a:lnTo>
                    <a:pt x="98" y="892"/>
                  </a:lnTo>
                  <a:lnTo>
                    <a:pt x="111" y="882"/>
                  </a:lnTo>
                  <a:lnTo>
                    <a:pt x="125" y="869"/>
                  </a:lnTo>
                  <a:lnTo>
                    <a:pt x="141" y="858"/>
                  </a:lnTo>
                  <a:lnTo>
                    <a:pt x="154" y="848"/>
                  </a:lnTo>
                  <a:lnTo>
                    <a:pt x="166" y="841"/>
                  </a:lnTo>
                  <a:lnTo>
                    <a:pt x="171" y="839"/>
                  </a:lnTo>
                  <a:lnTo>
                    <a:pt x="177" y="833"/>
                  </a:lnTo>
                  <a:lnTo>
                    <a:pt x="177" y="709"/>
                  </a:lnTo>
                  <a:lnTo>
                    <a:pt x="181" y="708"/>
                  </a:lnTo>
                  <a:lnTo>
                    <a:pt x="183" y="708"/>
                  </a:lnTo>
                  <a:lnTo>
                    <a:pt x="183" y="706"/>
                  </a:lnTo>
                  <a:lnTo>
                    <a:pt x="183" y="705"/>
                  </a:lnTo>
                  <a:lnTo>
                    <a:pt x="183" y="704"/>
                  </a:lnTo>
                  <a:lnTo>
                    <a:pt x="185" y="703"/>
                  </a:lnTo>
                  <a:lnTo>
                    <a:pt x="187" y="702"/>
                  </a:lnTo>
                  <a:lnTo>
                    <a:pt x="190" y="702"/>
                  </a:lnTo>
                  <a:lnTo>
                    <a:pt x="190" y="696"/>
                  </a:lnTo>
                  <a:lnTo>
                    <a:pt x="191" y="690"/>
                  </a:lnTo>
                  <a:lnTo>
                    <a:pt x="192" y="686"/>
                  </a:lnTo>
                  <a:lnTo>
                    <a:pt x="194" y="684"/>
                  </a:lnTo>
                  <a:lnTo>
                    <a:pt x="195" y="683"/>
                  </a:lnTo>
                  <a:lnTo>
                    <a:pt x="197" y="682"/>
                  </a:lnTo>
                  <a:lnTo>
                    <a:pt x="200" y="665"/>
                  </a:lnTo>
                  <a:lnTo>
                    <a:pt x="204" y="649"/>
                  </a:lnTo>
                  <a:lnTo>
                    <a:pt x="206" y="648"/>
                  </a:lnTo>
                  <a:lnTo>
                    <a:pt x="208" y="647"/>
                  </a:lnTo>
                  <a:lnTo>
                    <a:pt x="209" y="644"/>
                  </a:lnTo>
                  <a:lnTo>
                    <a:pt x="211" y="641"/>
                  </a:lnTo>
                  <a:lnTo>
                    <a:pt x="214" y="632"/>
                  </a:lnTo>
                  <a:lnTo>
                    <a:pt x="215" y="622"/>
                  </a:lnTo>
                  <a:lnTo>
                    <a:pt x="216" y="599"/>
                  </a:lnTo>
                  <a:lnTo>
                    <a:pt x="217" y="584"/>
                  </a:lnTo>
                  <a:lnTo>
                    <a:pt x="213" y="584"/>
                  </a:lnTo>
                  <a:lnTo>
                    <a:pt x="211" y="583"/>
                  </a:lnTo>
                  <a:lnTo>
                    <a:pt x="210" y="581"/>
                  </a:lnTo>
                  <a:lnTo>
                    <a:pt x="210" y="580"/>
                  </a:lnTo>
                  <a:lnTo>
                    <a:pt x="210" y="579"/>
                  </a:lnTo>
                  <a:lnTo>
                    <a:pt x="209" y="578"/>
                  </a:lnTo>
                  <a:lnTo>
                    <a:pt x="207" y="577"/>
                  </a:lnTo>
                  <a:lnTo>
                    <a:pt x="204" y="577"/>
                  </a:lnTo>
                  <a:lnTo>
                    <a:pt x="197" y="564"/>
                  </a:lnTo>
                  <a:lnTo>
                    <a:pt x="185" y="565"/>
                  </a:lnTo>
                  <a:lnTo>
                    <a:pt x="171" y="565"/>
                  </a:lnTo>
                  <a:lnTo>
                    <a:pt x="159" y="565"/>
                  </a:lnTo>
                  <a:lnTo>
                    <a:pt x="147" y="5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4" name="Freeform 50"/>
            <p:cNvSpPr>
              <a:spLocks noChangeAspect="1"/>
            </p:cNvSpPr>
            <p:nvPr/>
          </p:nvSpPr>
          <p:spPr bwMode="gray">
            <a:xfrm rot="355651">
              <a:off x="6320125" y="2608263"/>
              <a:ext cx="430589" cy="286380"/>
            </a:xfrm>
            <a:custGeom>
              <a:avLst/>
              <a:gdLst/>
              <a:ahLst/>
              <a:cxnLst>
                <a:cxn ang="0">
                  <a:pos x="146" y="973"/>
                </a:cxn>
                <a:cxn ang="0">
                  <a:pos x="206" y="1032"/>
                </a:cxn>
                <a:cxn ang="0">
                  <a:pos x="227" y="1102"/>
                </a:cxn>
                <a:cxn ang="0">
                  <a:pos x="217" y="1281"/>
                </a:cxn>
                <a:cxn ang="0">
                  <a:pos x="330" y="1227"/>
                </a:cxn>
                <a:cxn ang="0">
                  <a:pos x="367" y="1178"/>
                </a:cxn>
                <a:cxn ang="0">
                  <a:pos x="398" y="1136"/>
                </a:cxn>
                <a:cxn ang="0">
                  <a:pos x="512" y="1095"/>
                </a:cxn>
                <a:cxn ang="0">
                  <a:pos x="619" y="1066"/>
                </a:cxn>
                <a:cxn ang="0">
                  <a:pos x="736" y="1021"/>
                </a:cxn>
                <a:cxn ang="0">
                  <a:pos x="835" y="1043"/>
                </a:cxn>
                <a:cxn ang="0">
                  <a:pos x="808" y="1212"/>
                </a:cxn>
                <a:cxn ang="0">
                  <a:pos x="679" y="1242"/>
                </a:cxn>
                <a:cxn ang="0">
                  <a:pos x="634" y="1291"/>
                </a:cxn>
                <a:cxn ang="0">
                  <a:pos x="533" y="1338"/>
                </a:cxn>
                <a:cxn ang="0">
                  <a:pos x="548" y="1429"/>
                </a:cxn>
                <a:cxn ang="0">
                  <a:pos x="602" y="1458"/>
                </a:cxn>
                <a:cxn ang="0">
                  <a:pos x="635" y="1504"/>
                </a:cxn>
                <a:cxn ang="0">
                  <a:pos x="672" y="1553"/>
                </a:cxn>
                <a:cxn ang="0">
                  <a:pos x="700" y="1579"/>
                </a:cxn>
                <a:cxn ang="0">
                  <a:pos x="742" y="1624"/>
                </a:cxn>
                <a:cxn ang="0">
                  <a:pos x="801" y="1684"/>
                </a:cxn>
                <a:cxn ang="0">
                  <a:pos x="838" y="1726"/>
                </a:cxn>
                <a:cxn ang="0">
                  <a:pos x="892" y="1755"/>
                </a:cxn>
                <a:cxn ang="0">
                  <a:pos x="972" y="1695"/>
                </a:cxn>
                <a:cxn ang="0">
                  <a:pos x="1010" y="1632"/>
                </a:cxn>
                <a:cxn ang="0">
                  <a:pos x="1138" y="1674"/>
                </a:cxn>
                <a:cxn ang="0">
                  <a:pos x="1262" y="1564"/>
                </a:cxn>
                <a:cxn ang="0">
                  <a:pos x="1263" y="1451"/>
                </a:cxn>
                <a:cxn ang="0">
                  <a:pos x="1308" y="1411"/>
                </a:cxn>
                <a:cxn ang="0">
                  <a:pos x="1397" y="1338"/>
                </a:cxn>
                <a:cxn ang="0">
                  <a:pos x="1986" y="1125"/>
                </a:cxn>
                <a:cxn ang="0">
                  <a:pos x="2290" y="1044"/>
                </a:cxn>
                <a:cxn ang="0">
                  <a:pos x="2310" y="933"/>
                </a:cxn>
                <a:cxn ang="0">
                  <a:pos x="2282" y="895"/>
                </a:cxn>
                <a:cxn ang="0">
                  <a:pos x="2294" y="781"/>
                </a:cxn>
                <a:cxn ang="0">
                  <a:pos x="2328" y="750"/>
                </a:cxn>
                <a:cxn ang="0">
                  <a:pos x="2163" y="676"/>
                </a:cxn>
                <a:cxn ang="0">
                  <a:pos x="2086" y="625"/>
                </a:cxn>
                <a:cxn ang="0">
                  <a:pos x="2011" y="581"/>
                </a:cxn>
                <a:cxn ang="0">
                  <a:pos x="1916" y="543"/>
                </a:cxn>
                <a:cxn ang="0">
                  <a:pos x="1716" y="426"/>
                </a:cxn>
                <a:cxn ang="0">
                  <a:pos x="1605" y="378"/>
                </a:cxn>
                <a:cxn ang="0">
                  <a:pos x="1524" y="313"/>
                </a:cxn>
                <a:cxn ang="0">
                  <a:pos x="1464" y="227"/>
                </a:cxn>
                <a:cxn ang="0">
                  <a:pos x="1416" y="118"/>
                </a:cxn>
                <a:cxn ang="0">
                  <a:pos x="1376" y="14"/>
                </a:cxn>
                <a:cxn ang="0">
                  <a:pos x="1317" y="44"/>
                </a:cxn>
                <a:cxn ang="0">
                  <a:pos x="1277" y="101"/>
                </a:cxn>
                <a:cxn ang="0">
                  <a:pos x="1226" y="175"/>
                </a:cxn>
                <a:cxn ang="0">
                  <a:pos x="1185" y="334"/>
                </a:cxn>
                <a:cxn ang="0">
                  <a:pos x="1056" y="424"/>
                </a:cxn>
                <a:cxn ang="0">
                  <a:pos x="922" y="331"/>
                </a:cxn>
                <a:cxn ang="0">
                  <a:pos x="881" y="375"/>
                </a:cxn>
                <a:cxn ang="0">
                  <a:pos x="800" y="521"/>
                </a:cxn>
                <a:cxn ang="0">
                  <a:pos x="630" y="531"/>
                </a:cxn>
                <a:cxn ang="0">
                  <a:pos x="456" y="542"/>
                </a:cxn>
                <a:cxn ang="0">
                  <a:pos x="423" y="581"/>
                </a:cxn>
                <a:cxn ang="0">
                  <a:pos x="324" y="581"/>
                </a:cxn>
                <a:cxn ang="0">
                  <a:pos x="274" y="516"/>
                </a:cxn>
                <a:cxn ang="0">
                  <a:pos x="201" y="554"/>
                </a:cxn>
                <a:cxn ang="0">
                  <a:pos x="25" y="600"/>
                </a:cxn>
                <a:cxn ang="0">
                  <a:pos x="23" y="866"/>
                </a:cxn>
              </a:cxnLst>
              <a:rect l="0" t="0" r="r" b="b"/>
              <a:pathLst>
                <a:path w="2362" h="1772">
                  <a:moveTo>
                    <a:pt x="31" y="913"/>
                  </a:moveTo>
                  <a:lnTo>
                    <a:pt x="43" y="913"/>
                  </a:lnTo>
                  <a:lnTo>
                    <a:pt x="51" y="920"/>
                  </a:lnTo>
                  <a:lnTo>
                    <a:pt x="51" y="937"/>
                  </a:lnTo>
                  <a:lnTo>
                    <a:pt x="61" y="938"/>
                  </a:lnTo>
                  <a:lnTo>
                    <a:pt x="71" y="942"/>
                  </a:lnTo>
                  <a:lnTo>
                    <a:pt x="83" y="947"/>
                  </a:lnTo>
                  <a:lnTo>
                    <a:pt x="96" y="953"/>
                  </a:lnTo>
                  <a:lnTo>
                    <a:pt x="108" y="958"/>
                  </a:lnTo>
                  <a:lnTo>
                    <a:pt x="121" y="964"/>
                  </a:lnTo>
                  <a:lnTo>
                    <a:pt x="134" y="967"/>
                  </a:lnTo>
                  <a:lnTo>
                    <a:pt x="146" y="968"/>
                  </a:lnTo>
                  <a:lnTo>
                    <a:pt x="146" y="973"/>
                  </a:lnTo>
                  <a:lnTo>
                    <a:pt x="147" y="975"/>
                  </a:lnTo>
                  <a:lnTo>
                    <a:pt x="148" y="976"/>
                  </a:lnTo>
                  <a:lnTo>
                    <a:pt x="150" y="976"/>
                  </a:lnTo>
                  <a:lnTo>
                    <a:pt x="151" y="976"/>
                  </a:lnTo>
                  <a:lnTo>
                    <a:pt x="153" y="977"/>
                  </a:lnTo>
                  <a:lnTo>
                    <a:pt x="154" y="980"/>
                  </a:lnTo>
                  <a:lnTo>
                    <a:pt x="154" y="984"/>
                  </a:lnTo>
                  <a:lnTo>
                    <a:pt x="169" y="984"/>
                  </a:lnTo>
                  <a:lnTo>
                    <a:pt x="182" y="996"/>
                  </a:lnTo>
                  <a:lnTo>
                    <a:pt x="193" y="1007"/>
                  </a:lnTo>
                  <a:lnTo>
                    <a:pt x="193" y="1024"/>
                  </a:lnTo>
                  <a:lnTo>
                    <a:pt x="202" y="1032"/>
                  </a:lnTo>
                  <a:lnTo>
                    <a:pt x="206" y="1032"/>
                  </a:lnTo>
                  <a:lnTo>
                    <a:pt x="208" y="1033"/>
                  </a:lnTo>
                  <a:lnTo>
                    <a:pt x="209" y="1034"/>
                  </a:lnTo>
                  <a:lnTo>
                    <a:pt x="209" y="1035"/>
                  </a:lnTo>
                  <a:lnTo>
                    <a:pt x="209" y="1037"/>
                  </a:lnTo>
                  <a:lnTo>
                    <a:pt x="211" y="1039"/>
                  </a:lnTo>
                  <a:lnTo>
                    <a:pt x="213" y="1039"/>
                  </a:lnTo>
                  <a:lnTo>
                    <a:pt x="217" y="1040"/>
                  </a:lnTo>
                  <a:lnTo>
                    <a:pt x="218" y="1052"/>
                  </a:lnTo>
                  <a:lnTo>
                    <a:pt x="221" y="1067"/>
                  </a:lnTo>
                  <a:lnTo>
                    <a:pt x="224" y="1082"/>
                  </a:lnTo>
                  <a:lnTo>
                    <a:pt x="225" y="1095"/>
                  </a:lnTo>
                  <a:lnTo>
                    <a:pt x="226" y="1097"/>
                  </a:lnTo>
                  <a:lnTo>
                    <a:pt x="227" y="1102"/>
                  </a:lnTo>
                  <a:lnTo>
                    <a:pt x="230" y="1111"/>
                  </a:lnTo>
                  <a:lnTo>
                    <a:pt x="231" y="1124"/>
                  </a:lnTo>
                  <a:lnTo>
                    <a:pt x="232" y="1153"/>
                  </a:lnTo>
                  <a:lnTo>
                    <a:pt x="233" y="1186"/>
                  </a:lnTo>
                  <a:lnTo>
                    <a:pt x="232" y="1220"/>
                  </a:lnTo>
                  <a:lnTo>
                    <a:pt x="230" y="1249"/>
                  </a:lnTo>
                  <a:lnTo>
                    <a:pt x="227" y="1260"/>
                  </a:lnTo>
                  <a:lnTo>
                    <a:pt x="224" y="1269"/>
                  </a:lnTo>
                  <a:lnTo>
                    <a:pt x="223" y="1272"/>
                  </a:lnTo>
                  <a:lnTo>
                    <a:pt x="221" y="1274"/>
                  </a:lnTo>
                  <a:lnTo>
                    <a:pt x="220" y="1276"/>
                  </a:lnTo>
                  <a:lnTo>
                    <a:pt x="217" y="1276"/>
                  </a:lnTo>
                  <a:lnTo>
                    <a:pt x="217" y="1281"/>
                  </a:lnTo>
                  <a:lnTo>
                    <a:pt x="216" y="1284"/>
                  </a:lnTo>
                  <a:lnTo>
                    <a:pt x="211" y="1284"/>
                  </a:lnTo>
                  <a:lnTo>
                    <a:pt x="204" y="1283"/>
                  </a:lnTo>
                  <a:lnTo>
                    <a:pt x="209" y="1292"/>
                  </a:lnTo>
                  <a:lnTo>
                    <a:pt x="232" y="1292"/>
                  </a:lnTo>
                  <a:lnTo>
                    <a:pt x="256" y="1292"/>
                  </a:lnTo>
                  <a:lnTo>
                    <a:pt x="280" y="1292"/>
                  </a:lnTo>
                  <a:lnTo>
                    <a:pt x="302" y="1292"/>
                  </a:lnTo>
                  <a:lnTo>
                    <a:pt x="303" y="1281"/>
                  </a:lnTo>
                  <a:lnTo>
                    <a:pt x="307" y="1263"/>
                  </a:lnTo>
                  <a:lnTo>
                    <a:pt x="310" y="1244"/>
                  </a:lnTo>
                  <a:lnTo>
                    <a:pt x="311" y="1227"/>
                  </a:lnTo>
                  <a:lnTo>
                    <a:pt x="330" y="1227"/>
                  </a:lnTo>
                  <a:lnTo>
                    <a:pt x="330" y="1209"/>
                  </a:lnTo>
                  <a:lnTo>
                    <a:pt x="339" y="1199"/>
                  </a:lnTo>
                  <a:lnTo>
                    <a:pt x="342" y="1199"/>
                  </a:lnTo>
                  <a:lnTo>
                    <a:pt x="346" y="1198"/>
                  </a:lnTo>
                  <a:lnTo>
                    <a:pt x="349" y="1196"/>
                  </a:lnTo>
                  <a:lnTo>
                    <a:pt x="352" y="1194"/>
                  </a:lnTo>
                  <a:lnTo>
                    <a:pt x="355" y="1192"/>
                  </a:lnTo>
                  <a:lnTo>
                    <a:pt x="356" y="1188"/>
                  </a:lnTo>
                  <a:lnTo>
                    <a:pt x="357" y="1185"/>
                  </a:lnTo>
                  <a:lnTo>
                    <a:pt x="358" y="1182"/>
                  </a:lnTo>
                  <a:lnTo>
                    <a:pt x="362" y="1180"/>
                  </a:lnTo>
                  <a:lnTo>
                    <a:pt x="366" y="1180"/>
                  </a:lnTo>
                  <a:lnTo>
                    <a:pt x="367" y="1178"/>
                  </a:lnTo>
                  <a:lnTo>
                    <a:pt x="367" y="1177"/>
                  </a:lnTo>
                  <a:lnTo>
                    <a:pt x="367" y="1175"/>
                  </a:lnTo>
                  <a:lnTo>
                    <a:pt x="368" y="1174"/>
                  </a:lnTo>
                  <a:lnTo>
                    <a:pt x="370" y="1173"/>
                  </a:lnTo>
                  <a:lnTo>
                    <a:pt x="376" y="1173"/>
                  </a:lnTo>
                  <a:lnTo>
                    <a:pt x="376" y="1154"/>
                  </a:lnTo>
                  <a:lnTo>
                    <a:pt x="379" y="1153"/>
                  </a:lnTo>
                  <a:lnTo>
                    <a:pt x="381" y="1150"/>
                  </a:lnTo>
                  <a:lnTo>
                    <a:pt x="384" y="1148"/>
                  </a:lnTo>
                  <a:lnTo>
                    <a:pt x="387" y="1145"/>
                  </a:lnTo>
                  <a:lnTo>
                    <a:pt x="389" y="1141"/>
                  </a:lnTo>
                  <a:lnTo>
                    <a:pt x="393" y="1138"/>
                  </a:lnTo>
                  <a:lnTo>
                    <a:pt x="398" y="1136"/>
                  </a:lnTo>
                  <a:lnTo>
                    <a:pt x="404" y="1135"/>
                  </a:lnTo>
                  <a:lnTo>
                    <a:pt x="413" y="1126"/>
                  </a:lnTo>
                  <a:lnTo>
                    <a:pt x="413" y="1108"/>
                  </a:lnTo>
                  <a:lnTo>
                    <a:pt x="423" y="1098"/>
                  </a:lnTo>
                  <a:lnTo>
                    <a:pt x="449" y="1098"/>
                  </a:lnTo>
                  <a:lnTo>
                    <a:pt x="451" y="1097"/>
                  </a:lnTo>
                  <a:lnTo>
                    <a:pt x="452" y="1096"/>
                  </a:lnTo>
                  <a:lnTo>
                    <a:pt x="453" y="1095"/>
                  </a:lnTo>
                  <a:lnTo>
                    <a:pt x="455" y="1093"/>
                  </a:lnTo>
                  <a:lnTo>
                    <a:pt x="461" y="1092"/>
                  </a:lnTo>
                  <a:lnTo>
                    <a:pt x="470" y="1092"/>
                  </a:lnTo>
                  <a:lnTo>
                    <a:pt x="489" y="1093"/>
                  </a:lnTo>
                  <a:lnTo>
                    <a:pt x="512" y="1095"/>
                  </a:lnTo>
                  <a:lnTo>
                    <a:pt x="524" y="1095"/>
                  </a:lnTo>
                  <a:lnTo>
                    <a:pt x="537" y="1095"/>
                  </a:lnTo>
                  <a:lnTo>
                    <a:pt x="548" y="1093"/>
                  </a:lnTo>
                  <a:lnTo>
                    <a:pt x="559" y="1092"/>
                  </a:lnTo>
                  <a:lnTo>
                    <a:pt x="569" y="1089"/>
                  </a:lnTo>
                  <a:lnTo>
                    <a:pt x="577" y="1084"/>
                  </a:lnTo>
                  <a:lnTo>
                    <a:pt x="581" y="1081"/>
                  </a:lnTo>
                  <a:lnTo>
                    <a:pt x="583" y="1078"/>
                  </a:lnTo>
                  <a:lnTo>
                    <a:pt x="587" y="1074"/>
                  </a:lnTo>
                  <a:lnTo>
                    <a:pt x="589" y="1071"/>
                  </a:lnTo>
                  <a:lnTo>
                    <a:pt x="616" y="1071"/>
                  </a:lnTo>
                  <a:lnTo>
                    <a:pt x="617" y="1068"/>
                  </a:lnTo>
                  <a:lnTo>
                    <a:pt x="619" y="1066"/>
                  </a:lnTo>
                  <a:lnTo>
                    <a:pt x="623" y="1063"/>
                  </a:lnTo>
                  <a:lnTo>
                    <a:pt x="627" y="1062"/>
                  </a:lnTo>
                  <a:lnTo>
                    <a:pt x="636" y="1061"/>
                  </a:lnTo>
                  <a:lnTo>
                    <a:pt x="644" y="1061"/>
                  </a:lnTo>
                  <a:lnTo>
                    <a:pt x="691" y="1033"/>
                  </a:lnTo>
                  <a:lnTo>
                    <a:pt x="708" y="1033"/>
                  </a:lnTo>
                  <a:lnTo>
                    <a:pt x="710" y="1031"/>
                  </a:lnTo>
                  <a:lnTo>
                    <a:pt x="712" y="1029"/>
                  </a:lnTo>
                  <a:lnTo>
                    <a:pt x="715" y="1026"/>
                  </a:lnTo>
                  <a:lnTo>
                    <a:pt x="719" y="1025"/>
                  </a:lnTo>
                  <a:lnTo>
                    <a:pt x="729" y="1024"/>
                  </a:lnTo>
                  <a:lnTo>
                    <a:pt x="736" y="1024"/>
                  </a:lnTo>
                  <a:lnTo>
                    <a:pt x="736" y="1021"/>
                  </a:lnTo>
                  <a:lnTo>
                    <a:pt x="737" y="1019"/>
                  </a:lnTo>
                  <a:lnTo>
                    <a:pt x="740" y="1018"/>
                  </a:lnTo>
                  <a:lnTo>
                    <a:pt x="742" y="1016"/>
                  </a:lnTo>
                  <a:lnTo>
                    <a:pt x="748" y="1015"/>
                  </a:lnTo>
                  <a:lnTo>
                    <a:pt x="755" y="1015"/>
                  </a:lnTo>
                  <a:lnTo>
                    <a:pt x="755" y="996"/>
                  </a:lnTo>
                  <a:lnTo>
                    <a:pt x="770" y="996"/>
                  </a:lnTo>
                  <a:lnTo>
                    <a:pt x="788" y="996"/>
                  </a:lnTo>
                  <a:lnTo>
                    <a:pt x="804" y="996"/>
                  </a:lnTo>
                  <a:lnTo>
                    <a:pt x="819" y="996"/>
                  </a:lnTo>
                  <a:lnTo>
                    <a:pt x="822" y="1011"/>
                  </a:lnTo>
                  <a:lnTo>
                    <a:pt x="830" y="1032"/>
                  </a:lnTo>
                  <a:lnTo>
                    <a:pt x="835" y="1043"/>
                  </a:lnTo>
                  <a:lnTo>
                    <a:pt x="839" y="1052"/>
                  </a:lnTo>
                  <a:lnTo>
                    <a:pt x="841" y="1057"/>
                  </a:lnTo>
                  <a:lnTo>
                    <a:pt x="844" y="1059"/>
                  </a:lnTo>
                  <a:lnTo>
                    <a:pt x="846" y="1061"/>
                  </a:lnTo>
                  <a:lnTo>
                    <a:pt x="847" y="1061"/>
                  </a:lnTo>
                  <a:lnTo>
                    <a:pt x="847" y="1182"/>
                  </a:lnTo>
                  <a:lnTo>
                    <a:pt x="838" y="1191"/>
                  </a:lnTo>
                  <a:lnTo>
                    <a:pt x="829" y="1199"/>
                  </a:lnTo>
                  <a:lnTo>
                    <a:pt x="826" y="1201"/>
                  </a:lnTo>
                  <a:lnTo>
                    <a:pt x="822" y="1202"/>
                  </a:lnTo>
                  <a:lnTo>
                    <a:pt x="818" y="1203"/>
                  </a:lnTo>
                  <a:lnTo>
                    <a:pt x="815" y="1206"/>
                  </a:lnTo>
                  <a:lnTo>
                    <a:pt x="808" y="1212"/>
                  </a:lnTo>
                  <a:lnTo>
                    <a:pt x="801" y="1218"/>
                  </a:lnTo>
                  <a:lnTo>
                    <a:pt x="779" y="1220"/>
                  </a:lnTo>
                  <a:lnTo>
                    <a:pt x="754" y="1223"/>
                  </a:lnTo>
                  <a:lnTo>
                    <a:pt x="727" y="1226"/>
                  </a:lnTo>
                  <a:lnTo>
                    <a:pt x="700" y="1227"/>
                  </a:lnTo>
                  <a:lnTo>
                    <a:pt x="700" y="1231"/>
                  </a:lnTo>
                  <a:lnTo>
                    <a:pt x="697" y="1233"/>
                  </a:lnTo>
                  <a:lnTo>
                    <a:pt x="696" y="1234"/>
                  </a:lnTo>
                  <a:lnTo>
                    <a:pt x="694" y="1235"/>
                  </a:lnTo>
                  <a:lnTo>
                    <a:pt x="687" y="1236"/>
                  </a:lnTo>
                  <a:lnTo>
                    <a:pt x="681" y="1236"/>
                  </a:lnTo>
                  <a:lnTo>
                    <a:pt x="681" y="1240"/>
                  </a:lnTo>
                  <a:lnTo>
                    <a:pt x="679" y="1242"/>
                  </a:lnTo>
                  <a:lnTo>
                    <a:pt x="677" y="1244"/>
                  </a:lnTo>
                  <a:lnTo>
                    <a:pt x="675" y="1245"/>
                  </a:lnTo>
                  <a:lnTo>
                    <a:pt x="669" y="1246"/>
                  </a:lnTo>
                  <a:lnTo>
                    <a:pt x="663" y="1246"/>
                  </a:lnTo>
                  <a:lnTo>
                    <a:pt x="663" y="1264"/>
                  </a:lnTo>
                  <a:lnTo>
                    <a:pt x="654" y="1274"/>
                  </a:lnTo>
                  <a:lnTo>
                    <a:pt x="644" y="1283"/>
                  </a:lnTo>
                  <a:lnTo>
                    <a:pt x="638" y="1283"/>
                  </a:lnTo>
                  <a:lnTo>
                    <a:pt x="636" y="1284"/>
                  </a:lnTo>
                  <a:lnTo>
                    <a:pt x="635" y="1285"/>
                  </a:lnTo>
                  <a:lnTo>
                    <a:pt x="635" y="1288"/>
                  </a:lnTo>
                  <a:lnTo>
                    <a:pt x="635" y="1290"/>
                  </a:lnTo>
                  <a:lnTo>
                    <a:pt x="634" y="1291"/>
                  </a:lnTo>
                  <a:lnTo>
                    <a:pt x="630" y="1292"/>
                  </a:lnTo>
                  <a:lnTo>
                    <a:pt x="626" y="1292"/>
                  </a:lnTo>
                  <a:lnTo>
                    <a:pt x="616" y="1311"/>
                  </a:lnTo>
                  <a:lnTo>
                    <a:pt x="600" y="1311"/>
                  </a:lnTo>
                  <a:lnTo>
                    <a:pt x="581" y="1313"/>
                  </a:lnTo>
                  <a:lnTo>
                    <a:pt x="573" y="1316"/>
                  </a:lnTo>
                  <a:lnTo>
                    <a:pt x="567" y="1319"/>
                  </a:lnTo>
                  <a:lnTo>
                    <a:pt x="564" y="1321"/>
                  </a:lnTo>
                  <a:lnTo>
                    <a:pt x="562" y="1323"/>
                  </a:lnTo>
                  <a:lnTo>
                    <a:pt x="561" y="1326"/>
                  </a:lnTo>
                  <a:lnTo>
                    <a:pt x="561" y="1329"/>
                  </a:lnTo>
                  <a:lnTo>
                    <a:pt x="542" y="1329"/>
                  </a:lnTo>
                  <a:lnTo>
                    <a:pt x="533" y="1338"/>
                  </a:lnTo>
                  <a:lnTo>
                    <a:pt x="524" y="1348"/>
                  </a:lnTo>
                  <a:lnTo>
                    <a:pt x="514" y="1357"/>
                  </a:lnTo>
                  <a:lnTo>
                    <a:pt x="505" y="1366"/>
                  </a:lnTo>
                  <a:lnTo>
                    <a:pt x="496" y="1376"/>
                  </a:lnTo>
                  <a:lnTo>
                    <a:pt x="496" y="1385"/>
                  </a:lnTo>
                  <a:lnTo>
                    <a:pt x="496" y="1398"/>
                  </a:lnTo>
                  <a:lnTo>
                    <a:pt x="496" y="1411"/>
                  </a:lnTo>
                  <a:lnTo>
                    <a:pt x="496" y="1422"/>
                  </a:lnTo>
                  <a:lnTo>
                    <a:pt x="533" y="1422"/>
                  </a:lnTo>
                  <a:lnTo>
                    <a:pt x="534" y="1425"/>
                  </a:lnTo>
                  <a:lnTo>
                    <a:pt x="538" y="1427"/>
                  </a:lnTo>
                  <a:lnTo>
                    <a:pt x="542" y="1428"/>
                  </a:lnTo>
                  <a:lnTo>
                    <a:pt x="548" y="1429"/>
                  </a:lnTo>
                  <a:lnTo>
                    <a:pt x="560" y="1430"/>
                  </a:lnTo>
                  <a:lnTo>
                    <a:pt x="570" y="1430"/>
                  </a:lnTo>
                  <a:lnTo>
                    <a:pt x="570" y="1434"/>
                  </a:lnTo>
                  <a:lnTo>
                    <a:pt x="571" y="1436"/>
                  </a:lnTo>
                  <a:lnTo>
                    <a:pt x="573" y="1438"/>
                  </a:lnTo>
                  <a:lnTo>
                    <a:pt x="576" y="1439"/>
                  </a:lnTo>
                  <a:lnTo>
                    <a:pt x="582" y="1439"/>
                  </a:lnTo>
                  <a:lnTo>
                    <a:pt x="589" y="1441"/>
                  </a:lnTo>
                  <a:lnTo>
                    <a:pt x="598" y="1449"/>
                  </a:lnTo>
                  <a:lnTo>
                    <a:pt x="598" y="1455"/>
                  </a:lnTo>
                  <a:lnTo>
                    <a:pt x="599" y="1457"/>
                  </a:lnTo>
                  <a:lnTo>
                    <a:pt x="600" y="1458"/>
                  </a:lnTo>
                  <a:lnTo>
                    <a:pt x="602" y="1458"/>
                  </a:lnTo>
                  <a:lnTo>
                    <a:pt x="605" y="1458"/>
                  </a:lnTo>
                  <a:lnTo>
                    <a:pt x="606" y="1459"/>
                  </a:lnTo>
                  <a:lnTo>
                    <a:pt x="607" y="1463"/>
                  </a:lnTo>
                  <a:lnTo>
                    <a:pt x="607" y="1467"/>
                  </a:lnTo>
                  <a:lnTo>
                    <a:pt x="614" y="1468"/>
                  </a:lnTo>
                  <a:lnTo>
                    <a:pt x="618" y="1471"/>
                  </a:lnTo>
                  <a:lnTo>
                    <a:pt x="621" y="1474"/>
                  </a:lnTo>
                  <a:lnTo>
                    <a:pt x="625" y="1477"/>
                  </a:lnTo>
                  <a:lnTo>
                    <a:pt x="627" y="1481"/>
                  </a:lnTo>
                  <a:lnTo>
                    <a:pt x="629" y="1483"/>
                  </a:lnTo>
                  <a:lnTo>
                    <a:pt x="631" y="1485"/>
                  </a:lnTo>
                  <a:lnTo>
                    <a:pt x="635" y="1486"/>
                  </a:lnTo>
                  <a:lnTo>
                    <a:pt x="635" y="1504"/>
                  </a:lnTo>
                  <a:lnTo>
                    <a:pt x="644" y="1514"/>
                  </a:lnTo>
                  <a:lnTo>
                    <a:pt x="649" y="1514"/>
                  </a:lnTo>
                  <a:lnTo>
                    <a:pt x="652" y="1515"/>
                  </a:lnTo>
                  <a:lnTo>
                    <a:pt x="653" y="1516"/>
                  </a:lnTo>
                  <a:lnTo>
                    <a:pt x="654" y="1519"/>
                  </a:lnTo>
                  <a:lnTo>
                    <a:pt x="654" y="1520"/>
                  </a:lnTo>
                  <a:lnTo>
                    <a:pt x="655" y="1522"/>
                  </a:lnTo>
                  <a:lnTo>
                    <a:pt x="657" y="1523"/>
                  </a:lnTo>
                  <a:lnTo>
                    <a:pt x="663" y="1523"/>
                  </a:lnTo>
                  <a:lnTo>
                    <a:pt x="663" y="1551"/>
                  </a:lnTo>
                  <a:lnTo>
                    <a:pt x="668" y="1551"/>
                  </a:lnTo>
                  <a:lnTo>
                    <a:pt x="671" y="1552"/>
                  </a:lnTo>
                  <a:lnTo>
                    <a:pt x="672" y="1553"/>
                  </a:lnTo>
                  <a:lnTo>
                    <a:pt x="672" y="1555"/>
                  </a:lnTo>
                  <a:lnTo>
                    <a:pt x="672" y="1558"/>
                  </a:lnTo>
                  <a:lnTo>
                    <a:pt x="673" y="1559"/>
                  </a:lnTo>
                  <a:lnTo>
                    <a:pt x="676" y="1560"/>
                  </a:lnTo>
                  <a:lnTo>
                    <a:pt x="681" y="1560"/>
                  </a:lnTo>
                  <a:lnTo>
                    <a:pt x="682" y="1563"/>
                  </a:lnTo>
                  <a:lnTo>
                    <a:pt x="683" y="1567"/>
                  </a:lnTo>
                  <a:lnTo>
                    <a:pt x="684" y="1570"/>
                  </a:lnTo>
                  <a:lnTo>
                    <a:pt x="687" y="1573"/>
                  </a:lnTo>
                  <a:lnTo>
                    <a:pt x="689" y="1576"/>
                  </a:lnTo>
                  <a:lnTo>
                    <a:pt x="693" y="1577"/>
                  </a:lnTo>
                  <a:lnTo>
                    <a:pt x="696" y="1578"/>
                  </a:lnTo>
                  <a:lnTo>
                    <a:pt x="700" y="1579"/>
                  </a:lnTo>
                  <a:lnTo>
                    <a:pt x="708" y="1588"/>
                  </a:lnTo>
                  <a:lnTo>
                    <a:pt x="717" y="1597"/>
                  </a:lnTo>
                  <a:lnTo>
                    <a:pt x="719" y="1600"/>
                  </a:lnTo>
                  <a:lnTo>
                    <a:pt x="720" y="1603"/>
                  </a:lnTo>
                  <a:lnTo>
                    <a:pt x="721" y="1607"/>
                  </a:lnTo>
                  <a:lnTo>
                    <a:pt x="724" y="1610"/>
                  </a:lnTo>
                  <a:lnTo>
                    <a:pt x="726" y="1612"/>
                  </a:lnTo>
                  <a:lnTo>
                    <a:pt x="730" y="1614"/>
                  </a:lnTo>
                  <a:lnTo>
                    <a:pt x="733" y="1615"/>
                  </a:lnTo>
                  <a:lnTo>
                    <a:pt x="736" y="1616"/>
                  </a:lnTo>
                  <a:lnTo>
                    <a:pt x="737" y="1619"/>
                  </a:lnTo>
                  <a:lnTo>
                    <a:pt x="740" y="1621"/>
                  </a:lnTo>
                  <a:lnTo>
                    <a:pt x="742" y="1624"/>
                  </a:lnTo>
                  <a:lnTo>
                    <a:pt x="745" y="1626"/>
                  </a:lnTo>
                  <a:lnTo>
                    <a:pt x="749" y="1629"/>
                  </a:lnTo>
                  <a:lnTo>
                    <a:pt x="752" y="1632"/>
                  </a:lnTo>
                  <a:lnTo>
                    <a:pt x="754" y="1637"/>
                  </a:lnTo>
                  <a:lnTo>
                    <a:pt x="755" y="1644"/>
                  </a:lnTo>
                  <a:lnTo>
                    <a:pt x="764" y="1653"/>
                  </a:lnTo>
                  <a:lnTo>
                    <a:pt x="769" y="1653"/>
                  </a:lnTo>
                  <a:lnTo>
                    <a:pt x="773" y="1655"/>
                  </a:lnTo>
                  <a:lnTo>
                    <a:pt x="778" y="1657"/>
                  </a:lnTo>
                  <a:lnTo>
                    <a:pt x="782" y="1659"/>
                  </a:lnTo>
                  <a:lnTo>
                    <a:pt x="789" y="1667"/>
                  </a:lnTo>
                  <a:lnTo>
                    <a:pt x="796" y="1676"/>
                  </a:lnTo>
                  <a:lnTo>
                    <a:pt x="801" y="1684"/>
                  </a:lnTo>
                  <a:lnTo>
                    <a:pt x="807" y="1692"/>
                  </a:lnTo>
                  <a:lnTo>
                    <a:pt x="810" y="1694"/>
                  </a:lnTo>
                  <a:lnTo>
                    <a:pt x="813" y="1696"/>
                  </a:lnTo>
                  <a:lnTo>
                    <a:pt x="816" y="1698"/>
                  </a:lnTo>
                  <a:lnTo>
                    <a:pt x="819" y="1698"/>
                  </a:lnTo>
                  <a:lnTo>
                    <a:pt x="820" y="1705"/>
                  </a:lnTo>
                  <a:lnTo>
                    <a:pt x="822" y="1709"/>
                  </a:lnTo>
                  <a:lnTo>
                    <a:pt x="826" y="1713"/>
                  </a:lnTo>
                  <a:lnTo>
                    <a:pt x="829" y="1716"/>
                  </a:lnTo>
                  <a:lnTo>
                    <a:pt x="832" y="1718"/>
                  </a:lnTo>
                  <a:lnTo>
                    <a:pt x="835" y="1721"/>
                  </a:lnTo>
                  <a:lnTo>
                    <a:pt x="837" y="1723"/>
                  </a:lnTo>
                  <a:lnTo>
                    <a:pt x="838" y="1726"/>
                  </a:lnTo>
                  <a:lnTo>
                    <a:pt x="857" y="1726"/>
                  </a:lnTo>
                  <a:lnTo>
                    <a:pt x="857" y="1730"/>
                  </a:lnTo>
                  <a:lnTo>
                    <a:pt x="859" y="1733"/>
                  </a:lnTo>
                  <a:lnTo>
                    <a:pt x="863" y="1736"/>
                  </a:lnTo>
                  <a:lnTo>
                    <a:pt x="867" y="1739"/>
                  </a:lnTo>
                  <a:lnTo>
                    <a:pt x="876" y="1743"/>
                  </a:lnTo>
                  <a:lnTo>
                    <a:pt x="884" y="1745"/>
                  </a:lnTo>
                  <a:lnTo>
                    <a:pt x="885" y="1750"/>
                  </a:lnTo>
                  <a:lnTo>
                    <a:pt x="886" y="1753"/>
                  </a:lnTo>
                  <a:lnTo>
                    <a:pt x="887" y="1754"/>
                  </a:lnTo>
                  <a:lnTo>
                    <a:pt x="889" y="1754"/>
                  </a:lnTo>
                  <a:lnTo>
                    <a:pt x="890" y="1754"/>
                  </a:lnTo>
                  <a:lnTo>
                    <a:pt x="892" y="1755"/>
                  </a:lnTo>
                  <a:lnTo>
                    <a:pt x="893" y="1757"/>
                  </a:lnTo>
                  <a:lnTo>
                    <a:pt x="894" y="1763"/>
                  </a:lnTo>
                  <a:lnTo>
                    <a:pt x="906" y="1764"/>
                  </a:lnTo>
                  <a:lnTo>
                    <a:pt x="927" y="1768"/>
                  </a:lnTo>
                  <a:lnTo>
                    <a:pt x="950" y="1771"/>
                  </a:lnTo>
                  <a:lnTo>
                    <a:pt x="967" y="1772"/>
                  </a:lnTo>
                  <a:lnTo>
                    <a:pt x="969" y="1760"/>
                  </a:lnTo>
                  <a:lnTo>
                    <a:pt x="972" y="1739"/>
                  </a:lnTo>
                  <a:lnTo>
                    <a:pt x="975" y="1716"/>
                  </a:lnTo>
                  <a:lnTo>
                    <a:pt x="976" y="1698"/>
                  </a:lnTo>
                  <a:lnTo>
                    <a:pt x="975" y="1698"/>
                  </a:lnTo>
                  <a:lnTo>
                    <a:pt x="973" y="1697"/>
                  </a:lnTo>
                  <a:lnTo>
                    <a:pt x="972" y="1695"/>
                  </a:lnTo>
                  <a:lnTo>
                    <a:pt x="971" y="1693"/>
                  </a:lnTo>
                  <a:lnTo>
                    <a:pt x="970" y="1686"/>
                  </a:lnTo>
                  <a:lnTo>
                    <a:pt x="969" y="1679"/>
                  </a:lnTo>
                  <a:lnTo>
                    <a:pt x="967" y="1664"/>
                  </a:lnTo>
                  <a:lnTo>
                    <a:pt x="967" y="1653"/>
                  </a:lnTo>
                  <a:lnTo>
                    <a:pt x="981" y="1648"/>
                  </a:lnTo>
                  <a:lnTo>
                    <a:pt x="995" y="1644"/>
                  </a:lnTo>
                  <a:lnTo>
                    <a:pt x="995" y="1637"/>
                  </a:lnTo>
                  <a:lnTo>
                    <a:pt x="996" y="1632"/>
                  </a:lnTo>
                  <a:lnTo>
                    <a:pt x="999" y="1630"/>
                  </a:lnTo>
                  <a:lnTo>
                    <a:pt x="1002" y="1630"/>
                  </a:lnTo>
                  <a:lnTo>
                    <a:pt x="1005" y="1630"/>
                  </a:lnTo>
                  <a:lnTo>
                    <a:pt x="1010" y="1632"/>
                  </a:lnTo>
                  <a:lnTo>
                    <a:pt x="1015" y="1636"/>
                  </a:lnTo>
                  <a:lnTo>
                    <a:pt x="1022" y="1639"/>
                  </a:lnTo>
                  <a:lnTo>
                    <a:pt x="1036" y="1649"/>
                  </a:lnTo>
                  <a:lnTo>
                    <a:pt x="1052" y="1659"/>
                  </a:lnTo>
                  <a:lnTo>
                    <a:pt x="1062" y="1664"/>
                  </a:lnTo>
                  <a:lnTo>
                    <a:pt x="1072" y="1668"/>
                  </a:lnTo>
                  <a:lnTo>
                    <a:pt x="1082" y="1672"/>
                  </a:lnTo>
                  <a:lnTo>
                    <a:pt x="1094" y="1674"/>
                  </a:lnTo>
                  <a:lnTo>
                    <a:pt x="1105" y="1676"/>
                  </a:lnTo>
                  <a:lnTo>
                    <a:pt x="1115" y="1677"/>
                  </a:lnTo>
                  <a:lnTo>
                    <a:pt x="1124" y="1677"/>
                  </a:lnTo>
                  <a:lnTo>
                    <a:pt x="1132" y="1676"/>
                  </a:lnTo>
                  <a:lnTo>
                    <a:pt x="1138" y="1674"/>
                  </a:lnTo>
                  <a:lnTo>
                    <a:pt x="1145" y="1672"/>
                  </a:lnTo>
                  <a:lnTo>
                    <a:pt x="1152" y="1669"/>
                  </a:lnTo>
                  <a:lnTo>
                    <a:pt x="1157" y="1666"/>
                  </a:lnTo>
                  <a:lnTo>
                    <a:pt x="1174" y="1651"/>
                  </a:lnTo>
                  <a:lnTo>
                    <a:pt x="1190" y="1636"/>
                  </a:lnTo>
                  <a:lnTo>
                    <a:pt x="1210" y="1620"/>
                  </a:lnTo>
                  <a:lnTo>
                    <a:pt x="1231" y="1603"/>
                  </a:lnTo>
                  <a:lnTo>
                    <a:pt x="1241" y="1595"/>
                  </a:lnTo>
                  <a:lnTo>
                    <a:pt x="1250" y="1586"/>
                  </a:lnTo>
                  <a:lnTo>
                    <a:pt x="1254" y="1581"/>
                  </a:lnTo>
                  <a:lnTo>
                    <a:pt x="1257" y="1576"/>
                  </a:lnTo>
                  <a:lnTo>
                    <a:pt x="1260" y="1570"/>
                  </a:lnTo>
                  <a:lnTo>
                    <a:pt x="1262" y="1564"/>
                  </a:lnTo>
                  <a:lnTo>
                    <a:pt x="1263" y="1552"/>
                  </a:lnTo>
                  <a:lnTo>
                    <a:pt x="1263" y="1540"/>
                  </a:lnTo>
                  <a:lnTo>
                    <a:pt x="1261" y="1526"/>
                  </a:lnTo>
                  <a:lnTo>
                    <a:pt x="1259" y="1513"/>
                  </a:lnTo>
                  <a:lnTo>
                    <a:pt x="1257" y="1500"/>
                  </a:lnTo>
                  <a:lnTo>
                    <a:pt x="1254" y="1486"/>
                  </a:lnTo>
                  <a:lnTo>
                    <a:pt x="1254" y="1480"/>
                  </a:lnTo>
                  <a:lnTo>
                    <a:pt x="1254" y="1473"/>
                  </a:lnTo>
                  <a:lnTo>
                    <a:pt x="1255" y="1466"/>
                  </a:lnTo>
                  <a:lnTo>
                    <a:pt x="1258" y="1459"/>
                  </a:lnTo>
                  <a:lnTo>
                    <a:pt x="1259" y="1456"/>
                  </a:lnTo>
                  <a:lnTo>
                    <a:pt x="1261" y="1453"/>
                  </a:lnTo>
                  <a:lnTo>
                    <a:pt x="1263" y="1451"/>
                  </a:lnTo>
                  <a:lnTo>
                    <a:pt x="1267" y="1448"/>
                  </a:lnTo>
                  <a:lnTo>
                    <a:pt x="1273" y="1444"/>
                  </a:lnTo>
                  <a:lnTo>
                    <a:pt x="1281" y="1439"/>
                  </a:lnTo>
                  <a:lnTo>
                    <a:pt x="1288" y="1436"/>
                  </a:lnTo>
                  <a:lnTo>
                    <a:pt x="1295" y="1433"/>
                  </a:lnTo>
                  <a:lnTo>
                    <a:pt x="1297" y="1430"/>
                  </a:lnTo>
                  <a:lnTo>
                    <a:pt x="1298" y="1427"/>
                  </a:lnTo>
                  <a:lnTo>
                    <a:pt x="1299" y="1425"/>
                  </a:lnTo>
                  <a:lnTo>
                    <a:pt x="1300" y="1422"/>
                  </a:lnTo>
                  <a:lnTo>
                    <a:pt x="1303" y="1420"/>
                  </a:lnTo>
                  <a:lnTo>
                    <a:pt x="1306" y="1418"/>
                  </a:lnTo>
                  <a:lnTo>
                    <a:pt x="1307" y="1415"/>
                  </a:lnTo>
                  <a:lnTo>
                    <a:pt x="1308" y="1411"/>
                  </a:lnTo>
                  <a:lnTo>
                    <a:pt x="1309" y="1403"/>
                  </a:lnTo>
                  <a:lnTo>
                    <a:pt x="1309" y="1394"/>
                  </a:lnTo>
                  <a:lnTo>
                    <a:pt x="1328" y="1394"/>
                  </a:lnTo>
                  <a:lnTo>
                    <a:pt x="1332" y="1380"/>
                  </a:lnTo>
                  <a:lnTo>
                    <a:pt x="1337" y="1366"/>
                  </a:lnTo>
                  <a:lnTo>
                    <a:pt x="1345" y="1365"/>
                  </a:lnTo>
                  <a:lnTo>
                    <a:pt x="1354" y="1360"/>
                  </a:lnTo>
                  <a:lnTo>
                    <a:pt x="1358" y="1358"/>
                  </a:lnTo>
                  <a:lnTo>
                    <a:pt x="1362" y="1355"/>
                  </a:lnTo>
                  <a:lnTo>
                    <a:pt x="1364" y="1351"/>
                  </a:lnTo>
                  <a:lnTo>
                    <a:pt x="1365" y="1348"/>
                  </a:lnTo>
                  <a:lnTo>
                    <a:pt x="1383" y="1348"/>
                  </a:lnTo>
                  <a:lnTo>
                    <a:pt x="1397" y="1338"/>
                  </a:lnTo>
                  <a:lnTo>
                    <a:pt x="1427" y="1322"/>
                  </a:lnTo>
                  <a:lnTo>
                    <a:pt x="1471" y="1301"/>
                  </a:lnTo>
                  <a:lnTo>
                    <a:pt x="1527" y="1276"/>
                  </a:lnTo>
                  <a:lnTo>
                    <a:pt x="1593" y="1249"/>
                  </a:lnTo>
                  <a:lnTo>
                    <a:pt x="1666" y="1221"/>
                  </a:lnTo>
                  <a:lnTo>
                    <a:pt x="1706" y="1207"/>
                  </a:lnTo>
                  <a:lnTo>
                    <a:pt x="1747" y="1194"/>
                  </a:lnTo>
                  <a:lnTo>
                    <a:pt x="1789" y="1180"/>
                  </a:lnTo>
                  <a:lnTo>
                    <a:pt x="1831" y="1168"/>
                  </a:lnTo>
                  <a:lnTo>
                    <a:pt x="1868" y="1158"/>
                  </a:lnTo>
                  <a:lnTo>
                    <a:pt x="1907" y="1147"/>
                  </a:lnTo>
                  <a:lnTo>
                    <a:pt x="1946" y="1136"/>
                  </a:lnTo>
                  <a:lnTo>
                    <a:pt x="1986" y="1125"/>
                  </a:lnTo>
                  <a:lnTo>
                    <a:pt x="2025" y="1116"/>
                  </a:lnTo>
                  <a:lnTo>
                    <a:pt x="2061" y="1107"/>
                  </a:lnTo>
                  <a:lnTo>
                    <a:pt x="2097" y="1099"/>
                  </a:lnTo>
                  <a:lnTo>
                    <a:pt x="2131" y="1095"/>
                  </a:lnTo>
                  <a:lnTo>
                    <a:pt x="2140" y="1092"/>
                  </a:lnTo>
                  <a:lnTo>
                    <a:pt x="2150" y="1089"/>
                  </a:lnTo>
                  <a:lnTo>
                    <a:pt x="2161" y="1084"/>
                  </a:lnTo>
                  <a:lnTo>
                    <a:pt x="2171" y="1080"/>
                  </a:lnTo>
                  <a:lnTo>
                    <a:pt x="2195" y="1069"/>
                  </a:lnTo>
                  <a:lnTo>
                    <a:pt x="2226" y="1059"/>
                  </a:lnTo>
                  <a:lnTo>
                    <a:pt x="2247" y="1053"/>
                  </a:lnTo>
                  <a:lnTo>
                    <a:pt x="2268" y="1049"/>
                  </a:lnTo>
                  <a:lnTo>
                    <a:pt x="2290" y="1044"/>
                  </a:lnTo>
                  <a:lnTo>
                    <a:pt x="2310" y="1040"/>
                  </a:lnTo>
                  <a:lnTo>
                    <a:pt x="2344" y="1035"/>
                  </a:lnTo>
                  <a:lnTo>
                    <a:pt x="2362" y="1033"/>
                  </a:lnTo>
                  <a:lnTo>
                    <a:pt x="2362" y="978"/>
                  </a:lnTo>
                  <a:lnTo>
                    <a:pt x="2344" y="978"/>
                  </a:lnTo>
                  <a:lnTo>
                    <a:pt x="2335" y="968"/>
                  </a:lnTo>
                  <a:lnTo>
                    <a:pt x="2330" y="955"/>
                  </a:lnTo>
                  <a:lnTo>
                    <a:pt x="2325" y="942"/>
                  </a:lnTo>
                  <a:lnTo>
                    <a:pt x="2322" y="941"/>
                  </a:lnTo>
                  <a:lnTo>
                    <a:pt x="2318" y="939"/>
                  </a:lnTo>
                  <a:lnTo>
                    <a:pt x="2315" y="938"/>
                  </a:lnTo>
                  <a:lnTo>
                    <a:pt x="2313" y="935"/>
                  </a:lnTo>
                  <a:lnTo>
                    <a:pt x="2310" y="933"/>
                  </a:lnTo>
                  <a:lnTo>
                    <a:pt x="2308" y="929"/>
                  </a:lnTo>
                  <a:lnTo>
                    <a:pt x="2307" y="926"/>
                  </a:lnTo>
                  <a:lnTo>
                    <a:pt x="2307" y="923"/>
                  </a:lnTo>
                  <a:lnTo>
                    <a:pt x="2301" y="923"/>
                  </a:lnTo>
                  <a:lnTo>
                    <a:pt x="2299" y="922"/>
                  </a:lnTo>
                  <a:lnTo>
                    <a:pt x="2298" y="920"/>
                  </a:lnTo>
                  <a:lnTo>
                    <a:pt x="2298" y="918"/>
                  </a:lnTo>
                  <a:lnTo>
                    <a:pt x="2297" y="916"/>
                  </a:lnTo>
                  <a:lnTo>
                    <a:pt x="2297" y="915"/>
                  </a:lnTo>
                  <a:lnTo>
                    <a:pt x="2294" y="914"/>
                  </a:lnTo>
                  <a:lnTo>
                    <a:pt x="2288" y="914"/>
                  </a:lnTo>
                  <a:lnTo>
                    <a:pt x="2288" y="895"/>
                  </a:lnTo>
                  <a:lnTo>
                    <a:pt x="2282" y="895"/>
                  </a:lnTo>
                  <a:lnTo>
                    <a:pt x="2280" y="894"/>
                  </a:lnTo>
                  <a:lnTo>
                    <a:pt x="2279" y="893"/>
                  </a:lnTo>
                  <a:lnTo>
                    <a:pt x="2279" y="890"/>
                  </a:lnTo>
                  <a:lnTo>
                    <a:pt x="2279" y="889"/>
                  </a:lnTo>
                  <a:lnTo>
                    <a:pt x="2278" y="887"/>
                  </a:lnTo>
                  <a:lnTo>
                    <a:pt x="2275" y="886"/>
                  </a:lnTo>
                  <a:lnTo>
                    <a:pt x="2270" y="886"/>
                  </a:lnTo>
                  <a:lnTo>
                    <a:pt x="2270" y="793"/>
                  </a:lnTo>
                  <a:lnTo>
                    <a:pt x="2274" y="793"/>
                  </a:lnTo>
                  <a:lnTo>
                    <a:pt x="2278" y="791"/>
                  </a:lnTo>
                  <a:lnTo>
                    <a:pt x="2284" y="788"/>
                  </a:lnTo>
                  <a:lnTo>
                    <a:pt x="2288" y="784"/>
                  </a:lnTo>
                  <a:lnTo>
                    <a:pt x="2294" y="781"/>
                  </a:lnTo>
                  <a:lnTo>
                    <a:pt x="2298" y="778"/>
                  </a:lnTo>
                  <a:lnTo>
                    <a:pt x="2303" y="775"/>
                  </a:lnTo>
                  <a:lnTo>
                    <a:pt x="2307" y="775"/>
                  </a:lnTo>
                  <a:lnTo>
                    <a:pt x="2307" y="772"/>
                  </a:lnTo>
                  <a:lnTo>
                    <a:pt x="2308" y="769"/>
                  </a:lnTo>
                  <a:lnTo>
                    <a:pt x="2310" y="765"/>
                  </a:lnTo>
                  <a:lnTo>
                    <a:pt x="2313" y="762"/>
                  </a:lnTo>
                  <a:lnTo>
                    <a:pt x="2315" y="760"/>
                  </a:lnTo>
                  <a:lnTo>
                    <a:pt x="2318" y="759"/>
                  </a:lnTo>
                  <a:lnTo>
                    <a:pt x="2322" y="757"/>
                  </a:lnTo>
                  <a:lnTo>
                    <a:pt x="2325" y="756"/>
                  </a:lnTo>
                  <a:lnTo>
                    <a:pt x="2326" y="753"/>
                  </a:lnTo>
                  <a:lnTo>
                    <a:pt x="2328" y="750"/>
                  </a:lnTo>
                  <a:lnTo>
                    <a:pt x="2332" y="746"/>
                  </a:lnTo>
                  <a:lnTo>
                    <a:pt x="2335" y="744"/>
                  </a:lnTo>
                  <a:lnTo>
                    <a:pt x="2341" y="740"/>
                  </a:lnTo>
                  <a:lnTo>
                    <a:pt x="2344" y="739"/>
                  </a:lnTo>
                  <a:lnTo>
                    <a:pt x="2344" y="711"/>
                  </a:lnTo>
                  <a:lnTo>
                    <a:pt x="2308" y="708"/>
                  </a:lnTo>
                  <a:lnTo>
                    <a:pt x="2271" y="706"/>
                  </a:lnTo>
                  <a:lnTo>
                    <a:pt x="2236" y="703"/>
                  </a:lnTo>
                  <a:lnTo>
                    <a:pt x="2205" y="701"/>
                  </a:lnTo>
                  <a:lnTo>
                    <a:pt x="2197" y="683"/>
                  </a:lnTo>
                  <a:lnTo>
                    <a:pt x="2185" y="682"/>
                  </a:lnTo>
                  <a:lnTo>
                    <a:pt x="2174" y="679"/>
                  </a:lnTo>
                  <a:lnTo>
                    <a:pt x="2163" y="676"/>
                  </a:lnTo>
                  <a:lnTo>
                    <a:pt x="2152" y="672"/>
                  </a:lnTo>
                  <a:lnTo>
                    <a:pt x="2142" y="666"/>
                  </a:lnTo>
                  <a:lnTo>
                    <a:pt x="2134" y="659"/>
                  </a:lnTo>
                  <a:lnTo>
                    <a:pt x="2127" y="653"/>
                  </a:lnTo>
                  <a:lnTo>
                    <a:pt x="2122" y="646"/>
                  </a:lnTo>
                  <a:lnTo>
                    <a:pt x="2104" y="646"/>
                  </a:lnTo>
                  <a:lnTo>
                    <a:pt x="2103" y="643"/>
                  </a:lnTo>
                  <a:lnTo>
                    <a:pt x="2101" y="640"/>
                  </a:lnTo>
                  <a:lnTo>
                    <a:pt x="2098" y="638"/>
                  </a:lnTo>
                  <a:lnTo>
                    <a:pt x="2094" y="636"/>
                  </a:lnTo>
                  <a:lnTo>
                    <a:pt x="2090" y="632"/>
                  </a:lnTo>
                  <a:lnTo>
                    <a:pt x="2088" y="629"/>
                  </a:lnTo>
                  <a:lnTo>
                    <a:pt x="2086" y="625"/>
                  </a:lnTo>
                  <a:lnTo>
                    <a:pt x="2085" y="618"/>
                  </a:lnTo>
                  <a:lnTo>
                    <a:pt x="2080" y="617"/>
                  </a:lnTo>
                  <a:lnTo>
                    <a:pt x="2075" y="615"/>
                  </a:lnTo>
                  <a:lnTo>
                    <a:pt x="2069" y="611"/>
                  </a:lnTo>
                  <a:lnTo>
                    <a:pt x="2063" y="608"/>
                  </a:lnTo>
                  <a:lnTo>
                    <a:pt x="2049" y="599"/>
                  </a:lnTo>
                  <a:lnTo>
                    <a:pt x="2039" y="590"/>
                  </a:lnTo>
                  <a:lnTo>
                    <a:pt x="2020" y="590"/>
                  </a:lnTo>
                  <a:lnTo>
                    <a:pt x="2020" y="587"/>
                  </a:lnTo>
                  <a:lnTo>
                    <a:pt x="2019" y="584"/>
                  </a:lnTo>
                  <a:lnTo>
                    <a:pt x="2018" y="583"/>
                  </a:lnTo>
                  <a:lnTo>
                    <a:pt x="2016" y="582"/>
                  </a:lnTo>
                  <a:lnTo>
                    <a:pt x="2011" y="581"/>
                  </a:lnTo>
                  <a:lnTo>
                    <a:pt x="2007" y="581"/>
                  </a:lnTo>
                  <a:lnTo>
                    <a:pt x="2001" y="581"/>
                  </a:lnTo>
                  <a:lnTo>
                    <a:pt x="1997" y="580"/>
                  </a:lnTo>
                  <a:lnTo>
                    <a:pt x="1996" y="579"/>
                  </a:lnTo>
                  <a:lnTo>
                    <a:pt x="1994" y="577"/>
                  </a:lnTo>
                  <a:lnTo>
                    <a:pt x="1993" y="574"/>
                  </a:lnTo>
                  <a:lnTo>
                    <a:pt x="1992" y="572"/>
                  </a:lnTo>
                  <a:lnTo>
                    <a:pt x="1965" y="572"/>
                  </a:lnTo>
                  <a:lnTo>
                    <a:pt x="1955" y="553"/>
                  </a:lnTo>
                  <a:lnTo>
                    <a:pt x="1929" y="553"/>
                  </a:lnTo>
                  <a:lnTo>
                    <a:pt x="1926" y="550"/>
                  </a:lnTo>
                  <a:lnTo>
                    <a:pt x="1922" y="547"/>
                  </a:lnTo>
                  <a:lnTo>
                    <a:pt x="1916" y="543"/>
                  </a:lnTo>
                  <a:lnTo>
                    <a:pt x="1908" y="541"/>
                  </a:lnTo>
                  <a:lnTo>
                    <a:pt x="1893" y="537"/>
                  </a:lnTo>
                  <a:lnTo>
                    <a:pt x="1882" y="535"/>
                  </a:lnTo>
                  <a:lnTo>
                    <a:pt x="1873" y="516"/>
                  </a:lnTo>
                  <a:lnTo>
                    <a:pt x="1865" y="513"/>
                  </a:lnTo>
                  <a:lnTo>
                    <a:pt x="1848" y="503"/>
                  </a:lnTo>
                  <a:lnTo>
                    <a:pt x="1828" y="490"/>
                  </a:lnTo>
                  <a:lnTo>
                    <a:pt x="1805" y="475"/>
                  </a:lnTo>
                  <a:lnTo>
                    <a:pt x="1762" y="446"/>
                  </a:lnTo>
                  <a:lnTo>
                    <a:pt x="1743" y="433"/>
                  </a:lnTo>
                  <a:lnTo>
                    <a:pt x="1735" y="433"/>
                  </a:lnTo>
                  <a:lnTo>
                    <a:pt x="1727" y="430"/>
                  </a:lnTo>
                  <a:lnTo>
                    <a:pt x="1716" y="426"/>
                  </a:lnTo>
                  <a:lnTo>
                    <a:pt x="1706" y="422"/>
                  </a:lnTo>
                  <a:lnTo>
                    <a:pt x="1696" y="416"/>
                  </a:lnTo>
                  <a:lnTo>
                    <a:pt x="1686" y="410"/>
                  </a:lnTo>
                  <a:lnTo>
                    <a:pt x="1677" y="404"/>
                  </a:lnTo>
                  <a:lnTo>
                    <a:pt x="1670" y="396"/>
                  </a:lnTo>
                  <a:lnTo>
                    <a:pt x="1662" y="396"/>
                  </a:lnTo>
                  <a:lnTo>
                    <a:pt x="1654" y="394"/>
                  </a:lnTo>
                  <a:lnTo>
                    <a:pt x="1646" y="390"/>
                  </a:lnTo>
                  <a:lnTo>
                    <a:pt x="1637" y="387"/>
                  </a:lnTo>
                  <a:lnTo>
                    <a:pt x="1628" y="384"/>
                  </a:lnTo>
                  <a:lnTo>
                    <a:pt x="1620" y="380"/>
                  </a:lnTo>
                  <a:lnTo>
                    <a:pt x="1612" y="379"/>
                  </a:lnTo>
                  <a:lnTo>
                    <a:pt x="1605" y="378"/>
                  </a:lnTo>
                  <a:lnTo>
                    <a:pt x="1596" y="359"/>
                  </a:lnTo>
                  <a:lnTo>
                    <a:pt x="1577" y="359"/>
                  </a:lnTo>
                  <a:lnTo>
                    <a:pt x="1571" y="353"/>
                  </a:lnTo>
                  <a:lnTo>
                    <a:pt x="1557" y="341"/>
                  </a:lnTo>
                  <a:lnTo>
                    <a:pt x="1549" y="334"/>
                  </a:lnTo>
                  <a:lnTo>
                    <a:pt x="1542" y="328"/>
                  </a:lnTo>
                  <a:lnTo>
                    <a:pt x="1536" y="324"/>
                  </a:lnTo>
                  <a:lnTo>
                    <a:pt x="1531" y="322"/>
                  </a:lnTo>
                  <a:lnTo>
                    <a:pt x="1530" y="317"/>
                  </a:lnTo>
                  <a:lnTo>
                    <a:pt x="1529" y="314"/>
                  </a:lnTo>
                  <a:lnTo>
                    <a:pt x="1528" y="313"/>
                  </a:lnTo>
                  <a:lnTo>
                    <a:pt x="1527" y="313"/>
                  </a:lnTo>
                  <a:lnTo>
                    <a:pt x="1524" y="313"/>
                  </a:lnTo>
                  <a:lnTo>
                    <a:pt x="1523" y="312"/>
                  </a:lnTo>
                  <a:lnTo>
                    <a:pt x="1522" y="309"/>
                  </a:lnTo>
                  <a:lnTo>
                    <a:pt x="1521" y="304"/>
                  </a:lnTo>
                  <a:lnTo>
                    <a:pt x="1517" y="303"/>
                  </a:lnTo>
                  <a:lnTo>
                    <a:pt x="1511" y="301"/>
                  </a:lnTo>
                  <a:lnTo>
                    <a:pt x="1507" y="297"/>
                  </a:lnTo>
                  <a:lnTo>
                    <a:pt x="1502" y="292"/>
                  </a:lnTo>
                  <a:lnTo>
                    <a:pt x="1494" y="280"/>
                  </a:lnTo>
                  <a:lnTo>
                    <a:pt x="1485" y="266"/>
                  </a:lnTo>
                  <a:lnTo>
                    <a:pt x="1479" y="251"/>
                  </a:lnTo>
                  <a:lnTo>
                    <a:pt x="1471" y="237"/>
                  </a:lnTo>
                  <a:lnTo>
                    <a:pt x="1468" y="232"/>
                  </a:lnTo>
                  <a:lnTo>
                    <a:pt x="1464" y="227"/>
                  </a:lnTo>
                  <a:lnTo>
                    <a:pt x="1461" y="223"/>
                  </a:lnTo>
                  <a:lnTo>
                    <a:pt x="1456" y="221"/>
                  </a:lnTo>
                  <a:lnTo>
                    <a:pt x="1456" y="214"/>
                  </a:lnTo>
                  <a:lnTo>
                    <a:pt x="1454" y="206"/>
                  </a:lnTo>
                  <a:lnTo>
                    <a:pt x="1451" y="197"/>
                  </a:lnTo>
                  <a:lnTo>
                    <a:pt x="1446" y="189"/>
                  </a:lnTo>
                  <a:lnTo>
                    <a:pt x="1437" y="175"/>
                  </a:lnTo>
                  <a:lnTo>
                    <a:pt x="1430" y="166"/>
                  </a:lnTo>
                  <a:lnTo>
                    <a:pt x="1430" y="138"/>
                  </a:lnTo>
                  <a:lnTo>
                    <a:pt x="1426" y="136"/>
                  </a:lnTo>
                  <a:lnTo>
                    <a:pt x="1423" y="131"/>
                  </a:lnTo>
                  <a:lnTo>
                    <a:pt x="1420" y="126"/>
                  </a:lnTo>
                  <a:lnTo>
                    <a:pt x="1416" y="118"/>
                  </a:lnTo>
                  <a:lnTo>
                    <a:pt x="1413" y="102"/>
                  </a:lnTo>
                  <a:lnTo>
                    <a:pt x="1411" y="91"/>
                  </a:lnTo>
                  <a:lnTo>
                    <a:pt x="1408" y="91"/>
                  </a:lnTo>
                  <a:lnTo>
                    <a:pt x="1407" y="89"/>
                  </a:lnTo>
                  <a:lnTo>
                    <a:pt x="1405" y="86"/>
                  </a:lnTo>
                  <a:lnTo>
                    <a:pt x="1403" y="81"/>
                  </a:lnTo>
                  <a:lnTo>
                    <a:pt x="1398" y="71"/>
                  </a:lnTo>
                  <a:lnTo>
                    <a:pt x="1394" y="58"/>
                  </a:lnTo>
                  <a:lnTo>
                    <a:pt x="1386" y="33"/>
                  </a:lnTo>
                  <a:lnTo>
                    <a:pt x="1383" y="18"/>
                  </a:lnTo>
                  <a:lnTo>
                    <a:pt x="1380" y="18"/>
                  </a:lnTo>
                  <a:lnTo>
                    <a:pt x="1377" y="16"/>
                  </a:lnTo>
                  <a:lnTo>
                    <a:pt x="1376" y="14"/>
                  </a:lnTo>
                  <a:lnTo>
                    <a:pt x="1375" y="12"/>
                  </a:lnTo>
                  <a:lnTo>
                    <a:pt x="1374" y="6"/>
                  </a:lnTo>
                  <a:lnTo>
                    <a:pt x="1374" y="0"/>
                  </a:lnTo>
                  <a:lnTo>
                    <a:pt x="1346" y="0"/>
                  </a:lnTo>
                  <a:lnTo>
                    <a:pt x="1337" y="9"/>
                  </a:lnTo>
                  <a:lnTo>
                    <a:pt x="1337" y="26"/>
                  </a:lnTo>
                  <a:lnTo>
                    <a:pt x="1328" y="37"/>
                  </a:lnTo>
                  <a:lnTo>
                    <a:pt x="1322" y="37"/>
                  </a:lnTo>
                  <a:lnTo>
                    <a:pt x="1319" y="38"/>
                  </a:lnTo>
                  <a:lnTo>
                    <a:pt x="1318" y="39"/>
                  </a:lnTo>
                  <a:lnTo>
                    <a:pt x="1318" y="41"/>
                  </a:lnTo>
                  <a:lnTo>
                    <a:pt x="1318" y="42"/>
                  </a:lnTo>
                  <a:lnTo>
                    <a:pt x="1317" y="44"/>
                  </a:lnTo>
                  <a:lnTo>
                    <a:pt x="1315" y="45"/>
                  </a:lnTo>
                  <a:lnTo>
                    <a:pt x="1309" y="45"/>
                  </a:lnTo>
                  <a:lnTo>
                    <a:pt x="1309" y="63"/>
                  </a:lnTo>
                  <a:lnTo>
                    <a:pt x="1303" y="64"/>
                  </a:lnTo>
                  <a:lnTo>
                    <a:pt x="1301" y="66"/>
                  </a:lnTo>
                  <a:lnTo>
                    <a:pt x="1300" y="67"/>
                  </a:lnTo>
                  <a:lnTo>
                    <a:pt x="1300" y="69"/>
                  </a:lnTo>
                  <a:lnTo>
                    <a:pt x="1300" y="70"/>
                  </a:lnTo>
                  <a:lnTo>
                    <a:pt x="1299" y="71"/>
                  </a:lnTo>
                  <a:lnTo>
                    <a:pt x="1296" y="72"/>
                  </a:lnTo>
                  <a:lnTo>
                    <a:pt x="1291" y="73"/>
                  </a:lnTo>
                  <a:lnTo>
                    <a:pt x="1291" y="91"/>
                  </a:lnTo>
                  <a:lnTo>
                    <a:pt x="1277" y="101"/>
                  </a:lnTo>
                  <a:lnTo>
                    <a:pt x="1263" y="110"/>
                  </a:lnTo>
                  <a:lnTo>
                    <a:pt x="1262" y="114"/>
                  </a:lnTo>
                  <a:lnTo>
                    <a:pt x="1261" y="117"/>
                  </a:lnTo>
                  <a:lnTo>
                    <a:pt x="1260" y="120"/>
                  </a:lnTo>
                  <a:lnTo>
                    <a:pt x="1258" y="124"/>
                  </a:lnTo>
                  <a:lnTo>
                    <a:pt x="1251" y="131"/>
                  </a:lnTo>
                  <a:lnTo>
                    <a:pt x="1244" y="139"/>
                  </a:lnTo>
                  <a:lnTo>
                    <a:pt x="1238" y="147"/>
                  </a:lnTo>
                  <a:lnTo>
                    <a:pt x="1232" y="156"/>
                  </a:lnTo>
                  <a:lnTo>
                    <a:pt x="1230" y="160"/>
                  </a:lnTo>
                  <a:lnTo>
                    <a:pt x="1228" y="165"/>
                  </a:lnTo>
                  <a:lnTo>
                    <a:pt x="1226" y="169"/>
                  </a:lnTo>
                  <a:lnTo>
                    <a:pt x="1226" y="175"/>
                  </a:lnTo>
                  <a:lnTo>
                    <a:pt x="1207" y="184"/>
                  </a:lnTo>
                  <a:lnTo>
                    <a:pt x="1207" y="203"/>
                  </a:lnTo>
                  <a:lnTo>
                    <a:pt x="1202" y="203"/>
                  </a:lnTo>
                  <a:lnTo>
                    <a:pt x="1200" y="204"/>
                  </a:lnTo>
                  <a:lnTo>
                    <a:pt x="1199" y="205"/>
                  </a:lnTo>
                  <a:lnTo>
                    <a:pt x="1199" y="207"/>
                  </a:lnTo>
                  <a:lnTo>
                    <a:pt x="1199" y="208"/>
                  </a:lnTo>
                  <a:lnTo>
                    <a:pt x="1197" y="211"/>
                  </a:lnTo>
                  <a:lnTo>
                    <a:pt x="1194" y="212"/>
                  </a:lnTo>
                  <a:lnTo>
                    <a:pt x="1190" y="212"/>
                  </a:lnTo>
                  <a:lnTo>
                    <a:pt x="1190" y="331"/>
                  </a:lnTo>
                  <a:lnTo>
                    <a:pt x="1187" y="332"/>
                  </a:lnTo>
                  <a:lnTo>
                    <a:pt x="1185" y="334"/>
                  </a:lnTo>
                  <a:lnTo>
                    <a:pt x="1183" y="339"/>
                  </a:lnTo>
                  <a:lnTo>
                    <a:pt x="1181" y="343"/>
                  </a:lnTo>
                  <a:lnTo>
                    <a:pt x="1175" y="355"/>
                  </a:lnTo>
                  <a:lnTo>
                    <a:pt x="1168" y="369"/>
                  </a:lnTo>
                  <a:lnTo>
                    <a:pt x="1161" y="382"/>
                  </a:lnTo>
                  <a:lnTo>
                    <a:pt x="1153" y="394"/>
                  </a:lnTo>
                  <a:lnTo>
                    <a:pt x="1148" y="399"/>
                  </a:lnTo>
                  <a:lnTo>
                    <a:pt x="1144" y="403"/>
                  </a:lnTo>
                  <a:lnTo>
                    <a:pt x="1138" y="405"/>
                  </a:lnTo>
                  <a:lnTo>
                    <a:pt x="1134" y="406"/>
                  </a:lnTo>
                  <a:lnTo>
                    <a:pt x="1125" y="424"/>
                  </a:lnTo>
                  <a:lnTo>
                    <a:pt x="1092" y="424"/>
                  </a:lnTo>
                  <a:lnTo>
                    <a:pt x="1056" y="424"/>
                  </a:lnTo>
                  <a:lnTo>
                    <a:pt x="1018" y="424"/>
                  </a:lnTo>
                  <a:lnTo>
                    <a:pt x="985" y="424"/>
                  </a:lnTo>
                  <a:lnTo>
                    <a:pt x="976" y="415"/>
                  </a:lnTo>
                  <a:lnTo>
                    <a:pt x="967" y="406"/>
                  </a:lnTo>
                  <a:lnTo>
                    <a:pt x="966" y="399"/>
                  </a:lnTo>
                  <a:lnTo>
                    <a:pt x="964" y="394"/>
                  </a:lnTo>
                  <a:lnTo>
                    <a:pt x="962" y="388"/>
                  </a:lnTo>
                  <a:lnTo>
                    <a:pt x="959" y="382"/>
                  </a:lnTo>
                  <a:lnTo>
                    <a:pt x="955" y="377"/>
                  </a:lnTo>
                  <a:lnTo>
                    <a:pt x="952" y="371"/>
                  </a:lnTo>
                  <a:lnTo>
                    <a:pt x="950" y="366"/>
                  </a:lnTo>
                  <a:lnTo>
                    <a:pt x="948" y="359"/>
                  </a:lnTo>
                  <a:lnTo>
                    <a:pt x="922" y="331"/>
                  </a:lnTo>
                  <a:lnTo>
                    <a:pt x="912" y="341"/>
                  </a:lnTo>
                  <a:lnTo>
                    <a:pt x="906" y="341"/>
                  </a:lnTo>
                  <a:lnTo>
                    <a:pt x="904" y="342"/>
                  </a:lnTo>
                  <a:lnTo>
                    <a:pt x="903" y="343"/>
                  </a:lnTo>
                  <a:lnTo>
                    <a:pt x="903" y="346"/>
                  </a:lnTo>
                  <a:lnTo>
                    <a:pt x="903" y="347"/>
                  </a:lnTo>
                  <a:lnTo>
                    <a:pt x="902" y="349"/>
                  </a:lnTo>
                  <a:lnTo>
                    <a:pt x="898" y="350"/>
                  </a:lnTo>
                  <a:lnTo>
                    <a:pt x="894" y="350"/>
                  </a:lnTo>
                  <a:lnTo>
                    <a:pt x="892" y="358"/>
                  </a:lnTo>
                  <a:lnTo>
                    <a:pt x="888" y="368"/>
                  </a:lnTo>
                  <a:lnTo>
                    <a:pt x="885" y="371"/>
                  </a:lnTo>
                  <a:lnTo>
                    <a:pt x="881" y="375"/>
                  </a:lnTo>
                  <a:lnTo>
                    <a:pt x="878" y="377"/>
                  </a:lnTo>
                  <a:lnTo>
                    <a:pt x="875" y="378"/>
                  </a:lnTo>
                  <a:lnTo>
                    <a:pt x="875" y="415"/>
                  </a:lnTo>
                  <a:lnTo>
                    <a:pt x="870" y="426"/>
                  </a:lnTo>
                  <a:lnTo>
                    <a:pt x="861" y="452"/>
                  </a:lnTo>
                  <a:lnTo>
                    <a:pt x="851" y="477"/>
                  </a:lnTo>
                  <a:lnTo>
                    <a:pt x="847" y="489"/>
                  </a:lnTo>
                  <a:lnTo>
                    <a:pt x="838" y="497"/>
                  </a:lnTo>
                  <a:lnTo>
                    <a:pt x="829" y="507"/>
                  </a:lnTo>
                  <a:lnTo>
                    <a:pt x="815" y="512"/>
                  </a:lnTo>
                  <a:lnTo>
                    <a:pt x="801" y="516"/>
                  </a:lnTo>
                  <a:lnTo>
                    <a:pt x="801" y="519"/>
                  </a:lnTo>
                  <a:lnTo>
                    <a:pt x="800" y="521"/>
                  </a:lnTo>
                  <a:lnTo>
                    <a:pt x="798" y="523"/>
                  </a:lnTo>
                  <a:lnTo>
                    <a:pt x="796" y="525"/>
                  </a:lnTo>
                  <a:lnTo>
                    <a:pt x="788" y="529"/>
                  </a:lnTo>
                  <a:lnTo>
                    <a:pt x="779" y="531"/>
                  </a:lnTo>
                  <a:lnTo>
                    <a:pt x="769" y="533"/>
                  </a:lnTo>
                  <a:lnTo>
                    <a:pt x="756" y="534"/>
                  </a:lnTo>
                  <a:lnTo>
                    <a:pt x="743" y="535"/>
                  </a:lnTo>
                  <a:lnTo>
                    <a:pt x="730" y="537"/>
                  </a:lnTo>
                  <a:lnTo>
                    <a:pt x="676" y="535"/>
                  </a:lnTo>
                  <a:lnTo>
                    <a:pt x="644" y="535"/>
                  </a:lnTo>
                  <a:lnTo>
                    <a:pt x="643" y="533"/>
                  </a:lnTo>
                  <a:lnTo>
                    <a:pt x="638" y="532"/>
                  </a:lnTo>
                  <a:lnTo>
                    <a:pt x="630" y="531"/>
                  </a:lnTo>
                  <a:lnTo>
                    <a:pt x="620" y="530"/>
                  </a:lnTo>
                  <a:lnTo>
                    <a:pt x="596" y="528"/>
                  </a:lnTo>
                  <a:lnTo>
                    <a:pt x="568" y="526"/>
                  </a:lnTo>
                  <a:lnTo>
                    <a:pt x="512" y="525"/>
                  </a:lnTo>
                  <a:lnTo>
                    <a:pt x="477" y="525"/>
                  </a:lnTo>
                  <a:lnTo>
                    <a:pt x="477" y="529"/>
                  </a:lnTo>
                  <a:lnTo>
                    <a:pt x="476" y="531"/>
                  </a:lnTo>
                  <a:lnTo>
                    <a:pt x="474" y="533"/>
                  </a:lnTo>
                  <a:lnTo>
                    <a:pt x="472" y="534"/>
                  </a:lnTo>
                  <a:lnTo>
                    <a:pt x="466" y="534"/>
                  </a:lnTo>
                  <a:lnTo>
                    <a:pt x="460" y="535"/>
                  </a:lnTo>
                  <a:lnTo>
                    <a:pt x="458" y="539"/>
                  </a:lnTo>
                  <a:lnTo>
                    <a:pt x="456" y="542"/>
                  </a:lnTo>
                  <a:lnTo>
                    <a:pt x="453" y="544"/>
                  </a:lnTo>
                  <a:lnTo>
                    <a:pt x="449" y="548"/>
                  </a:lnTo>
                  <a:lnTo>
                    <a:pt x="444" y="552"/>
                  </a:lnTo>
                  <a:lnTo>
                    <a:pt x="441" y="553"/>
                  </a:lnTo>
                  <a:lnTo>
                    <a:pt x="441" y="572"/>
                  </a:lnTo>
                  <a:lnTo>
                    <a:pt x="435" y="572"/>
                  </a:lnTo>
                  <a:lnTo>
                    <a:pt x="433" y="573"/>
                  </a:lnTo>
                  <a:lnTo>
                    <a:pt x="432" y="574"/>
                  </a:lnTo>
                  <a:lnTo>
                    <a:pt x="432" y="577"/>
                  </a:lnTo>
                  <a:lnTo>
                    <a:pt x="432" y="578"/>
                  </a:lnTo>
                  <a:lnTo>
                    <a:pt x="431" y="580"/>
                  </a:lnTo>
                  <a:lnTo>
                    <a:pt x="427" y="581"/>
                  </a:lnTo>
                  <a:lnTo>
                    <a:pt x="423" y="581"/>
                  </a:lnTo>
                  <a:lnTo>
                    <a:pt x="423" y="599"/>
                  </a:lnTo>
                  <a:lnTo>
                    <a:pt x="413" y="609"/>
                  </a:lnTo>
                  <a:lnTo>
                    <a:pt x="395" y="607"/>
                  </a:lnTo>
                  <a:lnTo>
                    <a:pt x="372" y="605"/>
                  </a:lnTo>
                  <a:lnTo>
                    <a:pt x="352" y="601"/>
                  </a:lnTo>
                  <a:lnTo>
                    <a:pt x="339" y="599"/>
                  </a:lnTo>
                  <a:lnTo>
                    <a:pt x="339" y="596"/>
                  </a:lnTo>
                  <a:lnTo>
                    <a:pt x="338" y="592"/>
                  </a:lnTo>
                  <a:lnTo>
                    <a:pt x="336" y="590"/>
                  </a:lnTo>
                  <a:lnTo>
                    <a:pt x="333" y="587"/>
                  </a:lnTo>
                  <a:lnTo>
                    <a:pt x="330" y="584"/>
                  </a:lnTo>
                  <a:lnTo>
                    <a:pt x="328" y="582"/>
                  </a:lnTo>
                  <a:lnTo>
                    <a:pt x="324" y="581"/>
                  </a:lnTo>
                  <a:lnTo>
                    <a:pt x="321" y="581"/>
                  </a:lnTo>
                  <a:lnTo>
                    <a:pt x="311" y="572"/>
                  </a:lnTo>
                  <a:lnTo>
                    <a:pt x="302" y="562"/>
                  </a:lnTo>
                  <a:lnTo>
                    <a:pt x="302" y="544"/>
                  </a:lnTo>
                  <a:lnTo>
                    <a:pt x="299" y="543"/>
                  </a:lnTo>
                  <a:lnTo>
                    <a:pt x="295" y="542"/>
                  </a:lnTo>
                  <a:lnTo>
                    <a:pt x="292" y="541"/>
                  </a:lnTo>
                  <a:lnTo>
                    <a:pt x="290" y="539"/>
                  </a:lnTo>
                  <a:lnTo>
                    <a:pt x="288" y="535"/>
                  </a:lnTo>
                  <a:lnTo>
                    <a:pt x="285" y="532"/>
                  </a:lnTo>
                  <a:lnTo>
                    <a:pt x="284" y="529"/>
                  </a:lnTo>
                  <a:lnTo>
                    <a:pt x="284" y="525"/>
                  </a:lnTo>
                  <a:lnTo>
                    <a:pt x="274" y="516"/>
                  </a:lnTo>
                  <a:lnTo>
                    <a:pt x="265" y="507"/>
                  </a:lnTo>
                  <a:lnTo>
                    <a:pt x="216" y="507"/>
                  </a:lnTo>
                  <a:lnTo>
                    <a:pt x="220" y="511"/>
                  </a:lnTo>
                  <a:lnTo>
                    <a:pt x="225" y="516"/>
                  </a:lnTo>
                  <a:lnTo>
                    <a:pt x="225" y="532"/>
                  </a:lnTo>
                  <a:lnTo>
                    <a:pt x="225" y="548"/>
                  </a:lnTo>
                  <a:lnTo>
                    <a:pt x="213" y="548"/>
                  </a:lnTo>
                  <a:lnTo>
                    <a:pt x="213" y="550"/>
                  </a:lnTo>
                  <a:lnTo>
                    <a:pt x="212" y="551"/>
                  </a:lnTo>
                  <a:lnTo>
                    <a:pt x="211" y="552"/>
                  </a:lnTo>
                  <a:lnTo>
                    <a:pt x="209" y="553"/>
                  </a:lnTo>
                  <a:lnTo>
                    <a:pt x="205" y="554"/>
                  </a:lnTo>
                  <a:lnTo>
                    <a:pt x="201" y="554"/>
                  </a:lnTo>
                  <a:lnTo>
                    <a:pt x="199" y="557"/>
                  </a:lnTo>
                  <a:lnTo>
                    <a:pt x="196" y="559"/>
                  </a:lnTo>
                  <a:lnTo>
                    <a:pt x="193" y="561"/>
                  </a:lnTo>
                  <a:lnTo>
                    <a:pt x="187" y="562"/>
                  </a:lnTo>
                  <a:lnTo>
                    <a:pt x="177" y="566"/>
                  </a:lnTo>
                  <a:lnTo>
                    <a:pt x="169" y="567"/>
                  </a:lnTo>
                  <a:lnTo>
                    <a:pt x="32" y="579"/>
                  </a:lnTo>
                  <a:lnTo>
                    <a:pt x="32" y="591"/>
                  </a:lnTo>
                  <a:lnTo>
                    <a:pt x="30" y="592"/>
                  </a:lnTo>
                  <a:lnTo>
                    <a:pt x="28" y="592"/>
                  </a:lnTo>
                  <a:lnTo>
                    <a:pt x="26" y="593"/>
                  </a:lnTo>
                  <a:lnTo>
                    <a:pt x="26" y="596"/>
                  </a:lnTo>
                  <a:lnTo>
                    <a:pt x="25" y="600"/>
                  </a:lnTo>
                  <a:lnTo>
                    <a:pt x="25" y="605"/>
                  </a:lnTo>
                  <a:lnTo>
                    <a:pt x="24" y="610"/>
                  </a:lnTo>
                  <a:lnTo>
                    <a:pt x="21" y="628"/>
                  </a:lnTo>
                  <a:lnTo>
                    <a:pt x="16" y="654"/>
                  </a:lnTo>
                  <a:lnTo>
                    <a:pt x="11" y="683"/>
                  </a:lnTo>
                  <a:lnTo>
                    <a:pt x="5" y="714"/>
                  </a:lnTo>
                  <a:lnTo>
                    <a:pt x="2" y="744"/>
                  </a:lnTo>
                  <a:lnTo>
                    <a:pt x="1" y="757"/>
                  </a:lnTo>
                  <a:lnTo>
                    <a:pt x="0" y="769"/>
                  </a:lnTo>
                  <a:lnTo>
                    <a:pt x="0" y="779"/>
                  </a:lnTo>
                  <a:lnTo>
                    <a:pt x="1" y="785"/>
                  </a:lnTo>
                  <a:lnTo>
                    <a:pt x="13" y="832"/>
                  </a:lnTo>
                  <a:lnTo>
                    <a:pt x="23" y="866"/>
                  </a:lnTo>
                  <a:lnTo>
                    <a:pt x="28" y="880"/>
                  </a:lnTo>
                  <a:lnTo>
                    <a:pt x="30" y="891"/>
                  </a:lnTo>
                  <a:lnTo>
                    <a:pt x="32" y="903"/>
                  </a:lnTo>
                  <a:lnTo>
                    <a:pt x="31" y="913"/>
                  </a:lnTo>
                  <a:close/>
                </a:path>
              </a:pathLst>
            </a:custGeom>
            <a:solidFill>
              <a:srgbClr val="D9D9D9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5" name="Freeform 51"/>
            <p:cNvSpPr>
              <a:spLocks noChangeAspect="1"/>
            </p:cNvSpPr>
            <p:nvPr/>
          </p:nvSpPr>
          <p:spPr bwMode="gray">
            <a:xfrm rot="355651">
              <a:off x="6241836" y="2455863"/>
              <a:ext cx="348068" cy="238472"/>
            </a:xfrm>
            <a:custGeom>
              <a:avLst/>
              <a:gdLst/>
              <a:ahLst/>
              <a:cxnLst>
                <a:cxn ang="0">
                  <a:pos x="374" y="550"/>
                </a:cxn>
                <a:cxn ang="0">
                  <a:pos x="429" y="586"/>
                </a:cxn>
                <a:cxn ang="0">
                  <a:pos x="494" y="607"/>
                </a:cxn>
                <a:cxn ang="0">
                  <a:pos x="601" y="585"/>
                </a:cxn>
                <a:cxn ang="0">
                  <a:pos x="644" y="539"/>
                </a:cxn>
                <a:cxn ang="0">
                  <a:pos x="694" y="454"/>
                </a:cxn>
                <a:cxn ang="0">
                  <a:pos x="759" y="406"/>
                </a:cxn>
                <a:cxn ang="0">
                  <a:pos x="827" y="481"/>
                </a:cxn>
                <a:cxn ang="0">
                  <a:pos x="911" y="488"/>
                </a:cxn>
                <a:cxn ang="0">
                  <a:pos x="948" y="450"/>
                </a:cxn>
                <a:cxn ang="0">
                  <a:pos x="980" y="381"/>
                </a:cxn>
                <a:cxn ang="0">
                  <a:pos x="1017" y="238"/>
                </a:cxn>
                <a:cxn ang="0">
                  <a:pos x="1038" y="112"/>
                </a:cxn>
                <a:cxn ang="0">
                  <a:pos x="1044" y="47"/>
                </a:cxn>
                <a:cxn ang="0">
                  <a:pos x="1113" y="0"/>
                </a:cxn>
                <a:cxn ang="0">
                  <a:pos x="1296" y="31"/>
                </a:cxn>
                <a:cxn ang="0">
                  <a:pos x="1247" y="134"/>
                </a:cxn>
                <a:cxn ang="0">
                  <a:pos x="1170" y="213"/>
                </a:cxn>
                <a:cxn ang="0">
                  <a:pos x="1171" y="334"/>
                </a:cxn>
                <a:cxn ang="0">
                  <a:pos x="1209" y="384"/>
                </a:cxn>
                <a:cxn ang="0">
                  <a:pos x="1372" y="480"/>
                </a:cxn>
                <a:cxn ang="0">
                  <a:pos x="1453" y="510"/>
                </a:cxn>
                <a:cxn ang="0">
                  <a:pos x="1604" y="534"/>
                </a:cxn>
                <a:cxn ang="0">
                  <a:pos x="1664" y="563"/>
                </a:cxn>
                <a:cxn ang="0">
                  <a:pos x="1721" y="630"/>
                </a:cxn>
                <a:cxn ang="0">
                  <a:pos x="1773" y="682"/>
                </a:cxn>
                <a:cxn ang="0">
                  <a:pos x="1826" y="723"/>
                </a:cxn>
                <a:cxn ang="0">
                  <a:pos x="1897" y="797"/>
                </a:cxn>
                <a:cxn ang="0">
                  <a:pos x="1847" y="899"/>
                </a:cxn>
                <a:cxn ang="0">
                  <a:pos x="1825" y="931"/>
                </a:cxn>
                <a:cxn ang="0">
                  <a:pos x="1776" y="993"/>
                </a:cxn>
                <a:cxn ang="0">
                  <a:pos x="1724" y="1067"/>
                </a:cxn>
                <a:cxn ang="0">
                  <a:pos x="1693" y="1231"/>
                </a:cxn>
                <a:cxn ang="0">
                  <a:pos x="1501" y="1277"/>
                </a:cxn>
                <a:cxn ang="0">
                  <a:pos x="1431" y="1203"/>
                </a:cxn>
                <a:cxn ang="0">
                  <a:pos x="1403" y="1239"/>
                </a:cxn>
                <a:cxn ang="0">
                  <a:pos x="1325" y="1383"/>
                </a:cxn>
                <a:cxn ang="0">
                  <a:pos x="1163" y="1394"/>
                </a:cxn>
                <a:cxn ang="0">
                  <a:pos x="985" y="1397"/>
                </a:cxn>
                <a:cxn ang="0">
                  <a:pos x="957" y="1440"/>
                </a:cxn>
                <a:cxn ang="0">
                  <a:pos x="861" y="1452"/>
                </a:cxn>
                <a:cxn ang="0">
                  <a:pos x="815" y="1401"/>
                </a:cxn>
                <a:cxn ang="0">
                  <a:pos x="675" y="1356"/>
                </a:cxn>
                <a:cxn ang="0">
                  <a:pos x="573" y="1315"/>
                </a:cxn>
                <a:cxn ang="0">
                  <a:pos x="529" y="1297"/>
                </a:cxn>
                <a:cxn ang="0">
                  <a:pos x="482" y="1276"/>
                </a:cxn>
                <a:cxn ang="0">
                  <a:pos x="350" y="1297"/>
                </a:cxn>
                <a:cxn ang="0">
                  <a:pos x="268" y="1246"/>
                </a:cxn>
                <a:cxn ang="0">
                  <a:pos x="247" y="1195"/>
                </a:cxn>
                <a:cxn ang="0">
                  <a:pos x="219" y="1059"/>
                </a:cxn>
                <a:cxn ang="0">
                  <a:pos x="152" y="999"/>
                </a:cxn>
                <a:cxn ang="0">
                  <a:pos x="73" y="1027"/>
                </a:cxn>
                <a:cxn ang="0">
                  <a:pos x="0" y="1010"/>
                </a:cxn>
                <a:cxn ang="0">
                  <a:pos x="12" y="905"/>
                </a:cxn>
                <a:cxn ang="0">
                  <a:pos x="67" y="858"/>
                </a:cxn>
                <a:cxn ang="0">
                  <a:pos x="102" y="846"/>
                </a:cxn>
                <a:cxn ang="0">
                  <a:pos x="143" y="819"/>
                </a:cxn>
                <a:cxn ang="0">
                  <a:pos x="175" y="691"/>
                </a:cxn>
                <a:cxn ang="0">
                  <a:pos x="214" y="566"/>
                </a:cxn>
                <a:cxn ang="0">
                  <a:pos x="250" y="542"/>
                </a:cxn>
                <a:cxn ang="0">
                  <a:pos x="294" y="522"/>
                </a:cxn>
              </a:cxnLst>
              <a:rect l="0" t="0" r="r" b="b"/>
              <a:pathLst>
                <a:path w="1901" h="1471">
                  <a:moveTo>
                    <a:pt x="295" y="518"/>
                  </a:moveTo>
                  <a:lnTo>
                    <a:pt x="299" y="518"/>
                  </a:lnTo>
                  <a:lnTo>
                    <a:pt x="304" y="518"/>
                  </a:lnTo>
                  <a:lnTo>
                    <a:pt x="317" y="526"/>
                  </a:lnTo>
                  <a:lnTo>
                    <a:pt x="329" y="534"/>
                  </a:lnTo>
                  <a:lnTo>
                    <a:pt x="338" y="536"/>
                  </a:lnTo>
                  <a:lnTo>
                    <a:pt x="348" y="539"/>
                  </a:lnTo>
                  <a:lnTo>
                    <a:pt x="358" y="542"/>
                  </a:lnTo>
                  <a:lnTo>
                    <a:pt x="367" y="545"/>
                  </a:lnTo>
                  <a:lnTo>
                    <a:pt x="367" y="548"/>
                  </a:lnTo>
                  <a:lnTo>
                    <a:pt x="371" y="549"/>
                  </a:lnTo>
                  <a:lnTo>
                    <a:pt x="374" y="550"/>
                  </a:lnTo>
                  <a:lnTo>
                    <a:pt x="377" y="550"/>
                  </a:lnTo>
                  <a:lnTo>
                    <a:pt x="383" y="555"/>
                  </a:lnTo>
                  <a:lnTo>
                    <a:pt x="385" y="560"/>
                  </a:lnTo>
                  <a:lnTo>
                    <a:pt x="388" y="566"/>
                  </a:lnTo>
                  <a:lnTo>
                    <a:pt x="398" y="566"/>
                  </a:lnTo>
                  <a:lnTo>
                    <a:pt x="401" y="569"/>
                  </a:lnTo>
                  <a:lnTo>
                    <a:pt x="404" y="574"/>
                  </a:lnTo>
                  <a:lnTo>
                    <a:pt x="410" y="578"/>
                  </a:lnTo>
                  <a:lnTo>
                    <a:pt x="414" y="582"/>
                  </a:lnTo>
                  <a:lnTo>
                    <a:pt x="425" y="582"/>
                  </a:lnTo>
                  <a:lnTo>
                    <a:pt x="426" y="584"/>
                  </a:lnTo>
                  <a:lnTo>
                    <a:pt x="429" y="586"/>
                  </a:lnTo>
                  <a:lnTo>
                    <a:pt x="433" y="587"/>
                  </a:lnTo>
                  <a:lnTo>
                    <a:pt x="439" y="589"/>
                  </a:lnTo>
                  <a:lnTo>
                    <a:pt x="450" y="592"/>
                  </a:lnTo>
                  <a:lnTo>
                    <a:pt x="457" y="593"/>
                  </a:lnTo>
                  <a:lnTo>
                    <a:pt x="458" y="595"/>
                  </a:lnTo>
                  <a:lnTo>
                    <a:pt x="460" y="597"/>
                  </a:lnTo>
                  <a:lnTo>
                    <a:pt x="463" y="597"/>
                  </a:lnTo>
                  <a:lnTo>
                    <a:pt x="468" y="597"/>
                  </a:lnTo>
                  <a:lnTo>
                    <a:pt x="470" y="599"/>
                  </a:lnTo>
                  <a:lnTo>
                    <a:pt x="475" y="603"/>
                  </a:lnTo>
                  <a:lnTo>
                    <a:pt x="484" y="605"/>
                  </a:lnTo>
                  <a:lnTo>
                    <a:pt x="494" y="607"/>
                  </a:lnTo>
                  <a:lnTo>
                    <a:pt x="516" y="612"/>
                  </a:lnTo>
                  <a:lnTo>
                    <a:pt x="530" y="613"/>
                  </a:lnTo>
                  <a:lnTo>
                    <a:pt x="540" y="613"/>
                  </a:lnTo>
                  <a:lnTo>
                    <a:pt x="550" y="611"/>
                  </a:lnTo>
                  <a:lnTo>
                    <a:pt x="559" y="606"/>
                  </a:lnTo>
                  <a:lnTo>
                    <a:pt x="568" y="603"/>
                  </a:lnTo>
                  <a:lnTo>
                    <a:pt x="584" y="596"/>
                  </a:lnTo>
                  <a:lnTo>
                    <a:pt x="594" y="593"/>
                  </a:lnTo>
                  <a:lnTo>
                    <a:pt x="595" y="590"/>
                  </a:lnTo>
                  <a:lnTo>
                    <a:pt x="596" y="588"/>
                  </a:lnTo>
                  <a:lnTo>
                    <a:pt x="597" y="586"/>
                  </a:lnTo>
                  <a:lnTo>
                    <a:pt x="601" y="585"/>
                  </a:lnTo>
                  <a:lnTo>
                    <a:pt x="605" y="583"/>
                  </a:lnTo>
                  <a:lnTo>
                    <a:pt x="609" y="582"/>
                  </a:lnTo>
                  <a:lnTo>
                    <a:pt x="609" y="572"/>
                  </a:lnTo>
                  <a:lnTo>
                    <a:pt x="613" y="570"/>
                  </a:lnTo>
                  <a:lnTo>
                    <a:pt x="615" y="568"/>
                  </a:lnTo>
                  <a:lnTo>
                    <a:pt x="615" y="565"/>
                  </a:lnTo>
                  <a:lnTo>
                    <a:pt x="615" y="560"/>
                  </a:lnTo>
                  <a:lnTo>
                    <a:pt x="621" y="555"/>
                  </a:lnTo>
                  <a:lnTo>
                    <a:pt x="626" y="550"/>
                  </a:lnTo>
                  <a:lnTo>
                    <a:pt x="631" y="545"/>
                  </a:lnTo>
                  <a:lnTo>
                    <a:pt x="636" y="539"/>
                  </a:lnTo>
                  <a:lnTo>
                    <a:pt x="644" y="539"/>
                  </a:lnTo>
                  <a:lnTo>
                    <a:pt x="652" y="539"/>
                  </a:lnTo>
                  <a:lnTo>
                    <a:pt x="657" y="529"/>
                  </a:lnTo>
                  <a:lnTo>
                    <a:pt x="667" y="524"/>
                  </a:lnTo>
                  <a:lnTo>
                    <a:pt x="673" y="518"/>
                  </a:lnTo>
                  <a:lnTo>
                    <a:pt x="673" y="502"/>
                  </a:lnTo>
                  <a:lnTo>
                    <a:pt x="679" y="492"/>
                  </a:lnTo>
                  <a:lnTo>
                    <a:pt x="682" y="491"/>
                  </a:lnTo>
                  <a:lnTo>
                    <a:pt x="685" y="488"/>
                  </a:lnTo>
                  <a:lnTo>
                    <a:pt x="689" y="483"/>
                  </a:lnTo>
                  <a:lnTo>
                    <a:pt x="691" y="478"/>
                  </a:lnTo>
                  <a:lnTo>
                    <a:pt x="693" y="465"/>
                  </a:lnTo>
                  <a:lnTo>
                    <a:pt x="694" y="454"/>
                  </a:lnTo>
                  <a:lnTo>
                    <a:pt x="698" y="454"/>
                  </a:lnTo>
                  <a:lnTo>
                    <a:pt x="701" y="452"/>
                  </a:lnTo>
                  <a:lnTo>
                    <a:pt x="704" y="450"/>
                  </a:lnTo>
                  <a:lnTo>
                    <a:pt x="707" y="447"/>
                  </a:lnTo>
                  <a:lnTo>
                    <a:pt x="711" y="441"/>
                  </a:lnTo>
                  <a:lnTo>
                    <a:pt x="715" y="439"/>
                  </a:lnTo>
                  <a:lnTo>
                    <a:pt x="715" y="429"/>
                  </a:lnTo>
                  <a:lnTo>
                    <a:pt x="727" y="429"/>
                  </a:lnTo>
                  <a:lnTo>
                    <a:pt x="731" y="417"/>
                  </a:lnTo>
                  <a:lnTo>
                    <a:pt x="742" y="417"/>
                  </a:lnTo>
                  <a:lnTo>
                    <a:pt x="747" y="407"/>
                  </a:lnTo>
                  <a:lnTo>
                    <a:pt x="759" y="406"/>
                  </a:lnTo>
                  <a:lnTo>
                    <a:pt x="771" y="404"/>
                  </a:lnTo>
                  <a:lnTo>
                    <a:pt x="782" y="403"/>
                  </a:lnTo>
                  <a:lnTo>
                    <a:pt x="795" y="402"/>
                  </a:lnTo>
                  <a:lnTo>
                    <a:pt x="799" y="406"/>
                  </a:lnTo>
                  <a:lnTo>
                    <a:pt x="803" y="412"/>
                  </a:lnTo>
                  <a:lnTo>
                    <a:pt x="807" y="416"/>
                  </a:lnTo>
                  <a:lnTo>
                    <a:pt x="810" y="417"/>
                  </a:lnTo>
                  <a:lnTo>
                    <a:pt x="816" y="433"/>
                  </a:lnTo>
                  <a:lnTo>
                    <a:pt x="822" y="444"/>
                  </a:lnTo>
                  <a:lnTo>
                    <a:pt x="822" y="465"/>
                  </a:lnTo>
                  <a:lnTo>
                    <a:pt x="824" y="473"/>
                  </a:lnTo>
                  <a:lnTo>
                    <a:pt x="827" y="481"/>
                  </a:lnTo>
                  <a:lnTo>
                    <a:pt x="835" y="483"/>
                  </a:lnTo>
                  <a:lnTo>
                    <a:pt x="843" y="487"/>
                  </a:lnTo>
                  <a:lnTo>
                    <a:pt x="845" y="494"/>
                  </a:lnTo>
                  <a:lnTo>
                    <a:pt x="847" y="502"/>
                  </a:lnTo>
                  <a:lnTo>
                    <a:pt x="860" y="502"/>
                  </a:lnTo>
                  <a:lnTo>
                    <a:pt x="871" y="501"/>
                  </a:lnTo>
                  <a:lnTo>
                    <a:pt x="876" y="500"/>
                  </a:lnTo>
                  <a:lnTo>
                    <a:pt x="881" y="498"/>
                  </a:lnTo>
                  <a:lnTo>
                    <a:pt x="886" y="496"/>
                  </a:lnTo>
                  <a:lnTo>
                    <a:pt x="890" y="492"/>
                  </a:lnTo>
                  <a:lnTo>
                    <a:pt x="906" y="492"/>
                  </a:lnTo>
                  <a:lnTo>
                    <a:pt x="911" y="488"/>
                  </a:lnTo>
                  <a:lnTo>
                    <a:pt x="919" y="483"/>
                  </a:lnTo>
                  <a:lnTo>
                    <a:pt x="922" y="481"/>
                  </a:lnTo>
                  <a:lnTo>
                    <a:pt x="924" y="478"/>
                  </a:lnTo>
                  <a:lnTo>
                    <a:pt x="926" y="474"/>
                  </a:lnTo>
                  <a:lnTo>
                    <a:pt x="926" y="471"/>
                  </a:lnTo>
                  <a:lnTo>
                    <a:pt x="938" y="465"/>
                  </a:lnTo>
                  <a:lnTo>
                    <a:pt x="939" y="461"/>
                  </a:lnTo>
                  <a:lnTo>
                    <a:pt x="941" y="455"/>
                  </a:lnTo>
                  <a:lnTo>
                    <a:pt x="942" y="453"/>
                  </a:lnTo>
                  <a:lnTo>
                    <a:pt x="944" y="451"/>
                  </a:lnTo>
                  <a:lnTo>
                    <a:pt x="947" y="450"/>
                  </a:lnTo>
                  <a:lnTo>
                    <a:pt x="948" y="450"/>
                  </a:lnTo>
                  <a:lnTo>
                    <a:pt x="948" y="439"/>
                  </a:lnTo>
                  <a:lnTo>
                    <a:pt x="952" y="434"/>
                  </a:lnTo>
                  <a:lnTo>
                    <a:pt x="957" y="429"/>
                  </a:lnTo>
                  <a:lnTo>
                    <a:pt x="960" y="425"/>
                  </a:lnTo>
                  <a:lnTo>
                    <a:pt x="964" y="423"/>
                  </a:lnTo>
                  <a:lnTo>
                    <a:pt x="964" y="407"/>
                  </a:lnTo>
                  <a:lnTo>
                    <a:pt x="966" y="401"/>
                  </a:lnTo>
                  <a:lnTo>
                    <a:pt x="970" y="392"/>
                  </a:lnTo>
                  <a:lnTo>
                    <a:pt x="972" y="387"/>
                  </a:lnTo>
                  <a:lnTo>
                    <a:pt x="976" y="384"/>
                  </a:lnTo>
                  <a:lnTo>
                    <a:pt x="978" y="382"/>
                  </a:lnTo>
                  <a:lnTo>
                    <a:pt x="980" y="381"/>
                  </a:lnTo>
                  <a:lnTo>
                    <a:pt x="982" y="367"/>
                  </a:lnTo>
                  <a:lnTo>
                    <a:pt x="986" y="354"/>
                  </a:lnTo>
                  <a:lnTo>
                    <a:pt x="995" y="349"/>
                  </a:lnTo>
                  <a:lnTo>
                    <a:pt x="1001" y="344"/>
                  </a:lnTo>
                  <a:lnTo>
                    <a:pt x="1002" y="325"/>
                  </a:lnTo>
                  <a:lnTo>
                    <a:pt x="1006" y="300"/>
                  </a:lnTo>
                  <a:lnTo>
                    <a:pt x="1010" y="274"/>
                  </a:lnTo>
                  <a:lnTo>
                    <a:pt x="1011" y="249"/>
                  </a:lnTo>
                  <a:lnTo>
                    <a:pt x="1015" y="248"/>
                  </a:lnTo>
                  <a:lnTo>
                    <a:pt x="1016" y="246"/>
                  </a:lnTo>
                  <a:lnTo>
                    <a:pt x="1017" y="242"/>
                  </a:lnTo>
                  <a:lnTo>
                    <a:pt x="1017" y="238"/>
                  </a:lnTo>
                  <a:lnTo>
                    <a:pt x="1027" y="228"/>
                  </a:lnTo>
                  <a:lnTo>
                    <a:pt x="1038" y="217"/>
                  </a:lnTo>
                  <a:lnTo>
                    <a:pt x="1038" y="201"/>
                  </a:lnTo>
                  <a:lnTo>
                    <a:pt x="1048" y="191"/>
                  </a:lnTo>
                  <a:lnTo>
                    <a:pt x="1048" y="174"/>
                  </a:lnTo>
                  <a:lnTo>
                    <a:pt x="1048" y="156"/>
                  </a:lnTo>
                  <a:lnTo>
                    <a:pt x="1048" y="138"/>
                  </a:lnTo>
                  <a:lnTo>
                    <a:pt x="1048" y="122"/>
                  </a:lnTo>
                  <a:lnTo>
                    <a:pt x="1048" y="121"/>
                  </a:lnTo>
                  <a:lnTo>
                    <a:pt x="1045" y="116"/>
                  </a:lnTo>
                  <a:lnTo>
                    <a:pt x="1041" y="113"/>
                  </a:lnTo>
                  <a:lnTo>
                    <a:pt x="1038" y="112"/>
                  </a:lnTo>
                  <a:lnTo>
                    <a:pt x="1038" y="95"/>
                  </a:lnTo>
                  <a:lnTo>
                    <a:pt x="1036" y="95"/>
                  </a:lnTo>
                  <a:lnTo>
                    <a:pt x="1035" y="94"/>
                  </a:lnTo>
                  <a:lnTo>
                    <a:pt x="1034" y="92"/>
                  </a:lnTo>
                  <a:lnTo>
                    <a:pt x="1034" y="89"/>
                  </a:lnTo>
                  <a:lnTo>
                    <a:pt x="1034" y="82"/>
                  </a:lnTo>
                  <a:lnTo>
                    <a:pt x="1035" y="75"/>
                  </a:lnTo>
                  <a:lnTo>
                    <a:pt x="1037" y="67"/>
                  </a:lnTo>
                  <a:lnTo>
                    <a:pt x="1039" y="59"/>
                  </a:lnTo>
                  <a:lnTo>
                    <a:pt x="1041" y="55"/>
                  </a:lnTo>
                  <a:lnTo>
                    <a:pt x="1044" y="54"/>
                  </a:lnTo>
                  <a:lnTo>
                    <a:pt x="1044" y="47"/>
                  </a:lnTo>
                  <a:lnTo>
                    <a:pt x="1047" y="41"/>
                  </a:lnTo>
                  <a:lnTo>
                    <a:pt x="1050" y="36"/>
                  </a:lnTo>
                  <a:lnTo>
                    <a:pt x="1054" y="30"/>
                  </a:lnTo>
                  <a:lnTo>
                    <a:pt x="1058" y="25"/>
                  </a:lnTo>
                  <a:lnTo>
                    <a:pt x="1062" y="20"/>
                  </a:lnTo>
                  <a:lnTo>
                    <a:pt x="1064" y="15"/>
                  </a:lnTo>
                  <a:lnTo>
                    <a:pt x="1065" y="11"/>
                  </a:lnTo>
                  <a:lnTo>
                    <a:pt x="1075" y="6"/>
                  </a:lnTo>
                  <a:lnTo>
                    <a:pt x="1081" y="0"/>
                  </a:lnTo>
                  <a:lnTo>
                    <a:pt x="1089" y="0"/>
                  </a:lnTo>
                  <a:lnTo>
                    <a:pt x="1102" y="0"/>
                  </a:lnTo>
                  <a:lnTo>
                    <a:pt x="1113" y="0"/>
                  </a:lnTo>
                  <a:lnTo>
                    <a:pt x="1123" y="0"/>
                  </a:lnTo>
                  <a:lnTo>
                    <a:pt x="1133" y="9"/>
                  </a:lnTo>
                  <a:lnTo>
                    <a:pt x="1144" y="16"/>
                  </a:lnTo>
                  <a:lnTo>
                    <a:pt x="1156" y="21"/>
                  </a:lnTo>
                  <a:lnTo>
                    <a:pt x="1169" y="25"/>
                  </a:lnTo>
                  <a:lnTo>
                    <a:pt x="1182" y="27"/>
                  </a:lnTo>
                  <a:lnTo>
                    <a:pt x="1196" y="29"/>
                  </a:lnTo>
                  <a:lnTo>
                    <a:pt x="1210" y="29"/>
                  </a:lnTo>
                  <a:lnTo>
                    <a:pt x="1225" y="29"/>
                  </a:lnTo>
                  <a:lnTo>
                    <a:pt x="1254" y="29"/>
                  </a:lnTo>
                  <a:lnTo>
                    <a:pt x="1281" y="30"/>
                  </a:lnTo>
                  <a:lnTo>
                    <a:pt x="1296" y="31"/>
                  </a:lnTo>
                  <a:lnTo>
                    <a:pt x="1309" y="34"/>
                  </a:lnTo>
                  <a:lnTo>
                    <a:pt x="1322" y="38"/>
                  </a:lnTo>
                  <a:lnTo>
                    <a:pt x="1334" y="42"/>
                  </a:lnTo>
                  <a:lnTo>
                    <a:pt x="1334" y="58"/>
                  </a:lnTo>
                  <a:lnTo>
                    <a:pt x="1321" y="68"/>
                  </a:lnTo>
                  <a:lnTo>
                    <a:pt x="1296" y="90"/>
                  </a:lnTo>
                  <a:lnTo>
                    <a:pt x="1281" y="103"/>
                  </a:lnTo>
                  <a:lnTo>
                    <a:pt x="1268" y="114"/>
                  </a:lnTo>
                  <a:lnTo>
                    <a:pt x="1257" y="123"/>
                  </a:lnTo>
                  <a:lnTo>
                    <a:pt x="1249" y="127"/>
                  </a:lnTo>
                  <a:lnTo>
                    <a:pt x="1249" y="131"/>
                  </a:lnTo>
                  <a:lnTo>
                    <a:pt x="1247" y="134"/>
                  </a:lnTo>
                  <a:lnTo>
                    <a:pt x="1245" y="137"/>
                  </a:lnTo>
                  <a:lnTo>
                    <a:pt x="1241" y="140"/>
                  </a:lnTo>
                  <a:lnTo>
                    <a:pt x="1236" y="144"/>
                  </a:lnTo>
                  <a:lnTo>
                    <a:pt x="1233" y="149"/>
                  </a:lnTo>
                  <a:lnTo>
                    <a:pt x="1223" y="154"/>
                  </a:lnTo>
                  <a:lnTo>
                    <a:pt x="1212" y="159"/>
                  </a:lnTo>
                  <a:lnTo>
                    <a:pt x="1202" y="164"/>
                  </a:lnTo>
                  <a:lnTo>
                    <a:pt x="1194" y="178"/>
                  </a:lnTo>
                  <a:lnTo>
                    <a:pt x="1185" y="195"/>
                  </a:lnTo>
                  <a:lnTo>
                    <a:pt x="1175" y="201"/>
                  </a:lnTo>
                  <a:lnTo>
                    <a:pt x="1173" y="207"/>
                  </a:lnTo>
                  <a:lnTo>
                    <a:pt x="1170" y="213"/>
                  </a:lnTo>
                  <a:lnTo>
                    <a:pt x="1166" y="217"/>
                  </a:lnTo>
                  <a:lnTo>
                    <a:pt x="1164" y="220"/>
                  </a:lnTo>
                  <a:lnTo>
                    <a:pt x="1162" y="221"/>
                  </a:lnTo>
                  <a:lnTo>
                    <a:pt x="1160" y="222"/>
                  </a:lnTo>
                  <a:lnTo>
                    <a:pt x="1159" y="230"/>
                  </a:lnTo>
                  <a:lnTo>
                    <a:pt x="1156" y="238"/>
                  </a:lnTo>
                  <a:lnTo>
                    <a:pt x="1153" y="243"/>
                  </a:lnTo>
                  <a:lnTo>
                    <a:pt x="1149" y="249"/>
                  </a:lnTo>
                  <a:lnTo>
                    <a:pt x="1149" y="291"/>
                  </a:lnTo>
                  <a:lnTo>
                    <a:pt x="1153" y="298"/>
                  </a:lnTo>
                  <a:lnTo>
                    <a:pt x="1162" y="316"/>
                  </a:lnTo>
                  <a:lnTo>
                    <a:pt x="1171" y="334"/>
                  </a:lnTo>
                  <a:lnTo>
                    <a:pt x="1175" y="344"/>
                  </a:lnTo>
                  <a:lnTo>
                    <a:pt x="1179" y="345"/>
                  </a:lnTo>
                  <a:lnTo>
                    <a:pt x="1181" y="349"/>
                  </a:lnTo>
                  <a:lnTo>
                    <a:pt x="1183" y="351"/>
                  </a:lnTo>
                  <a:lnTo>
                    <a:pt x="1185" y="353"/>
                  </a:lnTo>
                  <a:lnTo>
                    <a:pt x="1188" y="354"/>
                  </a:lnTo>
                  <a:lnTo>
                    <a:pt x="1191" y="354"/>
                  </a:lnTo>
                  <a:lnTo>
                    <a:pt x="1192" y="361"/>
                  </a:lnTo>
                  <a:lnTo>
                    <a:pt x="1196" y="366"/>
                  </a:lnTo>
                  <a:lnTo>
                    <a:pt x="1200" y="372"/>
                  </a:lnTo>
                  <a:lnTo>
                    <a:pt x="1204" y="378"/>
                  </a:lnTo>
                  <a:lnTo>
                    <a:pt x="1209" y="384"/>
                  </a:lnTo>
                  <a:lnTo>
                    <a:pt x="1213" y="390"/>
                  </a:lnTo>
                  <a:lnTo>
                    <a:pt x="1217" y="396"/>
                  </a:lnTo>
                  <a:lnTo>
                    <a:pt x="1218" y="402"/>
                  </a:lnTo>
                  <a:lnTo>
                    <a:pt x="1276" y="460"/>
                  </a:lnTo>
                  <a:lnTo>
                    <a:pt x="1286" y="460"/>
                  </a:lnTo>
                  <a:lnTo>
                    <a:pt x="1293" y="464"/>
                  </a:lnTo>
                  <a:lnTo>
                    <a:pt x="1303" y="468"/>
                  </a:lnTo>
                  <a:lnTo>
                    <a:pt x="1314" y="470"/>
                  </a:lnTo>
                  <a:lnTo>
                    <a:pt x="1324" y="471"/>
                  </a:lnTo>
                  <a:lnTo>
                    <a:pt x="1335" y="474"/>
                  </a:lnTo>
                  <a:lnTo>
                    <a:pt x="1353" y="478"/>
                  </a:lnTo>
                  <a:lnTo>
                    <a:pt x="1372" y="480"/>
                  </a:lnTo>
                  <a:lnTo>
                    <a:pt x="1386" y="481"/>
                  </a:lnTo>
                  <a:lnTo>
                    <a:pt x="1392" y="484"/>
                  </a:lnTo>
                  <a:lnTo>
                    <a:pt x="1398" y="488"/>
                  </a:lnTo>
                  <a:lnTo>
                    <a:pt x="1404" y="491"/>
                  </a:lnTo>
                  <a:lnTo>
                    <a:pt x="1411" y="494"/>
                  </a:lnTo>
                  <a:lnTo>
                    <a:pt x="1418" y="498"/>
                  </a:lnTo>
                  <a:lnTo>
                    <a:pt x="1424" y="500"/>
                  </a:lnTo>
                  <a:lnTo>
                    <a:pt x="1430" y="503"/>
                  </a:lnTo>
                  <a:lnTo>
                    <a:pt x="1434" y="508"/>
                  </a:lnTo>
                  <a:lnTo>
                    <a:pt x="1442" y="508"/>
                  </a:lnTo>
                  <a:lnTo>
                    <a:pt x="1450" y="509"/>
                  </a:lnTo>
                  <a:lnTo>
                    <a:pt x="1453" y="510"/>
                  </a:lnTo>
                  <a:lnTo>
                    <a:pt x="1456" y="512"/>
                  </a:lnTo>
                  <a:lnTo>
                    <a:pt x="1459" y="515"/>
                  </a:lnTo>
                  <a:lnTo>
                    <a:pt x="1461" y="518"/>
                  </a:lnTo>
                  <a:lnTo>
                    <a:pt x="1477" y="518"/>
                  </a:lnTo>
                  <a:lnTo>
                    <a:pt x="1481" y="522"/>
                  </a:lnTo>
                  <a:lnTo>
                    <a:pt x="1487" y="525"/>
                  </a:lnTo>
                  <a:lnTo>
                    <a:pt x="1494" y="528"/>
                  </a:lnTo>
                  <a:lnTo>
                    <a:pt x="1501" y="529"/>
                  </a:lnTo>
                  <a:lnTo>
                    <a:pt x="1518" y="532"/>
                  </a:lnTo>
                  <a:lnTo>
                    <a:pt x="1536" y="534"/>
                  </a:lnTo>
                  <a:lnTo>
                    <a:pt x="1573" y="535"/>
                  </a:lnTo>
                  <a:lnTo>
                    <a:pt x="1604" y="534"/>
                  </a:lnTo>
                  <a:lnTo>
                    <a:pt x="1604" y="532"/>
                  </a:lnTo>
                  <a:lnTo>
                    <a:pt x="1605" y="531"/>
                  </a:lnTo>
                  <a:lnTo>
                    <a:pt x="1606" y="530"/>
                  </a:lnTo>
                  <a:lnTo>
                    <a:pt x="1607" y="530"/>
                  </a:lnTo>
                  <a:lnTo>
                    <a:pt x="1612" y="531"/>
                  </a:lnTo>
                  <a:lnTo>
                    <a:pt x="1616" y="532"/>
                  </a:lnTo>
                  <a:lnTo>
                    <a:pt x="1626" y="537"/>
                  </a:lnTo>
                  <a:lnTo>
                    <a:pt x="1630" y="539"/>
                  </a:lnTo>
                  <a:lnTo>
                    <a:pt x="1645" y="545"/>
                  </a:lnTo>
                  <a:lnTo>
                    <a:pt x="1650" y="550"/>
                  </a:lnTo>
                  <a:lnTo>
                    <a:pt x="1659" y="558"/>
                  </a:lnTo>
                  <a:lnTo>
                    <a:pt x="1664" y="563"/>
                  </a:lnTo>
                  <a:lnTo>
                    <a:pt x="1668" y="568"/>
                  </a:lnTo>
                  <a:lnTo>
                    <a:pt x="1671" y="573"/>
                  </a:lnTo>
                  <a:lnTo>
                    <a:pt x="1672" y="576"/>
                  </a:lnTo>
                  <a:lnTo>
                    <a:pt x="1679" y="579"/>
                  </a:lnTo>
                  <a:lnTo>
                    <a:pt x="1688" y="587"/>
                  </a:lnTo>
                  <a:lnTo>
                    <a:pt x="1696" y="594"/>
                  </a:lnTo>
                  <a:lnTo>
                    <a:pt x="1699" y="597"/>
                  </a:lnTo>
                  <a:lnTo>
                    <a:pt x="1705" y="603"/>
                  </a:lnTo>
                  <a:lnTo>
                    <a:pt x="1709" y="613"/>
                  </a:lnTo>
                  <a:lnTo>
                    <a:pt x="1715" y="624"/>
                  </a:lnTo>
                  <a:lnTo>
                    <a:pt x="1718" y="626"/>
                  </a:lnTo>
                  <a:lnTo>
                    <a:pt x="1721" y="630"/>
                  </a:lnTo>
                  <a:lnTo>
                    <a:pt x="1725" y="635"/>
                  </a:lnTo>
                  <a:lnTo>
                    <a:pt x="1725" y="640"/>
                  </a:lnTo>
                  <a:lnTo>
                    <a:pt x="1732" y="644"/>
                  </a:lnTo>
                  <a:lnTo>
                    <a:pt x="1739" y="649"/>
                  </a:lnTo>
                  <a:lnTo>
                    <a:pt x="1743" y="651"/>
                  </a:lnTo>
                  <a:lnTo>
                    <a:pt x="1745" y="654"/>
                  </a:lnTo>
                  <a:lnTo>
                    <a:pt x="1746" y="657"/>
                  </a:lnTo>
                  <a:lnTo>
                    <a:pt x="1746" y="661"/>
                  </a:lnTo>
                  <a:lnTo>
                    <a:pt x="1757" y="672"/>
                  </a:lnTo>
                  <a:lnTo>
                    <a:pt x="1763" y="674"/>
                  </a:lnTo>
                  <a:lnTo>
                    <a:pt x="1768" y="678"/>
                  </a:lnTo>
                  <a:lnTo>
                    <a:pt x="1773" y="682"/>
                  </a:lnTo>
                  <a:lnTo>
                    <a:pt x="1778" y="688"/>
                  </a:lnTo>
                  <a:lnTo>
                    <a:pt x="1783" y="692"/>
                  </a:lnTo>
                  <a:lnTo>
                    <a:pt x="1788" y="697"/>
                  </a:lnTo>
                  <a:lnTo>
                    <a:pt x="1794" y="701"/>
                  </a:lnTo>
                  <a:lnTo>
                    <a:pt x="1799" y="703"/>
                  </a:lnTo>
                  <a:lnTo>
                    <a:pt x="1801" y="705"/>
                  </a:lnTo>
                  <a:lnTo>
                    <a:pt x="1803" y="709"/>
                  </a:lnTo>
                  <a:lnTo>
                    <a:pt x="1806" y="712"/>
                  </a:lnTo>
                  <a:lnTo>
                    <a:pt x="1811" y="715"/>
                  </a:lnTo>
                  <a:lnTo>
                    <a:pt x="1816" y="719"/>
                  </a:lnTo>
                  <a:lnTo>
                    <a:pt x="1822" y="722"/>
                  </a:lnTo>
                  <a:lnTo>
                    <a:pt x="1826" y="723"/>
                  </a:lnTo>
                  <a:lnTo>
                    <a:pt x="1831" y="724"/>
                  </a:lnTo>
                  <a:lnTo>
                    <a:pt x="1836" y="733"/>
                  </a:lnTo>
                  <a:lnTo>
                    <a:pt x="1850" y="748"/>
                  </a:lnTo>
                  <a:lnTo>
                    <a:pt x="1864" y="763"/>
                  </a:lnTo>
                  <a:lnTo>
                    <a:pt x="1873" y="772"/>
                  </a:lnTo>
                  <a:lnTo>
                    <a:pt x="1879" y="774"/>
                  </a:lnTo>
                  <a:lnTo>
                    <a:pt x="1882" y="776"/>
                  </a:lnTo>
                  <a:lnTo>
                    <a:pt x="1885" y="780"/>
                  </a:lnTo>
                  <a:lnTo>
                    <a:pt x="1889" y="785"/>
                  </a:lnTo>
                  <a:lnTo>
                    <a:pt x="1891" y="790"/>
                  </a:lnTo>
                  <a:lnTo>
                    <a:pt x="1893" y="794"/>
                  </a:lnTo>
                  <a:lnTo>
                    <a:pt x="1897" y="797"/>
                  </a:lnTo>
                  <a:lnTo>
                    <a:pt x="1900" y="798"/>
                  </a:lnTo>
                  <a:lnTo>
                    <a:pt x="1900" y="818"/>
                  </a:lnTo>
                  <a:lnTo>
                    <a:pt x="1900" y="837"/>
                  </a:lnTo>
                  <a:lnTo>
                    <a:pt x="1900" y="856"/>
                  </a:lnTo>
                  <a:lnTo>
                    <a:pt x="1901" y="876"/>
                  </a:lnTo>
                  <a:lnTo>
                    <a:pt x="1899" y="869"/>
                  </a:lnTo>
                  <a:lnTo>
                    <a:pt x="1899" y="862"/>
                  </a:lnTo>
                  <a:lnTo>
                    <a:pt x="1871" y="862"/>
                  </a:lnTo>
                  <a:lnTo>
                    <a:pt x="1862" y="871"/>
                  </a:lnTo>
                  <a:lnTo>
                    <a:pt x="1862" y="888"/>
                  </a:lnTo>
                  <a:lnTo>
                    <a:pt x="1853" y="899"/>
                  </a:lnTo>
                  <a:lnTo>
                    <a:pt x="1847" y="899"/>
                  </a:lnTo>
                  <a:lnTo>
                    <a:pt x="1844" y="900"/>
                  </a:lnTo>
                  <a:lnTo>
                    <a:pt x="1843" y="901"/>
                  </a:lnTo>
                  <a:lnTo>
                    <a:pt x="1843" y="903"/>
                  </a:lnTo>
                  <a:lnTo>
                    <a:pt x="1843" y="904"/>
                  </a:lnTo>
                  <a:lnTo>
                    <a:pt x="1842" y="906"/>
                  </a:lnTo>
                  <a:lnTo>
                    <a:pt x="1840" y="907"/>
                  </a:lnTo>
                  <a:lnTo>
                    <a:pt x="1834" y="907"/>
                  </a:lnTo>
                  <a:lnTo>
                    <a:pt x="1834" y="925"/>
                  </a:lnTo>
                  <a:lnTo>
                    <a:pt x="1828" y="926"/>
                  </a:lnTo>
                  <a:lnTo>
                    <a:pt x="1826" y="928"/>
                  </a:lnTo>
                  <a:lnTo>
                    <a:pt x="1825" y="929"/>
                  </a:lnTo>
                  <a:lnTo>
                    <a:pt x="1825" y="931"/>
                  </a:lnTo>
                  <a:lnTo>
                    <a:pt x="1825" y="932"/>
                  </a:lnTo>
                  <a:lnTo>
                    <a:pt x="1824" y="933"/>
                  </a:lnTo>
                  <a:lnTo>
                    <a:pt x="1821" y="934"/>
                  </a:lnTo>
                  <a:lnTo>
                    <a:pt x="1816" y="935"/>
                  </a:lnTo>
                  <a:lnTo>
                    <a:pt x="1816" y="953"/>
                  </a:lnTo>
                  <a:lnTo>
                    <a:pt x="1802" y="963"/>
                  </a:lnTo>
                  <a:lnTo>
                    <a:pt x="1788" y="972"/>
                  </a:lnTo>
                  <a:lnTo>
                    <a:pt x="1787" y="976"/>
                  </a:lnTo>
                  <a:lnTo>
                    <a:pt x="1786" y="979"/>
                  </a:lnTo>
                  <a:lnTo>
                    <a:pt x="1785" y="982"/>
                  </a:lnTo>
                  <a:lnTo>
                    <a:pt x="1783" y="986"/>
                  </a:lnTo>
                  <a:lnTo>
                    <a:pt x="1776" y="993"/>
                  </a:lnTo>
                  <a:lnTo>
                    <a:pt x="1769" y="1001"/>
                  </a:lnTo>
                  <a:lnTo>
                    <a:pt x="1763" y="1009"/>
                  </a:lnTo>
                  <a:lnTo>
                    <a:pt x="1757" y="1018"/>
                  </a:lnTo>
                  <a:lnTo>
                    <a:pt x="1755" y="1022"/>
                  </a:lnTo>
                  <a:lnTo>
                    <a:pt x="1753" y="1027"/>
                  </a:lnTo>
                  <a:lnTo>
                    <a:pt x="1751" y="1031"/>
                  </a:lnTo>
                  <a:lnTo>
                    <a:pt x="1751" y="1037"/>
                  </a:lnTo>
                  <a:lnTo>
                    <a:pt x="1732" y="1046"/>
                  </a:lnTo>
                  <a:lnTo>
                    <a:pt x="1732" y="1065"/>
                  </a:lnTo>
                  <a:lnTo>
                    <a:pt x="1727" y="1065"/>
                  </a:lnTo>
                  <a:lnTo>
                    <a:pt x="1725" y="1066"/>
                  </a:lnTo>
                  <a:lnTo>
                    <a:pt x="1724" y="1067"/>
                  </a:lnTo>
                  <a:lnTo>
                    <a:pt x="1724" y="1069"/>
                  </a:lnTo>
                  <a:lnTo>
                    <a:pt x="1724" y="1070"/>
                  </a:lnTo>
                  <a:lnTo>
                    <a:pt x="1722" y="1073"/>
                  </a:lnTo>
                  <a:lnTo>
                    <a:pt x="1719" y="1074"/>
                  </a:lnTo>
                  <a:lnTo>
                    <a:pt x="1715" y="1074"/>
                  </a:lnTo>
                  <a:lnTo>
                    <a:pt x="1715" y="1193"/>
                  </a:lnTo>
                  <a:lnTo>
                    <a:pt x="1712" y="1194"/>
                  </a:lnTo>
                  <a:lnTo>
                    <a:pt x="1710" y="1196"/>
                  </a:lnTo>
                  <a:lnTo>
                    <a:pt x="1708" y="1201"/>
                  </a:lnTo>
                  <a:lnTo>
                    <a:pt x="1706" y="1205"/>
                  </a:lnTo>
                  <a:lnTo>
                    <a:pt x="1700" y="1217"/>
                  </a:lnTo>
                  <a:lnTo>
                    <a:pt x="1693" y="1231"/>
                  </a:lnTo>
                  <a:lnTo>
                    <a:pt x="1686" y="1244"/>
                  </a:lnTo>
                  <a:lnTo>
                    <a:pt x="1678" y="1256"/>
                  </a:lnTo>
                  <a:lnTo>
                    <a:pt x="1673" y="1261"/>
                  </a:lnTo>
                  <a:lnTo>
                    <a:pt x="1669" y="1265"/>
                  </a:lnTo>
                  <a:lnTo>
                    <a:pt x="1663" y="1267"/>
                  </a:lnTo>
                  <a:lnTo>
                    <a:pt x="1659" y="1268"/>
                  </a:lnTo>
                  <a:lnTo>
                    <a:pt x="1650" y="1286"/>
                  </a:lnTo>
                  <a:lnTo>
                    <a:pt x="1617" y="1286"/>
                  </a:lnTo>
                  <a:lnTo>
                    <a:pt x="1581" y="1286"/>
                  </a:lnTo>
                  <a:lnTo>
                    <a:pt x="1543" y="1286"/>
                  </a:lnTo>
                  <a:lnTo>
                    <a:pt x="1510" y="1286"/>
                  </a:lnTo>
                  <a:lnTo>
                    <a:pt x="1501" y="1277"/>
                  </a:lnTo>
                  <a:lnTo>
                    <a:pt x="1492" y="1268"/>
                  </a:lnTo>
                  <a:lnTo>
                    <a:pt x="1491" y="1261"/>
                  </a:lnTo>
                  <a:lnTo>
                    <a:pt x="1489" y="1256"/>
                  </a:lnTo>
                  <a:lnTo>
                    <a:pt x="1487" y="1250"/>
                  </a:lnTo>
                  <a:lnTo>
                    <a:pt x="1484" y="1244"/>
                  </a:lnTo>
                  <a:lnTo>
                    <a:pt x="1480" y="1239"/>
                  </a:lnTo>
                  <a:lnTo>
                    <a:pt x="1477" y="1233"/>
                  </a:lnTo>
                  <a:lnTo>
                    <a:pt x="1475" y="1228"/>
                  </a:lnTo>
                  <a:lnTo>
                    <a:pt x="1473" y="1221"/>
                  </a:lnTo>
                  <a:lnTo>
                    <a:pt x="1447" y="1193"/>
                  </a:lnTo>
                  <a:lnTo>
                    <a:pt x="1437" y="1203"/>
                  </a:lnTo>
                  <a:lnTo>
                    <a:pt x="1431" y="1203"/>
                  </a:lnTo>
                  <a:lnTo>
                    <a:pt x="1429" y="1204"/>
                  </a:lnTo>
                  <a:lnTo>
                    <a:pt x="1428" y="1205"/>
                  </a:lnTo>
                  <a:lnTo>
                    <a:pt x="1428" y="1208"/>
                  </a:lnTo>
                  <a:lnTo>
                    <a:pt x="1428" y="1209"/>
                  </a:lnTo>
                  <a:lnTo>
                    <a:pt x="1427" y="1211"/>
                  </a:lnTo>
                  <a:lnTo>
                    <a:pt x="1423" y="1212"/>
                  </a:lnTo>
                  <a:lnTo>
                    <a:pt x="1419" y="1212"/>
                  </a:lnTo>
                  <a:lnTo>
                    <a:pt x="1417" y="1220"/>
                  </a:lnTo>
                  <a:lnTo>
                    <a:pt x="1413" y="1230"/>
                  </a:lnTo>
                  <a:lnTo>
                    <a:pt x="1410" y="1233"/>
                  </a:lnTo>
                  <a:lnTo>
                    <a:pt x="1406" y="1237"/>
                  </a:lnTo>
                  <a:lnTo>
                    <a:pt x="1403" y="1239"/>
                  </a:lnTo>
                  <a:lnTo>
                    <a:pt x="1400" y="1240"/>
                  </a:lnTo>
                  <a:lnTo>
                    <a:pt x="1400" y="1277"/>
                  </a:lnTo>
                  <a:lnTo>
                    <a:pt x="1395" y="1288"/>
                  </a:lnTo>
                  <a:lnTo>
                    <a:pt x="1386" y="1314"/>
                  </a:lnTo>
                  <a:lnTo>
                    <a:pt x="1376" y="1339"/>
                  </a:lnTo>
                  <a:lnTo>
                    <a:pt x="1372" y="1351"/>
                  </a:lnTo>
                  <a:lnTo>
                    <a:pt x="1363" y="1359"/>
                  </a:lnTo>
                  <a:lnTo>
                    <a:pt x="1354" y="1369"/>
                  </a:lnTo>
                  <a:lnTo>
                    <a:pt x="1340" y="1374"/>
                  </a:lnTo>
                  <a:lnTo>
                    <a:pt x="1326" y="1378"/>
                  </a:lnTo>
                  <a:lnTo>
                    <a:pt x="1326" y="1381"/>
                  </a:lnTo>
                  <a:lnTo>
                    <a:pt x="1325" y="1383"/>
                  </a:lnTo>
                  <a:lnTo>
                    <a:pt x="1323" y="1385"/>
                  </a:lnTo>
                  <a:lnTo>
                    <a:pt x="1321" y="1387"/>
                  </a:lnTo>
                  <a:lnTo>
                    <a:pt x="1313" y="1391"/>
                  </a:lnTo>
                  <a:lnTo>
                    <a:pt x="1304" y="1393"/>
                  </a:lnTo>
                  <a:lnTo>
                    <a:pt x="1294" y="1395"/>
                  </a:lnTo>
                  <a:lnTo>
                    <a:pt x="1281" y="1396"/>
                  </a:lnTo>
                  <a:lnTo>
                    <a:pt x="1268" y="1397"/>
                  </a:lnTo>
                  <a:lnTo>
                    <a:pt x="1255" y="1399"/>
                  </a:lnTo>
                  <a:lnTo>
                    <a:pt x="1201" y="1397"/>
                  </a:lnTo>
                  <a:lnTo>
                    <a:pt x="1169" y="1397"/>
                  </a:lnTo>
                  <a:lnTo>
                    <a:pt x="1168" y="1395"/>
                  </a:lnTo>
                  <a:lnTo>
                    <a:pt x="1163" y="1394"/>
                  </a:lnTo>
                  <a:lnTo>
                    <a:pt x="1155" y="1393"/>
                  </a:lnTo>
                  <a:lnTo>
                    <a:pt x="1145" y="1392"/>
                  </a:lnTo>
                  <a:lnTo>
                    <a:pt x="1121" y="1390"/>
                  </a:lnTo>
                  <a:lnTo>
                    <a:pt x="1093" y="1388"/>
                  </a:lnTo>
                  <a:lnTo>
                    <a:pt x="1037" y="1387"/>
                  </a:lnTo>
                  <a:lnTo>
                    <a:pt x="1002" y="1387"/>
                  </a:lnTo>
                  <a:lnTo>
                    <a:pt x="1002" y="1391"/>
                  </a:lnTo>
                  <a:lnTo>
                    <a:pt x="1001" y="1393"/>
                  </a:lnTo>
                  <a:lnTo>
                    <a:pt x="999" y="1395"/>
                  </a:lnTo>
                  <a:lnTo>
                    <a:pt x="997" y="1396"/>
                  </a:lnTo>
                  <a:lnTo>
                    <a:pt x="991" y="1396"/>
                  </a:lnTo>
                  <a:lnTo>
                    <a:pt x="985" y="1397"/>
                  </a:lnTo>
                  <a:lnTo>
                    <a:pt x="983" y="1401"/>
                  </a:lnTo>
                  <a:lnTo>
                    <a:pt x="981" y="1404"/>
                  </a:lnTo>
                  <a:lnTo>
                    <a:pt x="978" y="1406"/>
                  </a:lnTo>
                  <a:lnTo>
                    <a:pt x="974" y="1410"/>
                  </a:lnTo>
                  <a:lnTo>
                    <a:pt x="969" y="1414"/>
                  </a:lnTo>
                  <a:lnTo>
                    <a:pt x="966" y="1415"/>
                  </a:lnTo>
                  <a:lnTo>
                    <a:pt x="966" y="1434"/>
                  </a:lnTo>
                  <a:lnTo>
                    <a:pt x="960" y="1434"/>
                  </a:lnTo>
                  <a:lnTo>
                    <a:pt x="958" y="1435"/>
                  </a:lnTo>
                  <a:lnTo>
                    <a:pt x="957" y="1436"/>
                  </a:lnTo>
                  <a:lnTo>
                    <a:pt x="957" y="1439"/>
                  </a:lnTo>
                  <a:lnTo>
                    <a:pt x="957" y="1440"/>
                  </a:lnTo>
                  <a:lnTo>
                    <a:pt x="956" y="1442"/>
                  </a:lnTo>
                  <a:lnTo>
                    <a:pt x="952" y="1443"/>
                  </a:lnTo>
                  <a:lnTo>
                    <a:pt x="948" y="1443"/>
                  </a:lnTo>
                  <a:lnTo>
                    <a:pt x="948" y="1461"/>
                  </a:lnTo>
                  <a:lnTo>
                    <a:pt x="938" y="1471"/>
                  </a:lnTo>
                  <a:lnTo>
                    <a:pt x="920" y="1469"/>
                  </a:lnTo>
                  <a:lnTo>
                    <a:pt x="897" y="1467"/>
                  </a:lnTo>
                  <a:lnTo>
                    <a:pt x="877" y="1463"/>
                  </a:lnTo>
                  <a:lnTo>
                    <a:pt x="864" y="1461"/>
                  </a:lnTo>
                  <a:lnTo>
                    <a:pt x="864" y="1458"/>
                  </a:lnTo>
                  <a:lnTo>
                    <a:pt x="863" y="1454"/>
                  </a:lnTo>
                  <a:lnTo>
                    <a:pt x="861" y="1452"/>
                  </a:lnTo>
                  <a:lnTo>
                    <a:pt x="858" y="1449"/>
                  </a:lnTo>
                  <a:lnTo>
                    <a:pt x="855" y="1446"/>
                  </a:lnTo>
                  <a:lnTo>
                    <a:pt x="853" y="1444"/>
                  </a:lnTo>
                  <a:lnTo>
                    <a:pt x="849" y="1443"/>
                  </a:lnTo>
                  <a:lnTo>
                    <a:pt x="846" y="1443"/>
                  </a:lnTo>
                  <a:lnTo>
                    <a:pt x="836" y="1434"/>
                  </a:lnTo>
                  <a:lnTo>
                    <a:pt x="827" y="1424"/>
                  </a:lnTo>
                  <a:lnTo>
                    <a:pt x="827" y="1406"/>
                  </a:lnTo>
                  <a:lnTo>
                    <a:pt x="824" y="1405"/>
                  </a:lnTo>
                  <a:lnTo>
                    <a:pt x="820" y="1404"/>
                  </a:lnTo>
                  <a:lnTo>
                    <a:pt x="817" y="1403"/>
                  </a:lnTo>
                  <a:lnTo>
                    <a:pt x="815" y="1401"/>
                  </a:lnTo>
                  <a:lnTo>
                    <a:pt x="813" y="1397"/>
                  </a:lnTo>
                  <a:lnTo>
                    <a:pt x="810" y="1394"/>
                  </a:lnTo>
                  <a:lnTo>
                    <a:pt x="809" y="1391"/>
                  </a:lnTo>
                  <a:lnTo>
                    <a:pt x="809" y="1387"/>
                  </a:lnTo>
                  <a:lnTo>
                    <a:pt x="799" y="1378"/>
                  </a:lnTo>
                  <a:lnTo>
                    <a:pt x="790" y="1369"/>
                  </a:lnTo>
                  <a:lnTo>
                    <a:pt x="741" y="1369"/>
                  </a:lnTo>
                  <a:lnTo>
                    <a:pt x="738" y="1366"/>
                  </a:lnTo>
                  <a:lnTo>
                    <a:pt x="732" y="1359"/>
                  </a:lnTo>
                  <a:lnTo>
                    <a:pt x="717" y="1359"/>
                  </a:lnTo>
                  <a:lnTo>
                    <a:pt x="698" y="1358"/>
                  </a:lnTo>
                  <a:lnTo>
                    <a:pt x="675" y="1356"/>
                  </a:lnTo>
                  <a:lnTo>
                    <a:pt x="653" y="1353"/>
                  </a:lnTo>
                  <a:lnTo>
                    <a:pt x="642" y="1351"/>
                  </a:lnTo>
                  <a:lnTo>
                    <a:pt x="631" y="1348"/>
                  </a:lnTo>
                  <a:lnTo>
                    <a:pt x="621" y="1345"/>
                  </a:lnTo>
                  <a:lnTo>
                    <a:pt x="612" y="1342"/>
                  </a:lnTo>
                  <a:lnTo>
                    <a:pt x="603" y="1337"/>
                  </a:lnTo>
                  <a:lnTo>
                    <a:pt x="596" y="1333"/>
                  </a:lnTo>
                  <a:lnTo>
                    <a:pt x="592" y="1328"/>
                  </a:lnTo>
                  <a:lnTo>
                    <a:pt x="588" y="1323"/>
                  </a:lnTo>
                  <a:lnTo>
                    <a:pt x="582" y="1316"/>
                  </a:lnTo>
                  <a:lnTo>
                    <a:pt x="577" y="1316"/>
                  </a:lnTo>
                  <a:lnTo>
                    <a:pt x="573" y="1315"/>
                  </a:lnTo>
                  <a:lnTo>
                    <a:pt x="571" y="1315"/>
                  </a:lnTo>
                  <a:lnTo>
                    <a:pt x="570" y="1314"/>
                  </a:lnTo>
                  <a:lnTo>
                    <a:pt x="569" y="1311"/>
                  </a:lnTo>
                  <a:lnTo>
                    <a:pt x="569" y="1310"/>
                  </a:lnTo>
                  <a:lnTo>
                    <a:pt x="560" y="1309"/>
                  </a:lnTo>
                  <a:lnTo>
                    <a:pt x="553" y="1306"/>
                  </a:lnTo>
                  <a:lnTo>
                    <a:pt x="549" y="1304"/>
                  </a:lnTo>
                  <a:lnTo>
                    <a:pt x="546" y="1301"/>
                  </a:lnTo>
                  <a:lnTo>
                    <a:pt x="545" y="1299"/>
                  </a:lnTo>
                  <a:lnTo>
                    <a:pt x="545" y="1297"/>
                  </a:lnTo>
                  <a:lnTo>
                    <a:pt x="536" y="1297"/>
                  </a:lnTo>
                  <a:lnTo>
                    <a:pt x="529" y="1297"/>
                  </a:lnTo>
                  <a:lnTo>
                    <a:pt x="523" y="1295"/>
                  </a:lnTo>
                  <a:lnTo>
                    <a:pt x="519" y="1291"/>
                  </a:lnTo>
                  <a:lnTo>
                    <a:pt x="512" y="1290"/>
                  </a:lnTo>
                  <a:lnTo>
                    <a:pt x="505" y="1287"/>
                  </a:lnTo>
                  <a:lnTo>
                    <a:pt x="500" y="1286"/>
                  </a:lnTo>
                  <a:lnTo>
                    <a:pt x="497" y="1284"/>
                  </a:lnTo>
                  <a:lnTo>
                    <a:pt x="494" y="1281"/>
                  </a:lnTo>
                  <a:lnTo>
                    <a:pt x="494" y="1279"/>
                  </a:lnTo>
                  <a:lnTo>
                    <a:pt x="490" y="1278"/>
                  </a:lnTo>
                  <a:lnTo>
                    <a:pt x="486" y="1278"/>
                  </a:lnTo>
                  <a:lnTo>
                    <a:pt x="484" y="1277"/>
                  </a:lnTo>
                  <a:lnTo>
                    <a:pt x="482" y="1276"/>
                  </a:lnTo>
                  <a:lnTo>
                    <a:pt x="482" y="1275"/>
                  </a:lnTo>
                  <a:lnTo>
                    <a:pt x="481" y="1272"/>
                  </a:lnTo>
                  <a:lnTo>
                    <a:pt x="459" y="1272"/>
                  </a:lnTo>
                  <a:lnTo>
                    <a:pt x="421" y="1274"/>
                  </a:lnTo>
                  <a:lnTo>
                    <a:pt x="402" y="1276"/>
                  </a:lnTo>
                  <a:lnTo>
                    <a:pt x="385" y="1278"/>
                  </a:lnTo>
                  <a:lnTo>
                    <a:pt x="378" y="1279"/>
                  </a:lnTo>
                  <a:lnTo>
                    <a:pt x="374" y="1280"/>
                  </a:lnTo>
                  <a:lnTo>
                    <a:pt x="371" y="1282"/>
                  </a:lnTo>
                  <a:lnTo>
                    <a:pt x="369" y="1285"/>
                  </a:lnTo>
                  <a:lnTo>
                    <a:pt x="356" y="1285"/>
                  </a:lnTo>
                  <a:lnTo>
                    <a:pt x="350" y="1297"/>
                  </a:lnTo>
                  <a:lnTo>
                    <a:pt x="340" y="1297"/>
                  </a:lnTo>
                  <a:lnTo>
                    <a:pt x="328" y="1297"/>
                  </a:lnTo>
                  <a:lnTo>
                    <a:pt x="317" y="1297"/>
                  </a:lnTo>
                  <a:lnTo>
                    <a:pt x="307" y="1297"/>
                  </a:lnTo>
                  <a:lnTo>
                    <a:pt x="300" y="1291"/>
                  </a:lnTo>
                  <a:lnTo>
                    <a:pt x="294" y="1285"/>
                  </a:lnTo>
                  <a:lnTo>
                    <a:pt x="288" y="1279"/>
                  </a:lnTo>
                  <a:lnTo>
                    <a:pt x="281" y="1272"/>
                  </a:lnTo>
                  <a:lnTo>
                    <a:pt x="279" y="1265"/>
                  </a:lnTo>
                  <a:lnTo>
                    <a:pt x="275" y="1255"/>
                  </a:lnTo>
                  <a:lnTo>
                    <a:pt x="271" y="1249"/>
                  </a:lnTo>
                  <a:lnTo>
                    <a:pt x="268" y="1246"/>
                  </a:lnTo>
                  <a:lnTo>
                    <a:pt x="266" y="1242"/>
                  </a:lnTo>
                  <a:lnTo>
                    <a:pt x="262" y="1241"/>
                  </a:lnTo>
                  <a:lnTo>
                    <a:pt x="262" y="1236"/>
                  </a:lnTo>
                  <a:lnTo>
                    <a:pt x="262" y="1229"/>
                  </a:lnTo>
                  <a:lnTo>
                    <a:pt x="261" y="1227"/>
                  </a:lnTo>
                  <a:lnTo>
                    <a:pt x="260" y="1224"/>
                  </a:lnTo>
                  <a:lnTo>
                    <a:pt x="259" y="1223"/>
                  </a:lnTo>
                  <a:lnTo>
                    <a:pt x="257" y="1222"/>
                  </a:lnTo>
                  <a:lnTo>
                    <a:pt x="257" y="1203"/>
                  </a:lnTo>
                  <a:lnTo>
                    <a:pt x="252" y="1202"/>
                  </a:lnTo>
                  <a:lnTo>
                    <a:pt x="249" y="1200"/>
                  </a:lnTo>
                  <a:lnTo>
                    <a:pt x="247" y="1195"/>
                  </a:lnTo>
                  <a:lnTo>
                    <a:pt x="244" y="1191"/>
                  </a:lnTo>
                  <a:lnTo>
                    <a:pt x="243" y="1186"/>
                  </a:lnTo>
                  <a:lnTo>
                    <a:pt x="241" y="1182"/>
                  </a:lnTo>
                  <a:lnTo>
                    <a:pt x="240" y="1180"/>
                  </a:lnTo>
                  <a:lnTo>
                    <a:pt x="238" y="1179"/>
                  </a:lnTo>
                  <a:lnTo>
                    <a:pt x="235" y="1159"/>
                  </a:lnTo>
                  <a:lnTo>
                    <a:pt x="231" y="1127"/>
                  </a:lnTo>
                  <a:lnTo>
                    <a:pt x="228" y="1112"/>
                  </a:lnTo>
                  <a:lnTo>
                    <a:pt x="224" y="1097"/>
                  </a:lnTo>
                  <a:lnTo>
                    <a:pt x="222" y="1088"/>
                  </a:lnTo>
                  <a:lnTo>
                    <a:pt x="219" y="1085"/>
                  </a:lnTo>
                  <a:lnTo>
                    <a:pt x="219" y="1059"/>
                  </a:lnTo>
                  <a:lnTo>
                    <a:pt x="217" y="1058"/>
                  </a:lnTo>
                  <a:lnTo>
                    <a:pt x="212" y="1053"/>
                  </a:lnTo>
                  <a:lnTo>
                    <a:pt x="209" y="1046"/>
                  </a:lnTo>
                  <a:lnTo>
                    <a:pt x="204" y="1037"/>
                  </a:lnTo>
                  <a:lnTo>
                    <a:pt x="196" y="1020"/>
                  </a:lnTo>
                  <a:lnTo>
                    <a:pt x="194" y="1010"/>
                  </a:lnTo>
                  <a:lnTo>
                    <a:pt x="190" y="1009"/>
                  </a:lnTo>
                  <a:lnTo>
                    <a:pt x="185" y="1006"/>
                  </a:lnTo>
                  <a:lnTo>
                    <a:pt x="183" y="1002"/>
                  </a:lnTo>
                  <a:lnTo>
                    <a:pt x="182" y="997"/>
                  </a:lnTo>
                  <a:lnTo>
                    <a:pt x="169" y="998"/>
                  </a:lnTo>
                  <a:lnTo>
                    <a:pt x="152" y="999"/>
                  </a:lnTo>
                  <a:lnTo>
                    <a:pt x="144" y="1000"/>
                  </a:lnTo>
                  <a:lnTo>
                    <a:pt x="137" y="1002"/>
                  </a:lnTo>
                  <a:lnTo>
                    <a:pt x="135" y="1003"/>
                  </a:lnTo>
                  <a:lnTo>
                    <a:pt x="133" y="1006"/>
                  </a:lnTo>
                  <a:lnTo>
                    <a:pt x="132" y="1008"/>
                  </a:lnTo>
                  <a:lnTo>
                    <a:pt x="132" y="1010"/>
                  </a:lnTo>
                  <a:lnTo>
                    <a:pt x="121" y="1011"/>
                  </a:lnTo>
                  <a:lnTo>
                    <a:pt x="109" y="1012"/>
                  </a:lnTo>
                  <a:lnTo>
                    <a:pt x="98" y="1015"/>
                  </a:lnTo>
                  <a:lnTo>
                    <a:pt x="88" y="1016"/>
                  </a:lnTo>
                  <a:lnTo>
                    <a:pt x="80" y="1022"/>
                  </a:lnTo>
                  <a:lnTo>
                    <a:pt x="73" y="1027"/>
                  </a:lnTo>
                  <a:lnTo>
                    <a:pt x="65" y="1030"/>
                  </a:lnTo>
                  <a:lnTo>
                    <a:pt x="56" y="1032"/>
                  </a:lnTo>
                  <a:lnTo>
                    <a:pt x="38" y="1035"/>
                  </a:lnTo>
                  <a:lnTo>
                    <a:pt x="19" y="1035"/>
                  </a:lnTo>
                  <a:lnTo>
                    <a:pt x="12" y="1028"/>
                  </a:lnTo>
                  <a:lnTo>
                    <a:pt x="7" y="1022"/>
                  </a:lnTo>
                  <a:lnTo>
                    <a:pt x="7" y="1018"/>
                  </a:lnTo>
                  <a:lnTo>
                    <a:pt x="6" y="1013"/>
                  </a:lnTo>
                  <a:lnTo>
                    <a:pt x="4" y="1012"/>
                  </a:lnTo>
                  <a:lnTo>
                    <a:pt x="3" y="1011"/>
                  </a:lnTo>
                  <a:lnTo>
                    <a:pt x="2" y="1010"/>
                  </a:lnTo>
                  <a:lnTo>
                    <a:pt x="0" y="1010"/>
                  </a:lnTo>
                  <a:lnTo>
                    <a:pt x="0" y="992"/>
                  </a:lnTo>
                  <a:lnTo>
                    <a:pt x="1" y="968"/>
                  </a:lnTo>
                  <a:lnTo>
                    <a:pt x="1" y="955"/>
                  </a:lnTo>
                  <a:lnTo>
                    <a:pt x="2" y="944"/>
                  </a:lnTo>
                  <a:lnTo>
                    <a:pt x="4" y="938"/>
                  </a:lnTo>
                  <a:lnTo>
                    <a:pt x="7" y="934"/>
                  </a:lnTo>
                  <a:lnTo>
                    <a:pt x="7" y="910"/>
                  </a:lnTo>
                  <a:lnTo>
                    <a:pt x="10" y="910"/>
                  </a:lnTo>
                  <a:lnTo>
                    <a:pt x="12" y="909"/>
                  </a:lnTo>
                  <a:lnTo>
                    <a:pt x="12" y="907"/>
                  </a:lnTo>
                  <a:lnTo>
                    <a:pt x="12" y="906"/>
                  </a:lnTo>
                  <a:lnTo>
                    <a:pt x="12" y="905"/>
                  </a:lnTo>
                  <a:lnTo>
                    <a:pt x="13" y="904"/>
                  </a:lnTo>
                  <a:lnTo>
                    <a:pt x="16" y="904"/>
                  </a:lnTo>
                  <a:lnTo>
                    <a:pt x="19" y="903"/>
                  </a:lnTo>
                  <a:lnTo>
                    <a:pt x="22" y="896"/>
                  </a:lnTo>
                  <a:lnTo>
                    <a:pt x="29" y="887"/>
                  </a:lnTo>
                  <a:lnTo>
                    <a:pt x="37" y="878"/>
                  </a:lnTo>
                  <a:lnTo>
                    <a:pt x="43" y="872"/>
                  </a:lnTo>
                  <a:lnTo>
                    <a:pt x="57" y="872"/>
                  </a:lnTo>
                  <a:lnTo>
                    <a:pt x="57" y="859"/>
                  </a:lnTo>
                  <a:lnTo>
                    <a:pt x="61" y="859"/>
                  </a:lnTo>
                  <a:lnTo>
                    <a:pt x="65" y="858"/>
                  </a:lnTo>
                  <a:lnTo>
                    <a:pt x="67" y="858"/>
                  </a:lnTo>
                  <a:lnTo>
                    <a:pt x="68" y="857"/>
                  </a:lnTo>
                  <a:lnTo>
                    <a:pt x="68" y="855"/>
                  </a:lnTo>
                  <a:lnTo>
                    <a:pt x="69" y="854"/>
                  </a:lnTo>
                  <a:lnTo>
                    <a:pt x="75" y="853"/>
                  </a:lnTo>
                  <a:lnTo>
                    <a:pt x="80" y="853"/>
                  </a:lnTo>
                  <a:lnTo>
                    <a:pt x="84" y="852"/>
                  </a:lnTo>
                  <a:lnTo>
                    <a:pt x="86" y="851"/>
                  </a:lnTo>
                  <a:lnTo>
                    <a:pt x="87" y="849"/>
                  </a:lnTo>
                  <a:lnTo>
                    <a:pt x="88" y="847"/>
                  </a:lnTo>
                  <a:lnTo>
                    <a:pt x="94" y="847"/>
                  </a:lnTo>
                  <a:lnTo>
                    <a:pt x="99" y="846"/>
                  </a:lnTo>
                  <a:lnTo>
                    <a:pt x="102" y="846"/>
                  </a:lnTo>
                  <a:lnTo>
                    <a:pt x="105" y="845"/>
                  </a:lnTo>
                  <a:lnTo>
                    <a:pt x="106" y="843"/>
                  </a:lnTo>
                  <a:lnTo>
                    <a:pt x="106" y="840"/>
                  </a:lnTo>
                  <a:lnTo>
                    <a:pt x="125" y="840"/>
                  </a:lnTo>
                  <a:lnTo>
                    <a:pt x="127" y="837"/>
                  </a:lnTo>
                  <a:lnTo>
                    <a:pt x="132" y="834"/>
                  </a:lnTo>
                  <a:lnTo>
                    <a:pt x="134" y="832"/>
                  </a:lnTo>
                  <a:lnTo>
                    <a:pt x="136" y="829"/>
                  </a:lnTo>
                  <a:lnTo>
                    <a:pt x="137" y="826"/>
                  </a:lnTo>
                  <a:lnTo>
                    <a:pt x="137" y="823"/>
                  </a:lnTo>
                  <a:lnTo>
                    <a:pt x="141" y="822"/>
                  </a:lnTo>
                  <a:lnTo>
                    <a:pt x="143" y="819"/>
                  </a:lnTo>
                  <a:lnTo>
                    <a:pt x="146" y="816"/>
                  </a:lnTo>
                  <a:lnTo>
                    <a:pt x="150" y="811"/>
                  </a:lnTo>
                  <a:lnTo>
                    <a:pt x="154" y="804"/>
                  </a:lnTo>
                  <a:lnTo>
                    <a:pt x="156" y="797"/>
                  </a:lnTo>
                  <a:lnTo>
                    <a:pt x="161" y="796"/>
                  </a:lnTo>
                  <a:lnTo>
                    <a:pt x="166" y="794"/>
                  </a:lnTo>
                  <a:lnTo>
                    <a:pt x="171" y="789"/>
                  </a:lnTo>
                  <a:lnTo>
                    <a:pt x="175" y="785"/>
                  </a:lnTo>
                  <a:lnTo>
                    <a:pt x="175" y="762"/>
                  </a:lnTo>
                  <a:lnTo>
                    <a:pt x="175" y="740"/>
                  </a:lnTo>
                  <a:lnTo>
                    <a:pt x="175" y="715"/>
                  </a:lnTo>
                  <a:lnTo>
                    <a:pt x="175" y="691"/>
                  </a:lnTo>
                  <a:lnTo>
                    <a:pt x="175" y="666"/>
                  </a:lnTo>
                  <a:lnTo>
                    <a:pt x="175" y="642"/>
                  </a:lnTo>
                  <a:lnTo>
                    <a:pt x="175" y="619"/>
                  </a:lnTo>
                  <a:lnTo>
                    <a:pt x="175" y="597"/>
                  </a:lnTo>
                  <a:lnTo>
                    <a:pt x="187" y="597"/>
                  </a:lnTo>
                  <a:lnTo>
                    <a:pt x="187" y="585"/>
                  </a:lnTo>
                  <a:lnTo>
                    <a:pt x="194" y="578"/>
                  </a:lnTo>
                  <a:lnTo>
                    <a:pt x="200" y="572"/>
                  </a:lnTo>
                  <a:lnTo>
                    <a:pt x="213" y="572"/>
                  </a:lnTo>
                  <a:lnTo>
                    <a:pt x="213" y="568"/>
                  </a:lnTo>
                  <a:lnTo>
                    <a:pt x="213" y="567"/>
                  </a:lnTo>
                  <a:lnTo>
                    <a:pt x="214" y="566"/>
                  </a:lnTo>
                  <a:lnTo>
                    <a:pt x="215" y="566"/>
                  </a:lnTo>
                  <a:lnTo>
                    <a:pt x="217" y="566"/>
                  </a:lnTo>
                  <a:lnTo>
                    <a:pt x="218" y="565"/>
                  </a:lnTo>
                  <a:lnTo>
                    <a:pt x="219" y="564"/>
                  </a:lnTo>
                  <a:lnTo>
                    <a:pt x="219" y="559"/>
                  </a:lnTo>
                  <a:lnTo>
                    <a:pt x="225" y="554"/>
                  </a:lnTo>
                  <a:lnTo>
                    <a:pt x="231" y="547"/>
                  </a:lnTo>
                  <a:lnTo>
                    <a:pt x="237" y="547"/>
                  </a:lnTo>
                  <a:lnTo>
                    <a:pt x="243" y="546"/>
                  </a:lnTo>
                  <a:lnTo>
                    <a:pt x="246" y="546"/>
                  </a:lnTo>
                  <a:lnTo>
                    <a:pt x="248" y="545"/>
                  </a:lnTo>
                  <a:lnTo>
                    <a:pt x="250" y="542"/>
                  </a:lnTo>
                  <a:lnTo>
                    <a:pt x="250" y="540"/>
                  </a:lnTo>
                  <a:lnTo>
                    <a:pt x="269" y="540"/>
                  </a:lnTo>
                  <a:lnTo>
                    <a:pt x="269" y="537"/>
                  </a:lnTo>
                  <a:lnTo>
                    <a:pt x="270" y="536"/>
                  </a:lnTo>
                  <a:lnTo>
                    <a:pt x="271" y="535"/>
                  </a:lnTo>
                  <a:lnTo>
                    <a:pt x="272" y="535"/>
                  </a:lnTo>
                  <a:lnTo>
                    <a:pt x="273" y="535"/>
                  </a:lnTo>
                  <a:lnTo>
                    <a:pt x="275" y="534"/>
                  </a:lnTo>
                  <a:lnTo>
                    <a:pt x="275" y="532"/>
                  </a:lnTo>
                  <a:lnTo>
                    <a:pt x="276" y="528"/>
                  </a:lnTo>
                  <a:lnTo>
                    <a:pt x="281" y="522"/>
                  </a:lnTo>
                  <a:lnTo>
                    <a:pt x="294" y="522"/>
                  </a:lnTo>
                  <a:lnTo>
                    <a:pt x="295" y="519"/>
                  </a:lnTo>
                  <a:lnTo>
                    <a:pt x="295" y="5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6" name="Freeform 52"/>
            <p:cNvSpPr>
              <a:spLocks noChangeAspect="1"/>
            </p:cNvSpPr>
            <p:nvPr/>
          </p:nvSpPr>
          <p:spPr bwMode="gray">
            <a:xfrm rot="355651">
              <a:off x="6476702" y="2795588"/>
              <a:ext cx="499356" cy="299155"/>
            </a:xfrm>
            <a:custGeom>
              <a:avLst/>
              <a:gdLst/>
              <a:ahLst/>
              <a:cxnLst>
                <a:cxn ang="0">
                  <a:pos x="136" y="824"/>
                </a:cxn>
                <a:cxn ang="0">
                  <a:pos x="344" y="882"/>
                </a:cxn>
                <a:cxn ang="0">
                  <a:pos x="416" y="935"/>
                </a:cxn>
                <a:cxn ang="0">
                  <a:pos x="484" y="1013"/>
                </a:cxn>
                <a:cxn ang="0">
                  <a:pos x="513" y="1196"/>
                </a:cxn>
                <a:cxn ang="0">
                  <a:pos x="491" y="1239"/>
                </a:cxn>
                <a:cxn ang="0">
                  <a:pos x="449" y="1317"/>
                </a:cxn>
                <a:cxn ang="0">
                  <a:pos x="542" y="1358"/>
                </a:cxn>
                <a:cxn ang="0">
                  <a:pos x="576" y="1445"/>
                </a:cxn>
                <a:cxn ang="0">
                  <a:pos x="599" y="1498"/>
                </a:cxn>
                <a:cxn ang="0">
                  <a:pos x="639" y="1586"/>
                </a:cxn>
                <a:cxn ang="0">
                  <a:pos x="739" y="1637"/>
                </a:cxn>
                <a:cxn ang="0">
                  <a:pos x="974" y="1698"/>
                </a:cxn>
                <a:cxn ang="0">
                  <a:pos x="1091" y="1815"/>
                </a:cxn>
                <a:cxn ang="0">
                  <a:pos x="1200" y="1840"/>
                </a:cxn>
                <a:cxn ang="0">
                  <a:pos x="1253" y="1775"/>
                </a:cxn>
                <a:cxn ang="0">
                  <a:pos x="1263" y="1613"/>
                </a:cxn>
                <a:cxn ang="0">
                  <a:pos x="1211" y="1575"/>
                </a:cxn>
                <a:cxn ang="0">
                  <a:pos x="1198" y="1567"/>
                </a:cxn>
                <a:cxn ang="0">
                  <a:pos x="934" y="1538"/>
                </a:cxn>
                <a:cxn ang="0">
                  <a:pos x="838" y="1425"/>
                </a:cxn>
                <a:cxn ang="0">
                  <a:pos x="768" y="1313"/>
                </a:cxn>
                <a:cxn ang="0">
                  <a:pos x="729" y="1263"/>
                </a:cxn>
                <a:cxn ang="0">
                  <a:pos x="696" y="1179"/>
                </a:cxn>
                <a:cxn ang="0">
                  <a:pos x="697" y="863"/>
                </a:cxn>
                <a:cxn ang="0">
                  <a:pos x="839" y="889"/>
                </a:cxn>
                <a:cxn ang="0">
                  <a:pos x="907" y="940"/>
                </a:cxn>
                <a:cxn ang="0">
                  <a:pos x="1117" y="975"/>
                </a:cxn>
                <a:cxn ang="0">
                  <a:pos x="1237" y="1096"/>
                </a:cxn>
                <a:cxn ang="0">
                  <a:pos x="1324" y="1228"/>
                </a:cxn>
                <a:cxn ang="0">
                  <a:pos x="1359" y="1373"/>
                </a:cxn>
                <a:cxn ang="0">
                  <a:pos x="1418" y="1496"/>
                </a:cxn>
                <a:cxn ang="0">
                  <a:pos x="1622" y="1707"/>
                </a:cxn>
                <a:cxn ang="0">
                  <a:pos x="1793" y="1756"/>
                </a:cxn>
                <a:cxn ang="0">
                  <a:pos x="1821" y="1259"/>
                </a:cxn>
                <a:cxn ang="0">
                  <a:pos x="1768" y="1189"/>
                </a:cxn>
                <a:cxn ang="0">
                  <a:pos x="1579" y="1122"/>
                </a:cxn>
                <a:cxn ang="0">
                  <a:pos x="1440" y="1035"/>
                </a:cxn>
                <a:cxn ang="0">
                  <a:pos x="1359" y="969"/>
                </a:cxn>
                <a:cxn ang="0">
                  <a:pos x="1280" y="882"/>
                </a:cxn>
                <a:cxn ang="0">
                  <a:pos x="1443" y="701"/>
                </a:cxn>
                <a:cxn ang="0">
                  <a:pos x="1674" y="686"/>
                </a:cxn>
                <a:cxn ang="0">
                  <a:pos x="1846" y="839"/>
                </a:cxn>
                <a:cxn ang="0">
                  <a:pos x="2098" y="949"/>
                </a:cxn>
                <a:cxn ang="0">
                  <a:pos x="2164" y="980"/>
                </a:cxn>
                <a:cxn ang="0">
                  <a:pos x="2267" y="1191"/>
                </a:cxn>
                <a:cxn ang="0">
                  <a:pos x="2355" y="1236"/>
                </a:cxn>
                <a:cxn ang="0">
                  <a:pos x="2750" y="1207"/>
                </a:cxn>
                <a:cxn ang="0">
                  <a:pos x="2654" y="1066"/>
                </a:cxn>
                <a:cxn ang="0">
                  <a:pos x="2603" y="997"/>
                </a:cxn>
                <a:cxn ang="0">
                  <a:pos x="2393" y="853"/>
                </a:cxn>
                <a:cxn ang="0">
                  <a:pos x="2248" y="752"/>
                </a:cxn>
                <a:cxn ang="0">
                  <a:pos x="2098" y="692"/>
                </a:cxn>
                <a:cxn ang="0">
                  <a:pos x="1946" y="580"/>
                </a:cxn>
                <a:cxn ang="0">
                  <a:pos x="1763" y="504"/>
                </a:cxn>
                <a:cxn ang="0">
                  <a:pos x="1703" y="375"/>
                </a:cxn>
                <a:cxn ang="0">
                  <a:pos x="1577" y="187"/>
                </a:cxn>
                <a:cxn ang="0">
                  <a:pos x="1407" y="28"/>
                </a:cxn>
                <a:cxn ang="0">
                  <a:pos x="1058" y="90"/>
                </a:cxn>
                <a:cxn ang="0">
                  <a:pos x="387" y="334"/>
                </a:cxn>
                <a:cxn ang="0">
                  <a:pos x="296" y="425"/>
                </a:cxn>
                <a:cxn ang="0">
                  <a:pos x="243" y="594"/>
                </a:cxn>
                <a:cxn ang="0">
                  <a:pos x="38" y="604"/>
                </a:cxn>
              </a:cxnLst>
              <a:rect l="0" t="0" r="r" b="b"/>
              <a:pathLst>
                <a:path w="2750" h="1840">
                  <a:moveTo>
                    <a:pt x="4" y="717"/>
                  </a:moveTo>
                  <a:lnTo>
                    <a:pt x="24" y="723"/>
                  </a:lnTo>
                  <a:lnTo>
                    <a:pt x="47" y="726"/>
                  </a:lnTo>
                  <a:lnTo>
                    <a:pt x="70" y="729"/>
                  </a:lnTo>
                  <a:lnTo>
                    <a:pt x="83" y="730"/>
                  </a:lnTo>
                  <a:lnTo>
                    <a:pt x="85" y="738"/>
                  </a:lnTo>
                  <a:lnTo>
                    <a:pt x="92" y="750"/>
                  </a:lnTo>
                  <a:lnTo>
                    <a:pt x="96" y="756"/>
                  </a:lnTo>
                  <a:lnTo>
                    <a:pt x="100" y="760"/>
                  </a:lnTo>
                  <a:lnTo>
                    <a:pt x="103" y="764"/>
                  </a:lnTo>
                  <a:lnTo>
                    <a:pt x="106" y="766"/>
                  </a:lnTo>
                  <a:lnTo>
                    <a:pt x="106" y="777"/>
                  </a:lnTo>
                  <a:lnTo>
                    <a:pt x="109" y="778"/>
                  </a:lnTo>
                  <a:lnTo>
                    <a:pt x="110" y="783"/>
                  </a:lnTo>
                  <a:lnTo>
                    <a:pt x="112" y="788"/>
                  </a:lnTo>
                  <a:lnTo>
                    <a:pt x="114" y="795"/>
                  </a:lnTo>
                  <a:lnTo>
                    <a:pt x="117" y="808"/>
                  </a:lnTo>
                  <a:lnTo>
                    <a:pt x="118" y="817"/>
                  </a:lnTo>
                  <a:lnTo>
                    <a:pt x="129" y="817"/>
                  </a:lnTo>
                  <a:lnTo>
                    <a:pt x="136" y="824"/>
                  </a:lnTo>
                  <a:lnTo>
                    <a:pt x="136" y="835"/>
                  </a:lnTo>
                  <a:lnTo>
                    <a:pt x="141" y="841"/>
                  </a:lnTo>
                  <a:lnTo>
                    <a:pt x="154" y="843"/>
                  </a:lnTo>
                  <a:lnTo>
                    <a:pt x="171" y="846"/>
                  </a:lnTo>
                  <a:lnTo>
                    <a:pt x="179" y="849"/>
                  </a:lnTo>
                  <a:lnTo>
                    <a:pt x="188" y="851"/>
                  </a:lnTo>
                  <a:lnTo>
                    <a:pt x="196" y="852"/>
                  </a:lnTo>
                  <a:lnTo>
                    <a:pt x="205" y="853"/>
                  </a:lnTo>
                  <a:lnTo>
                    <a:pt x="205" y="851"/>
                  </a:lnTo>
                  <a:lnTo>
                    <a:pt x="206" y="849"/>
                  </a:lnTo>
                  <a:lnTo>
                    <a:pt x="208" y="848"/>
                  </a:lnTo>
                  <a:lnTo>
                    <a:pt x="210" y="848"/>
                  </a:lnTo>
                  <a:lnTo>
                    <a:pt x="217" y="846"/>
                  </a:lnTo>
                  <a:lnTo>
                    <a:pt x="226" y="846"/>
                  </a:lnTo>
                  <a:lnTo>
                    <a:pt x="247" y="850"/>
                  </a:lnTo>
                  <a:lnTo>
                    <a:pt x="273" y="856"/>
                  </a:lnTo>
                  <a:lnTo>
                    <a:pt x="297" y="864"/>
                  </a:lnTo>
                  <a:lnTo>
                    <a:pt x="320" y="871"/>
                  </a:lnTo>
                  <a:lnTo>
                    <a:pt x="336" y="878"/>
                  </a:lnTo>
                  <a:lnTo>
                    <a:pt x="344" y="882"/>
                  </a:lnTo>
                  <a:lnTo>
                    <a:pt x="349" y="882"/>
                  </a:lnTo>
                  <a:lnTo>
                    <a:pt x="352" y="882"/>
                  </a:lnTo>
                  <a:lnTo>
                    <a:pt x="354" y="883"/>
                  </a:lnTo>
                  <a:lnTo>
                    <a:pt x="355" y="884"/>
                  </a:lnTo>
                  <a:lnTo>
                    <a:pt x="355" y="885"/>
                  </a:lnTo>
                  <a:lnTo>
                    <a:pt x="355" y="888"/>
                  </a:lnTo>
                  <a:lnTo>
                    <a:pt x="373" y="888"/>
                  </a:lnTo>
                  <a:lnTo>
                    <a:pt x="379" y="893"/>
                  </a:lnTo>
                  <a:lnTo>
                    <a:pt x="380" y="898"/>
                  </a:lnTo>
                  <a:lnTo>
                    <a:pt x="383" y="901"/>
                  </a:lnTo>
                  <a:lnTo>
                    <a:pt x="388" y="904"/>
                  </a:lnTo>
                  <a:lnTo>
                    <a:pt x="393" y="909"/>
                  </a:lnTo>
                  <a:lnTo>
                    <a:pt x="399" y="912"/>
                  </a:lnTo>
                  <a:lnTo>
                    <a:pt x="403" y="917"/>
                  </a:lnTo>
                  <a:lnTo>
                    <a:pt x="407" y="922"/>
                  </a:lnTo>
                  <a:lnTo>
                    <a:pt x="408" y="928"/>
                  </a:lnTo>
                  <a:lnTo>
                    <a:pt x="410" y="929"/>
                  </a:lnTo>
                  <a:lnTo>
                    <a:pt x="412" y="930"/>
                  </a:lnTo>
                  <a:lnTo>
                    <a:pt x="415" y="932"/>
                  </a:lnTo>
                  <a:lnTo>
                    <a:pt x="416" y="935"/>
                  </a:lnTo>
                  <a:lnTo>
                    <a:pt x="419" y="940"/>
                  </a:lnTo>
                  <a:lnTo>
                    <a:pt x="420" y="946"/>
                  </a:lnTo>
                  <a:lnTo>
                    <a:pt x="424" y="947"/>
                  </a:lnTo>
                  <a:lnTo>
                    <a:pt x="427" y="951"/>
                  </a:lnTo>
                  <a:lnTo>
                    <a:pt x="428" y="954"/>
                  </a:lnTo>
                  <a:lnTo>
                    <a:pt x="430" y="956"/>
                  </a:lnTo>
                  <a:lnTo>
                    <a:pt x="434" y="957"/>
                  </a:lnTo>
                  <a:lnTo>
                    <a:pt x="437" y="957"/>
                  </a:lnTo>
                  <a:lnTo>
                    <a:pt x="437" y="969"/>
                  </a:lnTo>
                  <a:lnTo>
                    <a:pt x="440" y="969"/>
                  </a:lnTo>
                  <a:lnTo>
                    <a:pt x="443" y="969"/>
                  </a:lnTo>
                  <a:lnTo>
                    <a:pt x="443" y="970"/>
                  </a:lnTo>
                  <a:lnTo>
                    <a:pt x="444" y="971"/>
                  </a:lnTo>
                  <a:lnTo>
                    <a:pt x="444" y="973"/>
                  </a:lnTo>
                  <a:lnTo>
                    <a:pt x="444" y="974"/>
                  </a:lnTo>
                  <a:lnTo>
                    <a:pt x="446" y="975"/>
                  </a:lnTo>
                  <a:lnTo>
                    <a:pt x="449" y="975"/>
                  </a:lnTo>
                  <a:lnTo>
                    <a:pt x="473" y="980"/>
                  </a:lnTo>
                  <a:lnTo>
                    <a:pt x="484" y="992"/>
                  </a:lnTo>
                  <a:lnTo>
                    <a:pt x="484" y="1013"/>
                  </a:lnTo>
                  <a:lnTo>
                    <a:pt x="484" y="1036"/>
                  </a:lnTo>
                  <a:lnTo>
                    <a:pt x="484" y="1058"/>
                  </a:lnTo>
                  <a:lnTo>
                    <a:pt x="484" y="1080"/>
                  </a:lnTo>
                  <a:lnTo>
                    <a:pt x="486" y="1081"/>
                  </a:lnTo>
                  <a:lnTo>
                    <a:pt x="489" y="1085"/>
                  </a:lnTo>
                  <a:lnTo>
                    <a:pt x="492" y="1093"/>
                  </a:lnTo>
                  <a:lnTo>
                    <a:pt x="495" y="1101"/>
                  </a:lnTo>
                  <a:lnTo>
                    <a:pt x="499" y="1119"/>
                  </a:lnTo>
                  <a:lnTo>
                    <a:pt x="502" y="1131"/>
                  </a:lnTo>
                  <a:lnTo>
                    <a:pt x="503" y="1132"/>
                  </a:lnTo>
                  <a:lnTo>
                    <a:pt x="505" y="1133"/>
                  </a:lnTo>
                  <a:lnTo>
                    <a:pt x="505" y="1135"/>
                  </a:lnTo>
                  <a:lnTo>
                    <a:pt x="506" y="1138"/>
                  </a:lnTo>
                  <a:lnTo>
                    <a:pt x="507" y="1143"/>
                  </a:lnTo>
                  <a:lnTo>
                    <a:pt x="507" y="1149"/>
                  </a:lnTo>
                  <a:lnTo>
                    <a:pt x="508" y="1151"/>
                  </a:lnTo>
                  <a:lnTo>
                    <a:pt x="511" y="1157"/>
                  </a:lnTo>
                  <a:lnTo>
                    <a:pt x="512" y="1166"/>
                  </a:lnTo>
                  <a:lnTo>
                    <a:pt x="512" y="1176"/>
                  </a:lnTo>
                  <a:lnTo>
                    <a:pt x="513" y="1196"/>
                  </a:lnTo>
                  <a:lnTo>
                    <a:pt x="513" y="1207"/>
                  </a:lnTo>
                  <a:lnTo>
                    <a:pt x="511" y="1207"/>
                  </a:lnTo>
                  <a:lnTo>
                    <a:pt x="509" y="1208"/>
                  </a:lnTo>
                  <a:lnTo>
                    <a:pt x="508" y="1209"/>
                  </a:lnTo>
                  <a:lnTo>
                    <a:pt x="507" y="1210"/>
                  </a:lnTo>
                  <a:lnTo>
                    <a:pt x="507" y="1215"/>
                  </a:lnTo>
                  <a:lnTo>
                    <a:pt x="507" y="1218"/>
                  </a:lnTo>
                  <a:lnTo>
                    <a:pt x="504" y="1219"/>
                  </a:lnTo>
                  <a:lnTo>
                    <a:pt x="502" y="1219"/>
                  </a:lnTo>
                  <a:lnTo>
                    <a:pt x="502" y="1220"/>
                  </a:lnTo>
                  <a:lnTo>
                    <a:pt x="502" y="1221"/>
                  </a:lnTo>
                  <a:lnTo>
                    <a:pt x="501" y="1223"/>
                  </a:lnTo>
                  <a:lnTo>
                    <a:pt x="501" y="1224"/>
                  </a:lnTo>
                  <a:lnTo>
                    <a:pt x="498" y="1224"/>
                  </a:lnTo>
                  <a:lnTo>
                    <a:pt x="495" y="1225"/>
                  </a:lnTo>
                  <a:lnTo>
                    <a:pt x="495" y="1236"/>
                  </a:lnTo>
                  <a:lnTo>
                    <a:pt x="494" y="1236"/>
                  </a:lnTo>
                  <a:lnTo>
                    <a:pt x="492" y="1237"/>
                  </a:lnTo>
                  <a:lnTo>
                    <a:pt x="491" y="1238"/>
                  </a:lnTo>
                  <a:lnTo>
                    <a:pt x="491" y="1239"/>
                  </a:lnTo>
                  <a:lnTo>
                    <a:pt x="489" y="1244"/>
                  </a:lnTo>
                  <a:lnTo>
                    <a:pt x="489" y="1247"/>
                  </a:lnTo>
                  <a:lnTo>
                    <a:pt x="486" y="1248"/>
                  </a:lnTo>
                  <a:lnTo>
                    <a:pt x="485" y="1248"/>
                  </a:lnTo>
                  <a:lnTo>
                    <a:pt x="484" y="1249"/>
                  </a:lnTo>
                  <a:lnTo>
                    <a:pt x="484" y="1250"/>
                  </a:lnTo>
                  <a:lnTo>
                    <a:pt x="484" y="1252"/>
                  </a:lnTo>
                  <a:lnTo>
                    <a:pt x="483" y="1253"/>
                  </a:lnTo>
                  <a:lnTo>
                    <a:pt x="482" y="1253"/>
                  </a:lnTo>
                  <a:lnTo>
                    <a:pt x="478" y="1254"/>
                  </a:lnTo>
                  <a:lnTo>
                    <a:pt x="478" y="1265"/>
                  </a:lnTo>
                  <a:lnTo>
                    <a:pt x="473" y="1271"/>
                  </a:lnTo>
                  <a:lnTo>
                    <a:pt x="466" y="1276"/>
                  </a:lnTo>
                  <a:lnTo>
                    <a:pt x="463" y="1277"/>
                  </a:lnTo>
                  <a:lnTo>
                    <a:pt x="459" y="1278"/>
                  </a:lnTo>
                  <a:lnTo>
                    <a:pt x="457" y="1281"/>
                  </a:lnTo>
                  <a:lnTo>
                    <a:pt x="456" y="1283"/>
                  </a:lnTo>
                  <a:lnTo>
                    <a:pt x="453" y="1286"/>
                  </a:lnTo>
                  <a:lnTo>
                    <a:pt x="449" y="1288"/>
                  </a:lnTo>
                  <a:lnTo>
                    <a:pt x="449" y="1317"/>
                  </a:lnTo>
                  <a:lnTo>
                    <a:pt x="460" y="1323"/>
                  </a:lnTo>
                  <a:lnTo>
                    <a:pt x="464" y="1327"/>
                  </a:lnTo>
                  <a:lnTo>
                    <a:pt x="467" y="1330"/>
                  </a:lnTo>
                  <a:lnTo>
                    <a:pt x="472" y="1332"/>
                  </a:lnTo>
                  <a:lnTo>
                    <a:pt x="476" y="1333"/>
                  </a:lnTo>
                  <a:lnTo>
                    <a:pt x="486" y="1334"/>
                  </a:lnTo>
                  <a:lnTo>
                    <a:pt x="495" y="1335"/>
                  </a:lnTo>
                  <a:lnTo>
                    <a:pt x="496" y="1336"/>
                  </a:lnTo>
                  <a:lnTo>
                    <a:pt x="498" y="1339"/>
                  </a:lnTo>
                  <a:lnTo>
                    <a:pt x="502" y="1339"/>
                  </a:lnTo>
                  <a:lnTo>
                    <a:pt x="505" y="1340"/>
                  </a:lnTo>
                  <a:lnTo>
                    <a:pt x="513" y="1341"/>
                  </a:lnTo>
                  <a:lnTo>
                    <a:pt x="518" y="1341"/>
                  </a:lnTo>
                  <a:lnTo>
                    <a:pt x="520" y="1344"/>
                  </a:lnTo>
                  <a:lnTo>
                    <a:pt x="521" y="1348"/>
                  </a:lnTo>
                  <a:lnTo>
                    <a:pt x="523" y="1350"/>
                  </a:lnTo>
                  <a:lnTo>
                    <a:pt x="525" y="1351"/>
                  </a:lnTo>
                  <a:lnTo>
                    <a:pt x="531" y="1352"/>
                  </a:lnTo>
                  <a:lnTo>
                    <a:pt x="536" y="1352"/>
                  </a:lnTo>
                  <a:lnTo>
                    <a:pt x="542" y="1358"/>
                  </a:lnTo>
                  <a:lnTo>
                    <a:pt x="547" y="1364"/>
                  </a:lnTo>
                  <a:lnTo>
                    <a:pt x="547" y="1375"/>
                  </a:lnTo>
                  <a:lnTo>
                    <a:pt x="550" y="1377"/>
                  </a:lnTo>
                  <a:lnTo>
                    <a:pt x="552" y="1379"/>
                  </a:lnTo>
                  <a:lnTo>
                    <a:pt x="554" y="1383"/>
                  </a:lnTo>
                  <a:lnTo>
                    <a:pt x="555" y="1388"/>
                  </a:lnTo>
                  <a:lnTo>
                    <a:pt x="559" y="1398"/>
                  </a:lnTo>
                  <a:lnTo>
                    <a:pt x="560" y="1404"/>
                  </a:lnTo>
                  <a:lnTo>
                    <a:pt x="561" y="1404"/>
                  </a:lnTo>
                  <a:lnTo>
                    <a:pt x="563" y="1407"/>
                  </a:lnTo>
                  <a:lnTo>
                    <a:pt x="564" y="1409"/>
                  </a:lnTo>
                  <a:lnTo>
                    <a:pt x="564" y="1411"/>
                  </a:lnTo>
                  <a:lnTo>
                    <a:pt x="565" y="1417"/>
                  </a:lnTo>
                  <a:lnTo>
                    <a:pt x="565" y="1422"/>
                  </a:lnTo>
                  <a:lnTo>
                    <a:pt x="568" y="1422"/>
                  </a:lnTo>
                  <a:lnTo>
                    <a:pt x="570" y="1425"/>
                  </a:lnTo>
                  <a:lnTo>
                    <a:pt x="571" y="1428"/>
                  </a:lnTo>
                  <a:lnTo>
                    <a:pt x="573" y="1431"/>
                  </a:lnTo>
                  <a:lnTo>
                    <a:pt x="575" y="1439"/>
                  </a:lnTo>
                  <a:lnTo>
                    <a:pt x="576" y="1445"/>
                  </a:lnTo>
                  <a:lnTo>
                    <a:pt x="579" y="1446"/>
                  </a:lnTo>
                  <a:lnTo>
                    <a:pt x="580" y="1448"/>
                  </a:lnTo>
                  <a:lnTo>
                    <a:pt x="581" y="1451"/>
                  </a:lnTo>
                  <a:lnTo>
                    <a:pt x="582" y="1455"/>
                  </a:lnTo>
                  <a:lnTo>
                    <a:pt x="582" y="1462"/>
                  </a:lnTo>
                  <a:lnTo>
                    <a:pt x="582" y="1468"/>
                  </a:lnTo>
                  <a:lnTo>
                    <a:pt x="584" y="1469"/>
                  </a:lnTo>
                  <a:lnTo>
                    <a:pt x="585" y="1470"/>
                  </a:lnTo>
                  <a:lnTo>
                    <a:pt x="587" y="1473"/>
                  </a:lnTo>
                  <a:lnTo>
                    <a:pt x="588" y="1475"/>
                  </a:lnTo>
                  <a:lnTo>
                    <a:pt x="589" y="1480"/>
                  </a:lnTo>
                  <a:lnTo>
                    <a:pt x="589" y="1486"/>
                  </a:lnTo>
                  <a:lnTo>
                    <a:pt x="590" y="1486"/>
                  </a:lnTo>
                  <a:lnTo>
                    <a:pt x="592" y="1487"/>
                  </a:lnTo>
                  <a:lnTo>
                    <a:pt x="593" y="1488"/>
                  </a:lnTo>
                  <a:lnTo>
                    <a:pt x="593" y="1489"/>
                  </a:lnTo>
                  <a:lnTo>
                    <a:pt x="594" y="1493"/>
                  </a:lnTo>
                  <a:lnTo>
                    <a:pt x="594" y="1497"/>
                  </a:lnTo>
                  <a:lnTo>
                    <a:pt x="598" y="1497"/>
                  </a:lnTo>
                  <a:lnTo>
                    <a:pt x="599" y="1498"/>
                  </a:lnTo>
                  <a:lnTo>
                    <a:pt x="600" y="1499"/>
                  </a:lnTo>
                  <a:lnTo>
                    <a:pt x="600" y="1500"/>
                  </a:lnTo>
                  <a:lnTo>
                    <a:pt x="600" y="1502"/>
                  </a:lnTo>
                  <a:lnTo>
                    <a:pt x="601" y="1503"/>
                  </a:lnTo>
                  <a:lnTo>
                    <a:pt x="602" y="1503"/>
                  </a:lnTo>
                  <a:lnTo>
                    <a:pt x="605" y="1503"/>
                  </a:lnTo>
                  <a:lnTo>
                    <a:pt x="607" y="1512"/>
                  </a:lnTo>
                  <a:lnTo>
                    <a:pt x="609" y="1521"/>
                  </a:lnTo>
                  <a:lnTo>
                    <a:pt x="611" y="1529"/>
                  </a:lnTo>
                  <a:lnTo>
                    <a:pt x="614" y="1537"/>
                  </a:lnTo>
                  <a:lnTo>
                    <a:pt x="618" y="1545"/>
                  </a:lnTo>
                  <a:lnTo>
                    <a:pt x="620" y="1553"/>
                  </a:lnTo>
                  <a:lnTo>
                    <a:pt x="622" y="1561"/>
                  </a:lnTo>
                  <a:lnTo>
                    <a:pt x="623" y="1567"/>
                  </a:lnTo>
                  <a:lnTo>
                    <a:pt x="626" y="1567"/>
                  </a:lnTo>
                  <a:lnTo>
                    <a:pt x="628" y="1570"/>
                  </a:lnTo>
                  <a:lnTo>
                    <a:pt x="631" y="1573"/>
                  </a:lnTo>
                  <a:lnTo>
                    <a:pt x="635" y="1577"/>
                  </a:lnTo>
                  <a:lnTo>
                    <a:pt x="637" y="1582"/>
                  </a:lnTo>
                  <a:lnTo>
                    <a:pt x="639" y="1586"/>
                  </a:lnTo>
                  <a:lnTo>
                    <a:pt x="640" y="1592"/>
                  </a:lnTo>
                  <a:lnTo>
                    <a:pt x="640" y="1596"/>
                  </a:lnTo>
                  <a:lnTo>
                    <a:pt x="645" y="1598"/>
                  </a:lnTo>
                  <a:lnTo>
                    <a:pt x="649" y="1600"/>
                  </a:lnTo>
                  <a:lnTo>
                    <a:pt x="653" y="1603"/>
                  </a:lnTo>
                  <a:lnTo>
                    <a:pt x="658" y="1608"/>
                  </a:lnTo>
                  <a:lnTo>
                    <a:pt x="662" y="1612"/>
                  </a:lnTo>
                  <a:lnTo>
                    <a:pt x="667" y="1615"/>
                  </a:lnTo>
                  <a:lnTo>
                    <a:pt x="671" y="1619"/>
                  </a:lnTo>
                  <a:lnTo>
                    <a:pt x="676" y="1620"/>
                  </a:lnTo>
                  <a:lnTo>
                    <a:pt x="676" y="1624"/>
                  </a:lnTo>
                  <a:lnTo>
                    <a:pt x="678" y="1628"/>
                  </a:lnTo>
                  <a:lnTo>
                    <a:pt x="680" y="1631"/>
                  </a:lnTo>
                  <a:lnTo>
                    <a:pt x="685" y="1633"/>
                  </a:lnTo>
                  <a:lnTo>
                    <a:pt x="689" y="1635"/>
                  </a:lnTo>
                  <a:lnTo>
                    <a:pt x="694" y="1637"/>
                  </a:lnTo>
                  <a:lnTo>
                    <a:pt x="700" y="1638"/>
                  </a:lnTo>
                  <a:lnTo>
                    <a:pt x="707" y="1639"/>
                  </a:lnTo>
                  <a:lnTo>
                    <a:pt x="723" y="1639"/>
                  </a:lnTo>
                  <a:lnTo>
                    <a:pt x="739" y="1637"/>
                  </a:lnTo>
                  <a:lnTo>
                    <a:pt x="758" y="1635"/>
                  </a:lnTo>
                  <a:lnTo>
                    <a:pt x="777" y="1632"/>
                  </a:lnTo>
                  <a:lnTo>
                    <a:pt x="814" y="1628"/>
                  </a:lnTo>
                  <a:lnTo>
                    <a:pt x="847" y="1624"/>
                  </a:lnTo>
                  <a:lnTo>
                    <a:pt x="860" y="1624"/>
                  </a:lnTo>
                  <a:lnTo>
                    <a:pt x="870" y="1627"/>
                  </a:lnTo>
                  <a:lnTo>
                    <a:pt x="873" y="1628"/>
                  </a:lnTo>
                  <a:lnTo>
                    <a:pt x="877" y="1630"/>
                  </a:lnTo>
                  <a:lnTo>
                    <a:pt x="878" y="1633"/>
                  </a:lnTo>
                  <a:lnTo>
                    <a:pt x="879" y="1637"/>
                  </a:lnTo>
                  <a:lnTo>
                    <a:pt x="890" y="1637"/>
                  </a:lnTo>
                  <a:lnTo>
                    <a:pt x="902" y="1649"/>
                  </a:lnTo>
                  <a:lnTo>
                    <a:pt x="914" y="1649"/>
                  </a:lnTo>
                  <a:lnTo>
                    <a:pt x="914" y="1660"/>
                  </a:lnTo>
                  <a:lnTo>
                    <a:pt x="919" y="1666"/>
                  </a:lnTo>
                  <a:lnTo>
                    <a:pt x="931" y="1666"/>
                  </a:lnTo>
                  <a:lnTo>
                    <a:pt x="943" y="1678"/>
                  </a:lnTo>
                  <a:lnTo>
                    <a:pt x="954" y="1689"/>
                  </a:lnTo>
                  <a:lnTo>
                    <a:pt x="966" y="1689"/>
                  </a:lnTo>
                  <a:lnTo>
                    <a:pt x="974" y="1698"/>
                  </a:lnTo>
                  <a:lnTo>
                    <a:pt x="992" y="1718"/>
                  </a:lnTo>
                  <a:lnTo>
                    <a:pt x="1010" y="1738"/>
                  </a:lnTo>
                  <a:lnTo>
                    <a:pt x="1019" y="1747"/>
                  </a:lnTo>
                  <a:lnTo>
                    <a:pt x="1024" y="1753"/>
                  </a:lnTo>
                  <a:lnTo>
                    <a:pt x="1030" y="1758"/>
                  </a:lnTo>
                  <a:lnTo>
                    <a:pt x="1031" y="1763"/>
                  </a:lnTo>
                  <a:lnTo>
                    <a:pt x="1033" y="1767"/>
                  </a:lnTo>
                  <a:lnTo>
                    <a:pt x="1038" y="1769"/>
                  </a:lnTo>
                  <a:lnTo>
                    <a:pt x="1042" y="1771"/>
                  </a:lnTo>
                  <a:lnTo>
                    <a:pt x="1042" y="1775"/>
                  </a:lnTo>
                  <a:lnTo>
                    <a:pt x="1044" y="1779"/>
                  </a:lnTo>
                  <a:lnTo>
                    <a:pt x="1046" y="1783"/>
                  </a:lnTo>
                  <a:lnTo>
                    <a:pt x="1050" y="1787"/>
                  </a:lnTo>
                  <a:lnTo>
                    <a:pt x="1056" y="1794"/>
                  </a:lnTo>
                  <a:lnTo>
                    <a:pt x="1059" y="1800"/>
                  </a:lnTo>
                  <a:lnTo>
                    <a:pt x="1065" y="1801"/>
                  </a:lnTo>
                  <a:lnTo>
                    <a:pt x="1072" y="1803"/>
                  </a:lnTo>
                  <a:lnTo>
                    <a:pt x="1079" y="1806"/>
                  </a:lnTo>
                  <a:lnTo>
                    <a:pt x="1086" y="1811"/>
                  </a:lnTo>
                  <a:lnTo>
                    <a:pt x="1091" y="1815"/>
                  </a:lnTo>
                  <a:lnTo>
                    <a:pt x="1098" y="1819"/>
                  </a:lnTo>
                  <a:lnTo>
                    <a:pt x="1104" y="1822"/>
                  </a:lnTo>
                  <a:lnTo>
                    <a:pt x="1111" y="1823"/>
                  </a:lnTo>
                  <a:lnTo>
                    <a:pt x="1112" y="1824"/>
                  </a:lnTo>
                  <a:lnTo>
                    <a:pt x="1115" y="1826"/>
                  </a:lnTo>
                  <a:lnTo>
                    <a:pt x="1119" y="1827"/>
                  </a:lnTo>
                  <a:lnTo>
                    <a:pt x="1123" y="1827"/>
                  </a:lnTo>
                  <a:lnTo>
                    <a:pt x="1134" y="1829"/>
                  </a:lnTo>
                  <a:lnTo>
                    <a:pt x="1140" y="1829"/>
                  </a:lnTo>
                  <a:lnTo>
                    <a:pt x="1140" y="1831"/>
                  </a:lnTo>
                  <a:lnTo>
                    <a:pt x="1141" y="1832"/>
                  </a:lnTo>
                  <a:lnTo>
                    <a:pt x="1142" y="1833"/>
                  </a:lnTo>
                  <a:lnTo>
                    <a:pt x="1144" y="1833"/>
                  </a:lnTo>
                  <a:lnTo>
                    <a:pt x="1148" y="1834"/>
                  </a:lnTo>
                  <a:lnTo>
                    <a:pt x="1151" y="1834"/>
                  </a:lnTo>
                  <a:lnTo>
                    <a:pt x="1154" y="1836"/>
                  </a:lnTo>
                  <a:lnTo>
                    <a:pt x="1160" y="1837"/>
                  </a:lnTo>
                  <a:lnTo>
                    <a:pt x="1169" y="1839"/>
                  </a:lnTo>
                  <a:lnTo>
                    <a:pt x="1179" y="1840"/>
                  </a:lnTo>
                  <a:lnTo>
                    <a:pt x="1200" y="1840"/>
                  </a:lnTo>
                  <a:lnTo>
                    <a:pt x="1216" y="1840"/>
                  </a:lnTo>
                  <a:lnTo>
                    <a:pt x="1216" y="1829"/>
                  </a:lnTo>
                  <a:lnTo>
                    <a:pt x="1219" y="1829"/>
                  </a:lnTo>
                  <a:lnTo>
                    <a:pt x="1221" y="1827"/>
                  </a:lnTo>
                  <a:lnTo>
                    <a:pt x="1222" y="1826"/>
                  </a:lnTo>
                  <a:lnTo>
                    <a:pt x="1222" y="1825"/>
                  </a:lnTo>
                  <a:lnTo>
                    <a:pt x="1222" y="1824"/>
                  </a:lnTo>
                  <a:lnTo>
                    <a:pt x="1223" y="1824"/>
                  </a:lnTo>
                  <a:lnTo>
                    <a:pt x="1224" y="1823"/>
                  </a:lnTo>
                  <a:lnTo>
                    <a:pt x="1227" y="1823"/>
                  </a:lnTo>
                  <a:lnTo>
                    <a:pt x="1228" y="1816"/>
                  </a:lnTo>
                  <a:lnTo>
                    <a:pt x="1231" y="1811"/>
                  </a:lnTo>
                  <a:lnTo>
                    <a:pt x="1233" y="1805"/>
                  </a:lnTo>
                  <a:lnTo>
                    <a:pt x="1236" y="1801"/>
                  </a:lnTo>
                  <a:lnTo>
                    <a:pt x="1240" y="1795"/>
                  </a:lnTo>
                  <a:lnTo>
                    <a:pt x="1242" y="1791"/>
                  </a:lnTo>
                  <a:lnTo>
                    <a:pt x="1244" y="1786"/>
                  </a:lnTo>
                  <a:lnTo>
                    <a:pt x="1245" y="1782"/>
                  </a:lnTo>
                  <a:lnTo>
                    <a:pt x="1248" y="1781"/>
                  </a:lnTo>
                  <a:lnTo>
                    <a:pt x="1253" y="1775"/>
                  </a:lnTo>
                  <a:lnTo>
                    <a:pt x="1259" y="1768"/>
                  </a:lnTo>
                  <a:lnTo>
                    <a:pt x="1264" y="1760"/>
                  </a:lnTo>
                  <a:lnTo>
                    <a:pt x="1275" y="1745"/>
                  </a:lnTo>
                  <a:lnTo>
                    <a:pt x="1280" y="1736"/>
                  </a:lnTo>
                  <a:lnTo>
                    <a:pt x="1284" y="1735"/>
                  </a:lnTo>
                  <a:lnTo>
                    <a:pt x="1289" y="1731"/>
                  </a:lnTo>
                  <a:lnTo>
                    <a:pt x="1293" y="1728"/>
                  </a:lnTo>
                  <a:lnTo>
                    <a:pt x="1298" y="1724"/>
                  </a:lnTo>
                  <a:lnTo>
                    <a:pt x="1269" y="1689"/>
                  </a:lnTo>
                  <a:lnTo>
                    <a:pt x="1274" y="1687"/>
                  </a:lnTo>
                  <a:lnTo>
                    <a:pt x="1282" y="1680"/>
                  </a:lnTo>
                  <a:lnTo>
                    <a:pt x="1289" y="1675"/>
                  </a:lnTo>
                  <a:lnTo>
                    <a:pt x="1291" y="1671"/>
                  </a:lnTo>
                  <a:lnTo>
                    <a:pt x="1290" y="1662"/>
                  </a:lnTo>
                  <a:lnTo>
                    <a:pt x="1286" y="1653"/>
                  </a:lnTo>
                  <a:lnTo>
                    <a:pt x="1282" y="1644"/>
                  </a:lnTo>
                  <a:lnTo>
                    <a:pt x="1276" y="1635"/>
                  </a:lnTo>
                  <a:lnTo>
                    <a:pt x="1272" y="1627"/>
                  </a:lnTo>
                  <a:lnTo>
                    <a:pt x="1266" y="1620"/>
                  </a:lnTo>
                  <a:lnTo>
                    <a:pt x="1263" y="1613"/>
                  </a:lnTo>
                  <a:lnTo>
                    <a:pt x="1262" y="1608"/>
                  </a:lnTo>
                  <a:lnTo>
                    <a:pt x="1251" y="1608"/>
                  </a:lnTo>
                  <a:lnTo>
                    <a:pt x="1250" y="1604"/>
                  </a:lnTo>
                  <a:lnTo>
                    <a:pt x="1248" y="1601"/>
                  </a:lnTo>
                  <a:lnTo>
                    <a:pt x="1247" y="1599"/>
                  </a:lnTo>
                  <a:lnTo>
                    <a:pt x="1245" y="1596"/>
                  </a:lnTo>
                  <a:lnTo>
                    <a:pt x="1241" y="1594"/>
                  </a:lnTo>
                  <a:lnTo>
                    <a:pt x="1238" y="1591"/>
                  </a:lnTo>
                  <a:lnTo>
                    <a:pt x="1227" y="1587"/>
                  </a:lnTo>
                  <a:lnTo>
                    <a:pt x="1216" y="1584"/>
                  </a:lnTo>
                  <a:lnTo>
                    <a:pt x="1215" y="1581"/>
                  </a:lnTo>
                  <a:lnTo>
                    <a:pt x="1215" y="1580"/>
                  </a:lnTo>
                  <a:lnTo>
                    <a:pt x="1214" y="1579"/>
                  </a:lnTo>
                  <a:lnTo>
                    <a:pt x="1213" y="1579"/>
                  </a:lnTo>
                  <a:lnTo>
                    <a:pt x="1212" y="1579"/>
                  </a:lnTo>
                  <a:lnTo>
                    <a:pt x="1211" y="1577"/>
                  </a:lnTo>
                  <a:lnTo>
                    <a:pt x="1211" y="1576"/>
                  </a:lnTo>
                  <a:lnTo>
                    <a:pt x="1209" y="1573"/>
                  </a:lnTo>
                  <a:lnTo>
                    <a:pt x="1209" y="1574"/>
                  </a:lnTo>
                  <a:lnTo>
                    <a:pt x="1211" y="1575"/>
                  </a:lnTo>
                  <a:lnTo>
                    <a:pt x="1213" y="1579"/>
                  </a:lnTo>
                  <a:lnTo>
                    <a:pt x="1216" y="1582"/>
                  </a:lnTo>
                  <a:lnTo>
                    <a:pt x="1218" y="1585"/>
                  </a:lnTo>
                  <a:lnTo>
                    <a:pt x="1222" y="1587"/>
                  </a:lnTo>
                  <a:lnTo>
                    <a:pt x="1223" y="1590"/>
                  </a:lnTo>
                  <a:lnTo>
                    <a:pt x="1222" y="1591"/>
                  </a:lnTo>
                  <a:lnTo>
                    <a:pt x="1222" y="1587"/>
                  </a:lnTo>
                  <a:lnTo>
                    <a:pt x="1221" y="1585"/>
                  </a:lnTo>
                  <a:lnTo>
                    <a:pt x="1219" y="1584"/>
                  </a:lnTo>
                  <a:lnTo>
                    <a:pt x="1218" y="1584"/>
                  </a:lnTo>
                  <a:lnTo>
                    <a:pt x="1217" y="1584"/>
                  </a:lnTo>
                  <a:lnTo>
                    <a:pt x="1216" y="1584"/>
                  </a:lnTo>
                  <a:lnTo>
                    <a:pt x="1216" y="1582"/>
                  </a:lnTo>
                  <a:lnTo>
                    <a:pt x="1216" y="1579"/>
                  </a:lnTo>
                  <a:lnTo>
                    <a:pt x="1211" y="1579"/>
                  </a:lnTo>
                  <a:lnTo>
                    <a:pt x="1205" y="1577"/>
                  </a:lnTo>
                  <a:lnTo>
                    <a:pt x="1203" y="1576"/>
                  </a:lnTo>
                  <a:lnTo>
                    <a:pt x="1200" y="1574"/>
                  </a:lnTo>
                  <a:lnTo>
                    <a:pt x="1198" y="1571"/>
                  </a:lnTo>
                  <a:lnTo>
                    <a:pt x="1198" y="1567"/>
                  </a:lnTo>
                  <a:lnTo>
                    <a:pt x="1187" y="1567"/>
                  </a:lnTo>
                  <a:lnTo>
                    <a:pt x="1186" y="1564"/>
                  </a:lnTo>
                  <a:lnTo>
                    <a:pt x="1184" y="1562"/>
                  </a:lnTo>
                  <a:lnTo>
                    <a:pt x="1182" y="1562"/>
                  </a:lnTo>
                  <a:lnTo>
                    <a:pt x="1178" y="1561"/>
                  </a:lnTo>
                  <a:lnTo>
                    <a:pt x="1175" y="1561"/>
                  </a:lnTo>
                  <a:lnTo>
                    <a:pt x="1171" y="1561"/>
                  </a:lnTo>
                  <a:lnTo>
                    <a:pt x="1170" y="1558"/>
                  </a:lnTo>
                  <a:lnTo>
                    <a:pt x="1169" y="1555"/>
                  </a:lnTo>
                  <a:lnTo>
                    <a:pt x="1154" y="1554"/>
                  </a:lnTo>
                  <a:lnTo>
                    <a:pt x="1136" y="1552"/>
                  </a:lnTo>
                  <a:lnTo>
                    <a:pt x="1128" y="1550"/>
                  </a:lnTo>
                  <a:lnTo>
                    <a:pt x="1120" y="1548"/>
                  </a:lnTo>
                  <a:lnTo>
                    <a:pt x="1115" y="1546"/>
                  </a:lnTo>
                  <a:lnTo>
                    <a:pt x="1111" y="1544"/>
                  </a:lnTo>
                  <a:lnTo>
                    <a:pt x="937" y="1544"/>
                  </a:lnTo>
                  <a:lnTo>
                    <a:pt x="937" y="1542"/>
                  </a:lnTo>
                  <a:lnTo>
                    <a:pt x="936" y="1541"/>
                  </a:lnTo>
                  <a:lnTo>
                    <a:pt x="935" y="1540"/>
                  </a:lnTo>
                  <a:lnTo>
                    <a:pt x="934" y="1538"/>
                  </a:lnTo>
                  <a:lnTo>
                    <a:pt x="929" y="1538"/>
                  </a:lnTo>
                  <a:lnTo>
                    <a:pt x="925" y="1538"/>
                  </a:lnTo>
                  <a:lnTo>
                    <a:pt x="919" y="1532"/>
                  </a:lnTo>
                  <a:lnTo>
                    <a:pt x="919" y="1529"/>
                  </a:lnTo>
                  <a:lnTo>
                    <a:pt x="917" y="1527"/>
                  </a:lnTo>
                  <a:lnTo>
                    <a:pt x="914" y="1524"/>
                  </a:lnTo>
                  <a:lnTo>
                    <a:pt x="910" y="1522"/>
                  </a:lnTo>
                  <a:lnTo>
                    <a:pt x="902" y="1517"/>
                  </a:lnTo>
                  <a:lnTo>
                    <a:pt x="896" y="1515"/>
                  </a:lnTo>
                  <a:lnTo>
                    <a:pt x="890" y="1509"/>
                  </a:lnTo>
                  <a:lnTo>
                    <a:pt x="889" y="1505"/>
                  </a:lnTo>
                  <a:lnTo>
                    <a:pt x="887" y="1500"/>
                  </a:lnTo>
                  <a:lnTo>
                    <a:pt x="883" y="1498"/>
                  </a:lnTo>
                  <a:lnTo>
                    <a:pt x="879" y="1497"/>
                  </a:lnTo>
                  <a:lnTo>
                    <a:pt x="873" y="1487"/>
                  </a:lnTo>
                  <a:lnTo>
                    <a:pt x="861" y="1469"/>
                  </a:lnTo>
                  <a:lnTo>
                    <a:pt x="849" y="1452"/>
                  </a:lnTo>
                  <a:lnTo>
                    <a:pt x="844" y="1445"/>
                  </a:lnTo>
                  <a:lnTo>
                    <a:pt x="838" y="1433"/>
                  </a:lnTo>
                  <a:lnTo>
                    <a:pt x="838" y="1425"/>
                  </a:lnTo>
                  <a:lnTo>
                    <a:pt x="835" y="1416"/>
                  </a:lnTo>
                  <a:lnTo>
                    <a:pt x="833" y="1408"/>
                  </a:lnTo>
                  <a:lnTo>
                    <a:pt x="832" y="1399"/>
                  </a:lnTo>
                  <a:lnTo>
                    <a:pt x="828" y="1394"/>
                  </a:lnTo>
                  <a:lnTo>
                    <a:pt x="821" y="1387"/>
                  </a:lnTo>
                  <a:lnTo>
                    <a:pt x="814" y="1375"/>
                  </a:lnTo>
                  <a:lnTo>
                    <a:pt x="806" y="1364"/>
                  </a:lnTo>
                  <a:lnTo>
                    <a:pt x="799" y="1353"/>
                  </a:lnTo>
                  <a:lnTo>
                    <a:pt x="792" y="1344"/>
                  </a:lnTo>
                  <a:lnTo>
                    <a:pt x="789" y="1340"/>
                  </a:lnTo>
                  <a:lnTo>
                    <a:pt x="785" y="1337"/>
                  </a:lnTo>
                  <a:lnTo>
                    <a:pt x="782" y="1335"/>
                  </a:lnTo>
                  <a:lnTo>
                    <a:pt x="780" y="1335"/>
                  </a:lnTo>
                  <a:lnTo>
                    <a:pt x="780" y="1323"/>
                  </a:lnTo>
                  <a:lnTo>
                    <a:pt x="774" y="1317"/>
                  </a:lnTo>
                  <a:lnTo>
                    <a:pt x="771" y="1317"/>
                  </a:lnTo>
                  <a:lnTo>
                    <a:pt x="770" y="1316"/>
                  </a:lnTo>
                  <a:lnTo>
                    <a:pt x="768" y="1315"/>
                  </a:lnTo>
                  <a:lnTo>
                    <a:pt x="768" y="1314"/>
                  </a:lnTo>
                  <a:lnTo>
                    <a:pt x="768" y="1313"/>
                  </a:lnTo>
                  <a:lnTo>
                    <a:pt x="767" y="1313"/>
                  </a:lnTo>
                  <a:lnTo>
                    <a:pt x="766" y="1312"/>
                  </a:lnTo>
                  <a:lnTo>
                    <a:pt x="763" y="1312"/>
                  </a:lnTo>
                  <a:lnTo>
                    <a:pt x="761" y="1305"/>
                  </a:lnTo>
                  <a:lnTo>
                    <a:pt x="756" y="1297"/>
                  </a:lnTo>
                  <a:lnTo>
                    <a:pt x="753" y="1294"/>
                  </a:lnTo>
                  <a:lnTo>
                    <a:pt x="751" y="1291"/>
                  </a:lnTo>
                  <a:lnTo>
                    <a:pt x="747" y="1290"/>
                  </a:lnTo>
                  <a:lnTo>
                    <a:pt x="745" y="1288"/>
                  </a:lnTo>
                  <a:lnTo>
                    <a:pt x="745" y="1276"/>
                  </a:lnTo>
                  <a:lnTo>
                    <a:pt x="742" y="1276"/>
                  </a:lnTo>
                  <a:lnTo>
                    <a:pt x="741" y="1276"/>
                  </a:lnTo>
                  <a:lnTo>
                    <a:pt x="739" y="1275"/>
                  </a:lnTo>
                  <a:lnTo>
                    <a:pt x="739" y="1274"/>
                  </a:lnTo>
                  <a:lnTo>
                    <a:pt x="739" y="1273"/>
                  </a:lnTo>
                  <a:lnTo>
                    <a:pt x="738" y="1272"/>
                  </a:lnTo>
                  <a:lnTo>
                    <a:pt x="737" y="1272"/>
                  </a:lnTo>
                  <a:lnTo>
                    <a:pt x="734" y="1271"/>
                  </a:lnTo>
                  <a:lnTo>
                    <a:pt x="733" y="1266"/>
                  </a:lnTo>
                  <a:lnTo>
                    <a:pt x="729" y="1263"/>
                  </a:lnTo>
                  <a:lnTo>
                    <a:pt x="726" y="1260"/>
                  </a:lnTo>
                  <a:lnTo>
                    <a:pt x="722" y="1259"/>
                  </a:lnTo>
                  <a:lnTo>
                    <a:pt x="722" y="1247"/>
                  </a:lnTo>
                  <a:lnTo>
                    <a:pt x="720" y="1247"/>
                  </a:lnTo>
                  <a:lnTo>
                    <a:pt x="718" y="1247"/>
                  </a:lnTo>
                  <a:lnTo>
                    <a:pt x="717" y="1246"/>
                  </a:lnTo>
                  <a:lnTo>
                    <a:pt x="717" y="1244"/>
                  </a:lnTo>
                  <a:lnTo>
                    <a:pt x="716" y="1240"/>
                  </a:lnTo>
                  <a:lnTo>
                    <a:pt x="716" y="1236"/>
                  </a:lnTo>
                  <a:lnTo>
                    <a:pt x="713" y="1235"/>
                  </a:lnTo>
                  <a:lnTo>
                    <a:pt x="710" y="1234"/>
                  </a:lnTo>
                  <a:lnTo>
                    <a:pt x="709" y="1230"/>
                  </a:lnTo>
                  <a:lnTo>
                    <a:pt x="707" y="1227"/>
                  </a:lnTo>
                  <a:lnTo>
                    <a:pt x="706" y="1218"/>
                  </a:lnTo>
                  <a:lnTo>
                    <a:pt x="705" y="1207"/>
                  </a:lnTo>
                  <a:lnTo>
                    <a:pt x="704" y="1197"/>
                  </a:lnTo>
                  <a:lnTo>
                    <a:pt x="701" y="1187"/>
                  </a:lnTo>
                  <a:lnTo>
                    <a:pt x="700" y="1183"/>
                  </a:lnTo>
                  <a:lnTo>
                    <a:pt x="698" y="1180"/>
                  </a:lnTo>
                  <a:lnTo>
                    <a:pt x="696" y="1179"/>
                  </a:lnTo>
                  <a:lnTo>
                    <a:pt x="693" y="1178"/>
                  </a:lnTo>
                  <a:lnTo>
                    <a:pt x="693" y="1160"/>
                  </a:lnTo>
                  <a:lnTo>
                    <a:pt x="691" y="1157"/>
                  </a:lnTo>
                  <a:lnTo>
                    <a:pt x="686" y="1149"/>
                  </a:lnTo>
                  <a:lnTo>
                    <a:pt x="684" y="1144"/>
                  </a:lnTo>
                  <a:lnTo>
                    <a:pt x="680" y="1141"/>
                  </a:lnTo>
                  <a:lnTo>
                    <a:pt x="678" y="1138"/>
                  </a:lnTo>
                  <a:lnTo>
                    <a:pt x="676" y="1138"/>
                  </a:lnTo>
                  <a:lnTo>
                    <a:pt x="669" y="893"/>
                  </a:lnTo>
                  <a:lnTo>
                    <a:pt x="671" y="893"/>
                  </a:lnTo>
                  <a:lnTo>
                    <a:pt x="672" y="891"/>
                  </a:lnTo>
                  <a:lnTo>
                    <a:pt x="674" y="889"/>
                  </a:lnTo>
                  <a:lnTo>
                    <a:pt x="675" y="887"/>
                  </a:lnTo>
                  <a:lnTo>
                    <a:pt x="676" y="881"/>
                  </a:lnTo>
                  <a:lnTo>
                    <a:pt x="676" y="875"/>
                  </a:lnTo>
                  <a:lnTo>
                    <a:pt x="681" y="870"/>
                  </a:lnTo>
                  <a:lnTo>
                    <a:pt x="687" y="869"/>
                  </a:lnTo>
                  <a:lnTo>
                    <a:pt x="693" y="867"/>
                  </a:lnTo>
                  <a:lnTo>
                    <a:pt x="695" y="864"/>
                  </a:lnTo>
                  <a:lnTo>
                    <a:pt x="697" y="863"/>
                  </a:lnTo>
                  <a:lnTo>
                    <a:pt x="698" y="861"/>
                  </a:lnTo>
                  <a:lnTo>
                    <a:pt x="699" y="859"/>
                  </a:lnTo>
                  <a:lnTo>
                    <a:pt x="716" y="859"/>
                  </a:lnTo>
                  <a:lnTo>
                    <a:pt x="717" y="855"/>
                  </a:lnTo>
                  <a:lnTo>
                    <a:pt x="719" y="853"/>
                  </a:lnTo>
                  <a:lnTo>
                    <a:pt x="723" y="851"/>
                  </a:lnTo>
                  <a:lnTo>
                    <a:pt x="727" y="850"/>
                  </a:lnTo>
                  <a:lnTo>
                    <a:pt x="738" y="848"/>
                  </a:lnTo>
                  <a:lnTo>
                    <a:pt x="753" y="846"/>
                  </a:lnTo>
                  <a:lnTo>
                    <a:pt x="780" y="846"/>
                  </a:lnTo>
                  <a:lnTo>
                    <a:pt x="797" y="846"/>
                  </a:lnTo>
                  <a:lnTo>
                    <a:pt x="799" y="851"/>
                  </a:lnTo>
                  <a:lnTo>
                    <a:pt x="801" y="855"/>
                  </a:lnTo>
                  <a:lnTo>
                    <a:pt x="805" y="858"/>
                  </a:lnTo>
                  <a:lnTo>
                    <a:pt x="809" y="859"/>
                  </a:lnTo>
                  <a:lnTo>
                    <a:pt x="811" y="862"/>
                  </a:lnTo>
                  <a:lnTo>
                    <a:pt x="814" y="867"/>
                  </a:lnTo>
                  <a:lnTo>
                    <a:pt x="820" y="872"/>
                  </a:lnTo>
                  <a:lnTo>
                    <a:pt x="827" y="878"/>
                  </a:lnTo>
                  <a:lnTo>
                    <a:pt x="839" y="889"/>
                  </a:lnTo>
                  <a:lnTo>
                    <a:pt x="844" y="893"/>
                  </a:lnTo>
                  <a:lnTo>
                    <a:pt x="848" y="894"/>
                  </a:lnTo>
                  <a:lnTo>
                    <a:pt x="852" y="897"/>
                  </a:lnTo>
                  <a:lnTo>
                    <a:pt x="854" y="901"/>
                  </a:lnTo>
                  <a:lnTo>
                    <a:pt x="856" y="904"/>
                  </a:lnTo>
                  <a:lnTo>
                    <a:pt x="864" y="908"/>
                  </a:lnTo>
                  <a:lnTo>
                    <a:pt x="873" y="911"/>
                  </a:lnTo>
                  <a:lnTo>
                    <a:pt x="879" y="917"/>
                  </a:lnTo>
                  <a:lnTo>
                    <a:pt x="879" y="920"/>
                  </a:lnTo>
                  <a:lnTo>
                    <a:pt x="880" y="921"/>
                  </a:lnTo>
                  <a:lnTo>
                    <a:pt x="880" y="922"/>
                  </a:lnTo>
                  <a:lnTo>
                    <a:pt x="881" y="922"/>
                  </a:lnTo>
                  <a:lnTo>
                    <a:pt x="882" y="922"/>
                  </a:lnTo>
                  <a:lnTo>
                    <a:pt x="883" y="923"/>
                  </a:lnTo>
                  <a:lnTo>
                    <a:pt x="885" y="925"/>
                  </a:lnTo>
                  <a:lnTo>
                    <a:pt x="885" y="928"/>
                  </a:lnTo>
                  <a:lnTo>
                    <a:pt x="891" y="929"/>
                  </a:lnTo>
                  <a:lnTo>
                    <a:pt x="897" y="931"/>
                  </a:lnTo>
                  <a:lnTo>
                    <a:pt x="902" y="936"/>
                  </a:lnTo>
                  <a:lnTo>
                    <a:pt x="907" y="940"/>
                  </a:lnTo>
                  <a:lnTo>
                    <a:pt x="911" y="944"/>
                  </a:lnTo>
                  <a:lnTo>
                    <a:pt x="917" y="948"/>
                  </a:lnTo>
                  <a:lnTo>
                    <a:pt x="921" y="950"/>
                  </a:lnTo>
                  <a:lnTo>
                    <a:pt x="925" y="951"/>
                  </a:lnTo>
                  <a:lnTo>
                    <a:pt x="926" y="955"/>
                  </a:lnTo>
                  <a:lnTo>
                    <a:pt x="926" y="957"/>
                  </a:lnTo>
                  <a:lnTo>
                    <a:pt x="927" y="957"/>
                  </a:lnTo>
                  <a:lnTo>
                    <a:pt x="928" y="957"/>
                  </a:lnTo>
                  <a:lnTo>
                    <a:pt x="929" y="957"/>
                  </a:lnTo>
                  <a:lnTo>
                    <a:pt x="930" y="958"/>
                  </a:lnTo>
                  <a:lnTo>
                    <a:pt x="930" y="959"/>
                  </a:lnTo>
                  <a:lnTo>
                    <a:pt x="931" y="963"/>
                  </a:lnTo>
                  <a:lnTo>
                    <a:pt x="955" y="964"/>
                  </a:lnTo>
                  <a:lnTo>
                    <a:pt x="979" y="965"/>
                  </a:lnTo>
                  <a:lnTo>
                    <a:pt x="1003" y="967"/>
                  </a:lnTo>
                  <a:lnTo>
                    <a:pt x="1026" y="969"/>
                  </a:lnTo>
                  <a:lnTo>
                    <a:pt x="1050" y="971"/>
                  </a:lnTo>
                  <a:lnTo>
                    <a:pt x="1072" y="973"/>
                  </a:lnTo>
                  <a:lnTo>
                    <a:pt x="1094" y="974"/>
                  </a:lnTo>
                  <a:lnTo>
                    <a:pt x="1117" y="975"/>
                  </a:lnTo>
                  <a:lnTo>
                    <a:pt x="1127" y="980"/>
                  </a:lnTo>
                  <a:lnTo>
                    <a:pt x="1142" y="989"/>
                  </a:lnTo>
                  <a:lnTo>
                    <a:pt x="1150" y="994"/>
                  </a:lnTo>
                  <a:lnTo>
                    <a:pt x="1157" y="997"/>
                  </a:lnTo>
                  <a:lnTo>
                    <a:pt x="1161" y="1002"/>
                  </a:lnTo>
                  <a:lnTo>
                    <a:pt x="1164" y="1004"/>
                  </a:lnTo>
                  <a:lnTo>
                    <a:pt x="1175" y="1004"/>
                  </a:lnTo>
                  <a:lnTo>
                    <a:pt x="1182" y="1015"/>
                  </a:lnTo>
                  <a:lnTo>
                    <a:pt x="1190" y="1028"/>
                  </a:lnTo>
                  <a:lnTo>
                    <a:pt x="1195" y="1035"/>
                  </a:lnTo>
                  <a:lnTo>
                    <a:pt x="1200" y="1040"/>
                  </a:lnTo>
                  <a:lnTo>
                    <a:pt x="1205" y="1043"/>
                  </a:lnTo>
                  <a:lnTo>
                    <a:pt x="1209" y="1044"/>
                  </a:lnTo>
                  <a:lnTo>
                    <a:pt x="1213" y="1056"/>
                  </a:lnTo>
                  <a:lnTo>
                    <a:pt x="1216" y="1067"/>
                  </a:lnTo>
                  <a:lnTo>
                    <a:pt x="1221" y="1071"/>
                  </a:lnTo>
                  <a:lnTo>
                    <a:pt x="1224" y="1076"/>
                  </a:lnTo>
                  <a:lnTo>
                    <a:pt x="1228" y="1083"/>
                  </a:lnTo>
                  <a:lnTo>
                    <a:pt x="1233" y="1090"/>
                  </a:lnTo>
                  <a:lnTo>
                    <a:pt x="1237" y="1096"/>
                  </a:lnTo>
                  <a:lnTo>
                    <a:pt x="1242" y="1103"/>
                  </a:lnTo>
                  <a:lnTo>
                    <a:pt x="1246" y="1106"/>
                  </a:lnTo>
                  <a:lnTo>
                    <a:pt x="1251" y="1109"/>
                  </a:lnTo>
                  <a:lnTo>
                    <a:pt x="1251" y="1113"/>
                  </a:lnTo>
                  <a:lnTo>
                    <a:pt x="1253" y="1118"/>
                  </a:lnTo>
                  <a:lnTo>
                    <a:pt x="1256" y="1123"/>
                  </a:lnTo>
                  <a:lnTo>
                    <a:pt x="1260" y="1129"/>
                  </a:lnTo>
                  <a:lnTo>
                    <a:pt x="1269" y="1140"/>
                  </a:lnTo>
                  <a:lnTo>
                    <a:pt x="1280" y="1152"/>
                  </a:lnTo>
                  <a:lnTo>
                    <a:pt x="1290" y="1166"/>
                  </a:lnTo>
                  <a:lnTo>
                    <a:pt x="1300" y="1178"/>
                  </a:lnTo>
                  <a:lnTo>
                    <a:pt x="1303" y="1183"/>
                  </a:lnTo>
                  <a:lnTo>
                    <a:pt x="1307" y="1190"/>
                  </a:lnTo>
                  <a:lnTo>
                    <a:pt x="1308" y="1196"/>
                  </a:lnTo>
                  <a:lnTo>
                    <a:pt x="1309" y="1201"/>
                  </a:lnTo>
                  <a:lnTo>
                    <a:pt x="1320" y="1207"/>
                  </a:lnTo>
                  <a:lnTo>
                    <a:pt x="1320" y="1218"/>
                  </a:lnTo>
                  <a:lnTo>
                    <a:pt x="1322" y="1220"/>
                  </a:lnTo>
                  <a:lnTo>
                    <a:pt x="1323" y="1224"/>
                  </a:lnTo>
                  <a:lnTo>
                    <a:pt x="1324" y="1228"/>
                  </a:lnTo>
                  <a:lnTo>
                    <a:pt x="1326" y="1234"/>
                  </a:lnTo>
                  <a:lnTo>
                    <a:pt x="1326" y="1246"/>
                  </a:lnTo>
                  <a:lnTo>
                    <a:pt x="1327" y="1254"/>
                  </a:lnTo>
                  <a:lnTo>
                    <a:pt x="1328" y="1255"/>
                  </a:lnTo>
                  <a:lnTo>
                    <a:pt x="1330" y="1258"/>
                  </a:lnTo>
                  <a:lnTo>
                    <a:pt x="1330" y="1263"/>
                  </a:lnTo>
                  <a:lnTo>
                    <a:pt x="1331" y="1268"/>
                  </a:lnTo>
                  <a:lnTo>
                    <a:pt x="1332" y="1281"/>
                  </a:lnTo>
                  <a:lnTo>
                    <a:pt x="1332" y="1288"/>
                  </a:lnTo>
                  <a:lnTo>
                    <a:pt x="1336" y="1293"/>
                  </a:lnTo>
                  <a:lnTo>
                    <a:pt x="1339" y="1298"/>
                  </a:lnTo>
                  <a:lnTo>
                    <a:pt x="1341" y="1303"/>
                  </a:lnTo>
                  <a:lnTo>
                    <a:pt x="1342" y="1308"/>
                  </a:lnTo>
                  <a:lnTo>
                    <a:pt x="1343" y="1320"/>
                  </a:lnTo>
                  <a:lnTo>
                    <a:pt x="1343" y="1329"/>
                  </a:lnTo>
                  <a:lnTo>
                    <a:pt x="1346" y="1331"/>
                  </a:lnTo>
                  <a:lnTo>
                    <a:pt x="1349" y="1336"/>
                  </a:lnTo>
                  <a:lnTo>
                    <a:pt x="1351" y="1344"/>
                  </a:lnTo>
                  <a:lnTo>
                    <a:pt x="1355" y="1353"/>
                  </a:lnTo>
                  <a:lnTo>
                    <a:pt x="1359" y="1373"/>
                  </a:lnTo>
                  <a:lnTo>
                    <a:pt x="1361" y="1387"/>
                  </a:lnTo>
                  <a:lnTo>
                    <a:pt x="1362" y="1389"/>
                  </a:lnTo>
                  <a:lnTo>
                    <a:pt x="1365" y="1396"/>
                  </a:lnTo>
                  <a:lnTo>
                    <a:pt x="1366" y="1404"/>
                  </a:lnTo>
                  <a:lnTo>
                    <a:pt x="1366" y="1415"/>
                  </a:lnTo>
                  <a:lnTo>
                    <a:pt x="1367" y="1436"/>
                  </a:lnTo>
                  <a:lnTo>
                    <a:pt x="1367" y="1451"/>
                  </a:lnTo>
                  <a:lnTo>
                    <a:pt x="1365" y="1452"/>
                  </a:lnTo>
                  <a:lnTo>
                    <a:pt x="1363" y="1455"/>
                  </a:lnTo>
                  <a:lnTo>
                    <a:pt x="1362" y="1458"/>
                  </a:lnTo>
                  <a:lnTo>
                    <a:pt x="1361" y="1464"/>
                  </a:lnTo>
                  <a:lnTo>
                    <a:pt x="1361" y="1473"/>
                  </a:lnTo>
                  <a:lnTo>
                    <a:pt x="1361" y="1480"/>
                  </a:lnTo>
                  <a:lnTo>
                    <a:pt x="1372" y="1480"/>
                  </a:lnTo>
                  <a:lnTo>
                    <a:pt x="1374" y="1483"/>
                  </a:lnTo>
                  <a:lnTo>
                    <a:pt x="1377" y="1485"/>
                  </a:lnTo>
                  <a:lnTo>
                    <a:pt x="1380" y="1486"/>
                  </a:lnTo>
                  <a:lnTo>
                    <a:pt x="1387" y="1488"/>
                  </a:lnTo>
                  <a:lnTo>
                    <a:pt x="1400" y="1493"/>
                  </a:lnTo>
                  <a:lnTo>
                    <a:pt x="1418" y="1496"/>
                  </a:lnTo>
                  <a:lnTo>
                    <a:pt x="1451" y="1502"/>
                  </a:lnTo>
                  <a:lnTo>
                    <a:pt x="1472" y="1503"/>
                  </a:lnTo>
                  <a:lnTo>
                    <a:pt x="1472" y="1505"/>
                  </a:lnTo>
                  <a:lnTo>
                    <a:pt x="1473" y="1507"/>
                  </a:lnTo>
                  <a:lnTo>
                    <a:pt x="1475" y="1509"/>
                  </a:lnTo>
                  <a:lnTo>
                    <a:pt x="1477" y="1512"/>
                  </a:lnTo>
                  <a:lnTo>
                    <a:pt x="1484" y="1514"/>
                  </a:lnTo>
                  <a:lnTo>
                    <a:pt x="1488" y="1515"/>
                  </a:lnTo>
                  <a:lnTo>
                    <a:pt x="1490" y="1519"/>
                  </a:lnTo>
                  <a:lnTo>
                    <a:pt x="1493" y="1525"/>
                  </a:lnTo>
                  <a:lnTo>
                    <a:pt x="1497" y="1533"/>
                  </a:lnTo>
                  <a:lnTo>
                    <a:pt x="1503" y="1542"/>
                  </a:lnTo>
                  <a:lnTo>
                    <a:pt x="1518" y="1562"/>
                  </a:lnTo>
                  <a:lnTo>
                    <a:pt x="1534" y="1584"/>
                  </a:lnTo>
                  <a:lnTo>
                    <a:pt x="1570" y="1628"/>
                  </a:lnTo>
                  <a:lnTo>
                    <a:pt x="1593" y="1654"/>
                  </a:lnTo>
                  <a:lnTo>
                    <a:pt x="1593" y="1666"/>
                  </a:lnTo>
                  <a:lnTo>
                    <a:pt x="1608" y="1680"/>
                  </a:lnTo>
                  <a:lnTo>
                    <a:pt x="1622" y="1695"/>
                  </a:lnTo>
                  <a:lnTo>
                    <a:pt x="1622" y="1707"/>
                  </a:lnTo>
                  <a:lnTo>
                    <a:pt x="1625" y="1707"/>
                  </a:lnTo>
                  <a:lnTo>
                    <a:pt x="1627" y="1708"/>
                  </a:lnTo>
                  <a:lnTo>
                    <a:pt x="1629" y="1710"/>
                  </a:lnTo>
                  <a:lnTo>
                    <a:pt x="1630" y="1712"/>
                  </a:lnTo>
                  <a:lnTo>
                    <a:pt x="1632" y="1719"/>
                  </a:lnTo>
                  <a:lnTo>
                    <a:pt x="1634" y="1724"/>
                  </a:lnTo>
                  <a:lnTo>
                    <a:pt x="1646" y="1733"/>
                  </a:lnTo>
                  <a:lnTo>
                    <a:pt x="1657" y="1742"/>
                  </a:lnTo>
                  <a:lnTo>
                    <a:pt x="1660" y="1750"/>
                  </a:lnTo>
                  <a:lnTo>
                    <a:pt x="1663" y="1758"/>
                  </a:lnTo>
                  <a:lnTo>
                    <a:pt x="1669" y="1765"/>
                  </a:lnTo>
                  <a:lnTo>
                    <a:pt x="1680" y="1765"/>
                  </a:lnTo>
                  <a:lnTo>
                    <a:pt x="1686" y="1776"/>
                  </a:lnTo>
                  <a:lnTo>
                    <a:pt x="1707" y="1776"/>
                  </a:lnTo>
                  <a:lnTo>
                    <a:pt x="1733" y="1776"/>
                  </a:lnTo>
                  <a:lnTo>
                    <a:pt x="1759" y="1776"/>
                  </a:lnTo>
                  <a:lnTo>
                    <a:pt x="1779" y="1776"/>
                  </a:lnTo>
                  <a:lnTo>
                    <a:pt x="1782" y="1767"/>
                  </a:lnTo>
                  <a:lnTo>
                    <a:pt x="1785" y="1758"/>
                  </a:lnTo>
                  <a:lnTo>
                    <a:pt x="1793" y="1756"/>
                  </a:lnTo>
                  <a:lnTo>
                    <a:pt x="1802" y="1753"/>
                  </a:lnTo>
                  <a:lnTo>
                    <a:pt x="1878" y="1660"/>
                  </a:lnTo>
                  <a:lnTo>
                    <a:pt x="1878" y="1468"/>
                  </a:lnTo>
                  <a:lnTo>
                    <a:pt x="1889" y="1457"/>
                  </a:lnTo>
                  <a:lnTo>
                    <a:pt x="1889" y="1448"/>
                  </a:lnTo>
                  <a:lnTo>
                    <a:pt x="1887" y="1439"/>
                  </a:lnTo>
                  <a:lnTo>
                    <a:pt x="1885" y="1429"/>
                  </a:lnTo>
                  <a:lnTo>
                    <a:pt x="1880" y="1418"/>
                  </a:lnTo>
                  <a:lnTo>
                    <a:pt x="1871" y="1394"/>
                  </a:lnTo>
                  <a:lnTo>
                    <a:pt x="1860" y="1369"/>
                  </a:lnTo>
                  <a:lnTo>
                    <a:pt x="1850" y="1343"/>
                  </a:lnTo>
                  <a:lnTo>
                    <a:pt x="1840" y="1319"/>
                  </a:lnTo>
                  <a:lnTo>
                    <a:pt x="1837" y="1307"/>
                  </a:lnTo>
                  <a:lnTo>
                    <a:pt x="1835" y="1296"/>
                  </a:lnTo>
                  <a:lnTo>
                    <a:pt x="1832" y="1286"/>
                  </a:lnTo>
                  <a:lnTo>
                    <a:pt x="1831" y="1276"/>
                  </a:lnTo>
                  <a:lnTo>
                    <a:pt x="1829" y="1275"/>
                  </a:lnTo>
                  <a:lnTo>
                    <a:pt x="1827" y="1272"/>
                  </a:lnTo>
                  <a:lnTo>
                    <a:pt x="1824" y="1266"/>
                  </a:lnTo>
                  <a:lnTo>
                    <a:pt x="1821" y="1259"/>
                  </a:lnTo>
                  <a:lnTo>
                    <a:pt x="1818" y="1253"/>
                  </a:lnTo>
                  <a:lnTo>
                    <a:pt x="1813" y="1247"/>
                  </a:lnTo>
                  <a:lnTo>
                    <a:pt x="1811" y="1245"/>
                  </a:lnTo>
                  <a:lnTo>
                    <a:pt x="1809" y="1244"/>
                  </a:lnTo>
                  <a:lnTo>
                    <a:pt x="1806" y="1243"/>
                  </a:lnTo>
                  <a:lnTo>
                    <a:pt x="1802" y="1242"/>
                  </a:lnTo>
                  <a:lnTo>
                    <a:pt x="1801" y="1237"/>
                  </a:lnTo>
                  <a:lnTo>
                    <a:pt x="1799" y="1231"/>
                  </a:lnTo>
                  <a:lnTo>
                    <a:pt x="1797" y="1228"/>
                  </a:lnTo>
                  <a:lnTo>
                    <a:pt x="1795" y="1226"/>
                  </a:lnTo>
                  <a:lnTo>
                    <a:pt x="1793" y="1225"/>
                  </a:lnTo>
                  <a:lnTo>
                    <a:pt x="1791" y="1225"/>
                  </a:lnTo>
                  <a:lnTo>
                    <a:pt x="1791" y="1207"/>
                  </a:lnTo>
                  <a:lnTo>
                    <a:pt x="1785" y="1202"/>
                  </a:lnTo>
                  <a:lnTo>
                    <a:pt x="1780" y="1198"/>
                  </a:lnTo>
                  <a:lnTo>
                    <a:pt x="1778" y="1196"/>
                  </a:lnTo>
                  <a:lnTo>
                    <a:pt x="1775" y="1194"/>
                  </a:lnTo>
                  <a:lnTo>
                    <a:pt x="1774" y="1191"/>
                  </a:lnTo>
                  <a:lnTo>
                    <a:pt x="1773" y="1189"/>
                  </a:lnTo>
                  <a:lnTo>
                    <a:pt x="1768" y="1189"/>
                  </a:lnTo>
                  <a:lnTo>
                    <a:pt x="1760" y="1186"/>
                  </a:lnTo>
                  <a:lnTo>
                    <a:pt x="1756" y="1185"/>
                  </a:lnTo>
                  <a:lnTo>
                    <a:pt x="1753" y="1182"/>
                  </a:lnTo>
                  <a:lnTo>
                    <a:pt x="1751" y="1180"/>
                  </a:lnTo>
                  <a:lnTo>
                    <a:pt x="1750" y="1178"/>
                  </a:lnTo>
                  <a:lnTo>
                    <a:pt x="1733" y="1178"/>
                  </a:lnTo>
                  <a:lnTo>
                    <a:pt x="1721" y="1167"/>
                  </a:lnTo>
                  <a:lnTo>
                    <a:pt x="1712" y="1166"/>
                  </a:lnTo>
                  <a:lnTo>
                    <a:pt x="1702" y="1165"/>
                  </a:lnTo>
                  <a:lnTo>
                    <a:pt x="1693" y="1162"/>
                  </a:lnTo>
                  <a:lnTo>
                    <a:pt x="1683" y="1160"/>
                  </a:lnTo>
                  <a:lnTo>
                    <a:pt x="1665" y="1153"/>
                  </a:lnTo>
                  <a:lnTo>
                    <a:pt x="1647" y="1146"/>
                  </a:lnTo>
                  <a:lnTo>
                    <a:pt x="1630" y="1139"/>
                  </a:lnTo>
                  <a:lnTo>
                    <a:pt x="1614" y="1132"/>
                  </a:lnTo>
                  <a:lnTo>
                    <a:pt x="1606" y="1130"/>
                  </a:lnTo>
                  <a:lnTo>
                    <a:pt x="1597" y="1128"/>
                  </a:lnTo>
                  <a:lnTo>
                    <a:pt x="1589" y="1127"/>
                  </a:lnTo>
                  <a:lnTo>
                    <a:pt x="1582" y="1125"/>
                  </a:lnTo>
                  <a:lnTo>
                    <a:pt x="1579" y="1122"/>
                  </a:lnTo>
                  <a:lnTo>
                    <a:pt x="1571" y="1118"/>
                  </a:lnTo>
                  <a:lnTo>
                    <a:pt x="1559" y="1112"/>
                  </a:lnTo>
                  <a:lnTo>
                    <a:pt x="1545" y="1106"/>
                  </a:lnTo>
                  <a:lnTo>
                    <a:pt x="1531" y="1100"/>
                  </a:lnTo>
                  <a:lnTo>
                    <a:pt x="1518" y="1095"/>
                  </a:lnTo>
                  <a:lnTo>
                    <a:pt x="1507" y="1092"/>
                  </a:lnTo>
                  <a:lnTo>
                    <a:pt x="1501" y="1091"/>
                  </a:lnTo>
                  <a:lnTo>
                    <a:pt x="1488" y="1073"/>
                  </a:lnTo>
                  <a:lnTo>
                    <a:pt x="1477" y="1073"/>
                  </a:lnTo>
                  <a:lnTo>
                    <a:pt x="1476" y="1069"/>
                  </a:lnTo>
                  <a:lnTo>
                    <a:pt x="1473" y="1064"/>
                  </a:lnTo>
                  <a:lnTo>
                    <a:pt x="1470" y="1060"/>
                  </a:lnTo>
                  <a:lnTo>
                    <a:pt x="1464" y="1054"/>
                  </a:lnTo>
                  <a:lnTo>
                    <a:pt x="1458" y="1051"/>
                  </a:lnTo>
                  <a:lnTo>
                    <a:pt x="1453" y="1047"/>
                  </a:lnTo>
                  <a:lnTo>
                    <a:pt x="1447" y="1045"/>
                  </a:lnTo>
                  <a:lnTo>
                    <a:pt x="1443" y="1044"/>
                  </a:lnTo>
                  <a:lnTo>
                    <a:pt x="1442" y="1041"/>
                  </a:lnTo>
                  <a:lnTo>
                    <a:pt x="1442" y="1037"/>
                  </a:lnTo>
                  <a:lnTo>
                    <a:pt x="1440" y="1035"/>
                  </a:lnTo>
                  <a:lnTo>
                    <a:pt x="1438" y="1034"/>
                  </a:lnTo>
                  <a:lnTo>
                    <a:pt x="1435" y="1031"/>
                  </a:lnTo>
                  <a:lnTo>
                    <a:pt x="1430" y="1027"/>
                  </a:lnTo>
                  <a:lnTo>
                    <a:pt x="1426" y="1026"/>
                  </a:lnTo>
                  <a:lnTo>
                    <a:pt x="1419" y="1023"/>
                  </a:lnTo>
                  <a:lnTo>
                    <a:pt x="1413" y="1017"/>
                  </a:lnTo>
                  <a:lnTo>
                    <a:pt x="1406" y="1012"/>
                  </a:lnTo>
                  <a:lnTo>
                    <a:pt x="1400" y="1006"/>
                  </a:lnTo>
                  <a:lnTo>
                    <a:pt x="1395" y="1000"/>
                  </a:lnTo>
                  <a:lnTo>
                    <a:pt x="1391" y="995"/>
                  </a:lnTo>
                  <a:lnTo>
                    <a:pt x="1390" y="992"/>
                  </a:lnTo>
                  <a:lnTo>
                    <a:pt x="1386" y="992"/>
                  </a:lnTo>
                  <a:lnTo>
                    <a:pt x="1382" y="990"/>
                  </a:lnTo>
                  <a:lnTo>
                    <a:pt x="1379" y="988"/>
                  </a:lnTo>
                  <a:lnTo>
                    <a:pt x="1377" y="986"/>
                  </a:lnTo>
                  <a:lnTo>
                    <a:pt x="1374" y="980"/>
                  </a:lnTo>
                  <a:lnTo>
                    <a:pt x="1372" y="975"/>
                  </a:lnTo>
                  <a:lnTo>
                    <a:pt x="1368" y="974"/>
                  </a:lnTo>
                  <a:lnTo>
                    <a:pt x="1363" y="971"/>
                  </a:lnTo>
                  <a:lnTo>
                    <a:pt x="1359" y="969"/>
                  </a:lnTo>
                  <a:lnTo>
                    <a:pt x="1356" y="966"/>
                  </a:lnTo>
                  <a:lnTo>
                    <a:pt x="1351" y="963"/>
                  </a:lnTo>
                  <a:lnTo>
                    <a:pt x="1347" y="960"/>
                  </a:lnTo>
                  <a:lnTo>
                    <a:pt x="1342" y="958"/>
                  </a:lnTo>
                  <a:lnTo>
                    <a:pt x="1338" y="957"/>
                  </a:lnTo>
                  <a:lnTo>
                    <a:pt x="1332" y="946"/>
                  </a:lnTo>
                  <a:lnTo>
                    <a:pt x="1323" y="942"/>
                  </a:lnTo>
                  <a:lnTo>
                    <a:pt x="1314" y="940"/>
                  </a:lnTo>
                  <a:lnTo>
                    <a:pt x="1309" y="933"/>
                  </a:lnTo>
                  <a:lnTo>
                    <a:pt x="1308" y="930"/>
                  </a:lnTo>
                  <a:lnTo>
                    <a:pt x="1305" y="926"/>
                  </a:lnTo>
                  <a:lnTo>
                    <a:pt x="1301" y="923"/>
                  </a:lnTo>
                  <a:lnTo>
                    <a:pt x="1298" y="922"/>
                  </a:lnTo>
                  <a:lnTo>
                    <a:pt x="1291" y="904"/>
                  </a:lnTo>
                  <a:lnTo>
                    <a:pt x="1289" y="904"/>
                  </a:lnTo>
                  <a:lnTo>
                    <a:pt x="1286" y="902"/>
                  </a:lnTo>
                  <a:lnTo>
                    <a:pt x="1285" y="899"/>
                  </a:lnTo>
                  <a:lnTo>
                    <a:pt x="1283" y="896"/>
                  </a:lnTo>
                  <a:lnTo>
                    <a:pt x="1281" y="888"/>
                  </a:lnTo>
                  <a:lnTo>
                    <a:pt x="1280" y="882"/>
                  </a:lnTo>
                  <a:lnTo>
                    <a:pt x="1269" y="875"/>
                  </a:lnTo>
                  <a:lnTo>
                    <a:pt x="1269" y="854"/>
                  </a:lnTo>
                  <a:lnTo>
                    <a:pt x="1269" y="832"/>
                  </a:lnTo>
                  <a:lnTo>
                    <a:pt x="1269" y="811"/>
                  </a:lnTo>
                  <a:lnTo>
                    <a:pt x="1269" y="788"/>
                  </a:lnTo>
                  <a:lnTo>
                    <a:pt x="1280" y="783"/>
                  </a:lnTo>
                  <a:lnTo>
                    <a:pt x="1280" y="772"/>
                  </a:lnTo>
                  <a:lnTo>
                    <a:pt x="1291" y="759"/>
                  </a:lnTo>
                  <a:lnTo>
                    <a:pt x="1303" y="759"/>
                  </a:lnTo>
                  <a:lnTo>
                    <a:pt x="1307" y="758"/>
                  </a:lnTo>
                  <a:lnTo>
                    <a:pt x="1315" y="756"/>
                  </a:lnTo>
                  <a:lnTo>
                    <a:pt x="1329" y="755"/>
                  </a:lnTo>
                  <a:lnTo>
                    <a:pt x="1344" y="755"/>
                  </a:lnTo>
                  <a:lnTo>
                    <a:pt x="1377" y="754"/>
                  </a:lnTo>
                  <a:lnTo>
                    <a:pt x="1396" y="754"/>
                  </a:lnTo>
                  <a:lnTo>
                    <a:pt x="1401" y="736"/>
                  </a:lnTo>
                  <a:lnTo>
                    <a:pt x="1408" y="731"/>
                  </a:lnTo>
                  <a:lnTo>
                    <a:pt x="1422" y="719"/>
                  </a:lnTo>
                  <a:lnTo>
                    <a:pt x="1436" y="707"/>
                  </a:lnTo>
                  <a:lnTo>
                    <a:pt x="1443" y="701"/>
                  </a:lnTo>
                  <a:lnTo>
                    <a:pt x="1448" y="696"/>
                  </a:lnTo>
                  <a:lnTo>
                    <a:pt x="1457" y="696"/>
                  </a:lnTo>
                  <a:lnTo>
                    <a:pt x="1466" y="694"/>
                  </a:lnTo>
                  <a:lnTo>
                    <a:pt x="1476" y="692"/>
                  </a:lnTo>
                  <a:lnTo>
                    <a:pt x="1486" y="689"/>
                  </a:lnTo>
                  <a:lnTo>
                    <a:pt x="1506" y="683"/>
                  </a:lnTo>
                  <a:lnTo>
                    <a:pt x="1529" y="676"/>
                  </a:lnTo>
                  <a:lnTo>
                    <a:pt x="1551" y="668"/>
                  </a:lnTo>
                  <a:lnTo>
                    <a:pt x="1574" y="661"/>
                  </a:lnTo>
                  <a:lnTo>
                    <a:pt x="1587" y="659"/>
                  </a:lnTo>
                  <a:lnTo>
                    <a:pt x="1598" y="657"/>
                  </a:lnTo>
                  <a:lnTo>
                    <a:pt x="1610" y="656"/>
                  </a:lnTo>
                  <a:lnTo>
                    <a:pt x="1622" y="656"/>
                  </a:lnTo>
                  <a:lnTo>
                    <a:pt x="1634" y="667"/>
                  </a:lnTo>
                  <a:lnTo>
                    <a:pt x="1650" y="670"/>
                  </a:lnTo>
                  <a:lnTo>
                    <a:pt x="1663" y="672"/>
                  </a:lnTo>
                  <a:lnTo>
                    <a:pt x="1669" y="678"/>
                  </a:lnTo>
                  <a:lnTo>
                    <a:pt x="1669" y="681"/>
                  </a:lnTo>
                  <a:lnTo>
                    <a:pt x="1672" y="683"/>
                  </a:lnTo>
                  <a:lnTo>
                    <a:pt x="1674" y="686"/>
                  </a:lnTo>
                  <a:lnTo>
                    <a:pt x="1677" y="689"/>
                  </a:lnTo>
                  <a:lnTo>
                    <a:pt x="1686" y="695"/>
                  </a:lnTo>
                  <a:lnTo>
                    <a:pt x="1696" y="701"/>
                  </a:lnTo>
                  <a:lnTo>
                    <a:pt x="1706" y="708"/>
                  </a:lnTo>
                  <a:lnTo>
                    <a:pt x="1715" y="715"/>
                  </a:lnTo>
                  <a:lnTo>
                    <a:pt x="1723" y="720"/>
                  </a:lnTo>
                  <a:lnTo>
                    <a:pt x="1727" y="725"/>
                  </a:lnTo>
                  <a:lnTo>
                    <a:pt x="1739" y="730"/>
                  </a:lnTo>
                  <a:lnTo>
                    <a:pt x="1750" y="736"/>
                  </a:lnTo>
                  <a:lnTo>
                    <a:pt x="1755" y="743"/>
                  </a:lnTo>
                  <a:lnTo>
                    <a:pt x="1763" y="749"/>
                  </a:lnTo>
                  <a:lnTo>
                    <a:pt x="1774" y="758"/>
                  </a:lnTo>
                  <a:lnTo>
                    <a:pt x="1788" y="767"/>
                  </a:lnTo>
                  <a:lnTo>
                    <a:pt x="1799" y="777"/>
                  </a:lnTo>
                  <a:lnTo>
                    <a:pt x="1810" y="785"/>
                  </a:lnTo>
                  <a:lnTo>
                    <a:pt x="1817" y="791"/>
                  </a:lnTo>
                  <a:lnTo>
                    <a:pt x="1820" y="795"/>
                  </a:lnTo>
                  <a:lnTo>
                    <a:pt x="1831" y="795"/>
                  </a:lnTo>
                  <a:lnTo>
                    <a:pt x="1836" y="812"/>
                  </a:lnTo>
                  <a:lnTo>
                    <a:pt x="1846" y="839"/>
                  </a:lnTo>
                  <a:lnTo>
                    <a:pt x="1851" y="853"/>
                  </a:lnTo>
                  <a:lnTo>
                    <a:pt x="1856" y="868"/>
                  </a:lnTo>
                  <a:lnTo>
                    <a:pt x="1859" y="879"/>
                  </a:lnTo>
                  <a:lnTo>
                    <a:pt x="1860" y="888"/>
                  </a:lnTo>
                  <a:lnTo>
                    <a:pt x="1873" y="888"/>
                  </a:lnTo>
                  <a:lnTo>
                    <a:pt x="1875" y="891"/>
                  </a:lnTo>
                  <a:lnTo>
                    <a:pt x="1878" y="893"/>
                  </a:lnTo>
                  <a:lnTo>
                    <a:pt x="1884" y="897"/>
                  </a:lnTo>
                  <a:lnTo>
                    <a:pt x="1888" y="899"/>
                  </a:lnTo>
                  <a:lnTo>
                    <a:pt x="1902" y="904"/>
                  </a:lnTo>
                  <a:lnTo>
                    <a:pt x="1917" y="909"/>
                  </a:lnTo>
                  <a:lnTo>
                    <a:pt x="1954" y="917"/>
                  </a:lnTo>
                  <a:lnTo>
                    <a:pt x="1994" y="923"/>
                  </a:lnTo>
                  <a:lnTo>
                    <a:pt x="2033" y="930"/>
                  </a:lnTo>
                  <a:lnTo>
                    <a:pt x="2067" y="937"/>
                  </a:lnTo>
                  <a:lnTo>
                    <a:pt x="2080" y="940"/>
                  </a:lnTo>
                  <a:lnTo>
                    <a:pt x="2090" y="944"/>
                  </a:lnTo>
                  <a:lnTo>
                    <a:pt x="2094" y="946"/>
                  </a:lnTo>
                  <a:lnTo>
                    <a:pt x="2097" y="947"/>
                  </a:lnTo>
                  <a:lnTo>
                    <a:pt x="2098" y="949"/>
                  </a:lnTo>
                  <a:lnTo>
                    <a:pt x="2099" y="951"/>
                  </a:lnTo>
                  <a:lnTo>
                    <a:pt x="2110" y="951"/>
                  </a:lnTo>
                  <a:lnTo>
                    <a:pt x="2113" y="957"/>
                  </a:lnTo>
                  <a:lnTo>
                    <a:pt x="2117" y="963"/>
                  </a:lnTo>
                  <a:lnTo>
                    <a:pt x="2123" y="967"/>
                  </a:lnTo>
                  <a:lnTo>
                    <a:pt x="2128" y="969"/>
                  </a:lnTo>
                  <a:lnTo>
                    <a:pt x="2134" y="975"/>
                  </a:lnTo>
                  <a:lnTo>
                    <a:pt x="2134" y="977"/>
                  </a:lnTo>
                  <a:lnTo>
                    <a:pt x="2135" y="979"/>
                  </a:lnTo>
                  <a:lnTo>
                    <a:pt x="2136" y="979"/>
                  </a:lnTo>
                  <a:lnTo>
                    <a:pt x="2137" y="979"/>
                  </a:lnTo>
                  <a:lnTo>
                    <a:pt x="2142" y="977"/>
                  </a:lnTo>
                  <a:lnTo>
                    <a:pt x="2146" y="974"/>
                  </a:lnTo>
                  <a:lnTo>
                    <a:pt x="2150" y="969"/>
                  </a:lnTo>
                  <a:lnTo>
                    <a:pt x="2156" y="965"/>
                  </a:lnTo>
                  <a:lnTo>
                    <a:pt x="2158" y="964"/>
                  </a:lnTo>
                  <a:lnTo>
                    <a:pt x="2159" y="963"/>
                  </a:lnTo>
                  <a:lnTo>
                    <a:pt x="2162" y="963"/>
                  </a:lnTo>
                  <a:lnTo>
                    <a:pt x="2163" y="963"/>
                  </a:lnTo>
                  <a:lnTo>
                    <a:pt x="2164" y="980"/>
                  </a:lnTo>
                  <a:lnTo>
                    <a:pt x="2165" y="998"/>
                  </a:lnTo>
                  <a:lnTo>
                    <a:pt x="2168" y="1015"/>
                  </a:lnTo>
                  <a:lnTo>
                    <a:pt x="2172" y="1032"/>
                  </a:lnTo>
                  <a:lnTo>
                    <a:pt x="2175" y="1047"/>
                  </a:lnTo>
                  <a:lnTo>
                    <a:pt x="2177" y="1063"/>
                  </a:lnTo>
                  <a:lnTo>
                    <a:pt x="2179" y="1077"/>
                  </a:lnTo>
                  <a:lnTo>
                    <a:pt x="2181" y="1091"/>
                  </a:lnTo>
                  <a:lnTo>
                    <a:pt x="2187" y="1100"/>
                  </a:lnTo>
                  <a:lnTo>
                    <a:pt x="2197" y="1114"/>
                  </a:lnTo>
                  <a:lnTo>
                    <a:pt x="2205" y="1129"/>
                  </a:lnTo>
                  <a:lnTo>
                    <a:pt x="2210" y="1138"/>
                  </a:lnTo>
                  <a:lnTo>
                    <a:pt x="2216" y="1144"/>
                  </a:lnTo>
                  <a:lnTo>
                    <a:pt x="2226" y="1156"/>
                  </a:lnTo>
                  <a:lnTo>
                    <a:pt x="2236" y="1168"/>
                  </a:lnTo>
                  <a:lnTo>
                    <a:pt x="2244" y="1178"/>
                  </a:lnTo>
                  <a:lnTo>
                    <a:pt x="2249" y="1179"/>
                  </a:lnTo>
                  <a:lnTo>
                    <a:pt x="2253" y="1181"/>
                  </a:lnTo>
                  <a:lnTo>
                    <a:pt x="2259" y="1183"/>
                  </a:lnTo>
                  <a:lnTo>
                    <a:pt x="2263" y="1187"/>
                  </a:lnTo>
                  <a:lnTo>
                    <a:pt x="2267" y="1191"/>
                  </a:lnTo>
                  <a:lnTo>
                    <a:pt x="2270" y="1195"/>
                  </a:lnTo>
                  <a:lnTo>
                    <a:pt x="2272" y="1198"/>
                  </a:lnTo>
                  <a:lnTo>
                    <a:pt x="2273" y="1201"/>
                  </a:lnTo>
                  <a:lnTo>
                    <a:pt x="2284" y="1201"/>
                  </a:lnTo>
                  <a:lnTo>
                    <a:pt x="2284" y="1204"/>
                  </a:lnTo>
                  <a:lnTo>
                    <a:pt x="2286" y="1205"/>
                  </a:lnTo>
                  <a:lnTo>
                    <a:pt x="2287" y="1206"/>
                  </a:lnTo>
                  <a:lnTo>
                    <a:pt x="2288" y="1206"/>
                  </a:lnTo>
                  <a:lnTo>
                    <a:pt x="2292" y="1207"/>
                  </a:lnTo>
                  <a:lnTo>
                    <a:pt x="2297" y="1207"/>
                  </a:lnTo>
                  <a:lnTo>
                    <a:pt x="2302" y="1218"/>
                  </a:lnTo>
                  <a:lnTo>
                    <a:pt x="2313" y="1218"/>
                  </a:lnTo>
                  <a:lnTo>
                    <a:pt x="2319" y="1230"/>
                  </a:lnTo>
                  <a:lnTo>
                    <a:pt x="2337" y="1230"/>
                  </a:lnTo>
                  <a:lnTo>
                    <a:pt x="2337" y="1233"/>
                  </a:lnTo>
                  <a:lnTo>
                    <a:pt x="2339" y="1234"/>
                  </a:lnTo>
                  <a:lnTo>
                    <a:pt x="2341" y="1235"/>
                  </a:lnTo>
                  <a:lnTo>
                    <a:pt x="2344" y="1235"/>
                  </a:lnTo>
                  <a:lnTo>
                    <a:pt x="2349" y="1236"/>
                  </a:lnTo>
                  <a:lnTo>
                    <a:pt x="2355" y="1236"/>
                  </a:lnTo>
                  <a:lnTo>
                    <a:pt x="2359" y="1244"/>
                  </a:lnTo>
                  <a:lnTo>
                    <a:pt x="2365" y="1249"/>
                  </a:lnTo>
                  <a:lnTo>
                    <a:pt x="2371" y="1256"/>
                  </a:lnTo>
                  <a:lnTo>
                    <a:pt x="2379" y="1260"/>
                  </a:lnTo>
                  <a:lnTo>
                    <a:pt x="2388" y="1265"/>
                  </a:lnTo>
                  <a:lnTo>
                    <a:pt x="2398" y="1269"/>
                  </a:lnTo>
                  <a:lnTo>
                    <a:pt x="2409" y="1272"/>
                  </a:lnTo>
                  <a:lnTo>
                    <a:pt x="2421" y="1275"/>
                  </a:lnTo>
                  <a:lnTo>
                    <a:pt x="2446" y="1278"/>
                  </a:lnTo>
                  <a:lnTo>
                    <a:pt x="2473" y="1281"/>
                  </a:lnTo>
                  <a:lnTo>
                    <a:pt x="2503" y="1282"/>
                  </a:lnTo>
                  <a:lnTo>
                    <a:pt x="2533" y="1281"/>
                  </a:lnTo>
                  <a:lnTo>
                    <a:pt x="2594" y="1277"/>
                  </a:lnTo>
                  <a:lnTo>
                    <a:pt x="2652" y="1272"/>
                  </a:lnTo>
                  <a:lnTo>
                    <a:pt x="2701" y="1267"/>
                  </a:lnTo>
                  <a:lnTo>
                    <a:pt x="2738" y="1265"/>
                  </a:lnTo>
                  <a:lnTo>
                    <a:pt x="2742" y="1252"/>
                  </a:lnTo>
                  <a:lnTo>
                    <a:pt x="2745" y="1238"/>
                  </a:lnTo>
                  <a:lnTo>
                    <a:pt x="2749" y="1224"/>
                  </a:lnTo>
                  <a:lnTo>
                    <a:pt x="2750" y="1207"/>
                  </a:lnTo>
                  <a:lnTo>
                    <a:pt x="2744" y="1200"/>
                  </a:lnTo>
                  <a:lnTo>
                    <a:pt x="2739" y="1189"/>
                  </a:lnTo>
                  <a:lnTo>
                    <a:pt x="2733" y="1176"/>
                  </a:lnTo>
                  <a:lnTo>
                    <a:pt x="2726" y="1162"/>
                  </a:lnTo>
                  <a:lnTo>
                    <a:pt x="2720" y="1148"/>
                  </a:lnTo>
                  <a:lnTo>
                    <a:pt x="2713" y="1137"/>
                  </a:lnTo>
                  <a:lnTo>
                    <a:pt x="2711" y="1132"/>
                  </a:lnTo>
                  <a:lnTo>
                    <a:pt x="2708" y="1129"/>
                  </a:lnTo>
                  <a:lnTo>
                    <a:pt x="2705" y="1127"/>
                  </a:lnTo>
                  <a:lnTo>
                    <a:pt x="2703" y="1125"/>
                  </a:lnTo>
                  <a:lnTo>
                    <a:pt x="2703" y="1121"/>
                  </a:lnTo>
                  <a:lnTo>
                    <a:pt x="2702" y="1114"/>
                  </a:lnTo>
                  <a:lnTo>
                    <a:pt x="2700" y="1112"/>
                  </a:lnTo>
                  <a:lnTo>
                    <a:pt x="2699" y="1110"/>
                  </a:lnTo>
                  <a:lnTo>
                    <a:pt x="2695" y="1109"/>
                  </a:lnTo>
                  <a:lnTo>
                    <a:pt x="2692" y="1109"/>
                  </a:lnTo>
                  <a:lnTo>
                    <a:pt x="2685" y="1091"/>
                  </a:lnTo>
                  <a:lnTo>
                    <a:pt x="2680" y="1086"/>
                  </a:lnTo>
                  <a:lnTo>
                    <a:pt x="2667" y="1076"/>
                  </a:lnTo>
                  <a:lnTo>
                    <a:pt x="2654" y="1066"/>
                  </a:lnTo>
                  <a:lnTo>
                    <a:pt x="2645" y="1062"/>
                  </a:lnTo>
                  <a:lnTo>
                    <a:pt x="2639" y="1051"/>
                  </a:lnTo>
                  <a:lnTo>
                    <a:pt x="2633" y="1038"/>
                  </a:lnTo>
                  <a:lnTo>
                    <a:pt x="2632" y="1037"/>
                  </a:lnTo>
                  <a:lnTo>
                    <a:pt x="2629" y="1036"/>
                  </a:lnTo>
                  <a:lnTo>
                    <a:pt x="2627" y="1033"/>
                  </a:lnTo>
                  <a:lnTo>
                    <a:pt x="2625" y="1029"/>
                  </a:lnTo>
                  <a:lnTo>
                    <a:pt x="2623" y="1022"/>
                  </a:lnTo>
                  <a:lnTo>
                    <a:pt x="2622" y="1015"/>
                  </a:lnTo>
                  <a:lnTo>
                    <a:pt x="2616" y="1009"/>
                  </a:lnTo>
                  <a:lnTo>
                    <a:pt x="2613" y="1009"/>
                  </a:lnTo>
                  <a:lnTo>
                    <a:pt x="2610" y="1008"/>
                  </a:lnTo>
                  <a:lnTo>
                    <a:pt x="2610" y="1007"/>
                  </a:lnTo>
                  <a:lnTo>
                    <a:pt x="2610" y="1007"/>
                  </a:lnTo>
                  <a:lnTo>
                    <a:pt x="2610" y="1006"/>
                  </a:lnTo>
                  <a:lnTo>
                    <a:pt x="2609" y="1005"/>
                  </a:lnTo>
                  <a:lnTo>
                    <a:pt x="2607" y="1004"/>
                  </a:lnTo>
                  <a:lnTo>
                    <a:pt x="2604" y="1004"/>
                  </a:lnTo>
                  <a:lnTo>
                    <a:pt x="2604" y="999"/>
                  </a:lnTo>
                  <a:lnTo>
                    <a:pt x="2603" y="997"/>
                  </a:lnTo>
                  <a:lnTo>
                    <a:pt x="2600" y="995"/>
                  </a:lnTo>
                  <a:lnTo>
                    <a:pt x="2598" y="993"/>
                  </a:lnTo>
                  <a:lnTo>
                    <a:pt x="2595" y="989"/>
                  </a:lnTo>
                  <a:lnTo>
                    <a:pt x="2593" y="986"/>
                  </a:lnTo>
                  <a:lnTo>
                    <a:pt x="2581" y="986"/>
                  </a:lnTo>
                  <a:lnTo>
                    <a:pt x="2572" y="977"/>
                  </a:lnTo>
                  <a:lnTo>
                    <a:pt x="2563" y="969"/>
                  </a:lnTo>
                  <a:lnTo>
                    <a:pt x="2552" y="968"/>
                  </a:lnTo>
                  <a:lnTo>
                    <a:pt x="2542" y="967"/>
                  </a:lnTo>
                  <a:lnTo>
                    <a:pt x="2533" y="965"/>
                  </a:lnTo>
                  <a:lnTo>
                    <a:pt x="2523" y="961"/>
                  </a:lnTo>
                  <a:lnTo>
                    <a:pt x="2507" y="954"/>
                  </a:lnTo>
                  <a:lnTo>
                    <a:pt x="2490" y="944"/>
                  </a:lnTo>
                  <a:lnTo>
                    <a:pt x="2474" y="932"/>
                  </a:lnTo>
                  <a:lnTo>
                    <a:pt x="2460" y="922"/>
                  </a:lnTo>
                  <a:lnTo>
                    <a:pt x="2445" y="912"/>
                  </a:lnTo>
                  <a:lnTo>
                    <a:pt x="2430" y="904"/>
                  </a:lnTo>
                  <a:lnTo>
                    <a:pt x="2422" y="893"/>
                  </a:lnTo>
                  <a:lnTo>
                    <a:pt x="2403" y="868"/>
                  </a:lnTo>
                  <a:lnTo>
                    <a:pt x="2393" y="853"/>
                  </a:lnTo>
                  <a:lnTo>
                    <a:pt x="2384" y="841"/>
                  </a:lnTo>
                  <a:lnTo>
                    <a:pt x="2376" y="833"/>
                  </a:lnTo>
                  <a:lnTo>
                    <a:pt x="2371" y="830"/>
                  </a:lnTo>
                  <a:lnTo>
                    <a:pt x="2370" y="824"/>
                  </a:lnTo>
                  <a:lnTo>
                    <a:pt x="2365" y="819"/>
                  </a:lnTo>
                  <a:lnTo>
                    <a:pt x="2359" y="814"/>
                  </a:lnTo>
                  <a:lnTo>
                    <a:pt x="2355" y="812"/>
                  </a:lnTo>
                  <a:lnTo>
                    <a:pt x="2351" y="798"/>
                  </a:lnTo>
                  <a:lnTo>
                    <a:pt x="2348" y="788"/>
                  </a:lnTo>
                  <a:lnTo>
                    <a:pt x="2341" y="787"/>
                  </a:lnTo>
                  <a:lnTo>
                    <a:pt x="2331" y="783"/>
                  </a:lnTo>
                  <a:lnTo>
                    <a:pt x="2320" y="777"/>
                  </a:lnTo>
                  <a:lnTo>
                    <a:pt x="2308" y="772"/>
                  </a:lnTo>
                  <a:lnTo>
                    <a:pt x="2294" y="765"/>
                  </a:lnTo>
                  <a:lnTo>
                    <a:pt x="2280" y="759"/>
                  </a:lnTo>
                  <a:lnTo>
                    <a:pt x="2272" y="757"/>
                  </a:lnTo>
                  <a:lnTo>
                    <a:pt x="2265" y="755"/>
                  </a:lnTo>
                  <a:lnTo>
                    <a:pt x="2258" y="754"/>
                  </a:lnTo>
                  <a:lnTo>
                    <a:pt x="2250" y="754"/>
                  </a:lnTo>
                  <a:lnTo>
                    <a:pt x="2248" y="752"/>
                  </a:lnTo>
                  <a:lnTo>
                    <a:pt x="2242" y="748"/>
                  </a:lnTo>
                  <a:lnTo>
                    <a:pt x="2235" y="744"/>
                  </a:lnTo>
                  <a:lnTo>
                    <a:pt x="2226" y="740"/>
                  </a:lnTo>
                  <a:lnTo>
                    <a:pt x="2211" y="734"/>
                  </a:lnTo>
                  <a:lnTo>
                    <a:pt x="2203" y="730"/>
                  </a:lnTo>
                  <a:lnTo>
                    <a:pt x="2197" y="730"/>
                  </a:lnTo>
                  <a:lnTo>
                    <a:pt x="2192" y="729"/>
                  </a:lnTo>
                  <a:lnTo>
                    <a:pt x="2186" y="728"/>
                  </a:lnTo>
                  <a:lnTo>
                    <a:pt x="2181" y="726"/>
                  </a:lnTo>
                  <a:lnTo>
                    <a:pt x="2172" y="721"/>
                  </a:lnTo>
                  <a:lnTo>
                    <a:pt x="2163" y="714"/>
                  </a:lnTo>
                  <a:lnTo>
                    <a:pt x="2154" y="713"/>
                  </a:lnTo>
                  <a:lnTo>
                    <a:pt x="2145" y="710"/>
                  </a:lnTo>
                  <a:lnTo>
                    <a:pt x="2137" y="708"/>
                  </a:lnTo>
                  <a:lnTo>
                    <a:pt x="2128" y="707"/>
                  </a:lnTo>
                  <a:lnTo>
                    <a:pt x="2126" y="705"/>
                  </a:lnTo>
                  <a:lnTo>
                    <a:pt x="2123" y="702"/>
                  </a:lnTo>
                  <a:lnTo>
                    <a:pt x="2117" y="699"/>
                  </a:lnTo>
                  <a:lnTo>
                    <a:pt x="2110" y="697"/>
                  </a:lnTo>
                  <a:lnTo>
                    <a:pt x="2098" y="692"/>
                  </a:lnTo>
                  <a:lnTo>
                    <a:pt x="2092" y="690"/>
                  </a:lnTo>
                  <a:lnTo>
                    <a:pt x="2082" y="682"/>
                  </a:lnTo>
                  <a:lnTo>
                    <a:pt x="2070" y="670"/>
                  </a:lnTo>
                  <a:lnTo>
                    <a:pt x="2063" y="665"/>
                  </a:lnTo>
                  <a:lnTo>
                    <a:pt x="2057" y="660"/>
                  </a:lnTo>
                  <a:lnTo>
                    <a:pt x="2051" y="657"/>
                  </a:lnTo>
                  <a:lnTo>
                    <a:pt x="2047" y="656"/>
                  </a:lnTo>
                  <a:lnTo>
                    <a:pt x="2046" y="652"/>
                  </a:lnTo>
                  <a:lnTo>
                    <a:pt x="2043" y="649"/>
                  </a:lnTo>
                  <a:lnTo>
                    <a:pt x="2039" y="646"/>
                  </a:lnTo>
                  <a:lnTo>
                    <a:pt x="2033" y="641"/>
                  </a:lnTo>
                  <a:lnTo>
                    <a:pt x="2021" y="631"/>
                  </a:lnTo>
                  <a:lnTo>
                    <a:pt x="2005" y="620"/>
                  </a:lnTo>
                  <a:lnTo>
                    <a:pt x="1990" y="610"/>
                  </a:lnTo>
                  <a:lnTo>
                    <a:pt x="1975" y="600"/>
                  </a:lnTo>
                  <a:lnTo>
                    <a:pt x="1965" y="591"/>
                  </a:lnTo>
                  <a:lnTo>
                    <a:pt x="1960" y="585"/>
                  </a:lnTo>
                  <a:lnTo>
                    <a:pt x="1954" y="584"/>
                  </a:lnTo>
                  <a:lnTo>
                    <a:pt x="1948" y="582"/>
                  </a:lnTo>
                  <a:lnTo>
                    <a:pt x="1946" y="580"/>
                  </a:lnTo>
                  <a:lnTo>
                    <a:pt x="1944" y="579"/>
                  </a:lnTo>
                  <a:lnTo>
                    <a:pt x="1943" y="576"/>
                  </a:lnTo>
                  <a:lnTo>
                    <a:pt x="1942" y="574"/>
                  </a:lnTo>
                  <a:lnTo>
                    <a:pt x="1855" y="527"/>
                  </a:lnTo>
                  <a:lnTo>
                    <a:pt x="1850" y="527"/>
                  </a:lnTo>
                  <a:lnTo>
                    <a:pt x="1847" y="526"/>
                  </a:lnTo>
                  <a:lnTo>
                    <a:pt x="1846" y="526"/>
                  </a:lnTo>
                  <a:lnTo>
                    <a:pt x="1845" y="525"/>
                  </a:lnTo>
                  <a:lnTo>
                    <a:pt x="1843" y="524"/>
                  </a:lnTo>
                  <a:lnTo>
                    <a:pt x="1843" y="522"/>
                  </a:lnTo>
                  <a:lnTo>
                    <a:pt x="1824" y="519"/>
                  </a:lnTo>
                  <a:lnTo>
                    <a:pt x="1806" y="516"/>
                  </a:lnTo>
                  <a:lnTo>
                    <a:pt x="1785" y="512"/>
                  </a:lnTo>
                  <a:lnTo>
                    <a:pt x="1768" y="510"/>
                  </a:lnTo>
                  <a:lnTo>
                    <a:pt x="1768" y="507"/>
                  </a:lnTo>
                  <a:lnTo>
                    <a:pt x="1766" y="505"/>
                  </a:lnTo>
                  <a:lnTo>
                    <a:pt x="1765" y="504"/>
                  </a:lnTo>
                  <a:lnTo>
                    <a:pt x="1764" y="504"/>
                  </a:lnTo>
                  <a:lnTo>
                    <a:pt x="1763" y="504"/>
                  </a:lnTo>
                  <a:lnTo>
                    <a:pt x="1763" y="504"/>
                  </a:lnTo>
                  <a:lnTo>
                    <a:pt x="1762" y="502"/>
                  </a:lnTo>
                  <a:lnTo>
                    <a:pt x="1762" y="498"/>
                  </a:lnTo>
                  <a:lnTo>
                    <a:pt x="1756" y="496"/>
                  </a:lnTo>
                  <a:lnTo>
                    <a:pt x="1750" y="492"/>
                  </a:lnTo>
                  <a:lnTo>
                    <a:pt x="1744" y="486"/>
                  </a:lnTo>
                  <a:lnTo>
                    <a:pt x="1739" y="481"/>
                  </a:lnTo>
                  <a:lnTo>
                    <a:pt x="1739" y="469"/>
                  </a:lnTo>
                  <a:lnTo>
                    <a:pt x="1736" y="469"/>
                  </a:lnTo>
                  <a:lnTo>
                    <a:pt x="1735" y="467"/>
                  </a:lnTo>
                  <a:lnTo>
                    <a:pt x="1734" y="466"/>
                  </a:lnTo>
                  <a:lnTo>
                    <a:pt x="1733" y="463"/>
                  </a:lnTo>
                  <a:lnTo>
                    <a:pt x="1733" y="457"/>
                  </a:lnTo>
                  <a:lnTo>
                    <a:pt x="1733" y="451"/>
                  </a:lnTo>
                  <a:lnTo>
                    <a:pt x="1721" y="446"/>
                  </a:lnTo>
                  <a:lnTo>
                    <a:pt x="1721" y="436"/>
                  </a:lnTo>
                  <a:lnTo>
                    <a:pt x="1718" y="422"/>
                  </a:lnTo>
                  <a:lnTo>
                    <a:pt x="1716" y="408"/>
                  </a:lnTo>
                  <a:lnTo>
                    <a:pt x="1715" y="393"/>
                  </a:lnTo>
                  <a:lnTo>
                    <a:pt x="1704" y="388"/>
                  </a:lnTo>
                  <a:lnTo>
                    <a:pt x="1703" y="375"/>
                  </a:lnTo>
                  <a:lnTo>
                    <a:pt x="1702" y="362"/>
                  </a:lnTo>
                  <a:lnTo>
                    <a:pt x="1698" y="349"/>
                  </a:lnTo>
                  <a:lnTo>
                    <a:pt x="1695" y="336"/>
                  </a:lnTo>
                  <a:lnTo>
                    <a:pt x="1689" y="324"/>
                  </a:lnTo>
                  <a:lnTo>
                    <a:pt x="1685" y="312"/>
                  </a:lnTo>
                  <a:lnTo>
                    <a:pt x="1678" y="300"/>
                  </a:lnTo>
                  <a:lnTo>
                    <a:pt x="1672" y="287"/>
                  </a:lnTo>
                  <a:lnTo>
                    <a:pt x="1664" y="276"/>
                  </a:lnTo>
                  <a:lnTo>
                    <a:pt x="1655" y="266"/>
                  </a:lnTo>
                  <a:lnTo>
                    <a:pt x="1647" y="256"/>
                  </a:lnTo>
                  <a:lnTo>
                    <a:pt x="1638" y="246"/>
                  </a:lnTo>
                  <a:lnTo>
                    <a:pt x="1628" y="237"/>
                  </a:lnTo>
                  <a:lnTo>
                    <a:pt x="1619" y="228"/>
                  </a:lnTo>
                  <a:lnTo>
                    <a:pt x="1609" y="220"/>
                  </a:lnTo>
                  <a:lnTo>
                    <a:pt x="1599" y="214"/>
                  </a:lnTo>
                  <a:lnTo>
                    <a:pt x="1597" y="205"/>
                  </a:lnTo>
                  <a:lnTo>
                    <a:pt x="1593" y="196"/>
                  </a:lnTo>
                  <a:lnTo>
                    <a:pt x="1588" y="190"/>
                  </a:lnTo>
                  <a:lnTo>
                    <a:pt x="1582" y="189"/>
                  </a:lnTo>
                  <a:lnTo>
                    <a:pt x="1577" y="187"/>
                  </a:lnTo>
                  <a:lnTo>
                    <a:pt x="1574" y="185"/>
                  </a:lnTo>
                  <a:lnTo>
                    <a:pt x="1572" y="183"/>
                  </a:lnTo>
                  <a:lnTo>
                    <a:pt x="1571" y="181"/>
                  </a:lnTo>
                  <a:lnTo>
                    <a:pt x="1570" y="179"/>
                  </a:lnTo>
                  <a:lnTo>
                    <a:pt x="1559" y="173"/>
                  </a:lnTo>
                  <a:lnTo>
                    <a:pt x="1547" y="170"/>
                  </a:lnTo>
                  <a:lnTo>
                    <a:pt x="1535" y="167"/>
                  </a:lnTo>
                  <a:lnTo>
                    <a:pt x="1532" y="163"/>
                  </a:lnTo>
                  <a:lnTo>
                    <a:pt x="1522" y="154"/>
                  </a:lnTo>
                  <a:lnTo>
                    <a:pt x="1510" y="144"/>
                  </a:lnTo>
                  <a:lnTo>
                    <a:pt x="1494" y="133"/>
                  </a:lnTo>
                  <a:lnTo>
                    <a:pt x="1464" y="112"/>
                  </a:lnTo>
                  <a:lnTo>
                    <a:pt x="1448" y="103"/>
                  </a:lnTo>
                  <a:lnTo>
                    <a:pt x="1438" y="88"/>
                  </a:lnTo>
                  <a:lnTo>
                    <a:pt x="1429" y="69"/>
                  </a:lnTo>
                  <a:lnTo>
                    <a:pt x="1425" y="58"/>
                  </a:lnTo>
                  <a:lnTo>
                    <a:pt x="1422" y="50"/>
                  </a:lnTo>
                  <a:lnTo>
                    <a:pt x="1419" y="41"/>
                  </a:lnTo>
                  <a:lnTo>
                    <a:pt x="1419" y="34"/>
                  </a:lnTo>
                  <a:lnTo>
                    <a:pt x="1407" y="28"/>
                  </a:lnTo>
                  <a:lnTo>
                    <a:pt x="1407" y="21"/>
                  </a:lnTo>
                  <a:lnTo>
                    <a:pt x="1404" y="14"/>
                  </a:lnTo>
                  <a:lnTo>
                    <a:pt x="1400" y="7"/>
                  </a:lnTo>
                  <a:lnTo>
                    <a:pt x="1395" y="0"/>
                  </a:lnTo>
                  <a:lnTo>
                    <a:pt x="1395" y="7"/>
                  </a:lnTo>
                  <a:lnTo>
                    <a:pt x="1377" y="9"/>
                  </a:lnTo>
                  <a:lnTo>
                    <a:pt x="1343" y="14"/>
                  </a:lnTo>
                  <a:lnTo>
                    <a:pt x="1323" y="18"/>
                  </a:lnTo>
                  <a:lnTo>
                    <a:pt x="1301" y="23"/>
                  </a:lnTo>
                  <a:lnTo>
                    <a:pt x="1280" y="27"/>
                  </a:lnTo>
                  <a:lnTo>
                    <a:pt x="1259" y="33"/>
                  </a:lnTo>
                  <a:lnTo>
                    <a:pt x="1228" y="43"/>
                  </a:lnTo>
                  <a:lnTo>
                    <a:pt x="1204" y="54"/>
                  </a:lnTo>
                  <a:lnTo>
                    <a:pt x="1194" y="58"/>
                  </a:lnTo>
                  <a:lnTo>
                    <a:pt x="1183" y="63"/>
                  </a:lnTo>
                  <a:lnTo>
                    <a:pt x="1173" y="66"/>
                  </a:lnTo>
                  <a:lnTo>
                    <a:pt x="1164" y="69"/>
                  </a:lnTo>
                  <a:lnTo>
                    <a:pt x="1130" y="73"/>
                  </a:lnTo>
                  <a:lnTo>
                    <a:pt x="1094" y="81"/>
                  </a:lnTo>
                  <a:lnTo>
                    <a:pt x="1058" y="90"/>
                  </a:lnTo>
                  <a:lnTo>
                    <a:pt x="1019" y="99"/>
                  </a:lnTo>
                  <a:lnTo>
                    <a:pt x="979" y="110"/>
                  </a:lnTo>
                  <a:lnTo>
                    <a:pt x="940" y="121"/>
                  </a:lnTo>
                  <a:lnTo>
                    <a:pt x="901" y="132"/>
                  </a:lnTo>
                  <a:lnTo>
                    <a:pt x="864" y="142"/>
                  </a:lnTo>
                  <a:lnTo>
                    <a:pt x="822" y="154"/>
                  </a:lnTo>
                  <a:lnTo>
                    <a:pt x="780" y="168"/>
                  </a:lnTo>
                  <a:lnTo>
                    <a:pt x="739" y="181"/>
                  </a:lnTo>
                  <a:lnTo>
                    <a:pt x="699" y="195"/>
                  </a:lnTo>
                  <a:lnTo>
                    <a:pt x="626" y="223"/>
                  </a:lnTo>
                  <a:lnTo>
                    <a:pt x="560" y="250"/>
                  </a:lnTo>
                  <a:lnTo>
                    <a:pt x="504" y="275"/>
                  </a:lnTo>
                  <a:lnTo>
                    <a:pt x="460" y="296"/>
                  </a:lnTo>
                  <a:lnTo>
                    <a:pt x="430" y="312"/>
                  </a:lnTo>
                  <a:lnTo>
                    <a:pt x="416" y="322"/>
                  </a:lnTo>
                  <a:lnTo>
                    <a:pt x="398" y="322"/>
                  </a:lnTo>
                  <a:lnTo>
                    <a:pt x="397" y="325"/>
                  </a:lnTo>
                  <a:lnTo>
                    <a:pt x="395" y="329"/>
                  </a:lnTo>
                  <a:lnTo>
                    <a:pt x="391" y="332"/>
                  </a:lnTo>
                  <a:lnTo>
                    <a:pt x="387" y="334"/>
                  </a:lnTo>
                  <a:lnTo>
                    <a:pt x="378" y="339"/>
                  </a:lnTo>
                  <a:lnTo>
                    <a:pt x="370" y="340"/>
                  </a:lnTo>
                  <a:lnTo>
                    <a:pt x="365" y="354"/>
                  </a:lnTo>
                  <a:lnTo>
                    <a:pt x="361" y="368"/>
                  </a:lnTo>
                  <a:lnTo>
                    <a:pt x="342" y="368"/>
                  </a:lnTo>
                  <a:lnTo>
                    <a:pt x="342" y="377"/>
                  </a:lnTo>
                  <a:lnTo>
                    <a:pt x="341" y="385"/>
                  </a:lnTo>
                  <a:lnTo>
                    <a:pt x="340" y="389"/>
                  </a:lnTo>
                  <a:lnTo>
                    <a:pt x="339" y="392"/>
                  </a:lnTo>
                  <a:lnTo>
                    <a:pt x="336" y="394"/>
                  </a:lnTo>
                  <a:lnTo>
                    <a:pt x="333" y="396"/>
                  </a:lnTo>
                  <a:lnTo>
                    <a:pt x="332" y="399"/>
                  </a:lnTo>
                  <a:lnTo>
                    <a:pt x="331" y="401"/>
                  </a:lnTo>
                  <a:lnTo>
                    <a:pt x="330" y="404"/>
                  </a:lnTo>
                  <a:lnTo>
                    <a:pt x="328" y="407"/>
                  </a:lnTo>
                  <a:lnTo>
                    <a:pt x="321" y="410"/>
                  </a:lnTo>
                  <a:lnTo>
                    <a:pt x="314" y="413"/>
                  </a:lnTo>
                  <a:lnTo>
                    <a:pt x="306" y="418"/>
                  </a:lnTo>
                  <a:lnTo>
                    <a:pt x="300" y="422"/>
                  </a:lnTo>
                  <a:lnTo>
                    <a:pt x="296" y="425"/>
                  </a:lnTo>
                  <a:lnTo>
                    <a:pt x="294" y="427"/>
                  </a:lnTo>
                  <a:lnTo>
                    <a:pt x="292" y="430"/>
                  </a:lnTo>
                  <a:lnTo>
                    <a:pt x="291" y="433"/>
                  </a:lnTo>
                  <a:lnTo>
                    <a:pt x="288" y="440"/>
                  </a:lnTo>
                  <a:lnTo>
                    <a:pt x="287" y="447"/>
                  </a:lnTo>
                  <a:lnTo>
                    <a:pt x="287" y="454"/>
                  </a:lnTo>
                  <a:lnTo>
                    <a:pt x="287" y="460"/>
                  </a:lnTo>
                  <a:lnTo>
                    <a:pt x="290" y="474"/>
                  </a:lnTo>
                  <a:lnTo>
                    <a:pt x="292" y="487"/>
                  </a:lnTo>
                  <a:lnTo>
                    <a:pt x="294" y="500"/>
                  </a:lnTo>
                  <a:lnTo>
                    <a:pt x="296" y="514"/>
                  </a:lnTo>
                  <a:lnTo>
                    <a:pt x="296" y="526"/>
                  </a:lnTo>
                  <a:lnTo>
                    <a:pt x="295" y="538"/>
                  </a:lnTo>
                  <a:lnTo>
                    <a:pt x="293" y="544"/>
                  </a:lnTo>
                  <a:lnTo>
                    <a:pt x="290" y="550"/>
                  </a:lnTo>
                  <a:lnTo>
                    <a:pt x="287" y="555"/>
                  </a:lnTo>
                  <a:lnTo>
                    <a:pt x="283" y="560"/>
                  </a:lnTo>
                  <a:lnTo>
                    <a:pt x="274" y="569"/>
                  </a:lnTo>
                  <a:lnTo>
                    <a:pt x="264" y="577"/>
                  </a:lnTo>
                  <a:lnTo>
                    <a:pt x="243" y="594"/>
                  </a:lnTo>
                  <a:lnTo>
                    <a:pt x="223" y="610"/>
                  </a:lnTo>
                  <a:lnTo>
                    <a:pt x="207" y="625"/>
                  </a:lnTo>
                  <a:lnTo>
                    <a:pt x="190" y="640"/>
                  </a:lnTo>
                  <a:lnTo>
                    <a:pt x="185" y="643"/>
                  </a:lnTo>
                  <a:lnTo>
                    <a:pt x="178" y="646"/>
                  </a:lnTo>
                  <a:lnTo>
                    <a:pt x="171" y="648"/>
                  </a:lnTo>
                  <a:lnTo>
                    <a:pt x="165" y="650"/>
                  </a:lnTo>
                  <a:lnTo>
                    <a:pt x="157" y="651"/>
                  </a:lnTo>
                  <a:lnTo>
                    <a:pt x="148" y="651"/>
                  </a:lnTo>
                  <a:lnTo>
                    <a:pt x="138" y="650"/>
                  </a:lnTo>
                  <a:lnTo>
                    <a:pt x="127" y="648"/>
                  </a:lnTo>
                  <a:lnTo>
                    <a:pt x="115" y="646"/>
                  </a:lnTo>
                  <a:lnTo>
                    <a:pt x="105" y="642"/>
                  </a:lnTo>
                  <a:lnTo>
                    <a:pt x="95" y="638"/>
                  </a:lnTo>
                  <a:lnTo>
                    <a:pt x="85" y="633"/>
                  </a:lnTo>
                  <a:lnTo>
                    <a:pt x="69" y="623"/>
                  </a:lnTo>
                  <a:lnTo>
                    <a:pt x="55" y="613"/>
                  </a:lnTo>
                  <a:lnTo>
                    <a:pt x="48" y="610"/>
                  </a:lnTo>
                  <a:lnTo>
                    <a:pt x="43" y="606"/>
                  </a:lnTo>
                  <a:lnTo>
                    <a:pt x="38" y="604"/>
                  </a:lnTo>
                  <a:lnTo>
                    <a:pt x="35" y="604"/>
                  </a:lnTo>
                  <a:lnTo>
                    <a:pt x="32" y="604"/>
                  </a:lnTo>
                  <a:lnTo>
                    <a:pt x="29" y="606"/>
                  </a:lnTo>
                  <a:lnTo>
                    <a:pt x="28" y="611"/>
                  </a:lnTo>
                  <a:lnTo>
                    <a:pt x="28" y="618"/>
                  </a:lnTo>
                  <a:lnTo>
                    <a:pt x="14" y="622"/>
                  </a:lnTo>
                  <a:lnTo>
                    <a:pt x="0" y="627"/>
                  </a:lnTo>
                  <a:lnTo>
                    <a:pt x="0" y="638"/>
                  </a:lnTo>
                  <a:lnTo>
                    <a:pt x="2" y="653"/>
                  </a:lnTo>
                  <a:lnTo>
                    <a:pt x="3" y="660"/>
                  </a:lnTo>
                  <a:lnTo>
                    <a:pt x="4" y="667"/>
                  </a:lnTo>
                  <a:lnTo>
                    <a:pt x="5" y="669"/>
                  </a:lnTo>
                  <a:lnTo>
                    <a:pt x="6" y="671"/>
                  </a:lnTo>
                  <a:lnTo>
                    <a:pt x="8" y="672"/>
                  </a:lnTo>
                  <a:lnTo>
                    <a:pt x="9" y="672"/>
                  </a:lnTo>
                  <a:lnTo>
                    <a:pt x="9" y="681"/>
                  </a:lnTo>
                  <a:lnTo>
                    <a:pt x="8" y="692"/>
                  </a:lnTo>
                  <a:lnTo>
                    <a:pt x="6" y="705"/>
                  </a:lnTo>
                  <a:lnTo>
                    <a:pt x="4" y="717"/>
                  </a:lnTo>
                  <a:close/>
                </a:path>
              </a:pathLst>
            </a:custGeom>
            <a:solidFill>
              <a:srgbClr val="D9D9D9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7" name="Freeform 53"/>
            <p:cNvSpPr>
              <a:spLocks noChangeAspect="1"/>
            </p:cNvSpPr>
            <p:nvPr/>
          </p:nvSpPr>
          <p:spPr bwMode="gray">
            <a:xfrm rot="355651">
              <a:off x="6718974" y="2432050"/>
              <a:ext cx="410487" cy="240601"/>
            </a:xfrm>
            <a:custGeom>
              <a:avLst/>
              <a:gdLst/>
              <a:ahLst/>
              <a:cxnLst>
                <a:cxn ang="0">
                  <a:pos x="102" y="349"/>
                </a:cxn>
                <a:cxn ang="0">
                  <a:pos x="221" y="337"/>
                </a:cxn>
                <a:cxn ang="0">
                  <a:pos x="328" y="299"/>
                </a:cxn>
                <a:cxn ang="0">
                  <a:pos x="430" y="241"/>
                </a:cxn>
                <a:cxn ang="0">
                  <a:pos x="624" y="233"/>
                </a:cxn>
                <a:cxn ang="0">
                  <a:pos x="778" y="185"/>
                </a:cxn>
                <a:cxn ang="0">
                  <a:pos x="926" y="90"/>
                </a:cxn>
                <a:cxn ang="0">
                  <a:pos x="1167" y="6"/>
                </a:cxn>
                <a:cxn ang="0">
                  <a:pos x="1276" y="15"/>
                </a:cxn>
                <a:cxn ang="0">
                  <a:pos x="1479" y="58"/>
                </a:cxn>
                <a:cxn ang="0">
                  <a:pos x="1636" y="91"/>
                </a:cxn>
                <a:cxn ang="0">
                  <a:pos x="1722" y="71"/>
                </a:cxn>
                <a:cxn ang="0">
                  <a:pos x="1807" y="137"/>
                </a:cxn>
                <a:cxn ang="0">
                  <a:pos x="1898" y="233"/>
                </a:cxn>
                <a:cxn ang="0">
                  <a:pos x="2089" y="314"/>
                </a:cxn>
                <a:cxn ang="0">
                  <a:pos x="2224" y="425"/>
                </a:cxn>
                <a:cxn ang="0">
                  <a:pos x="2216" y="479"/>
                </a:cxn>
                <a:cxn ang="0">
                  <a:pos x="2116" y="535"/>
                </a:cxn>
                <a:cxn ang="0">
                  <a:pos x="1998" y="585"/>
                </a:cxn>
                <a:cxn ang="0">
                  <a:pos x="1917" y="633"/>
                </a:cxn>
                <a:cxn ang="0">
                  <a:pos x="1845" y="738"/>
                </a:cxn>
                <a:cxn ang="0">
                  <a:pos x="1730" y="772"/>
                </a:cxn>
                <a:cxn ang="0">
                  <a:pos x="1634" y="870"/>
                </a:cxn>
                <a:cxn ang="0">
                  <a:pos x="1629" y="1033"/>
                </a:cxn>
                <a:cxn ang="0">
                  <a:pos x="1561" y="1107"/>
                </a:cxn>
                <a:cxn ang="0">
                  <a:pos x="1441" y="1121"/>
                </a:cxn>
                <a:cxn ang="0">
                  <a:pos x="1384" y="1165"/>
                </a:cxn>
                <a:cxn ang="0">
                  <a:pos x="1302" y="1223"/>
                </a:cxn>
                <a:cxn ang="0">
                  <a:pos x="1279" y="1255"/>
                </a:cxn>
                <a:cxn ang="0">
                  <a:pos x="1254" y="1284"/>
                </a:cxn>
                <a:cxn ang="0">
                  <a:pos x="1227" y="1303"/>
                </a:cxn>
                <a:cxn ang="0">
                  <a:pos x="1204" y="1340"/>
                </a:cxn>
                <a:cxn ang="0">
                  <a:pos x="1181" y="1449"/>
                </a:cxn>
                <a:cxn ang="0">
                  <a:pos x="1115" y="1492"/>
                </a:cxn>
                <a:cxn ang="0">
                  <a:pos x="1073" y="1455"/>
                </a:cxn>
                <a:cxn ang="0">
                  <a:pos x="1061" y="1439"/>
                </a:cxn>
                <a:cxn ang="0">
                  <a:pos x="1032" y="1436"/>
                </a:cxn>
                <a:cxn ang="0">
                  <a:pos x="993" y="1418"/>
                </a:cxn>
                <a:cxn ang="0">
                  <a:pos x="957" y="1396"/>
                </a:cxn>
                <a:cxn ang="0">
                  <a:pos x="935" y="1387"/>
                </a:cxn>
                <a:cxn ang="0">
                  <a:pos x="871" y="1362"/>
                </a:cxn>
                <a:cxn ang="0">
                  <a:pos x="824" y="1343"/>
                </a:cxn>
                <a:cxn ang="0">
                  <a:pos x="787" y="1328"/>
                </a:cxn>
                <a:cxn ang="0">
                  <a:pos x="765" y="1296"/>
                </a:cxn>
                <a:cxn ang="0">
                  <a:pos x="755" y="1277"/>
                </a:cxn>
                <a:cxn ang="0">
                  <a:pos x="738" y="1223"/>
                </a:cxn>
                <a:cxn ang="0">
                  <a:pos x="696" y="1170"/>
                </a:cxn>
                <a:cxn ang="0">
                  <a:pos x="651" y="1198"/>
                </a:cxn>
                <a:cxn ang="0">
                  <a:pos x="487" y="1156"/>
                </a:cxn>
                <a:cxn ang="0">
                  <a:pos x="424" y="1100"/>
                </a:cxn>
                <a:cxn ang="0">
                  <a:pos x="401" y="1087"/>
                </a:cxn>
                <a:cxn ang="0">
                  <a:pos x="332" y="1027"/>
                </a:cxn>
                <a:cxn ang="0">
                  <a:pos x="303" y="989"/>
                </a:cxn>
                <a:cxn ang="0">
                  <a:pos x="244" y="917"/>
                </a:cxn>
                <a:cxn ang="0">
                  <a:pos x="235" y="906"/>
                </a:cxn>
                <a:cxn ang="0">
                  <a:pos x="199" y="880"/>
                </a:cxn>
                <a:cxn ang="0">
                  <a:pos x="152" y="827"/>
                </a:cxn>
                <a:cxn ang="0">
                  <a:pos x="131" y="699"/>
                </a:cxn>
                <a:cxn ang="0">
                  <a:pos x="107" y="611"/>
                </a:cxn>
                <a:cxn ang="0">
                  <a:pos x="60" y="564"/>
                </a:cxn>
                <a:cxn ang="0">
                  <a:pos x="39" y="477"/>
                </a:cxn>
                <a:cxn ang="0">
                  <a:pos x="30" y="440"/>
                </a:cxn>
                <a:cxn ang="0">
                  <a:pos x="21" y="430"/>
                </a:cxn>
              </a:cxnLst>
              <a:rect l="0" t="0" r="r" b="b"/>
              <a:pathLst>
                <a:path w="2248" h="1495">
                  <a:moveTo>
                    <a:pt x="0" y="416"/>
                  </a:moveTo>
                  <a:lnTo>
                    <a:pt x="16" y="401"/>
                  </a:lnTo>
                  <a:lnTo>
                    <a:pt x="31" y="387"/>
                  </a:lnTo>
                  <a:lnTo>
                    <a:pt x="49" y="375"/>
                  </a:lnTo>
                  <a:lnTo>
                    <a:pt x="68" y="363"/>
                  </a:lnTo>
                  <a:lnTo>
                    <a:pt x="79" y="358"/>
                  </a:lnTo>
                  <a:lnTo>
                    <a:pt x="91" y="353"/>
                  </a:lnTo>
                  <a:lnTo>
                    <a:pt x="102" y="349"/>
                  </a:lnTo>
                  <a:lnTo>
                    <a:pt x="115" y="346"/>
                  </a:lnTo>
                  <a:lnTo>
                    <a:pt x="129" y="343"/>
                  </a:lnTo>
                  <a:lnTo>
                    <a:pt x="143" y="341"/>
                  </a:lnTo>
                  <a:lnTo>
                    <a:pt x="159" y="340"/>
                  </a:lnTo>
                  <a:lnTo>
                    <a:pt x="174" y="339"/>
                  </a:lnTo>
                  <a:lnTo>
                    <a:pt x="191" y="339"/>
                  </a:lnTo>
                  <a:lnTo>
                    <a:pt x="207" y="338"/>
                  </a:lnTo>
                  <a:lnTo>
                    <a:pt x="221" y="337"/>
                  </a:lnTo>
                  <a:lnTo>
                    <a:pt x="235" y="335"/>
                  </a:lnTo>
                  <a:lnTo>
                    <a:pt x="248" y="333"/>
                  </a:lnTo>
                  <a:lnTo>
                    <a:pt x="259" y="330"/>
                  </a:lnTo>
                  <a:lnTo>
                    <a:pt x="270" y="327"/>
                  </a:lnTo>
                  <a:lnTo>
                    <a:pt x="280" y="323"/>
                  </a:lnTo>
                  <a:lnTo>
                    <a:pt x="298" y="315"/>
                  </a:lnTo>
                  <a:lnTo>
                    <a:pt x="315" y="308"/>
                  </a:lnTo>
                  <a:lnTo>
                    <a:pt x="328" y="299"/>
                  </a:lnTo>
                  <a:lnTo>
                    <a:pt x="342" y="289"/>
                  </a:lnTo>
                  <a:lnTo>
                    <a:pt x="354" y="280"/>
                  </a:lnTo>
                  <a:lnTo>
                    <a:pt x="366" y="270"/>
                  </a:lnTo>
                  <a:lnTo>
                    <a:pt x="379" y="262"/>
                  </a:lnTo>
                  <a:lnTo>
                    <a:pt x="391" y="254"/>
                  </a:lnTo>
                  <a:lnTo>
                    <a:pt x="405" y="247"/>
                  </a:lnTo>
                  <a:lnTo>
                    <a:pt x="421" y="243"/>
                  </a:lnTo>
                  <a:lnTo>
                    <a:pt x="430" y="241"/>
                  </a:lnTo>
                  <a:lnTo>
                    <a:pt x="439" y="240"/>
                  </a:lnTo>
                  <a:lnTo>
                    <a:pt x="449" y="238"/>
                  </a:lnTo>
                  <a:lnTo>
                    <a:pt x="460" y="238"/>
                  </a:lnTo>
                  <a:lnTo>
                    <a:pt x="506" y="238"/>
                  </a:lnTo>
                  <a:lnTo>
                    <a:pt x="554" y="237"/>
                  </a:lnTo>
                  <a:lnTo>
                    <a:pt x="577" y="236"/>
                  </a:lnTo>
                  <a:lnTo>
                    <a:pt x="601" y="235"/>
                  </a:lnTo>
                  <a:lnTo>
                    <a:pt x="624" y="233"/>
                  </a:lnTo>
                  <a:lnTo>
                    <a:pt x="646" y="231"/>
                  </a:lnTo>
                  <a:lnTo>
                    <a:pt x="669" y="226"/>
                  </a:lnTo>
                  <a:lnTo>
                    <a:pt x="690" y="223"/>
                  </a:lnTo>
                  <a:lnTo>
                    <a:pt x="710" y="217"/>
                  </a:lnTo>
                  <a:lnTo>
                    <a:pt x="729" y="210"/>
                  </a:lnTo>
                  <a:lnTo>
                    <a:pt x="747" y="204"/>
                  </a:lnTo>
                  <a:lnTo>
                    <a:pt x="764" y="195"/>
                  </a:lnTo>
                  <a:lnTo>
                    <a:pt x="778" y="185"/>
                  </a:lnTo>
                  <a:lnTo>
                    <a:pt x="792" y="174"/>
                  </a:lnTo>
                  <a:lnTo>
                    <a:pt x="802" y="165"/>
                  </a:lnTo>
                  <a:lnTo>
                    <a:pt x="815" y="155"/>
                  </a:lnTo>
                  <a:lnTo>
                    <a:pt x="832" y="144"/>
                  </a:lnTo>
                  <a:lnTo>
                    <a:pt x="851" y="131"/>
                  </a:lnTo>
                  <a:lnTo>
                    <a:pt x="874" y="118"/>
                  </a:lnTo>
                  <a:lnTo>
                    <a:pt x="899" y="103"/>
                  </a:lnTo>
                  <a:lnTo>
                    <a:pt x="926" y="90"/>
                  </a:lnTo>
                  <a:lnTo>
                    <a:pt x="953" y="75"/>
                  </a:lnTo>
                  <a:lnTo>
                    <a:pt x="983" y="62"/>
                  </a:lnTo>
                  <a:lnTo>
                    <a:pt x="1013" y="50"/>
                  </a:lnTo>
                  <a:lnTo>
                    <a:pt x="1044" y="37"/>
                  </a:lnTo>
                  <a:lnTo>
                    <a:pt x="1075" y="27"/>
                  </a:lnTo>
                  <a:lnTo>
                    <a:pt x="1106" y="19"/>
                  </a:lnTo>
                  <a:lnTo>
                    <a:pt x="1137" y="11"/>
                  </a:lnTo>
                  <a:lnTo>
                    <a:pt x="1167" y="6"/>
                  </a:lnTo>
                  <a:lnTo>
                    <a:pt x="1195" y="3"/>
                  </a:lnTo>
                  <a:lnTo>
                    <a:pt x="1225" y="1"/>
                  </a:lnTo>
                  <a:lnTo>
                    <a:pt x="1246" y="0"/>
                  </a:lnTo>
                  <a:lnTo>
                    <a:pt x="1252" y="1"/>
                  </a:lnTo>
                  <a:lnTo>
                    <a:pt x="1256" y="2"/>
                  </a:lnTo>
                  <a:lnTo>
                    <a:pt x="1260" y="4"/>
                  </a:lnTo>
                  <a:lnTo>
                    <a:pt x="1265" y="7"/>
                  </a:lnTo>
                  <a:lnTo>
                    <a:pt x="1276" y="15"/>
                  </a:lnTo>
                  <a:lnTo>
                    <a:pt x="1288" y="26"/>
                  </a:lnTo>
                  <a:lnTo>
                    <a:pt x="1293" y="29"/>
                  </a:lnTo>
                  <a:lnTo>
                    <a:pt x="1303" y="31"/>
                  </a:lnTo>
                  <a:lnTo>
                    <a:pt x="1316" y="33"/>
                  </a:lnTo>
                  <a:lnTo>
                    <a:pt x="1334" y="36"/>
                  </a:lnTo>
                  <a:lnTo>
                    <a:pt x="1377" y="43"/>
                  </a:lnTo>
                  <a:lnTo>
                    <a:pt x="1427" y="50"/>
                  </a:lnTo>
                  <a:lnTo>
                    <a:pt x="1479" y="58"/>
                  </a:lnTo>
                  <a:lnTo>
                    <a:pt x="1527" y="67"/>
                  </a:lnTo>
                  <a:lnTo>
                    <a:pt x="1548" y="70"/>
                  </a:lnTo>
                  <a:lnTo>
                    <a:pt x="1566" y="74"/>
                  </a:lnTo>
                  <a:lnTo>
                    <a:pt x="1582" y="78"/>
                  </a:lnTo>
                  <a:lnTo>
                    <a:pt x="1592" y="82"/>
                  </a:lnTo>
                  <a:lnTo>
                    <a:pt x="1608" y="87"/>
                  </a:lnTo>
                  <a:lnTo>
                    <a:pt x="1622" y="90"/>
                  </a:lnTo>
                  <a:lnTo>
                    <a:pt x="1636" y="91"/>
                  </a:lnTo>
                  <a:lnTo>
                    <a:pt x="1648" y="90"/>
                  </a:lnTo>
                  <a:lnTo>
                    <a:pt x="1659" y="88"/>
                  </a:lnTo>
                  <a:lnTo>
                    <a:pt x="1671" y="85"/>
                  </a:lnTo>
                  <a:lnTo>
                    <a:pt x="1681" y="82"/>
                  </a:lnTo>
                  <a:lnTo>
                    <a:pt x="1692" y="79"/>
                  </a:lnTo>
                  <a:lnTo>
                    <a:pt x="1701" y="75"/>
                  </a:lnTo>
                  <a:lnTo>
                    <a:pt x="1711" y="72"/>
                  </a:lnTo>
                  <a:lnTo>
                    <a:pt x="1722" y="71"/>
                  </a:lnTo>
                  <a:lnTo>
                    <a:pt x="1730" y="70"/>
                  </a:lnTo>
                  <a:lnTo>
                    <a:pt x="1740" y="71"/>
                  </a:lnTo>
                  <a:lnTo>
                    <a:pt x="1751" y="75"/>
                  </a:lnTo>
                  <a:lnTo>
                    <a:pt x="1759" y="81"/>
                  </a:lnTo>
                  <a:lnTo>
                    <a:pt x="1771" y="90"/>
                  </a:lnTo>
                  <a:lnTo>
                    <a:pt x="1783" y="103"/>
                  </a:lnTo>
                  <a:lnTo>
                    <a:pt x="1795" y="120"/>
                  </a:lnTo>
                  <a:lnTo>
                    <a:pt x="1807" y="137"/>
                  </a:lnTo>
                  <a:lnTo>
                    <a:pt x="1820" y="155"/>
                  </a:lnTo>
                  <a:lnTo>
                    <a:pt x="1833" y="174"/>
                  </a:lnTo>
                  <a:lnTo>
                    <a:pt x="1848" y="192"/>
                  </a:lnTo>
                  <a:lnTo>
                    <a:pt x="1857" y="200"/>
                  </a:lnTo>
                  <a:lnTo>
                    <a:pt x="1864" y="208"/>
                  </a:lnTo>
                  <a:lnTo>
                    <a:pt x="1873" y="216"/>
                  </a:lnTo>
                  <a:lnTo>
                    <a:pt x="1883" y="224"/>
                  </a:lnTo>
                  <a:lnTo>
                    <a:pt x="1898" y="233"/>
                  </a:lnTo>
                  <a:lnTo>
                    <a:pt x="1912" y="242"/>
                  </a:lnTo>
                  <a:lnTo>
                    <a:pt x="1928" y="251"/>
                  </a:lnTo>
                  <a:lnTo>
                    <a:pt x="1944" y="257"/>
                  </a:lnTo>
                  <a:lnTo>
                    <a:pt x="1976" y="271"/>
                  </a:lnTo>
                  <a:lnTo>
                    <a:pt x="2008" y="283"/>
                  </a:lnTo>
                  <a:lnTo>
                    <a:pt x="2041" y="295"/>
                  </a:lnTo>
                  <a:lnTo>
                    <a:pt x="2073" y="308"/>
                  </a:lnTo>
                  <a:lnTo>
                    <a:pt x="2089" y="314"/>
                  </a:lnTo>
                  <a:lnTo>
                    <a:pt x="2104" y="321"/>
                  </a:lnTo>
                  <a:lnTo>
                    <a:pt x="2120" y="329"/>
                  </a:lnTo>
                  <a:lnTo>
                    <a:pt x="2136" y="338"/>
                  </a:lnTo>
                  <a:lnTo>
                    <a:pt x="2151" y="349"/>
                  </a:lnTo>
                  <a:lnTo>
                    <a:pt x="2167" y="362"/>
                  </a:lnTo>
                  <a:lnTo>
                    <a:pt x="2183" y="377"/>
                  </a:lnTo>
                  <a:lnTo>
                    <a:pt x="2197" y="394"/>
                  </a:lnTo>
                  <a:lnTo>
                    <a:pt x="2224" y="425"/>
                  </a:lnTo>
                  <a:lnTo>
                    <a:pt x="2246" y="449"/>
                  </a:lnTo>
                  <a:lnTo>
                    <a:pt x="2247" y="452"/>
                  </a:lnTo>
                  <a:lnTo>
                    <a:pt x="2248" y="454"/>
                  </a:lnTo>
                  <a:lnTo>
                    <a:pt x="2247" y="456"/>
                  </a:lnTo>
                  <a:lnTo>
                    <a:pt x="2246" y="458"/>
                  </a:lnTo>
                  <a:lnTo>
                    <a:pt x="2242" y="463"/>
                  </a:lnTo>
                  <a:lnTo>
                    <a:pt x="2235" y="468"/>
                  </a:lnTo>
                  <a:lnTo>
                    <a:pt x="2216" y="479"/>
                  </a:lnTo>
                  <a:lnTo>
                    <a:pt x="2193" y="492"/>
                  </a:lnTo>
                  <a:lnTo>
                    <a:pt x="2167" y="503"/>
                  </a:lnTo>
                  <a:lnTo>
                    <a:pt x="2143" y="514"/>
                  </a:lnTo>
                  <a:lnTo>
                    <a:pt x="2135" y="520"/>
                  </a:lnTo>
                  <a:lnTo>
                    <a:pt x="2127" y="524"/>
                  </a:lnTo>
                  <a:lnTo>
                    <a:pt x="2120" y="529"/>
                  </a:lnTo>
                  <a:lnTo>
                    <a:pt x="2118" y="533"/>
                  </a:lnTo>
                  <a:lnTo>
                    <a:pt x="2116" y="535"/>
                  </a:lnTo>
                  <a:lnTo>
                    <a:pt x="2112" y="537"/>
                  </a:lnTo>
                  <a:lnTo>
                    <a:pt x="2107" y="541"/>
                  </a:lnTo>
                  <a:lnTo>
                    <a:pt x="2099" y="544"/>
                  </a:lnTo>
                  <a:lnTo>
                    <a:pt x="2079" y="552"/>
                  </a:lnTo>
                  <a:lnTo>
                    <a:pt x="2055" y="561"/>
                  </a:lnTo>
                  <a:lnTo>
                    <a:pt x="2031" y="571"/>
                  </a:lnTo>
                  <a:lnTo>
                    <a:pt x="2008" y="581"/>
                  </a:lnTo>
                  <a:lnTo>
                    <a:pt x="1998" y="585"/>
                  </a:lnTo>
                  <a:lnTo>
                    <a:pt x="1991" y="590"/>
                  </a:lnTo>
                  <a:lnTo>
                    <a:pt x="1984" y="593"/>
                  </a:lnTo>
                  <a:lnTo>
                    <a:pt x="1979" y="597"/>
                  </a:lnTo>
                  <a:lnTo>
                    <a:pt x="1972" y="600"/>
                  </a:lnTo>
                  <a:lnTo>
                    <a:pt x="1955" y="608"/>
                  </a:lnTo>
                  <a:lnTo>
                    <a:pt x="1937" y="617"/>
                  </a:lnTo>
                  <a:lnTo>
                    <a:pt x="1924" y="625"/>
                  </a:lnTo>
                  <a:lnTo>
                    <a:pt x="1917" y="633"/>
                  </a:lnTo>
                  <a:lnTo>
                    <a:pt x="1909" y="646"/>
                  </a:lnTo>
                  <a:lnTo>
                    <a:pt x="1900" y="660"/>
                  </a:lnTo>
                  <a:lnTo>
                    <a:pt x="1890" y="677"/>
                  </a:lnTo>
                  <a:lnTo>
                    <a:pt x="1881" y="693"/>
                  </a:lnTo>
                  <a:lnTo>
                    <a:pt x="1871" y="709"/>
                  </a:lnTo>
                  <a:lnTo>
                    <a:pt x="1861" y="723"/>
                  </a:lnTo>
                  <a:lnTo>
                    <a:pt x="1850" y="735"/>
                  </a:lnTo>
                  <a:lnTo>
                    <a:pt x="1845" y="738"/>
                  </a:lnTo>
                  <a:lnTo>
                    <a:pt x="1840" y="742"/>
                  </a:lnTo>
                  <a:lnTo>
                    <a:pt x="1832" y="745"/>
                  </a:lnTo>
                  <a:lnTo>
                    <a:pt x="1823" y="747"/>
                  </a:lnTo>
                  <a:lnTo>
                    <a:pt x="1803" y="753"/>
                  </a:lnTo>
                  <a:lnTo>
                    <a:pt x="1782" y="758"/>
                  </a:lnTo>
                  <a:lnTo>
                    <a:pt x="1759" y="763"/>
                  </a:lnTo>
                  <a:lnTo>
                    <a:pt x="1739" y="769"/>
                  </a:lnTo>
                  <a:lnTo>
                    <a:pt x="1730" y="772"/>
                  </a:lnTo>
                  <a:lnTo>
                    <a:pt x="1723" y="775"/>
                  </a:lnTo>
                  <a:lnTo>
                    <a:pt x="1717" y="777"/>
                  </a:lnTo>
                  <a:lnTo>
                    <a:pt x="1713" y="781"/>
                  </a:lnTo>
                  <a:lnTo>
                    <a:pt x="1696" y="800"/>
                  </a:lnTo>
                  <a:lnTo>
                    <a:pt x="1676" y="822"/>
                  </a:lnTo>
                  <a:lnTo>
                    <a:pt x="1656" y="846"/>
                  </a:lnTo>
                  <a:lnTo>
                    <a:pt x="1639" y="864"/>
                  </a:lnTo>
                  <a:lnTo>
                    <a:pt x="1634" y="870"/>
                  </a:lnTo>
                  <a:lnTo>
                    <a:pt x="1630" y="877"/>
                  </a:lnTo>
                  <a:lnTo>
                    <a:pt x="1628" y="885"/>
                  </a:lnTo>
                  <a:lnTo>
                    <a:pt x="1626" y="895"/>
                  </a:lnTo>
                  <a:lnTo>
                    <a:pt x="1623" y="916"/>
                  </a:lnTo>
                  <a:lnTo>
                    <a:pt x="1623" y="942"/>
                  </a:lnTo>
                  <a:lnTo>
                    <a:pt x="1626" y="969"/>
                  </a:lnTo>
                  <a:lnTo>
                    <a:pt x="1627" y="1000"/>
                  </a:lnTo>
                  <a:lnTo>
                    <a:pt x="1629" y="1033"/>
                  </a:lnTo>
                  <a:lnTo>
                    <a:pt x="1629" y="1067"/>
                  </a:lnTo>
                  <a:lnTo>
                    <a:pt x="1629" y="1077"/>
                  </a:lnTo>
                  <a:lnTo>
                    <a:pt x="1629" y="1085"/>
                  </a:lnTo>
                  <a:lnTo>
                    <a:pt x="1629" y="1094"/>
                  </a:lnTo>
                  <a:lnTo>
                    <a:pt x="1629" y="1103"/>
                  </a:lnTo>
                  <a:lnTo>
                    <a:pt x="1608" y="1104"/>
                  </a:lnTo>
                  <a:lnTo>
                    <a:pt x="1584" y="1106"/>
                  </a:lnTo>
                  <a:lnTo>
                    <a:pt x="1561" y="1107"/>
                  </a:lnTo>
                  <a:lnTo>
                    <a:pt x="1537" y="1109"/>
                  </a:lnTo>
                  <a:lnTo>
                    <a:pt x="1514" y="1110"/>
                  </a:lnTo>
                  <a:lnTo>
                    <a:pt x="1490" y="1111"/>
                  </a:lnTo>
                  <a:lnTo>
                    <a:pt x="1469" y="1112"/>
                  </a:lnTo>
                  <a:lnTo>
                    <a:pt x="1448" y="1113"/>
                  </a:lnTo>
                  <a:lnTo>
                    <a:pt x="1447" y="1116"/>
                  </a:lnTo>
                  <a:lnTo>
                    <a:pt x="1445" y="1118"/>
                  </a:lnTo>
                  <a:lnTo>
                    <a:pt x="1441" y="1121"/>
                  </a:lnTo>
                  <a:lnTo>
                    <a:pt x="1438" y="1125"/>
                  </a:lnTo>
                  <a:lnTo>
                    <a:pt x="1433" y="1127"/>
                  </a:lnTo>
                  <a:lnTo>
                    <a:pt x="1428" y="1129"/>
                  </a:lnTo>
                  <a:lnTo>
                    <a:pt x="1423" y="1131"/>
                  </a:lnTo>
                  <a:lnTo>
                    <a:pt x="1420" y="1131"/>
                  </a:lnTo>
                  <a:lnTo>
                    <a:pt x="1415" y="1138"/>
                  </a:lnTo>
                  <a:lnTo>
                    <a:pt x="1401" y="1150"/>
                  </a:lnTo>
                  <a:lnTo>
                    <a:pt x="1384" y="1165"/>
                  </a:lnTo>
                  <a:lnTo>
                    <a:pt x="1364" y="1180"/>
                  </a:lnTo>
                  <a:lnTo>
                    <a:pt x="1344" y="1196"/>
                  </a:lnTo>
                  <a:lnTo>
                    <a:pt x="1326" y="1208"/>
                  </a:lnTo>
                  <a:lnTo>
                    <a:pt x="1317" y="1214"/>
                  </a:lnTo>
                  <a:lnTo>
                    <a:pt x="1311" y="1218"/>
                  </a:lnTo>
                  <a:lnTo>
                    <a:pt x="1305" y="1221"/>
                  </a:lnTo>
                  <a:lnTo>
                    <a:pt x="1302" y="1222"/>
                  </a:lnTo>
                  <a:lnTo>
                    <a:pt x="1302" y="1223"/>
                  </a:lnTo>
                  <a:lnTo>
                    <a:pt x="1300" y="1226"/>
                  </a:lnTo>
                  <a:lnTo>
                    <a:pt x="1296" y="1229"/>
                  </a:lnTo>
                  <a:lnTo>
                    <a:pt x="1293" y="1231"/>
                  </a:lnTo>
                  <a:lnTo>
                    <a:pt x="1292" y="1235"/>
                  </a:lnTo>
                  <a:lnTo>
                    <a:pt x="1289" y="1239"/>
                  </a:lnTo>
                  <a:lnTo>
                    <a:pt x="1286" y="1244"/>
                  </a:lnTo>
                  <a:lnTo>
                    <a:pt x="1283" y="1250"/>
                  </a:lnTo>
                  <a:lnTo>
                    <a:pt x="1279" y="1255"/>
                  </a:lnTo>
                  <a:lnTo>
                    <a:pt x="1277" y="1260"/>
                  </a:lnTo>
                  <a:lnTo>
                    <a:pt x="1275" y="1264"/>
                  </a:lnTo>
                  <a:lnTo>
                    <a:pt x="1274" y="1269"/>
                  </a:lnTo>
                  <a:lnTo>
                    <a:pt x="1269" y="1271"/>
                  </a:lnTo>
                  <a:lnTo>
                    <a:pt x="1265" y="1275"/>
                  </a:lnTo>
                  <a:lnTo>
                    <a:pt x="1262" y="1281"/>
                  </a:lnTo>
                  <a:lnTo>
                    <a:pt x="1259" y="1283"/>
                  </a:lnTo>
                  <a:lnTo>
                    <a:pt x="1254" y="1284"/>
                  </a:lnTo>
                  <a:lnTo>
                    <a:pt x="1246" y="1287"/>
                  </a:lnTo>
                  <a:lnTo>
                    <a:pt x="1243" y="1290"/>
                  </a:lnTo>
                  <a:lnTo>
                    <a:pt x="1239" y="1293"/>
                  </a:lnTo>
                  <a:lnTo>
                    <a:pt x="1237" y="1295"/>
                  </a:lnTo>
                  <a:lnTo>
                    <a:pt x="1236" y="1296"/>
                  </a:lnTo>
                  <a:lnTo>
                    <a:pt x="1233" y="1298"/>
                  </a:lnTo>
                  <a:lnTo>
                    <a:pt x="1229" y="1300"/>
                  </a:lnTo>
                  <a:lnTo>
                    <a:pt x="1227" y="1303"/>
                  </a:lnTo>
                  <a:lnTo>
                    <a:pt x="1227" y="1306"/>
                  </a:lnTo>
                  <a:lnTo>
                    <a:pt x="1221" y="1308"/>
                  </a:lnTo>
                  <a:lnTo>
                    <a:pt x="1217" y="1311"/>
                  </a:lnTo>
                  <a:lnTo>
                    <a:pt x="1212" y="1315"/>
                  </a:lnTo>
                  <a:lnTo>
                    <a:pt x="1209" y="1321"/>
                  </a:lnTo>
                  <a:lnTo>
                    <a:pt x="1207" y="1328"/>
                  </a:lnTo>
                  <a:lnTo>
                    <a:pt x="1205" y="1334"/>
                  </a:lnTo>
                  <a:lnTo>
                    <a:pt x="1204" y="1340"/>
                  </a:lnTo>
                  <a:lnTo>
                    <a:pt x="1204" y="1343"/>
                  </a:lnTo>
                  <a:lnTo>
                    <a:pt x="1193" y="1349"/>
                  </a:lnTo>
                  <a:lnTo>
                    <a:pt x="1193" y="1363"/>
                  </a:lnTo>
                  <a:lnTo>
                    <a:pt x="1191" y="1380"/>
                  </a:lnTo>
                  <a:lnTo>
                    <a:pt x="1189" y="1397"/>
                  </a:lnTo>
                  <a:lnTo>
                    <a:pt x="1187" y="1415"/>
                  </a:lnTo>
                  <a:lnTo>
                    <a:pt x="1183" y="1433"/>
                  </a:lnTo>
                  <a:lnTo>
                    <a:pt x="1181" y="1449"/>
                  </a:lnTo>
                  <a:lnTo>
                    <a:pt x="1180" y="1466"/>
                  </a:lnTo>
                  <a:lnTo>
                    <a:pt x="1179" y="1481"/>
                  </a:lnTo>
                  <a:lnTo>
                    <a:pt x="1166" y="1495"/>
                  </a:lnTo>
                  <a:lnTo>
                    <a:pt x="1156" y="1495"/>
                  </a:lnTo>
                  <a:lnTo>
                    <a:pt x="1138" y="1494"/>
                  </a:lnTo>
                  <a:lnTo>
                    <a:pt x="1129" y="1494"/>
                  </a:lnTo>
                  <a:lnTo>
                    <a:pt x="1121" y="1493"/>
                  </a:lnTo>
                  <a:lnTo>
                    <a:pt x="1115" y="1492"/>
                  </a:lnTo>
                  <a:lnTo>
                    <a:pt x="1113" y="1489"/>
                  </a:lnTo>
                  <a:lnTo>
                    <a:pt x="1104" y="1489"/>
                  </a:lnTo>
                  <a:lnTo>
                    <a:pt x="1102" y="1485"/>
                  </a:lnTo>
                  <a:lnTo>
                    <a:pt x="1100" y="1481"/>
                  </a:lnTo>
                  <a:lnTo>
                    <a:pt x="1090" y="1474"/>
                  </a:lnTo>
                  <a:lnTo>
                    <a:pt x="1081" y="1466"/>
                  </a:lnTo>
                  <a:lnTo>
                    <a:pt x="1076" y="1462"/>
                  </a:lnTo>
                  <a:lnTo>
                    <a:pt x="1073" y="1455"/>
                  </a:lnTo>
                  <a:lnTo>
                    <a:pt x="1071" y="1447"/>
                  </a:lnTo>
                  <a:lnTo>
                    <a:pt x="1066" y="1443"/>
                  </a:lnTo>
                  <a:lnTo>
                    <a:pt x="1064" y="1443"/>
                  </a:lnTo>
                  <a:lnTo>
                    <a:pt x="1063" y="1443"/>
                  </a:lnTo>
                  <a:lnTo>
                    <a:pt x="1063" y="1442"/>
                  </a:lnTo>
                  <a:lnTo>
                    <a:pt x="1063" y="1440"/>
                  </a:lnTo>
                  <a:lnTo>
                    <a:pt x="1063" y="1439"/>
                  </a:lnTo>
                  <a:lnTo>
                    <a:pt x="1061" y="1439"/>
                  </a:lnTo>
                  <a:lnTo>
                    <a:pt x="1058" y="1438"/>
                  </a:lnTo>
                  <a:lnTo>
                    <a:pt x="1052" y="1438"/>
                  </a:lnTo>
                  <a:lnTo>
                    <a:pt x="1052" y="1429"/>
                  </a:lnTo>
                  <a:lnTo>
                    <a:pt x="1044" y="1434"/>
                  </a:lnTo>
                  <a:lnTo>
                    <a:pt x="1034" y="1444"/>
                  </a:lnTo>
                  <a:lnTo>
                    <a:pt x="1035" y="1439"/>
                  </a:lnTo>
                  <a:lnTo>
                    <a:pt x="1036" y="1436"/>
                  </a:lnTo>
                  <a:lnTo>
                    <a:pt x="1032" y="1436"/>
                  </a:lnTo>
                  <a:lnTo>
                    <a:pt x="1027" y="1435"/>
                  </a:lnTo>
                  <a:lnTo>
                    <a:pt x="1026" y="1435"/>
                  </a:lnTo>
                  <a:lnTo>
                    <a:pt x="1025" y="1434"/>
                  </a:lnTo>
                  <a:lnTo>
                    <a:pt x="1024" y="1431"/>
                  </a:lnTo>
                  <a:lnTo>
                    <a:pt x="1024" y="1430"/>
                  </a:lnTo>
                  <a:lnTo>
                    <a:pt x="1012" y="1430"/>
                  </a:lnTo>
                  <a:lnTo>
                    <a:pt x="999" y="1430"/>
                  </a:lnTo>
                  <a:lnTo>
                    <a:pt x="993" y="1418"/>
                  </a:lnTo>
                  <a:lnTo>
                    <a:pt x="984" y="1415"/>
                  </a:lnTo>
                  <a:lnTo>
                    <a:pt x="975" y="1411"/>
                  </a:lnTo>
                  <a:lnTo>
                    <a:pt x="969" y="1399"/>
                  </a:lnTo>
                  <a:lnTo>
                    <a:pt x="965" y="1399"/>
                  </a:lnTo>
                  <a:lnTo>
                    <a:pt x="960" y="1399"/>
                  </a:lnTo>
                  <a:lnTo>
                    <a:pt x="959" y="1398"/>
                  </a:lnTo>
                  <a:lnTo>
                    <a:pt x="958" y="1397"/>
                  </a:lnTo>
                  <a:lnTo>
                    <a:pt x="957" y="1396"/>
                  </a:lnTo>
                  <a:lnTo>
                    <a:pt x="957" y="1394"/>
                  </a:lnTo>
                  <a:lnTo>
                    <a:pt x="952" y="1394"/>
                  </a:lnTo>
                  <a:lnTo>
                    <a:pt x="948" y="1392"/>
                  </a:lnTo>
                  <a:lnTo>
                    <a:pt x="947" y="1391"/>
                  </a:lnTo>
                  <a:lnTo>
                    <a:pt x="946" y="1390"/>
                  </a:lnTo>
                  <a:lnTo>
                    <a:pt x="945" y="1389"/>
                  </a:lnTo>
                  <a:lnTo>
                    <a:pt x="945" y="1387"/>
                  </a:lnTo>
                  <a:lnTo>
                    <a:pt x="935" y="1387"/>
                  </a:lnTo>
                  <a:lnTo>
                    <a:pt x="922" y="1386"/>
                  </a:lnTo>
                  <a:lnTo>
                    <a:pt x="917" y="1385"/>
                  </a:lnTo>
                  <a:lnTo>
                    <a:pt x="911" y="1382"/>
                  </a:lnTo>
                  <a:lnTo>
                    <a:pt x="907" y="1379"/>
                  </a:lnTo>
                  <a:lnTo>
                    <a:pt x="901" y="1375"/>
                  </a:lnTo>
                  <a:lnTo>
                    <a:pt x="889" y="1375"/>
                  </a:lnTo>
                  <a:lnTo>
                    <a:pt x="876" y="1375"/>
                  </a:lnTo>
                  <a:lnTo>
                    <a:pt x="871" y="1362"/>
                  </a:lnTo>
                  <a:lnTo>
                    <a:pt x="862" y="1361"/>
                  </a:lnTo>
                  <a:lnTo>
                    <a:pt x="852" y="1357"/>
                  </a:lnTo>
                  <a:lnTo>
                    <a:pt x="846" y="1354"/>
                  </a:lnTo>
                  <a:lnTo>
                    <a:pt x="841" y="1352"/>
                  </a:lnTo>
                  <a:lnTo>
                    <a:pt x="835" y="1351"/>
                  </a:lnTo>
                  <a:lnTo>
                    <a:pt x="828" y="1350"/>
                  </a:lnTo>
                  <a:lnTo>
                    <a:pt x="827" y="1347"/>
                  </a:lnTo>
                  <a:lnTo>
                    <a:pt x="824" y="1343"/>
                  </a:lnTo>
                  <a:lnTo>
                    <a:pt x="821" y="1341"/>
                  </a:lnTo>
                  <a:lnTo>
                    <a:pt x="816" y="1339"/>
                  </a:lnTo>
                  <a:lnTo>
                    <a:pt x="812" y="1338"/>
                  </a:lnTo>
                  <a:lnTo>
                    <a:pt x="807" y="1335"/>
                  </a:lnTo>
                  <a:lnTo>
                    <a:pt x="805" y="1334"/>
                  </a:lnTo>
                  <a:lnTo>
                    <a:pt x="804" y="1332"/>
                  </a:lnTo>
                  <a:lnTo>
                    <a:pt x="792" y="1332"/>
                  </a:lnTo>
                  <a:lnTo>
                    <a:pt x="787" y="1328"/>
                  </a:lnTo>
                  <a:lnTo>
                    <a:pt x="783" y="1323"/>
                  </a:lnTo>
                  <a:lnTo>
                    <a:pt x="780" y="1319"/>
                  </a:lnTo>
                  <a:lnTo>
                    <a:pt x="779" y="1314"/>
                  </a:lnTo>
                  <a:lnTo>
                    <a:pt x="767" y="1308"/>
                  </a:lnTo>
                  <a:lnTo>
                    <a:pt x="767" y="1303"/>
                  </a:lnTo>
                  <a:lnTo>
                    <a:pt x="766" y="1300"/>
                  </a:lnTo>
                  <a:lnTo>
                    <a:pt x="766" y="1298"/>
                  </a:lnTo>
                  <a:lnTo>
                    <a:pt x="765" y="1296"/>
                  </a:lnTo>
                  <a:lnTo>
                    <a:pt x="763" y="1295"/>
                  </a:lnTo>
                  <a:lnTo>
                    <a:pt x="760" y="1295"/>
                  </a:lnTo>
                  <a:lnTo>
                    <a:pt x="760" y="1290"/>
                  </a:lnTo>
                  <a:lnTo>
                    <a:pt x="760" y="1284"/>
                  </a:lnTo>
                  <a:lnTo>
                    <a:pt x="759" y="1282"/>
                  </a:lnTo>
                  <a:lnTo>
                    <a:pt x="758" y="1280"/>
                  </a:lnTo>
                  <a:lnTo>
                    <a:pt x="757" y="1277"/>
                  </a:lnTo>
                  <a:lnTo>
                    <a:pt x="755" y="1277"/>
                  </a:lnTo>
                  <a:lnTo>
                    <a:pt x="755" y="1265"/>
                  </a:lnTo>
                  <a:lnTo>
                    <a:pt x="755" y="1253"/>
                  </a:lnTo>
                  <a:lnTo>
                    <a:pt x="743" y="1241"/>
                  </a:lnTo>
                  <a:lnTo>
                    <a:pt x="743" y="1235"/>
                  </a:lnTo>
                  <a:lnTo>
                    <a:pt x="741" y="1229"/>
                  </a:lnTo>
                  <a:lnTo>
                    <a:pt x="741" y="1226"/>
                  </a:lnTo>
                  <a:lnTo>
                    <a:pt x="740" y="1224"/>
                  </a:lnTo>
                  <a:lnTo>
                    <a:pt x="738" y="1223"/>
                  </a:lnTo>
                  <a:lnTo>
                    <a:pt x="737" y="1222"/>
                  </a:lnTo>
                  <a:lnTo>
                    <a:pt x="737" y="1204"/>
                  </a:lnTo>
                  <a:lnTo>
                    <a:pt x="731" y="1197"/>
                  </a:lnTo>
                  <a:lnTo>
                    <a:pt x="725" y="1188"/>
                  </a:lnTo>
                  <a:lnTo>
                    <a:pt x="720" y="1180"/>
                  </a:lnTo>
                  <a:lnTo>
                    <a:pt x="718" y="1174"/>
                  </a:lnTo>
                  <a:lnTo>
                    <a:pt x="708" y="1173"/>
                  </a:lnTo>
                  <a:lnTo>
                    <a:pt x="696" y="1170"/>
                  </a:lnTo>
                  <a:lnTo>
                    <a:pt x="683" y="1168"/>
                  </a:lnTo>
                  <a:lnTo>
                    <a:pt x="669" y="1167"/>
                  </a:lnTo>
                  <a:lnTo>
                    <a:pt x="663" y="1174"/>
                  </a:lnTo>
                  <a:lnTo>
                    <a:pt x="663" y="1186"/>
                  </a:lnTo>
                  <a:lnTo>
                    <a:pt x="659" y="1187"/>
                  </a:lnTo>
                  <a:lnTo>
                    <a:pt x="654" y="1189"/>
                  </a:lnTo>
                  <a:lnTo>
                    <a:pt x="652" y="1194"/>
                  </a:lnTo>
                  <a:lnTo>
                    <a:pt x="651" y="1198"/>
                  </a:lnTo>
                  <a:lnTo>
                    <a:pt x="644" y="1204"/>
                  </a:lnTo>
                  <a:lnTo>
                    <a:pt x="631" y="1205"/>
                  </a:lnTo>
                  <a:lnTo>
                    <a:pt x="610" y="1207"/>
                  </a:lnTo>
                  <a:lnTo>
                    <a:pt x="586" y="1209"/>
                  </a:lnTo>
                  <a:lnTo>
                    <a:pt x="565" y="1210"/>
                  </a:lnTo>
                  <a:lnTo>
                    <a:pt x="543" y="1194"/>
                  </a:lnTo>
                  <a:lnTo>
                    <a:pt x="506" y="1169"/>
                  </a:lnTo>
                  <a:lnTo>
                    <a:pt x="487" y="1156"/>
                  </a:lnTo>
                  <a:lnTo>
                    <a:pt x="471" y="1144"/>
                  </a:lnTo>
                  <a:lnTo>
                    <a:pt x="465" y="1138"/>
                  </a:lnTo>
                  <a:lnTo>
                    <a:pt x="459" y="1132"/>
                  </a:lnTo>
                  <a:lnTo>
                    <a:pt x="457" y="1128"/>
                  </a:lnTo>
                  <a:lnTo>
                    <a:pt x="456" y="1125"/>
                  </a:lnTo>
                  <a:lnTo>
                    <a:pt x="449" y="1118"/>
                  </a:lnTo>
                  <a:lnTo>
                    <a:pt x="437" y="1118"/>
                  </a:lnTo>
                  <a:lnTo>
                    <a:pt x="424" y="1100"/>
                  </a:lnTo>
                  <a:lnTo>
                    <a:pt x="415" y="1097"/>
                  </a:lnTo>
                  <a:lnTo>
                    <a:pt x="406" y="1094"/>
                  </a:lnTo>
                  <a:lnTo>
                    <a:pt x="406" y="1090"/>
                  </a:lnTo>
                  <a:lnTo>
                    <a:pt x="405" y="1089"/>
                  </a:lnTo>
                  <a:lnTo>
                    <a:pt x="404" y="1088"/>
                  </a:lnTo>
                  <a:lnTo>
                    <a:pt x="403" y="1088"/>
                  </a:lnTo>
                  <a:lnTo>
                    <a:pt x="402" y="1088"/>
                  </a:lnTo>
                  <a:lnTo>
                    <a:pt x="401" y="1087"/>
                  </a:lnTo>
                  <a:lnTo>
                    <a:pt x="401" y="1085"/>
                  </a:lnTo>
                  <a:lnTo>
                    <a:pt x="400" y="1082"/>
                  </a:lnTo>
                  <a:lnTo>
                    <a:pt x="393" y="1079"/>
                  </a:lnTo>
                  <a:lnTo>
                    <a:pt x="383" y="1073"/>
                  </a:lnTo>
                  <a:lnTo>
                    <a:pt x="370" y="1063"/>
                  </a:lnTo>
                  <a:lnTo>
                    <a:pt x="356" y="1052"/>
                  </a:lnTo>
                  <a:lnTo>
                    <a:pt x="343" y="1040"/>
                  </a:lnTo>
                  <a:lnTo>
                    <a:pt x="332" y="1027"/>
                  </a:lnTo>
                  <a:lnTo>
                    <a:pt x="327" y="1022"/>
                  </a:lnTo>
                  <a:lnTo>
                    <a:pt x="324" y="1016"/>
                  </a:lnTo>
                  <a:lnTo>
                    <a:pt x="322" y="1012"/>
                  </a:lnTo>
                  <a:lnTo>
                    <a:pt x="321" y="1008"/>
                  </a:lnTo>
                  <a:lnTo>
                    <a:pt x="315" y="1006"/>
                  </a:lnTo>
                  <a:lnTo>
                    <a:pt x="309" y="1002"/>
                  </a:lnTo>
                  <a:lnTo>
                    <a:pt x="305" y="995"/>
                  </a:lnTo>
                  <a:lnTo>
                    <a:pt x="303" y="989"/>
                  </a:lnTo>
                  <a:lnTo>
                    <a:pt x="290" y="984"/>
                  </a:lnTo>
                  <a:lnTo>
                    <a:pt x="284" y="973"/>
                  </a:lnTo>
                  <a:lnTo>
                    <a:pt x="269" y="953"/>
                  </a:lnTo>
                  <a:lnTo>
                    <a:pt x="261" y="942"/>
                  </a:lnTo>
                  <a:lnTo>
                    <a:pt x="255" y="931"/>
                  </a:lnTo>
                  <a:lnTo>
                    <a:pt x="249" y="923"/>
                  </a:lnTo>
                  <a:lnTo>
                    <a:pt x="248" y="917"/>
                  </a:lnTo>
                  <a:lnTo>
                    <a:pt x="244" y="917"/>
                  </a:lnTo>
                  <a:lnTo>
                    <a:pt x="242" y="916"/>
                  </a:lnTo>
                  <a:lnTo>
                    <a:pt x="241" y="915"/>
                  </a:lnTo>
                  <a:lnTo>
                    <a:pt x="241" y="914"/>
                  </a:lnTo>
                  <a:lnTo>
                    <a:pt x="241" y="912"/>
                  </a:lnTo>
                  <a:lnTo>
                    <a:pt x="240" y="911"/>
                  </a:lnTo>
                  <a:lnTo>
                    <a:pt x="239" y="911"/>
                  </a:lnTo>
                  <a:lnTo>
                    <a:pt x="236" y="910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28" y="899"/>
                  </a:lnTo>
                  <a:lnTo>
                    <a:pt x="223" y="898"/>
                  </a:lnTo>
                  <a:lnTo>
                    <a:pt x="211" y="892"/>
                  </a:lnTo>
                  <a:lnTo>
                    <a:pt x="211" y="886"/>
                  </a:lnTo>
                  <a:lnTo>
                    <a:pt x="209" y="881"/>
                  </a:lnTo>
                  <a:lnTo>
                    <a:pt x="206" y="880"/>
                  </a:lnTo>
                  <a:lnTo>
                    <a:pt x="199" y="880"/>
                  </a:lnTo>
                  <a:lnTo>
                    <a:pt x="192" y="871"/>
                  </a:lnTo>
                  <a:lnTo>
                    <a:pt x="187" y="861"/>
                  </a:lnTo>
                  <a:lnTo>
                    <a:pt x="174" y="861"/>
                  </a:lnTo>
                  <a:lnTo>
                    <a:pt x="168" y="856"/>
                  </a:lnTo>
                  <a:lnTo>
                    <a:pt x="162" y="850"/>
                  </a:lnTo>
                  <a:lnTo>
                    <a:pt x="160" y="842"/>
                  </a:lnTo>
                  <a:lnTo>
                    <a:pt x="155" y="832"/>
                  </a:lnTo>
                  <a:lnTo>
                    <a:pt x="152" y="827"/>
                  </a:lnTo>
                  <a:lnTo>
                    <a:pt x="149" y="823"/>
                  </a:lnTo>
                  <a:lnTo>
                    <a:pt x="146" y="820"/>
                  </a:lnTo>
                  <a:lnTo>
                    <a:pt x="144" y="819"/>
                  </a:lnTo>
                  <a:lnTo>
                    <a:pt x="143" y="798"/>
                  </a:lnTo>
                  <a:lnTo>
                    <a:pt x="141" y="774"/>
                  </a:lnTo>
                  <a:lnTo>
                    <a:pt x="137" y="750"/>
                  </a:lnTo>
                  <a:lnTo>
                    <a:pt x="134" y="724"/>
                  </a:lnTo>
                  <a:lnTo>
                    <a:pt x="131" y="699"/>
                  </a:lnTo>
                  <a:lnTo>
                    <a:pt x="129" y="675"/>
                  </a:lnTo>
                  <a:lnTo>
                    <a:pt x="126" y="651"/>
                  </a:lnTo>
                  <a:lnTo>
                    <a:pt x="125" y="629"/>
                  </a:lnTo>
                  <a:lnTo>
                    <a:pt x="120" y="623"/>
                  </a:lnTo>
                  <a:lnTo>
                    <a:pt x="115" y="622"/>
                  </a:lnTo>
                  <a:lnTo>
                    <a:pt x="111" y="620"/>
                  </a:lnTo>
                  <a:lnTo>
                    <a:pt x="108" y="616"/>
                  </a:lnTo>
                  <a:lnTo>
                    <a:pt x="107" y="611"/>
                  </a:lnTo>
                  <a:lnTo>
                    <a:pt x="101" y="606"/>
                  </a:lnTo>
                  <a:lnTo>
                    <a:pt x="88" y="606"/>
                  </a:lnTo>
                  <a:lnTo>
                    <a:pt x="83" y="599"/>
                  </a:lnTo>
                  <a:lnTo>
                    <a:pt x="76" y="593"/>
                  </a:lnTo>
                  <a:lnTo>
                    <a:pt x="70" y="587"/>
                  </a:lnTo>
                  <a:lnTo>
                    <a:pt x="68" y="580"/>
                  </a:lnTo>
                  <a:lnTo>
                    <a:pt x="64" y="569"/>
                  </a:lnTo>
                  <a:lnTo>
                    <a:pt x="60" y="564"/>
                  </a:lnTo>
                  <a:lnTo>
                    <a:pt x="57" y="560"/>
                  </a:lnTo>
                  <a:lnTo>
                    <a:pt x="55" y="558"/>
                  </a:lnTo>
                  <a:lnTo>
                    <a:pt x="52" y="556"/>
                  </a:lnTo>
                  <a:lnTo>
                    <a:pt x="52" y="541"/>
                  </a:lnTo>
                  <a:lnTo>
                    <a:pt x="52" y="523"/>
                  </a:lnTo>
                  <a:lnTo>
                    <a:pt x="52" y="505"/>
                  </a:lnTo>
                  <a:lnTo>
                    <a:pt x="52" y="489"/>
                  </a:lnTo>
                  <a:lnTo>
                    <a:pt x="39" y="477"/>
                  </a:lnTo>
                  <a:lnTo>
                    <a:pt x="39" y="472"/>
                  </a:lnTo>
                  <a:lnTo>
                    <a:pt x="39" y="465"/>
                  </a:lnTo>
                  <a:lnTo>
                    <a:pt x="38" y="463"/>
                  </a:lnTo>
                  <a:lnTo>
                    <a:pt x="37" y="460"/>
                  </a:lnTo>
                  <a:lnTo>
                    <a:pt x="36" y="459"/>
                  </a:lnTo>
                  <a:lnTo>
                    <a:pt x="34" y="458"/>
                  </a:lnTo>
                  <a:lnTo>
                    <a:pt x="34" y="440"/>
                  </a:lnTo>
                  <a:lnTo>
                    <a:pt x="30" y="440"/>
                  </a:lnTo>
                  <a:lnTo>
                    <a:pt x="28" y="439"/>
                  </a:lnTo>
                  <a:lnTo>
                    <a:pt x="28" y="438"/>
                  </a:lnTo>
                  <a:lnTo>
                    <a:pt x="28" y="437"/>
                  </a:lnTo>
                  <a:lnTo>
                    <a:pt x="27" y="436"/>
                  </a:lnTo>
                  <a:lnTo>
                    <a:pt x="27" y="435"/>
                  </a:lnTo>
                  <a:lnTo>
                    <a:pt x="25" y="435"/>
                  </a:lnTo>
                  <a:lnTo>
                    <a:pt x="21" y="434"/>
                  </a:lnTo>
                  <a:lnTo>
                    <a:pt x="21" y="430"/>
                  </a:lnTo>
                  <a:lnTo>
                    <a:pt x="19" y="427"/>
                  </a:lnTo>
                  <a:lnTo>
                    <a:pt x="18" y="425"/>
                  </a:lnTo>
                  <a:lnTo>
                    <a:pt x="16" y="423"/>
                  </a:lnTo>
                  <a:lnTo>
                    <a:pt x="11" y="419"/>
                  </a:lnTo>
                  <a:lnTo>
                    <a:pt x="9" y="416"/>
                  </a:lnTo>
                  <a:lnTo>
                    <a:pt x="0" y="4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8" name="Freeform 54"/>
            <p:cNvSpPr>
              <a:spLocks noChangeAspect="1"/>
            </p:cNvSpPr>
            <p:nvPr/>
          </p:nvSpPr>
          <p:spPr bwMode="gray">
            <a:xfrm rot="355651">
              <a:off x="7306140" y="2903538"/>
              <a:ext cx="99448" cy="63875"/>
            </a:xfrm>
            <a:custGeom>
              <a:avLst/>
              <a:gdLst/>
              <a:ahLst/>
              <a:cxnLst>
                <a:cxn ang="0">
                  <a:pos x="194" y="33"/>
                </a:cxn>
                <a:cxn ang="0">
                  <a:pos x="150" y="56"/>
                </a:cxn>
                <a:cxn ang="0">
                  <a:pos x="122" y="77"/>
                </a:cxn>
                <a:cxn ang="0">
                  <a:pos x="98" y="115"/>
                </a:cxn>
                <a:cxn ang="0">
                  <a:pos x="78" y="145"/>
                </a:cxn>
                <a:cxn ang="0">
                  <a:pos x="56" y="159"/>
                </a:cxn>
                <a:cxn ang="0">
                  <a:pos x="38" y="177"/>
                </a:cxn>
                <a:cxn ang="0">
                  <a:pos x="20" y="211"/>
                </a:cxn>
                <a:cxn ang="0">
                  <a:pos x="9" y="247"/>
                </a:cxn>
                <a:cxn ang="0">
                  <a:pos x="6" y="286"/>
                </a:cxn>
                <a:cxn ang="0">
                  <a:pos x="0" y="327"/>
                </a:cxn>
                <a:cxn ang="0">
                  <a:pos x="3" y="336"/>
                </a:cxn>
                <a:cxn ang="0">
                  <a:pos x="21" y="340"/>
                </a:cxn>
                <a:cxn ang="0">
                  <a:pos x="46" y="337"/>
                </a:cxn>
                <a:cxn ang="0">
                  <a:pos x="63" y="325"/>
                </a:cxn>
                <a:cxn ang="0">
                  <a:pos x="79" y="303"/>
                </a:cxn>
                <a:cxn ang="0">
                  <a:pos x="103" y="291"/>
                </a:cxn>
                <a:cxn ang="0">
                  <a:pos x="130" y="291"/>
                </a:cxn>
                <a:cxn ang="0">
                  <a:pos x="161" y="300"/>
                </a:cxn>
                <a:cxn ang="0">
                  <a:pos x="169" y="308"/>
                </a:cxn>
                <a:cxn ang="0">
                  <a:pos x="197" y="330"/>
                </a:cxn>
                <a:cxn ang="0">
                  <a:pos x="236" y="364"/>
                </a:cxn>
                <a:cxn ang="0">
                  <a:pos x="265" y="384"/>
                </a:cxn>
                <a:cxn ang="0">
                  <a:pos x="287" y="393"/>
                </a:cxn>
                <a:cxn ang="0">
                  <a:pos x="310" y="394"/>
                </a:cxn>
                <a:cxn ang="0">
                  <a:pos x="381" y="380"/>
                </a:cxn>
                <a:cxn ang="0">
                  <a:pos x="447" y="358"/>
                </a:cxn>
                <a:cxn ang="0">
                  <a:pos x="495" y="334"/>
                </a:cxn>
                <a:cxn ang="0">
                  <a:pos x="517" y="312"/>
                </a:cxn>
                <a:cxn ang="0">
                  <a:pos x="529" y="286"/>
                </a:cxn>
                <a:cxn ang="0">
                  <a:pos x="537" y="215"/>
                </a:cxn>
                <a:cxn ang="0">
                  <a:pos x="545" y="158"/>
                </a:cxn>
                <a:cxn ang="0">
                  <a:pos x="545" y="103"/>
                </a:cxn>
                <a:cxn ang="0">
                  <a:pos x="539" y="80"/>
                </a:cxn>
                <a:cxn ang="0">
                  <a:pos x="528" y="62"/>
                </a:cxn>
                <a:cxn ang="0">
                  <a:pos x="511" y="50"/>
                </a:cxn>
                <a:cxn ang="0">
                  <a:pos x="488" y="46"/>
                </a:cxn>
                <a:cxn ang="0">
                  <a:pos x="462" y="41"/>
                </a:cxn>
                <a:cxn ang="0">
                  <a:pos x="424" y="22"/>
                </a:cxn>
                <a:cxn ang="0">
                  <a:pos x="386" y="4"/>
                </a:cxn>
                <a:cxn ang="0">
                  <a:pos x="362" y="0"/>
                </a:cxn>
                <a:cxn ang="0">
                  <a:pos x="328" y="4"/>
                </a:cxn>
                <a:cxn ang="0">
                  <a:pos x="297" y="13"/>
                </a:cxn>
                <a:cxn ang="0">
                  <a:pos x="270" y="14"/>
                </a:cxn>
                <a:cxn ang="0">
                  <a:pos x="262" y="11"/>
                </a:cxn>
              </a:cxnLst>
              <a:rect l="0" t="0" r="r" b="b"/>
              <a:pathLst>
                <a:path w="546" h="394">
                  <a:moveTo>
                    <a:pt x="255" y="11"/>
                  </a:moveTo>
                  <a:lnTo>
                    <a:pt x="225" y="21"/>
                  </a:lnTo>
                  <a:lnTo>
                    <a:pt x="194" y="33"/>
                  </a:lnTo>
                  <a:lnTo>
                    <a:pt x="179" y="41"/>
                  </a:lnTo>
                  <a:lnTo>
                    <a:pt x="164" y="48"/>
                  </a:lnTo>
                  <a:lnTo>
                    <a:pt x="150" y="56"/>
                  </a:lnTo>
                  <a:lnTo>
                    <a:pt x="137" y="62"/>
                  </a:lnTo>
                  <a:lnTo>
                    <a:pt x="130" y="69"/>
                  </a:lnTo>
                  <a:lnTo>
                    <a:pt x="122" y="77"/>
                  </a:lnTo>
                  <a:lnTo>
                    <a:pt x="115" y="86"/>
                  </a:lnTo>
                  <a:lnTo>
                    <a:pt x="110" y="96"/>
                  </a:lnTo>
                  <a:lnTo>
                    <a:pt x="98" y="115"/>
                  </a:lnTo>
                  <a:lnTo>
                    <a:pt x="88" y="134"/>
                  </a:lnTo>
                  <a:lnTo>
                    <a:pt x="84" y="139"/>
                  </a:lnTo>
                  <a:lnTo>
                    <a:pt x="78" y="145"/>
                  </a:lnTo>
                  <a:lnTo>
                    <a:pt x="70" y="151"/>
                  </a:lnTo>
                  <a:lnTo>
                    <a:pt x="64" y="155"/>
                  </a:lnTo>
                  <a:lnTo>
                    <a:pt x="56" y="159"/>
                  </a:lnTo>
                  <a:lnTo>
                    <a:pt x="48" y="165"/>
                  </a:lnTo>
                  <a:lnTo>
                    <a:pt x="43" y="171"/>
                  </a:lnTo>
                  <a:lnTo>
                    <a:pt x="38" y="177"/>
                  </a:lnTo>
                  <a:lnTo>
                    <a:pt x="31" y="187"/>
                  </a:lnTo>
                  <a:lnTo>
                    <a:pt x="26" y="199"/>
                  </a:lnTo>
                  <a:lnTo>
                    <a:pt x="20" y="211"/>
                  </a:lnTo>
                  <a:lnTo>
                    <a:pt x="16" y="222"/>
                  </a:lnTo>
                  <a:lnTo>
                    <a:pt x="11" y="234"/>
                  </a:lnTo>
                  <a:lnTo>
                    <a:pt x="9" y="247"/>
                  </a:lnTo>
                  <a:lnTo>
                    <a:pt x="7" y="259"/>
                  </a:lnTo>
                  <a:lnTo>
                    <a:pt x="7" y="272"/>
                  </a:lnTo>
                  <a:lnTo>
                    <a:pt x="6" y="286"/>
                  </a:lnTo>
                  <a:lnTo>
                    <a:pt x="3" y="299"/>
                  </a:lnTo>
                  <a:lnTo>
                    <a:pt x="1" y="313"/>
                  </a:lnTo>
                  <a:lnTo>
                    <a:pt x="0" y="327"/>
                  </a:lnTo>
                  <a:lnTo>
                    <a:pt x="0" y="330"/>
                  </a:lnTo>
                  <a:lnTo>
                    <a:pt x="2" y="334"/>
                  </a:lnTo>
                  <a:lnTo>
                    <a:pt x="3" y="336"/>
                  </a:lnTo>
                  <a:lnTo>
                    <a:pt x="7" y="338"/>
                  </a:lnTo>
                  <a:lnTo>
                    <a:pt x="14" y="340"/>
                  </a:lnTo>
                  <a:lnTo>
                    <a:pt x="21" y="340"/>
                  </a:lnTo>
                  <a:lnTo>
                    <a:pt x="30" y="340"/>
                  </a:lnTo>
                  <a:lnTo>
                    <a:pt x="39" y="339"/>
                  </a:lnTo>
                  <a:lnTo>
                    <a:pt x="46" y="337"/>
                  </a:lnTo>
                  <a:lnTo>
                    <a:pt x="50" y="335"/>
                  </a:lnTo>
                  <a:lnTo>
                    <a:pt x="57" y="330"/>
                  </a:lnTo>
                  <a:lnTo>
                    <a:pt x="63" y="325"/>
                  </a:lnTo>
                  <a:lnTo>
                    <a:pt x="68" y="318"/>
                  </a:lnTo>
                  <a:lnTo>
                    <a:pt x="74" y="310"/>
                  </a:lnTo>
                  <a:lnTo>
                    <a:pt x="79" y="303"/>
                  </a:lnTo>
                  <a:lnTo>
                    <a:pt x="86" y="298"/>
                  </a:lnTo>
                  <a:lnTo>
                    <a:pt x="94" y="293"/>
                  </a:lnTo>
                  <a:lnTo>
                    <a:pt x="103" y="291"/>
                  </a:lnTo>
                  <a:lnTo>
                    <a:pt x="110" y="290"/>
                  </a:lnTo>
                  <a:lnTo>
                    <a:pt x="118" y="291"/>
                  </a:lnTo>
                  <a:lnTo>
                    <a:pt x="130" y="291"/>
                  </a:lnTo>
                  <a:lnTo>
                    <a:pt x="141" y="293"/>
                  </a:lnTo>
                  <a:lnTo>
                    <a:pt x="152" y="296"/>
                  </a:lnTo>
                  <a:lnTo>
                    <a:pt x="161" y="300"/>
                  </a:lnTo>
                  <a:lnTo>
                    <a:pt x="164" y="302"/>
                  </a:lnTo>
                  <a:lnTo>
                    <a:pt x="166" y="305"/>
                  </a:lnTo>
                  <a:lnTo>
                    <a:pt x="169" y="308"/>
                  </a:lnTo>
                  <a:lnTo>
                    <a:pt x="169" y="311"/>
                  </a:lnTo>
                  <a:lnTo>
                    <a:pt x="183" y="320"/>
                  </a:lnTo>
                  <a:lnTo>
                    <a:pt x="197" y="330"/>
                  </a:lnTo>
                  <a:lnTo>
                    <a:pt x="209" y="341"/>
                  </a:lnTo>
                  <a:lnTo>
                    <a:pt x="222" y="353"/>
                  </a:lnTo>
                  <a:lnTo>
                    <a:pt x="236" y="364"/>
                  </a:lnTo>
                  <a:lnTo>
                    <a:pt x="250" y="375"/>
                  </a:lnTo>
                  <a:lnTo>
                    <a:pt x="257" y="379"/>
                  </a:lnTo>
                  <a:lnTo>
                    <a:pt x="265" y="384"/>
                  </a:lnTo>
                  <a:lnTo>
                    <a:pt x="273" y="387"/>
                  </a:lnTo>
                  <a:lnTo>
                    <a:pt x="281" y="390"/>
                  </a:lnTo>
                  <a:lnTo>
                    <a:pt x="287" y="393"/>
                  </a:lnTo>
                  <a:lnTo>
                    <a:pt x="295" y="394"/>
                  </a:lnTo>
                  <a:lnTo>
                    <a:pt x="303" y="394"/>
                  </a:lnTo>
                  <a:lnTo>
                    <a:pt x="310" y="394"/>
                  </a:lnTo>
                  <a:lnTo>
                    <a:pt x="327" y="393"/>
                  </a:lnTo>
                  <a:lnTo>
                    <a:pt x="345" y="389"/>
                  </a:lnTo>
                  <a:lnTo>
                    <a:pt x="381" y="380"/>
                  </a:lnTo>
                  <a:lnTo>
                    <a:pt x="410" y="372"/>
                  </a:lnTo>
                  <a:lnTo>
                    <a:pt x="428" y="366"/>
                  </a:lnTo>
                  <a:lnTo>
                    <a:pt x="447" y="358"/>
                  </a:lnTo>
                  <a:lnTo>
                    <a:pt x="467" y="350"/>
                  </a:lnTo>
                  <a:lnTo>
                    <a:pt x="486" y="340"/>
                  </a:lnTo>
                  <a:lnTo>
                    <a:pt x="495" y="334"/>
                  </a:lnTo>
                  <a:lnTo>
                    <a:pt x="504" y="328"/>
                  </a:lnTo>
                  <a:lnTo>
                    <a:pt x="511" y="320"/>
                  </a:lnTo>
                  <a:lnTo>
                    <a:pt x="517" y="312"/>
                  </a:lnTo>
                  <a:lnTo>
                    <a:pt x="523" y="305"/>
                  </a:lnTo>
                  <a:lnTo>
                    <a:pt x="527" y="296"/>
                  </a:lnTo>
                  <a:lnTo>
                    <a:pt x="529" y="286"/>
                  </a:lnTo>
                  <a:lnTo>
                    <a:pt x="530" y="274"/>
                  </a:lnTo>
                  <a:lnTo>
                    <a:pt x="533" y="249"/>
                  </a:lnTo>
                  <a:lnTo>
                    <a:pt x="537" y="215"/>
                  </a:lnTo>
                  <a:lnTo>
                    <a:pt x="540" y="196"/>
                  </a:lnTo>
                  <a:lnTo>
                    <a:pt x="543" y="177"/>
                  </a:lnTo>
                  <a:lnTo>
                    <a:pt x="545" y="158"/>
                  </a:lnTo>
                  <a:lnTo>
                    <a:pt x="546" y="139"/>
                  </a:lnTo>
                  <a:lnTo>
                    <a:pt x="546" y="120"/>
                  </a:lnTo>
                  <a:lnTo>
                    <a:pt x="545" y="103"/>
                  </a:lnTo>
                  <a:lnTo>
                    <a:pt x="544" y="95"/>
                  </a:lnTo>
                  <a:lnTo>
                    <a:pt x="542" y="87"/>
                  </a:lnTo>
                  <a:lnTo>
                    <a:pt x="539" y="80"/>
                  </a:lnTo>
                  <a:lnTo>
                    <a:pt x="536" y="74"/>
                  </a:lnTo>
                  <a:lnTo>
                    <a:pt x="533" y="67"/>
                  </a:lnTo>
                  <a:lnTo>
                    <a:pt x="528" y="62"/>
                  </a:lnTo>
                  <a:lnTo>
                    <a:pt x="524" y="57"/>
                  </a:lnTo>
                  <a:lnTo>
                    <a:pt x="518" y="53"/>
                  </a:lnTo>
                  <a:lnTo>
                    <a:pt x="511" y="50"/>
                  </a:lnTo>
                  <a:lnTo>
                    <a:pt x="505" y="48"/>
                  </a:lnTo>
                  <a:lnTo>
                    <a:pt x="497" y="46"/>
                  </a:lnTo>
                  <a:lnTo>
                    <a:pt x="488" y="46"/>
                  </a:lnTo>
                  <a:lnTo>
                    <a:pt x="479" y="44"/>
                  </a:lnTo>
                  <a:lnTo>
                    <a:pt x="470" y="43"/>
                  </a:lnTo>
                  <a:lnTo>
                    <a:pt x="462" y="41"/>
                  </a:lnTo>
                  <a:lnTo>
                    <a:pt x="454" y="38"/>
                  </a:lnTo>
                  <a:lnTo>
                    <a:pt x="439" y="31"/>
                  </a:lnTo>
                  <a:lnTo>
                    <a:pt x="424" y="22"/>
                  </a:lnTo>
                  <a:lnTo>
                    <a:pt x="410" y="14"/>
                  </a:lnTo>
                  <a:lnTo>
                    <a:pt x="394" y="7"/>
                  </a:lnTo>
                  <a:lnTo>
                    <a:pt x="386" y="4"/>
                  </a:lnTo>
                  <a:lnTo>
                    <a:pt x="379" y="2"/>
                  </a:lnTo>
                  <a:lnTo>
                    <a:pt x="370" y="0"/>
                  </a:lnTo>
                  <a:lnTo>
                    <a:pt x="362" y="0"/>
                  </a:lnTo>
                  <a:lnTo>
                    <a:pt x="350" y="0"/>
                  </a:lnTo>
                  <a:lnTo>
                    <a:pt x="339" y="2"/>
                  </a:lnTo>
                  <a:lnTo>
                    <a:pt x="328" y="4"/>
                  </a:lnTo>
                  <a:lnTo>
                    <a:pt x="318" y="8"/>
                  </a:lnTo>
                  <a:lnTo>
                    <a:pt x="307" y="10"/>
                  </a:lnTo>
                  <a:lnTo>
                    <a:pt x="297" y="13"/>
                  </a:lnTo>
                  <a:lnTo>
                    <a:pt x="286" y="14"/>
                  </a:lnTo>
                  <a:lnTo>
                    <a:pt x="275" y="15"/>
                  </a:lnTo>
                  <a:lnTo>
                    <a:pt x="270" y="14"/>
                  </a:lnTo>
                  <a:lnTo>
                    <a:pt x="265" y="14"/>
                  </a:lnTo>
                  <a:lnTo>
                    <a:pt x="264" y="12"/>
                  </a:lnTo>
                  <a:lnTo>
                    <a:pt x="262" y="11"/>
                  </a:lnTo>
                  <a:lnTo>
                    <a:pt x="262" y="9"/>
                  </a:lnTo>
                  <a:lnTo>
                    <a:pt x="255" y="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9" name="Freeform 55"/>
            <p:cNvSpPr>
              <a:spLocks noChangeAspect="1"/>
            </p:cNvSpPr>
            <p:nvPr/>
          </p:nvSpPr>
          <p:spPr bwMode="gray">
            <a:xfrm rot="355651">
              <a:off x="6962775" y="2768600"/>
              <a:ext cx="142824" cy="90491"/>
            </a:xfrm>
            <a:custGeom>
              <a:avLst/>
              <a:gdLst/>
              <a:ahLst/>
              <a:cxnLst>
                <a:cxn ang="0">
                  <a:pos x="572" y="0"/>
                </a:cxn>
                <a:cxn ang="0">
                  <a:pos x="438" y="6"/>
                </a:cxn>
                <a:cxn ang="0">
                  <a:pos x="352" y="21"/>
                </a:cxn>
                <a:cxn ang="0">
                  <a:pos x="303" y="35"/>
                </a:cxn>
                <a:cxn ang="0">
                  <a:pos x="272" y="54"/>
                </a:cxn>
                <a:cxn ang="0">
                  <a:pos x="227" y="88"/>
                </a:cxn>
                <a:cxn ang="0">
                  <a:pos x="161" y="126"/>
                </a:cxn>
                <a:cxn ang="0">
                  <a:pos x="155" y="183"/>
                </a:cxn>
                <a:cxn ang="0">
                  <a:pos x="147" y="202"/>
                </a:cxn>
                <a:cxn ang="0">
                  <a:pos x="142" y="211"/>
                </a:cxn>
                <a:cxn ang="0">
                  <a:pos x="104" y="216"/>
                </a:cxn>
                <a:cxn ang="0">
                  <a:pos x="67" y="227"/>
                </a:cxn>
                <a:cxn ang="0">
                  <a:pos x="42" y="234"/>
                </a:cxn>
                <a:cxn ang="0">
                  <a:pos x="34" y="241"/>
                </a:cxn>
                <a:cxn ang="0">
                  <a:pos x="28" y="246"/>
                </a:cxn>
                <a:cxn ang="0">
                  <a:pos x="24" y="252"/>
                </a:cxn>
                <a:cxn ang="0">
                  <a:pos x="43" y="279"/>
                </a:cxn>
                <a:cxn ang="0">
                  <a:pos x="74" y="290"/>
                </a:cxn>
                <a:cxn ang="0">
                  <a:pos x="98" y="303"/>
                </a:cxn>
                <a:cxn ang="0">
                  <a:pos x="103" y="333"/>
                </a:cxn>
                <a:cxn ang="0">
                  <a:pos x="88" y="346"/>
                </a:cxn>
                <a:cxn ang="0">
                  <a:pos x="46" y="402"/>
                </a:cxn>
                <a:cxn ang="0">
                  <a:pos x="8" y="465"/>
                </a:cxn>
                <a:cxn ang="0">
                  <a:pos x="0" y="489"/>
                </a:cxn>
                <a:cxn ang="0">
                  <a:pos x="25" y="496"/>
                </a:cxn>
                <a:cxn ang="0">
                  <a:pos x="51" y="502"/>
                </a:cxn>
                <a:cxn ang="0">
                  <a:pos x="67" y="499"/>
                </a:cxn>
                <a:cxn ang="0">
                  <a:pos x="103" y="475"/>
                </a:cxn>
                <a:cxn ang="0">
                  <a:pos x="157" y="434"/>
                </a:cxn>
                <a:cxn ang="0">
                  <a:pos x="191" y="414"/>
                </a:cxn>
                <a:cxn ang="0">
                  <a:pos x="228" y="412"/>
                </a:cxn>
                <a:cxn ang="0">
                  <a:pos x="287" y="417"/>
                </a:cxn>
                <a:cxn ang="0">
                  <a:pos x="342" y="428"/>
                </a:cxn>
                <a:cxn ang="0">
                  <a:pos x="393" y="445"/>
                </a:cxn>
                <a:cxn ang="0">
                  <a:pos x="441" y="470"/>
                </a:cxn>
                <a:cxn ang="0">
                  <a:pos x="491" y="499"/>
                </a:cxn>
                <a:cxn ang="0">
                  <a:pos x="562" y="545"/>
                </a:cxn>
                <a:cxn ang="0">
                  <a:pos x="616" y="570"/>
                </a:cxn>
                <a:cxn ang="0">
                  <a:pos x="630" y="572"/>
                </a:cxn>
                <a:cxn ang="0">
                  <a:pos x="641" y="568"/>
                </a:cxn>
                <a:cxn ang="0">
                  <a:pos x="646" y="556"/>
                </a:cxn>
                <a:cxn ang="0">
                  <a:pos x="642" y="534"/>
                </a:cxn>
                <a:cxn ang="0">
                  <a:pos x="640" y="509"/>
                </a:cxn>
                <a:cxn ang="0">
                  <a:pos x="645" y="490"/>
                </a:cxn>
                <a:cxn ang="0">
                  <a:pos x="656" y="479"/>
                </a:cxn>
                <a:cxn ang="0">
                  <a:pos x="670" y="477"/>
                </a:cxn>
                <a:cxn ang="0">
                  <a:pos x="686" y="486"/>
                </a:cxn>
                <a:cxn ang="0">
                  <a:pos x="695" y="495"/>
                </a:cxn>
                <a:cxn ang="0">
                  <a:pos x="706" y="494"/>
                </a:cxn>
                <a:cxn ang="0">
                  <a:pos x="725" y="476"/>
                </a:cxn>
                <a:cxn ang="0">
                  <a:pos x="751" y="433"/>
                </a:cxn>
                <a:cxn ang="0">
                  <a:pos x="777" y="369"/>
                </a:cxn>
                <a:cxn ang="0">
                  <a:pos x="782" y="335"/>
                </a:cxn>
                <a:cxn ang="0">
                  <a:pos x="770" y="280"/>
                </a:cxn>
                <a:cxn ang="0">
                  <a:pos x="756" y="223"/>
                </a:cxn>
                <a:cxn ang="0">
                  <a:pos x="758" y="188"/>
                </a:cxn>
                <a:cxn ang="0">
                  <a:pos x="767" y="118"/>
                </a:cxn>
                <a:cxn ang="0">
                  <a:pos x="766" y="83"/>
                </a:cxn>
                <a:cxn ang="0">
                  <a:pos x="756" y="61"/>
                </a:cxn>
                <a:cxn ang="0">
                  <a:pos x="729" y="27"/>
                </a:cxn>
                <a:cxn ang="0">
                  <a:pos x="707" y="10"/>
                </a:cxn>
                <a:cxn ang="0">
                  <a:pos x="686" y="2"/>
                </a:cxn>
                <a:cxn ang="0">
                  <a:pos x="661" y="0"/>
                </a:cxn>
              </a:cxnLst>
              <a:rect l="0" t="0" r="r" b="b"/>
              <a:pathLst>
                <a:path w="782" h="572">
                  <a:moveTo>
                    <a:pt x="661" y="0"/>
                  </a:moveTo>
                  <a:lnTo>
                    <a:pt x="617" y="0"/>
                  </a:lnTo>
                  <a:lnTo>
                    <a:pt x="572" y="0"/>
                  </a:lnTo>
                  <a:lnTo>
                    <a:pt x="526" y="1"/>
                  </a:lnTo>
                  <a:lnTo>
                    <a:pt x="482" y="3"/>
                  </a:lnTo>
                  <a:lnTo>
                    <a:pt x="438" y="6"/>
                  </a:lnTo>
                  <a:lnTo>
                    <a:pt x="395" y="12"/>
                  </a:lnTo>
                  <a:lnTo>
                    <a:pt x="373" y="16"/>
                  </a:lnTo>
                  <a:lnTo>
                    <a:pt x="352" y="21"/>
                  </a:lnTo>
                  <a:lnTo>
                    <a:pt x="331" y="27"/>
                  </a:lnTo>
                  <a:lnTo>
                    <a:pt x="310" y="32"/>
                  </a:lnTo>
                  <a:lnTo>
                    <a:pt x="303" y="35"/>
                  </a:lnTo>
                  <a:lnTo>
                    <a:pt x="293" y="40"/>
                  </a:lnTo>
                  <a:lnTo>
                    <a:pt x="283" y="47"/>
                  </a:lnTo>
                  <a:lnTo>
                    <a:pt x="272" y="54"/>
                  </a:lnTo>
                  <a:lnTo>
                    <a:pt x="252" y="70"/>
                  </a:lnTo>
                  <a:lnTo>
                    <a:pt x="239" y="81"/>
                  </a:lnTo>
                  <a:lnTo>
                    <a:pt x="227" y="88"/>
                  </a:lnTo>
                  <a:lnTo>
                    <a:pt x="201" y="104"/>
                  </a:lnTo>
                  <a:lnTo>
                    <a:pt x="175" y="119"/>
                  </a:lnTo>
                  <a:lnTo>
                    <a:pt x="161" y="126"/>
                  </a:lnTo>
                  <a:lnTo>
                    <a:pt x="160" y="144"/>
                  </a:lnTo>
                  <a:lnTo>
                    <a:pt x="157" y="170"/>
                  </a:lnTo>
                  <a:lnTo>
                    <a:pt x="155" y="183"/>
                  </a:lnTo>
                  <a:lnTo>
                    <a:pt x="151" y="194"/>
                  </a:lnTo>
                  <a:lnTo>
                    <a:pt x="149" y="198"/>
                  </a:lnTo>
                  <a:lnTo>
                    <a:pt x="147" y="202"/>
                  </a:lnTo>
                  <a:lnTo>
                    <a:pt x="145" y="203"/>
                  </a:lnTo>
                  <a:lnTo>
                    <a:pt x="142" y="204"/>
                  </a:lnTo>
                  <a:lnTo>
                    <a:pt x="142" y="211"/>
                  </a:lnTo>
                  <a:lnTo>
                    <a:pt x="130" y="212"/>
                  </a:lnTo>
                  <a:lnTo>
                    <a:pt x="118" y="214"/>
                  </a:lnTo>
                  <a:lnTo>
                    <a:pt x="104" y="216"/>
                  </a:lnTo>
                  <a:lnTo>
                    <a:pt x="92" y="221"/>
                  </a:lnTo>
                  <a:lnTo>
                    <a:pt x="79" y="224"/>
                  </a:lnTo>
                  <a:lnTo>
                    <a:pt x="67" y="227"/>
                  </a:lnTo>
                  <a:lnTo>
                    <a:pt x="56" y="229"/>
                  </a:lnTo>
                  <a:lnTo>
                    <a:pt x="45" y="230"/>
                  </a:lnTo>
                  <a:lnTo>
                    <a:pt x="42" y="234"/>
                  </a:lnTo>
                  <a:lnTo>
                    <a:pt x="37" y="236"/>
                  </a:lnTo>
                  <a:lnTo>
                    <a:pt x="36" y="239"/>
                  </a:lnTo>
                  <a:lnTo>
                    <a:pt x="34" y="241"/>
                  </a:lnTo>
                  <a:lnTo>
                    <a:pt x="33" y="243"/>
                  </a:lnTo>
                  <a:lnTo>
                    <a:pt x="33" y="246"/>
                  </a:lnTo>
                  <a:lnTo>
                    <a:pt x="28" y="246"/>
                  </a:lnTo>
                  <a:lnTo>
                    <a:pt x="26" y="247"/>
                  </a:lnTo>
                  <a:lnTo>
                    <a:pt x="25" y="250"/>
                  </a:lnTo>
                  <a:lnTo>
                    <a:pt x="24" y="252"/>
                  </a:lnTo>
                  <a:lnTo>
                    <a:pt x="26" y="259"/>
                  </a:lnTo>
                  <a:lnTo>
                    <a:pt x="31" y="265"/>
                  </a:lnTo>
                  <a:lnTo>
                    <a:pt x="43" y="279"/>
                  </a:lnTo>
                  <a:lnTo>
                    <a:pt x="48" y="284"/>
                  </a:lnTo>
                  <a:lnTo>
                    <a:pt x="57" y="287"/>
                  </a:lnTo>
                  <a:lnTo>
                    <a:pt x="74" y="290"/>
                  </a:lnTo>
                  <a:lnTo>
                    <a:pt x="90" y="293"/>
                  </a:lnTo>
                  <a:lnTo>
                    <a:pt x="98" y="294"/>
                  </a:lnTo>
                  <a:lnTo>
                    <a:pt x="98" y="303"/>
                  </a:lnTo>
                  <a:lnTo>
                    <a:pt x="100" y="314"/>
                  </a:lnTo>
                  <a:lnTo>
                    <a:pt x="102" y="324"/>
                  </a:lnTo>
                  <a:lnTo>
                    <a:pt x="103" y="333"/>
                  </a:lnTo>
                  <a:lnTo>
                    <a:pt x="100" y="335"/>
                  </a:lnTo>
                  <a:lnTo>
                    <a:pt x="94" y="339"/>
                  </a:lnTo>
                  <a:lnTo>
                    <a:pt x="88" y="346"/>
                  </a:lnTo>
                  <a:lnTo>
                    <a:pt x="81" y="354"/>
                  </a:lnTo>
                  <a:lnTo>
                    <a:pt x="64" y="376"/>
                  </a:lnTo>
                  <a:lnTo>
                    <a:pt x="46" y="402"/>
                  </a:lnTo>
                  <a:lnTo>
                    <a:pt x="28" y="428"/>
                  </a:lnTo>
                  <a:lnTo>
                    <a:pt x="14" y="454"/>
                  </a:lnTo>
                  <a:lnTo>
                    <a:pt x="8" y="465"/>
                  </a:lnTo>
                  <a:lnTo>
                    <a:pt x="4" y="475"/>
                  </a:lnTo>
                  <a:lnTo>
                    <a:pt x="2" y="483"/>
                  </a:lnTo>
                  <a:lnTo>
                    <a:pt x="0" y="489"/>
                  </a:lnTo>
                  <a:lnTo>
                    <a:pt x="9" y="490"/>
                  </a:lnTo>
                  <a:lnTo>
                    <a:pt x="17" y="492"/>
                  </a:lnTo>
                  <a:lnTo>
                    <a:pt x="25" y="496"/>
                  </a:lnTo>
                  <a:lnTo>
                    <a:pt x="33" y="500"/>
                  </a:lnTo>
                  <a:lnTo>
                    <a:pt x="41" y="502"/>
                  </a:lnTo>
                  <a:lnTo>
                    <a:pt x="51" y="502"/>
                  </a:lnTo>
                  <a:lnTo>
                    <a:pt x="55" y="502"/>
                  </a:lnTo>
                  <a:lnTo>
                    <a:pt x="61" y="501"/>
                  </a:lnTo>
                  <a:lnTo>
                    <a:pt x="67" y="499"/>
                  </a:lnTo>
                  <a:lnTo>
                    <a:pt x="74" y="495"/>
                  </a:lnTo>
                  <a:lnTo>
                    <a:pt x="88" y="487"/>
                  </a:lnTo>
                  <a:lnTo>
                    <a:pt x="103" y="475"/>
                  </a:lnTo>
                  <a:lnTo>
                    <a:pt x="120" y="462"/>
                  </a:lnTo>
                  <a:lnTo>
                    <a:pt x="138" y="447"/>
                  </a:lnTo>
                  <a:lnTo>
                    <a:pt x="157" y="434"/>
                  </a:lnTo>
                  <a:lnTo>
                    <a:pt x="175" y="422"/>
                  </a:lnTo>
                  <a:lnTo>
                    <a:pt x="182" y="417"/>
                  </a:lnTo>
                  <a:lnTo>
                    <a:pt x="191" y="414"/>
                  </a:lnTo>
                  <a:lnTo>
                    <a:pt x="199" y="412"/>
                  </a:lnTo>
                  <a:lnTo>
                    <a:pt x="207" y="412"/>
                  </a:lnTo>
                  <a:lnTo>
                    <a:pt x="228" y="412"/>
                  </a:lnTo>
                  <a:lnTo>
                    <a:pt x="248" y="413"/>
                  </a:lnTo>
                  <a:lnTo>
                    <a:pt x="268" y="414"/>
                  </a:lnTo>
                  <a:lnTo>
                    <a:pt x="287" y="417"/>
                  </a:lnTo>
                  <a:lnTo>
                    <a:pt x="306" y="419"/>
                  </a:lnTo>
                  <a:lnTo>
                    <a:pt x="324" y="424"/>
                  </a:lnTo>
                  <a:lnTo>
                    <a:pt x="342" y="428"/>
                  </a:lnTo>
                  <a:lnTo>
                    <a:pt x="360" y="433"/>
                  </a:lnTo>
                  <a:lnTo>
                    <a:pt x="377" y="439"/>
                  </a:lnTo>
                  <a:lnTo>
                    <a:pt x="393" y="445"/>
                  </a:lnTo>
                  <a:lnTo>
                    <a:pt x="409" y="453"/>
                  </a:lnTo>
                  <a:lnTo>
                    <a:pt x="426" y="461"/>
                  </a:lnTo>
                  <a:lnTo>
                    <a:pt x="441" y="470"/>
                  </a:lnTo>
                  <a:lnTo>
                    <a:pt x="458" y="479"/>
                  </a:lnTo>
                  <a:lnTo>
                    <a:pt x="474" y="489"/>
                  </a:lnTo>
                  <a:lnTo>
                    <a:pt x="491" y="499"/>
                  </a:lnTo>
                  <a:lnTo>
                    <a:pt x="510" y="512"/>
                  </a:lnTo>
                  <a:lnTo>
                    <a:pt x="534" y="529"/>
                  </a:lnTo>
                  <a:lnTo>
                    <a:pt x="562" y="545"/>
                  </a:lnTo>
                  <a:lnTo>
                    <a:pt x="590" y="561"/>
                  </a:lnTo>
                  <a:lnTo>
                    <a:pt x="603" y="567"/>
                  </a:lnTo>
                  <a:lnTo>
                    <a:pt x="616" y="570"/>
                  </a:lnTo>
                  <a:lnTo>
                    <a:pt x="621" y="571"/>
                  </a:lnTo>
                  <a:lnTo>
                    <a:pt x="626" y="572"/>
                  </a:lnTo>
                  <a:lnTo>
                    <a:pt x="630" y="572"/>
                  </a:lnTo>
                  <a:lnTo>
                    <a:pt x="635" y="571"/>
                  </a:lnTo>
                  <a:lnTo>
                    <a:pt x="638" y="570"/>
                  </a:lnTo>
                  <a:lnTo>
                    <a:pt x="641" y="568"/>
                  </a:lnTo>
                  <a:lnTo>
                    <a:pt x="643" y="564"/>
                  </a:lnTo>
                  <a:lnTo>
                    <a:pt x="645" y="560"/>
                  </a:lnTo>
                  <a:lnTo>
                    <a:pt x="646" y="556"/>
                  </a:lnTo>
                  <a:lnTo>
                    <a:pt x="646" y="550"/>
                  </a:lnTo>
                  <a:lnTo>
                    <a:pt x="645" y="542"/>
                  </a:lnTo>
                  <a:lnTo>
                    <a:pt x="642" y="534"/>
                  </a:lnTo>
                  <a:lnTo>
                    <a:pt x="640" y="525"/>
                  </a:lnTo>
                  <a:lnTo>
                    <a:pt x="640" y="516"/>
                  </a:lnTo>
                  <a:lnTo>
                    <a:pt x="640" y="509"/>
                  </a:lnTo>
                  <a:lnTo>
                    <a:pt x="640" y="501"/>
                  </a:lnTo>
                  <a:lnTo>
                    <a:pt x="642" y="495"/>
                  </a:lnTo>
                  <a:lnTo>
                    <a:pt x="645" y="490"/>
                  </a:lnTo>
                  <a:lnTo>
                    <a:pt x="648" y="485"/>
                  </a:lnTo>
                  <a:lnTo>
                    <a:pt x="651" y="482"/>
                  </a:lnTo>
                  <a:lnTo>
                    <a:pt x="656" y="479"/>
                  </a:lnTo>
                  <a:lnTo>
                    <a:pt x="660" y="477"/>
                  </a:lnTo>
                  <a:lnTo>
                    <a:pt x="665" y="476"/>
                  </a:lnTo>
                  <a:lnTo>
                    <a:pt x="670" y="477"/>
                  </a:lnTo>
                  <a:lnTo>
                    <a:pt x="675" y="480"/>
                  </a:lnTo>
                  <a:lnTo>
                    <a:pt x="680" y="482"/>
                  </a:lnTo>
                  <a:lnTo>
                    <a:pt x="686" y="486"/>
                  </a:lnTo>
                  <a:lnTo>
                    <a:pt x="690" y="492"/>
                  </a:lnTo>
                  <a:lnTo>
                    <a:pt x="693" y="494"/>
                  </a:lnTo>
                  <a:lnTo>
                    <a:pt x="695" y="495"/>
                  </a:lnTo>
                  <a:lnTo>
                    <a:pt x="698" y="496"/>
                  </a:lnTo>
                  <a:lnTo>
                    <a:pt x="700" y="496"/>
                  </a:lnTo>
                  <a:lnTo>
                    <a:pt x="706" y="494"/>
                  </a:lnTo>
                  <a:lnTo>
                    <a:pt x="712" y="490"/>
                  </a:lnTo>
                  <a:lnTo>
                    <a:pt x="718" y="484"/>
                  </a:lnTo>
                  <a:lnTo>
                    <a:pt x="725" y="476"/>
                  </a:lnTo>
                  <a:lnTo>
                    <a:pt x="732" y="466"/>
                  </a:lnTo>
                  <a:lnTo>
                    <a:pt x="738" y="456"/>
                  </a:lnTo>
                  <a:lnTo>
                    <a:pt x="751" y="433"/>
                  </a:lnTo>
                  <a:lnTo>
                    <a:pt x="762" y="408"/>
                  </a:lnTo>
                  <a:lnTo>
                    <a:pt x="771" y="387"/>
                  </a:lnTo>
                  <a:lnTo>
                    <a:pt x="777" y="369"/>
                  </a:lnTo>
                  <a:lnTo>
                    <a:pt x="781" y="358"/>
                  </a:lnTo>
                  <a:lnTo>
                    <a:pt x="782" y="346"/>
                  </a:lnTo>
                  <a:lnTo>
                    <a:pt x="782" y="335"/>
                  </a:lnTo>
                  <a:lnTo>
                    <a:pt x="781" y="323"/>
                  </a:lnTo>
                  <a:lnTo>
                    <a:pt x="775" y="302"/>
                  </a:lnTo>
                  <a:lnTo>
                    <a:pt x="770" y="280"/>
                  </a:lnTo>
                  <a:lnTo>
                    <a:pt x="763" y="258"/>
                  </a:lnTo>
                  <a:lnTo>
                    <a:pt x="757" y="235"/>
                  </a:lnTo>
                  <a:lnTo>
                    <a:pt x="756" y="223"/>
                  </a:lnTo>
                  <a:lnTo>
                    <a:pt x="755" y="212"/>
                  </a:lnTo>
                  <a:lnTo>
                    <a:pt x="756" y="199"/>
                  </a:lnTo>
                  <a:lnTo>
                    <a:pt x="758" y="188"/>
                  </a:lnTo>
                  <a:lnTo>
                    <a:pt x="763" y="165"/>
                  </a:lnTo>
                  <a:lnTo>
                    <a:pt x="765" y="143"/>
                  </a:lnTo>
                  <a:lnTo>
                    <a:pt x="767" y="118"/>
                  </a:lnTo>
                  <a:lnTo>
                    <a:pt x="769" y="93"/>
                  </a:lnTo>
                  <a:lnTo>
                    <a:pt x="767" y="89"/>
                  </a:lnTo>
                  <a:lnTo>
                    <a:pt x="766" y="83"/>
                  </a:lnTo>
                  <a:lnTo>
                    <a:pt x="764" y="78"/>
                  </a:lnTo>
                  <a:lnTo>
                    <a:pt x="762" y="72"/>
                  </a:lnTo>
                  <a:lnTo>
                    <a:pt x="756" y="61"/>
                  </a:lnTo>
                  <a:lnTo>
                    <a:pt x="748" y="51"/>
                  </a:lnTo>
                  <a:lnTo>
                    <a:pt x="735" y="35"/>
                  </a:lnTo>
                  <a:lnTo>
                    <a:pt x="729" y="27"/>
                  </a:lnTo>
                  <a:lnTo>
                    <a:pt x="723" y="27"/>
                  </a:lnTo>
                  <a:lnTo>
                    <a:pt x="715" y="18"/>
                  </a:lnTo>
                  <a:lnTo>
                    <a:pt x="707" y="10"/>
                  </a:lnTo>
                  <a:lnTo>
                    <a:pt x="699" y="8"/>
                  </a:lnTo>
                  <a:lnTo>
                    <a:pt x="691" y="4"/>
                  </a:lnTo>
                  <a:lnTo>
                    <a:pt x="686" y="2"/>
                  </a:lnTo>
                  <a:lnTo>
                    <a:pt x="679" y="1"/>
                  </a:lnTo>
                  <a:lnTo>
                    <a:pt x="671" y="0"/>
                  </a:lnTo>
                  <a:lnTo>
                    <a:pt x="66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0" name="Freeform 56"/>
            <p:cNvSpPr>
              <a:spLocks noChangeAspect="1"/>
            </p:cNvSpPr>
            <p:nvPr/>
          </p:nvSpPr>
          <p:spPr bwMode="gray">
            <a:xfrm rot="355651">
              <a:off x="6455543" y="2468563"/>
              <a:ext cx="455978" cy="274668"/>
            </a:xfrm>
            <a:custGeom>
              <a:avLst/>
              <a:gdLst/>
              <a:ahLst/>
              <a:cxnLst>
                <a:cxn ang="0">
                  <a:pos x="1740" y="1661"/>
                </a:cxn>
                <a:cxn ang="0">
                  <a:pos x="1849" y="1643"/>
                </a:cxn>
                <a:cxn ang="0">
                  <a:pos x="1946" y="1647"/>
                </a:cxn>
                <a:cxn ang="0">
                  <a:pos x="2019" y="1569"/>
                </a:cxn>
                <a:cxn ang="0">
                  <a:pos x="2152" y="1480"/>
                </a:cxn>
                <a:cxn ang="0">
                  <a:pos x="2216" y="1357"/>
                </a:cxn>
                <a:cxn ang="0">
                  <a:pos x="2391" y="1219"/>
                </a:cxn>
                <a:cxn ang="0">
                  <a:pos x="2448" y="1108"/>
                </a:cxn>
                <a:cxn ang="0">
                  <a:pos x="2499" y="1084"/>
                </a:cxn>
                <a:cxn ang="0">
                  <a:pos x="2466" y="1057"/>
                </a:cxn>
                <a:cxn ang="0">
                  <a:pos x="2421" y="1031"/>
                </a:cxn>
                <a:cxn ang="0">
                  <a:pos x="2362" y="1014"/>
                </a:cxn>
                <a:cxn ang="0">
                  <a:pos x="2294" y="980"/>
                </a:cxn>
                <a:cxn ang="0">
                  <a:pos x="2240" y="947"/>
                </a:cxn>
                <a:cxn ang="0">
                  <a:pos x="2230" y="916"/>
                </a:cxn>
                <a:cxn ang="0">
                  <a:pos x="2210" y="843"/>
                </a:cxn>
                <a:cxn ang="0">
                  <a:pos x="2132" y="826"/>
                </a:cxn>
                <a:cxn ang="0">
                  <a:pos x="1960" y="795"/>
                </a:cxn>
                <a:cxn ang="0">
                  <a:pos x="1879" y="729"/>
                </a:cxn>
                <a:cxn ang="0">
                  <a:pos x="1829" y="691"/>
                </a:cxn>
                <a:cxn ang="0">
                  <a:pos x="1763" y="623"/>
                </a:cxn>
                <a:cxn ang="0">
                  <a:pos x="1714" y="551"/>
                </a:cxn>
                <a:cxn ang="0">
                  <a:pos x="1679" y="519"/>
                </a:cxn>
                <a:cxn ang="0">
                  <a:pos x="1619" y="459"/>
                </a:cxn>
                <a:cxn ang="0">
                  <a:pos x="1588" y="261"/>
                </a:cxn>
                <a:cxn ang="0">
                  <a:pos x="1533" y="203"/>
                </a:cxn>
                <a:cxn ang="0">
                  <a:pos x="1511" y="102"/>
                </a:cxn>
                <a:cxn ang="0">
                  <a:pos x="1498" y="74"/>
                </a:cxn>
                <a:cxn ang="0">
                  <a:pos x="1425" y="57"/>
                </a:cxn>
                <a:cxn ang="0">
                  <a:pos x="1270" y="41"/>
                </a:cxn>
                <a:cxn ang="0">
                  <a:pos x="1152" y="18"/>
                </a:cxn>
                <a:cxn ang="0">
                  <a:pos x="1007" y="53"/>
                </a:cxn>
                <a:cxn ang="0">
                  <a:pos x="884" y="25"/>
                </a:cxn>
                <a:cxn ang="0">
                  <a:pos x="770" y="46"/>
                </a:cxn>
                <a:cxn ang="0">
                  <a:pos x="759" y="77"/>
                </a:cxn>
                <a:cxn ang="0">
                  <a:pos x="739" y="116"/>
                </a:cxn>
                <a:cxn ang="0">
                  <a:pos x="719" y="128"/>
                </a:cxn>
                <a:cxn ang="0">
                  <a:pos x="481" y="150"/>
                </a:cxn>
                <a:cxn ang="0">
                  <a:pos x="108" y="257"/>
                </a:cxn>
                <a:cxn ang="0">
                  <a:pos x="45" y="312"/>
                </a:cxn>
                <a:cxn ang="0">
                  <a:pos x="4" y="377"/>
                </a:cxn>
                <a:cxn ang="0">
                  <a:pos x="39" y="488"/>
                </a:cxn>
                <a:cxn ang="0">
                  <a:pos x="137" y="594"/>
                </a:cxn>
                <a:cxn ang="0">
                  <a:pos x="255" y="625"/>
                </a:cxn>
                <a:cxn ang="0">
                  <a:pos x="312" y="652"/>
                </a:cxn>
                <a:cxn ang="0">
                  <a:pos x="456" y="665"/>
                </a:cxn>
                <a:cxn ang="0">
                  <a:pos x="519" y="702"/>
                </a:cxn>
                <a:cxn ang="0">
                  <a:pos x="572" y="764"/>
                </a:cxn>
                <a:cxn ang="0">
                  <a:pos x="619" y="812"/>
                </a:cxn>
                <a:cxn ang="0">
                  <a:pos x="667" y="853"/>
                </a:cxn>
                <a:cxn ang="0">
                  <a:pos x="740" y="919"/>
                </a:cxn>
                <a:cxn ang="0">
                  <a:pos x="756" y="1014"/>
                </a:cxn>
                <a:cxn ang="0">
                  <a:pos x="792" y="1114"/>
                </a:cxn>
                <a:cxn ang="0">
                  <a:pos x="832" y="1217"/>
                </a:cxn>
                <a:cxn ang="0">
                  <a:pos x="893" y="1299"/>
                </a:cxn>
                <a:cxn ang="0">
                  <a:pos x="918" y="1324"/>
                </a:cxn>
                <a:cxn ang="0">
                  <a:pos x="1022" y="1386"/>
                </a:cxn>
                <a:cxn ang="0">
                  <a:pos x="1119" y="1429"/>
                </a:cxn>
                <a:cxn ang="0">
                  <a:pos x="1298" y="1543"/>
                </a:cxn>
                <a:cxn ang="0">
                  <a:pos x="1383" y="1577"/>
                </a:cxn>
                <a:cxn ang="0">
                  <a:pos x="1451" y="1611"/>
                </a:cxn>
                <a:cxn ang="0">
                  <a:pos x="1498" y="1642"/>
                </a:cxn>
                <a:cxn ang="0">
                  <a:pos x="1647" y="1702"/>
                </a:cxn>
              </a:cxnLst>
              <a:rect l="0" t="0" r="r" b="b"/>
              <a:pathLst>
                <a:path w="2509" h="1707">
                  <a:moveTo>
                    <a:pt x="1720" y="1707"/>
                  </a:moveTo>
                  <a:lnTo>
                    <a:pt x="1723" y="1705"/>
                  </a:lnTo>
                  <a:lnTo>
                    <a:pt x="1727" y="1703"/>
                  </a:lnTo>
                  <a:lnTo>
                    <a:pt x="1728" y="1701"/>
                  </a:lnTo>
                  <a:lnTo>
                    <a:pt x="1729" y="1699"/>
                  </a:lnTo>
                  <a:lnTo>
                    <a:pt x="1729" y="1685"/>
                  </a:lnTo>
                  <a:lnTo>
                    <a:pt x="1731" y="1675"/>
                  </a:lnTo>
                  <a:lnTo>
                    <a:pt x="1732" y="1671"/>
                  </a:lnTo>
                  <a:lnTo>
                    <a:pt x="1734" y="1668"/>
                  </a:lnTo>
                  <a:lnTo>
                    <a:pt x="1737" y="1663"/>
                  </a:lnTo>
                  <a:lnTo>
                    <a:pt x="1740" y="1661"/>
                  </a:lnTo>
                  <a:lnTo>
                    <a:pt x="1748" y="1654"/>
                  </a:lnTo>
                  <a:lnTo>
                    <a:pt x="1759" y="1650"/>
                  </a:lnTo>
                  <a:lnTo>
                    <a:pt x="1772" y="1643"/>
                  </a:lnTo>
                  <a:lnTo>
                    <a:pt x="1789" y="1637"/>
                  </a:lnTo>
                  <a:lnTo>
                    <a:pt x="1797" y="1635"/>
                  </a:lnTo>
                  <a:lnTo>
                    <a:pt x="1804" y="1633"/>
                  </a:lnTo>
                  <a:lnTo>
                    <a:pt x="1810" y="1633"/>
                  </a:lnTo>
                  <a:lnTo>
                    <a:pt x="1816" y="1633"/>
                  </a:lnTo>
                  <a:lnTo>
                    <a:pt x="1827" y="1635"/>
                  </a:lnTo>
                  <a:lnTo>
                    <a:pt x="1838" y="1639"/>
                  </a:lnTo>
                  <a:lnTo>
                    <a:pt x="1849" y="1643"/>
                  </a:lnTo>
                  <a:lnTo>
                    <a:pt x="1861" y="1649"/>
                  </a:lnTo>
                  <a:lnTo>
                    <a:pt x="1872" y="1653"/>
                  </a:lnTo>
                  <a:lnTo>
                    <a:pt x="1884" y="1655"/>
                  </a:lnTo>
                  <a:lnTo>
                    <a:pt x="1896" y="1658"/>
                  </a:lnTo>
                  <a:lnTo>
                    <a:pt x="1909" y="1659"/>
                  </a:lnTo>
                  <a:lnTo>
                    <a:pt x="1920" y="1659"/>
                  </a:lnTo>
                  <a:lnTo>
                    <a:pt x="1931" y="1656"/>
                  </a:lnTo>
                  <a:lnTo>
                    <a:pt x="1935" y="1655"/>
                  </a:lnTo>
                  <a:lnTo>
                    <a:pt x="1940" y="1653"/>
                  </a:lnTo>
                  <a:lnTo>
                    <a:pt x="1943" y="1651"/>
                  </a:lnTo>
                  <a:lnTo>
                    <a:pt x="1946" y="1647"/>
                  </a:lnTo>
                  <a:lnTo>
                    <a:pt x="1950" y="1643"/>
                  </a:lnTo>
                  <a:lnTo>
                    <a:pt x="1951" y="1639"/>
                  </a:lnTo>
                  <a:lnTo>
                    <a:pt x="1952" y="1633"/>
                  </a:lnTo>
                  <a:lnTo>
                    <a:pt x="1953" y="1626"/>
                  </a:lnTo>
                  <a:lnTo>
                    <a:pt x="1954" y="1622"/>
                  </a:lnTo>
                  <a:lnTo>
                    <a:pt x="1957" y="1617"/>
                  </a:lnTo>
                  <a:lnTo>
                    <a:pt x="1960" y="1613"/>
                  </a:lnTo>
                  <a:lnTo>
                    <a:pt x="1964" y="1607"/>
                  </a:lnTo>
                  <a:lnTo>
                    <a:pt x="1977" y="1597"/>
                  </a:lnTo>
                  <a:lnTo>
                    <a:pt x="1991" y="1587"/>
                  </a:lnTo>
                  <a:lnTo>
                    <a:pt x="2019" y="1569"/>
                  </a:lnTo>
                  <a:lnTo>
                    <a:pt x="2038" y="1559"/>
                  </a:lnTo>
                  <a:lnTo>
                    <a:pt x="2055" y="1553"/>
                  </a:lnTo>
                  <a:lnTo>
                    <a:pt x="2069" y="1545"/>
                  </a:lnTo>
                  <a:lnTo>
                    <a:pt x="2083" y="1538"/>
                  </a:lnTo>
                  <a:lnTo>
                    <a:pt x="2095" y="1531"/>
                  </a:lnTo>
                  <a:lnTo>
                    <a:pt x="2107" y="1524"/>
                  </a:lnTo>
                  <a:lnTo>
                    <a:pt x="2117" y="1516"/>
                  </a:lnTo>
                  <a:lnTo>
                    <a:pt x="2127" y="1508"/>
                  </a:lnTo>
                  <a:lnTo>
                    <a:pt x="2136" y="1499"/>
                  </a:lnTo>
                  <a:lnTo>
                    <a:pt x="2144" y="1490"/>
                  </a:lnTo>
                  <a:lnTo>
                    <a:pt x="2152" y="1480"/>
                  </a:lnTo>
                  <a:lnTo>
                    <a:pt x="2159" y="1469"/>
                  </a:lnTo>
                  <a:lnTo>
                    <a:pt x="2165" y="1457"/>
                  </a:lnTo>
                  <a:lnTo>
                    <a:pt x="2172" y="1444"/>
                  </a:lnTo>
                  <a:lnTo>
                    <a:pt x="2178" y="1431"/>
                  </a:lnTo>
                  <a:lnTo>
                    <a:pt x="2183" y="1415"/>
                  </a:lnTo>
                  <a:lnTo>
                    <a:pt x="2189" y="1399"/>
                  </a:lnTo>
                  <a:lnTo>
                    <a:pt x="2192" y="1392"/>
                  </a:lnTo>
                  <a:lnTo>
                    <a:pt x="2195" y="1384"/>
                  </a:lnTo>
                  <a:lnTo>
                    <a:pt x="2200" y="1377"/>
                  </a:lnTo>
                  <a:lnTo>
                    <a:pt x="2204" y="1371"/>
                  </a:lnTo>
                  <a:lnTo>
                    <a:pt x="2216" y="1357"/>
                  </a:lnTo>
                  <a:lnTo>
                    <a:pt x="2229" y="1344"/>
                  </a:lnTo>
                  <a:lnTo>
                    <a:pt x="2243" y="1332"/>
                  </a:lnTo>
                  <a:lnTo>
                    <a:pt x="2260" y="1320"/>
                  </a:lnTo>
                  <a:lnTo>
                    <a:pt x="2277" y="1308"/>
                  </a:lnTo>
                  <a:lnTo>
                    <a:pt x="2294" y="1296"/>
                  </a:lnTo>
                  <a:lnTo>
                    <a:pt x="2312" y="1285"/>
                  </a:lnTo>
                  <a:lnTo>
                    <a:pt x="2329" y="1272"/>
                  </a:lnTo>
                  <a:lnTo>
                    <a:pt x="2346" y="1260"/>
                  </a:lnTo>
                  <a:lnTo>
                    <a:pt x="2363" y="1247"/>
                  </a:lnTo>
                  <a:lnTo>
                    <a:pt x="2377" y="1233"/>
                  </a:lnTo>
                  <a:lnTo>
                    <a:pt x="2391" y="1219"/>
                  </a:lnTo>
                  <a:lnTo>
                    <a:pt x="2397" y="1212"/>
                  </a:lnTo>
                  <a:lnTo>
                    <a:pt x="2403" y="1204"/>
                  </a:lnTo>
                  <a:lnTo>
                    <a:pt x="2408" y="1197"/>
                  </a:lnTo>
                  <a:lnTo>
                    <a:pt x="2412" y="1189"/>
                  </a:lnTo>
                  <a:lnTo>
                    <a:pt x="2419" y="1170"/>
                  </a:lnTo>
                  <a:lnTo>
                    <a:pt x="2428" y="1143"/>
                  </a:lnTo>
                  <a:lnTo>
                    <a:pt x="2433" y="1130"/>
                  </a:lnTo>
                  <a:lnTo>
                    <a:pt x="2440" y="1118"/>
                  </a:lnTo>
                  <a:lnTo>
                    <a:pt x="2442" y="1114"/>
                  </a:lnTo>
                  <a:lnTo>
                    <a:pt x="2445" y="1111"/>
                  </a:lnTo>
                  <a:lnTo>
                    <a:pt x="2448" y="1108"/>
                  </a:lnTo>
                  <a:lnTo>
                    <a:pt x="2451" y="1108"/>
                  </a:lnTo>
                  <a:lnTo>
                    <a:pt x="2451" y="1104"/>
                  </a:lnTo>
                  <a:lnTo>
                    <a:pt x="2452" y="1104"/>
                  </a:lnTo>
                  <a:lnTo>
                    <a:pt x="2454" y="1104"/>
                  </a:lnTo>
                  <a:lnTo>
                    <a:pt x="2456" y="1103"/>
                  </a:lnTo>
                  <a:lnTo>
                    <a:pt x="2457" y="1101"/>
                  </a:lnTo>
                  <a:lnTo>
                    <a:pt x="2460" y="1101"/>
                  </a:lnTo>
                  <a:lnTo>
                    <a:pt x="2467" y="1098"/>
                  </a:lnTo>
                  <a:lnTo>
                    <a:pt x="2482" y="1093"/>
                  </a:lnTo>
                  <a:lnTo>
                    <a:pt x="2491" y="1088"/>
                  </a:lnTo>
                  <a:lnTo>
                    <a:pt x="2499" y="1084"/>
                  </a:lnTo>
                  <a:lnTo>
                    <a:pt x="2505" y="1079"/>
                  </a:lnTo>
                  <a:lnTo>
                    <a:pt x="2509" y="1075"/>
                  </a:lnTo>
                  <a:lnTo>
                    <a:pt x="2505" y="1075"/>
                  </a:lnTo>
                  <a:lnTo>
                    <a:pt x="2500" y="1074"/>
                  </a:lnTo>
                  <a:lnTo>
                    <a:pt x="2499" y="1074"/>
                  </a:lnTo>
                  <a:lnTo>
                    <a:pt x="2498" y="1073"/>
                  </a:lnTo>
                  <a:lnTo>
                    <a:pt x="2497" y="1070"/>
                  </a:lnTo>
                  <a:lnTo>
                    <a:pt x="2497" y="1069"/>
                  </a:lnTo>
                  <a:lnTo>
                    <a:pt x="2485" y="1069"/>
                  </a:lnTo>
                  <a:lnTo>
                    <a:pt x="2472" y="1069"/>
                  </a:lnTo>
                  <a:lnTo>
                    <a:pt x="2466" y="1057"/>
                  </a:lnTo>
                  <a:lnTo>
                    <a:pt x="2457" y="1054"/>
                  </a:lnTo>
                  <a:lnTo>
                    <a:pt x="2448" y="1050"/>
                  </a:lnTo>
                  <a:lnTo>
                    <a:pt x="2442" y="1038"/>
                  </a:lnTo>
                  <a:lnTo>
                    <a:pt x="2438" y="1038"/>
                  </a:lnTo>
                  <a:lnTo>
                    <a:pt x="2433" y="1038"/>
                  </a:lnTo>
                  <a:lnTo>
                    <a:pt x="2432" y="1037"/>
                  </a:lnTo>
                  <a:lnTo>
                    <a:pt x="2431" y="1036"/>
                  </a:lnTo>
                  <a:lnTo>
                    <a:pt x="2430" y="1035"/>
                  </a:lnTo>
                  <a:lnTo>
                    <a:pt x="2430" y="1033"/>
                  </a:lnTo>
                  <a:lnTo>
                    <a:pt x="2425" y="1033"/>
                  </a:lnTo>
                  <a:lnTo>
                    <a:pt x="2421" y="1031"/>
                  </a:lnTo>
                  <a:lnTo>
                    <a:pt x="2420" y="1030"/>
                  </a:lnTo>
                  <a:lnTo>
                    <a:pt x="2419" y="1029"/>
                  </a:lnTo>
                  <a:lnTo>
                    <a:pt x="2418" y="1028"/>
                  </a:lnTo>
                  <a:lnTo>
                    <a:pt x="2418" y="1026"/>
                  </a:lnTo>
                  <a:lnTo>
                    <a:pt x="2408" y="1026"/>
                  </a:lnTo>
                  <a:lnTo>
                    <a:pt x="2395" y="1025"/>
                  </a:lnTo>
                  <a:lnTo>
                    <a:pt x="2390" y="1024"/>
                  </a:lnTo>
                  <a:lnTo>
                    <a:pt x="2384" y="1021"/>
                  </a:lnTo>
                  <a:lnTo>
                    <a:pt x="2380" y="1018"/>
                  </a:lnTo>
                  <a:lnTo>
                    <a:pt x="2374" y="1014"/>
                  </a:lnTo>
                  <a:lnTo>
                    <a:pt x="2362" y="1014"/>
                  </a:lnTo>
                  <a:lnTo>
                    <a:pt x="2349" y="1014"/>
                  </a:lnTo>
                  <a:lnTo>
                    <a:pt x="2344" y="1001"/>
                  </a:lnTo>
                  <a:lnTo>
                    <a:pt x="2335" y="1000"/>
                  </a:lnTo>
                  <a:lnTo>
                    <a:pt x="2325" y="996"/>
                  </a:lnTo>
                  <a:lnTo>
                    <a:pt x="2319" y="993"/>
                  </a:lnTo>
                  <a:lnTo>
                    <a:pt x="2314" y="991"/>
                  </a:lnTo>
                  <a:lnTo>
                    <a:pt x="2308" y="990"/>
                  </a:lnTo>
                  <a:lnTo>
                    <a:pt x="2301" y="989"/>
                  </a:lnTo>
                  <a:lnTo>
                    <a:pt x="2300" y="986"/>
                  </a:lnTo>
                  <a:lnTo>
                    <a:pt x="2297" y="982"/>
                  </a:lnTo>
                  <a:lnTo>
                    <a:pt x="2294" y="980"/>
                  </a:lnTo>
                  <a:lnTo>
                    <a:pt x="2289" y="978"/>
                  </a:lnTo>
                  <a:lnTo>
                    <a:pt x="2285" y="977"/>
                  </a:lnTo>
                  <a:lnTo>
                    <a:pt x="2280" y="974"/>
                  </a:lnTo>
                  <a:lnTo>
                    <a:pt x="2278" y="973"/>
                  </a:lnTo>
                  <a:lnTo>
                    <a:pt x="2277" y="971"/>
                  </a:lnTo>
                  <a:lnTo>
                    <a:pt x="2265" y="971"/>
                  </a:lnTo>
                  <a:lnTo>
                    <a:pt x="2260" y="967"/>
                  </a:lnTo>
                  <a:lnTo>
                    <a:pt x="2256" y="962"/>
                  </a:lnTo>
                  <a:lnTo>
                    <a:pt x="2253" y="958"/>
                  </a:lnTo>
                  <a:lnTo>
                    <a:pt x="2252" y="953"/>
                  </a:lnTo>
                  <a:lnTo>
                    <a:pt x="2240" y="947"/>
                  </a:lnTo>
                  <a:lnTo>
                    <a:pt x="2240" y="942"/>
                  </a:lnTo>
                  <a:lnTo>
                    <a:pt x="2239" y="939"/>
                  </a:lnTo>
                  <a:lnTo>
                    <a:pt x="2239" y="937"/>
                  </a:lnTo>
                  <a:lnTo>
                    <a:pt x="2238" y="935"/>
                  </a:lnTo>
                  <a:lnTo>
                    <a:pt x="2236" y="934"/>
                  </a:lnTo>
                  <a:lnTo>
                    <a:pt x="2233" y="934"/>
                  </a:lnTo>
                  <a:lnTo>
                    <a:pt x="2233" y="929"/>
                  </a:lnTo>
                  <a:lnTo>
                    <a:pt x="2233" y="923"/>
                  </a:lnTo>
                  <a:lnTo>
                    <a:pt x="2232" y="921"/>
                  </a:lnTo>
                  <a:lnTo>
                    <a:pt x="2231" y="919"/>
                  </a:lnTo>
                  <a:lnTo>
                    <a:pt x="2230" y="916"/>
                  </a:lnTo>
                  <a:lnTo>
                    <a:pt x="2228" y="916"/>
                  </a:lnTo>
                  <a:lnTo>
                    <a:pt x="2228" y="904"/>
                  </a:lnTo>
                  <a:lnTo>
                    <a:pt x="2228" y="892"/>
                  </a:lnTo>
                  <a:lnTo>
                    <a:pt x="2216" y="880"/>
                  </a:lnTo>
                  <a:lnTo>
                    <a:pt x="2216" y="874"/>
                  </a:lnTo>
                  <a:lnTo>
                    <a:pt x="2214" y="868"/>
                  </a:lnTo>
                  <a:lnTo>
                    <a:pt x="2214" y="865"/>
                  </a:lnTo>
                  <a:lnTo>
                    <a:pt x="2213" y="863"/>
                  </a:lnTo>
                  <a:lnTo>
                    <a:pt x="2211" y="862"/>
                  </a:lnTo>
                  <a:lnTo>
                    <a:pt x="2210" y="861"/>
                  </a:lnTo>
                  <a:lnTo>
                    <a:pt x="2210" y="843"/>
                  </a:lnTo>
                  <a:lnTo>
                    <a:pt x="2204" y="836"/>
                  </a:lnTo>
                  <a:lnTo>
                    <a:pt x="2198" y="827"/>
                  </a:lnTo>
                  <a:lnTo>
                    <a:pt x="2193" y="819"/>
                  </a:lnTo>
                  <a:lnTo>
                    <a:pt x="2191" y="813"/>
                  </a:lnTo>
                  <a:lnTo>
                    <a:pt x="2181" y="812"/>
                  </a:lnTo>
                  <a:lnTo>
                    <a:pt x="2169" y="809"/>
                  </a:lnTo>
                  <a:lnTo>
                    <a:pt x="2156" y="807"/>
                  </a:lnTo>
                  <a:lnTo>
                    <a:pt x="2142" y="806"/>
                  </a:lnTo>
                  <a:lnTo>
                    <a:pt x="2136" y="813"/>
                  </a:lnTo>
                  <a:lnTo>
                    <a:pt x="2136" y="825"/>
                  </a:lnTo>
                  <a:lnTo>
                    <a:pt x="2132" y="826"/>
                  </a:lnTo>
                  <a:lnTo>
                    <a:pt x="2127" y="828"/>
                  </a:lnTo>
                  <a:lnTo>
                    <a:pt x="2125" y="833"/>
                  </a:lnTo>
                  <a:lnTo>
                    <a:pt x="2124" y="837"/>
                  </a:lnTo>
                  <a:lnTo>
                    <a:pt x="2117" y="843"/>
                  </a:lnTo>
                  <a:lnTo>
                    <a:pt x="2104" y="844"/>
                  </a:lnTo>
                  <a:lnTo>
                    <a:pt x="2083" y="846"/>
                  </a:lnTo>
                  <a:lnTo>
                    <a:pt x="2059" y="848"/>
                  </a:lnTo>
                  <a:lnTo>
                    <a:pt x="2038" y="849"/>
                  </a:lnTo>
                  <a:lnTo>
                    <a:pt x="2016" y="833"/>
                  </a:lnTo>
                  <a:lnTo>
                    <a:pt x="1979" y="808"/>
                  </a:lnTo>
                  <a:lnTo>
                    <a:pt x="1960" y="795"/>
                  </a:lnTo>
                  <a:lnTo>
                    <a:pt x="1944" y="783"/>
                  </a:lnTo>
                  <a:lnTo>
                    <a:pt x="1938" y="777"/>
                  </a:lnTo>
                  <a:lnTo>
                    <a:pt x="1932" y="771"/>
                  </a:lnTo>
                  <a:lnTo>
                    <a:pt x="1930" y="767"/>
                  </a:lnTo>
                  <a:lnTo>
                    <a:pt x="1929" y="764"/>
                  </a:lnTo>
                  <a:lnTo>
                    <a:pt x="1922" y="757"/>
                  </a:lnTo>
                  <a:lnTo>
                    <a:pt x="1910" y="757"/>
                  </a:lnTo>
                  <a:lnTo>
                    <a:pt x="1897" y="739"/>
                  </a:lnTo>
                  <a:lnTo>
                    <a:pt x="1888" y="736"/>
                  </a:lnTo>
                  <a:lnTo>
                    <a:pt x="1879" y="733"/>
                  </a:lnTo>
                  <a:lnTo>
                    <a:pt x="1879" y="729"/>
                  </a:lnTo>
                  <a:lnTo>
                    <a:pt x="1878" y="728"/>
                  </a:lnTo>
                  <a:lnTo>
                    <a:pt x="1877" y="727"/>
                  </a:lnTo>
                  <a:lnTo>
                    <a:pt x="1876" y="727"/>
                  </a:lnTo>
                  <a:lnTo>
                    <a:pt x="1875" y="727"/>
                  </a:lnTo>
                  <a:lnTo>
                    <a:pt x="1874" y="726"/>
                  </a:lnTo>
                  <a:lnTo>
                    <a:pt x="1874" y="724"/>
                  </a:lnTo>
                  <a:lnTo>
                    <a:pt x="1873" y="721"/>
                  </a:lnTo>
                  <a:lnTo>
                    <a:pt x="1866" y="718"/>
                  </a:lnTo>
                  <a:lnTo>
                    <a:pt x="1856" y="712"/>
                  </a:lnTo>
                  <a:lnTo>
                    <a:pt x="1843" y="702"/>
                  </a:lnTo>
                  <a:lnTo>
                    <a:pt x="1829" y="691"/>
                  </a:lnTo>
                  <a:lnTo>
                    <a:pt x="1816" y="679"/>
                  </a:lnTo>
                  <a:lnTo>
                    <a:pt x="1805" y="666"/>
                  </a:lnTo>
                  <a:lnTo>
                    <a:pt x="1800" y="661"/>
                  </a:lnTo>
                  <a:lnTo>
                    <a:pt x="1797" y="655"/>
                  </a:lnTo>
                  <a:lnTo>
                    <a:pt x="1795" y="651"/>
                  </a:lnTo>
                  <a:lnTo>
                    <a:pt x="1794" y="647"/>
                  </a:lnTo>
                  <a:lnTo>
                    <a:pt x="1788" y="645"/>
                  </a:lnTo>
                  <a:lnTo>
                    <a:pt x="1782" y="641"/>
                  </a:lnTo>
                  <a:lnTo>
                    <a:pt x="1778" y="634"/>
                  </a:lnTo>
                  <a:lnTo>
                    <a:pt x="1776" y="628"/>
                  </a:lnTo>
                  <a:lnTo>
                    <a:pt x="1763" y="623"/>
                  </a:lnTo>
                  <a:lnTo>
                    <a:pt x="1757" y="612"/>
                  </a:lnTo>
                  <a:lnTo>
                    <a:pt x="1742" y="592"/>
                  </a:lnTo>
                  <a:lnTo>
                    <a:pt x="1734" y="581"/>
                  </a:lnTo>
                  <a:lnTo>
                    <a:pt x="1728" y="570"/>
                  </a:lnTo>
                  <a:lnTo>
                    <a:pt x="1722" y="562"/>
                  </a:lnTo>
                  <a:lnTo>
                    <a:pt x="1721" y="556"/>
                  </a:lnTo>
                  <a:lnTo>
                    <a:pt x="1717" y="556"/>
                  </a:lnTo>
                  <a:lnTo>
                    <a:pt x="1715" y="555"/>
                  </a:lnTo>
                  <a:lnTo>
                    <a:pt x="1714" y="554"/>
                  </a:lnTo>
                  <a:lnTo>
                    <a:pt x="1714" y="553"/>
                  </a:lnTo>
                  <a:lnTo>
                    <a:pt x="1714" y="551"/>
                  </a:lnTo>
                  <a:lnTo>
                    <a:pt x="1713" y="550"/>
                  </a:lnTo>
                  <a:lnTo>
                    <a:pt x="1712" y="550"/>
                  </a:lnTo>
                  <a:lnTo>
                    <a:pt x="1709" y="549"/>
                  </a:lnTo>
                  <a:lnTo>
                    <a:pt x="1708" y="545"/>
                  </a:lnTo>
                  <a:lnTo>
                    <a:pt x="1704" y="541"/>
                  </a:lnTo>
                  <a:lnTo>
                    <a:pt x="1701" y="538"/>
                  </a:lnTo>
                  <a:lnTo>
                    <a:pt x="1696" y="537"/>
                  </a:lnTo>
                  <a:lnTo>
                    <a:pt x="1684" y="531"/>
                  </a:lnTo>
                  <a:lnTo>
                    <a:pt x="1684" y="525"/>
                  </a:lnTo>
                  <a:lnTo>
                    <a:pt x="1682" y="520"/>
                  </a:lnTo>
                  <a:lnTo>
                    <a:pt x="1679" y="519"/>
                  </a:lnTo>
                  <a:lnTo>
                    <a:pt x="1672" y="519"/>
                  </a:lnTo>
                  <a:lnTo>
                    <a:pt x="1665" y="510"/>
                  </a:lnTo>
                  <a:lnTo>
                    <a:pt x="1660" y="500"/>
                  </a:lnTo>
                  <a:lnTo>
                    <a:pt x="1647" y="500"/>
                  </a:lnTo>
                  <a:lnTo>
                    <a:pt x="1641" y="495"/>
                  </a:lnTo>
                  <a:lnTo>
                    <a:pt x="1635" y="489"/>
                  </a:lnTo>
                  <a:lnTo>
                    <a:pt x="1633" y="481"/>
                  </a:lnTo>
                  <a:lnTo>
                    <a:pt x="1628" y="471"/>
                  </a:lnTo>
                  <a:lnTo>
                    <a:pt x="1625" y="466"/>
                  </a:lnTo>
                  <a:lnTo>
                    <a:pt x="1622" y="462"/>
                  </a:lnTo>
                  <a:lnTo>
                    <a:pt x="1619" y="459"/>
                  </a:lnTo>
                  <a:lnTo>
                    <a:pt x="1617" y="458"/>
                  </a:lnTo>
                  <a:lnTo>
                    <a:pt x="1616" y="437"/>
                  </a:lnTo>
                  <a:lnTo>
                    <a:pt x="1614" y="413"/>
                  </a:lnTo>
                  <a:lnTo>
                    <a:pt x="1610" y="389"/>
                  </a:lnTo>
                  <a:lnTo>
                    <a:pt x="1607" y="363"/>
                  </a:lnTo>
                  <a:lnTo>
                    <a:pt x="1604" y="338"/>
                  </a:lnTo>
                  <a:lnTo>
                    <a:pt x="1602" y="314"/>
                  </a:lnTo>
                  <a:lnTo>
                    <a:pt x="1599" y="290"/>
                  </a:lnTo>
                  <a:lnTo>
                    <a:pt x="1598" y="268"/>
                  </a:lnTo>
                  <a:lnTo>
                    <a:pt x="1593" y="262"/>
                  </a:lnTo>
                  <a:lnTo>
                    <a:pt x="1588" y="261"/>
                  </a:lnTo>
                  <a:lnTo>
                    <a:pt x="1584" y="259"/>
                  </a:lnTo>
                  <a:lnTo>
                    <a:pt x="1581" y="255"/>
                  </a:lnTo>
                  <a:lnTo>
                    <a:pt x="1580" y="250"/>
                  </a:lnTo>
                  <a:lnTo>
                    <a:pt x="1574" y="245"/>
                  </a:lnTo>
                  <a:lnTo>
                    <a:pt x="1561" y="245"/>
                  </a:lnTo>
                  <a:lnTo>
                    <a:pt x="1556" y="238"/>
                  </a:lnTo>
                  <a:lnTo>
                    <a:pt x="1549" y="232"/>
                  </a:lnTo>
                  <a:lnTo>
                    <a:pt x="1543" y="226"/>
                  </a:lnTo>
                  <a:lnTo>
                    <a:pt x="1541" y="219"/>
                  </a:lnTo>
                  <a:lnTo>
                    <a:pt x="1537" y="208"/>
                  </a:lnTo>
                  <a:lnTo>
                    <a:pt x="1533" y="203"/>
                  </a:lnTo>
                  <a:lnTo>
                    <a:pt x="1530" y="199"/>
                  </a:lnTo>
                  <a:lnTo>
                    <a:pt x="1528" y="197"/>
                  </a:lnTo>
                  <a:lnTo>
                    <a:pt x="1525" y="195"/>
                  </a:lnTo>
                  <a:lnTo>
                    <a:pt x="1525" y="180"/>
                  </a:lnTo>
                  <a:lnTo>
                    <a:pt x="1525" y="162"/>
                  </a:lnTo>
                  <a:lnTo>
                    <a:pt x="1525" y="144"/>
                  </a:lnTo>
                  <a:lnTo>
                    <a:pt x="1525" y="128"/>
                  </a:lnTo>
                  <a:lnTo>
                    <a:pt x="1512" y="116"/>
                  </a:lnTo>
                  <a:lnTo>
                    <a:pt x="1512" y="111"/>
                  </a:lnTo>
                  <a:lnTo>
                    <a:pt x="1512" y="104"/>
                  </a:lnTo>
                  <a:lnTo>
                    <a:pt x="1511" y="102"/>
                  </a:lnTo>
                  <a:lnTo>
                    <a:pt x="1510" y="99"/>
                  </a:lnTo>
                  <a:lnTo>
                    <a:pt x="1509" y="98"/>
                  </a:lnTo>
                  <a:lnTo>
                    <a:pt x="1507" y="97"/>
                  </a:lnTo>
                  <a:lnTo>
                    <a:pt x="1507" y="79"/>
                  </a:lnTo>
                  <a:lnTo>
                    <a:pt x="1503" y="79"/>
                  </a:lnTo>
                  <a:lnTo>
                    <a:pt x="1501" y="78"/>
                  </a:lnTo>
                  <a:lnTo>
                    <a:pt x="1501" y="77"/>
                  </a:lnTo>
                  <a:lnTo>
                    <a:pt x="1501" y="76"/>
                  </a:lnTo>
                  <a:lnTo>
                    <a:pt x="1500" y="75"/>
                  </a:lnTo>
                  <a:lnTo>
                    <a:pt x="1500" y="74"/>
                  </a:lnTo>
                  <a:lnTo>
                    <a:pt x="1498" y="74"/>
                  </a:lnTo>
                  <a:lnTo>
                    <a:pt x="1494" y="73"/>
                  </a:lnTo>
                  <a:lnTo>
                    <a:pt x="1494" y="69"/>
                  </a:lnTo>
                  <a:lnTo>
                    <a:pt x="1492" y="66"/>
                  </a:lnTo>
                  <a:lnTo>
                    <a:pt x="1491" y="64"/>
                  </a:lnTo>
                  <a:lnTo>
                    <a:pt x="1489" y="62"/>
                  </a:lnTo>
                  <a:lnTo>
                    <a:pt x="1484" y="58"/>
                  </a:lnTo>
                  <a:lnTo>
                    <a:pt x="1482" y="55"/>
                  </a:lnTo>
                  <a:lnTo>
                    <a:pt x="1465" y="55"/>
                  </a:lnTo>
                  <a:lnTo>
                    <a:pt x="1444" y="56"/>
                  </a:lnTo>
                  <a:lnTo>
                    <a:pt x="1434" y="56"/>
                  </a:lnTo>
                  <a:lnTo>
                    <a:pt x="1425" y="57"/>
                  </a:lnTo>
                  <a:lnTo>
                    <a:pt x="1418" y="59"/>
                  </a:lnTo>
                  <a:lnTo>
                    <a:pt x="1415" y="60"/>
                  </a:lnTo>
                  <a:lnTo>
                    <a:pt x="1395" y="60"/>
                  </a:lnTo>
                  <a:lnTo>
                    <a:pt x="1372" y="60"/>
                  </a:lnTo>
                  <a:lnTo>
                    <a:pt x="1348" y="59"/>
                  </a:lnTo>
                  <a:lnTo>
                    <a:pt x="1324" y="56"/>
                  </a:lnTo>
                  <a:lnTo>
                    <a:pt x="1311" y="55"/>
                  </a:lnTo>
                  <a:lnTo>
                    <a:pt x="1300" y="51"/>
                  </a:lnTo>
                  <a:lnTo>
                    <a:pt x="1289" y="49"/>
                  </a:lnTo>
                  <a:lnTo>
                    <a:pt x="1279" y="45"/>
                  </a:lnTo>
                  <a:lnTo>
                    <a:pt x="1270" y="41"/>
                  </a:lnTo>
                  <a:lnTo>
                    <a:pt x="1262" y="36"/>
                  </a:lnTo>
                  <a:lnTo>
                    <a:pt x="1255" y="30"/>
                  </a:lnTo>
                  <a:lnTo>
                    <a:pt x="1250" y="24"/>
                  </a:lnTo>
                  <a:lnTo>
                    <a:pt x="1244" y="24"/>
                  </a:lnTo>
                  <a:lnTo>
                    <a:pt x="1238" y="20"/>
                  </a:lnTo>
                  <a:lnTo>
                    <a:pt x="1231" y="17"/>
                  </a:lnTo>
                  <a:lnTo>
                    <a:pt x="1225" y="12"/>
                  </a:lnTo>
                  <a:lnTo>
                    <a:pt x="1206" y="12"/>
                  </a:lnTo>
                  <a:lnTo>
                    <a:pt x="1186" y="15"/>
                  </a:lnTo>
                  <a:lnTo>
                    <a:pt x="1168" y="17"/>
                  </a:lnTo>
                  <a:lnTo>
                    <a:pt x="1152" y="18"/>
                  </a:lnTo>
                  <a:lnTo>
                    <a:pt x="1152" y="21"/>
                  </a:lnTo>
                  <a:lnTo>
                    <a:pt x="1149" y="25"/>
                  </a:lnTo>
                  <a:lnTo>
                    <a:pt x="1147" y="27"/>
                  </a:lnTo>
                  <a:lnTo>
                    <a:pt x="1144" y="30"/>
                  </a:lnTo>
                  <a:lnTo>
                    <a:pt x="1134" y="35"/>
                  </a:lnTo>
                  <a:lnTo>
                    <a:pt x="1120" y="39"/>
                  </a:lnTo>
                  <a:lnTo>
                    <a:pt x="1105" y="43"/>
                  </a:lnTo>
                  <a:lnTo>
                    <a:pt x="1087" y="46"/>
                  </a:lnTo>
                  <a:lnTo>
                    <a:pt x="1068" y="48"/>
                  </a:lnTo>
                  <a:lnTo>
                    <a:pt x="1048" y="50"/>
                  </a:lnTo>
                  <a:lnTo>
                    <a:pt x="1007" y="53"/>
                  </a:lnTo>
                  <a:lnTo>
                    <a:pt x="969" y="54"/>
                  </a:lnTo>
                  <a:lnTo>
                    <a:pt x="938" y="55"/>
                  </a:lnTo>
                  <a:lnTo>
                    <a:pt x="919" y="55"/>
                  </a:lnTo>
                  <a:lnTo>
                    <a:pt x="914" y="43"/>
                  </a:lnTo>
                  <a:lnTo>
                    <a:pt x="908" y="41"/>
                  </a:lnTo>
                  <a:lnTo>
                    <a:pt x="903" y="39"/>
                  </a:lnTo>
                  <a:lnTo>
                    <a:pt x="899" y="37"/>
                  </a:lnTo>
                  <a:lnTo>
                    <a:pt x="897" y="35"/>
                  </a:lnTo>
                  <a:lnTo>
                    <a:pt x="896" y="33"/>
                  </a:lnTo>
                  <a:lnTo>
                    <a:pt x="896" y="30"/>
                  </a:lnTo>
                  <a:lnTo>
                    <a:pt x="884" y="25"/>
                  </a:lnTo>
                  <a:lnTo>
                    <a:pt x="871" y="18"/>
                  </a:lnTo>
                  <a:lnTo>
                    <a:pt x="859" y="0"/>
                  </a:lnTo>
                  <a:lnTo>
                    <a:pt x="844" y="1"/>
                  </a:lnTo>
                  <a:lnTo>
                    <a:pt x="826" y="6"/>
                  </a:lnTo>
                  <a:lnTo>
                    <a:pt x="810" y="10"/>
                  </a:lnTo>
                  <a:lnTo>
                    <a:pt x="798" y="12"/>
                  </a:lnTo>
                  <a:lnTo>
                    <a:pt x="791" y="18"/>
                  </a:lnTo>
                  <a:lnTo>
                    <a:pt x="786" y="24"/>
                  </a:lnTo>
                  <a:lnTo>
                    <a:pt x="782" y="30"/>
                  </a:lnTo>
                  <a:lnTo>
                    <a:pt x="777" y="39"/>
                  </a:lnTo>
                  <a:lnTo>
                    <a:pt x="770" y="46"/>
                  </a:lnTo>
                  <a:lnTo>
                    <a:pt x="768" y="48"/>
                  </a:lnTo>
                  <a:lnTo>
                    <a:pt x="768" y="53"/>
                  </a:lnTo>
                  <a:lnTo>
                    <a:pt x="767" y="57"/>
                  </a:lnTo>
                  <a:lnTo>
                    <a:pt x="765" y="58"/>
                  </a:lnTo>
                  <a:lnTo>
                    <a:pt x="764" y="59"/>
                  </a:lnTo>
                  <a:lnTo>
                    <a:pt x="763" y="60"/>
                  </a:lnTo>
                  <a:lnTo>
                    <a:pt x="761" y="60"/>
                  </a:lnTo>
                  <a:lnTo>
                    <a:pt x="761" y="66"/>
                  </a:lnTo>
                  <a:lnTo>
                    <a:pt x="760" y="73"/>
                  </a:lnTo>
                  <a:lnTo>
                    <a:pt x="760" y="75"/>
                  </a:lnTo>
                  <a:lnTo>
                    <a:pt x="759" y="77"/>
                  </a:lnTo>
                  <a:lnTo>
                    <a:pt x="756" y="78"/>
                  </a:lnTo>
                  <a:lnTo>
                    <a:pt x="755" y="79"/>
                  </a:lnTo>
                  <a:lnTo>
                    <a:pt x="755" y="85"/>
                  </a:lnTo>
                  <a:lnTo>
                    <a:pt x="754" y="91"/>
                  </a:lnTo>
                  <a:lnTo>
                    <a:pt x="753" y="93"/>
                  </a:lnTo>
                  <a:lnTo>
                    <a:pt x="752" y="95"/>
                  </a:lnTo>
                  <a:lnTo>
                    <a:pt x="751" y="97"/>
                  </a:lnTo>
                  <a:lnTo>
                    <a:pt x="749" y="97"/>
                  </a:lnTo>
                  <a:lnTo>
                    <a:pt x="745" y="106"/>
                  </a:lnTo>
                  <a:lnTo>
                    <a:pt x="743" y="116"/>
                  </a:lnTo>
                  <a:lnTo>
                    <a:pt x="739" y="116"/>
                  </a:lnTo>
                  <a:lnTo>
                    <a:pt x="734" y="116"/>
                  </a:lnTo>
                  <a:lnTo>
                    <a:pt x="733" y="117"/>
                  </a:lnTo>
                  <a:lnTo>
                    <a:pt x="732" y="118"/>
                  </a:lnTo>
                  <a:lnTo>
                    <a:pt x="731" y="120"/>
                  </a:lnTo>
                  <a:lnTo>
                    <a:pt x="731" y="122"/>
                  </a:lnTo>
                  <a:lnTo>
                    <a:pt x="726" y="122"/>
                  </a:lnTo>
                  <a:lnTo>
                    <a:pt x="722" y="123"/>
                  </a:lnTo>
                  <a:lnTo>
                    <a:pt x="721" y="123"/>
                  </a:lnTo>
                  <a:lnTo>
                    <a:pt x="720" y="124"/>
                  </a:lnTo>
                  <a:lnTo>
                    <a:pt x="719" y="126"/>
                  </a:lnTo>
                  <a:lnTo>
                    <a:pt x="719" y="128"/>
                  </a:lnTo>
                  <a:lnTo>
                    <a:pt x="703" y="128"/>
                  </a:lnTo>
                  <a:lnTo>
                    <a:pt x="681" y="130"/>
                  </a:lnTo>
                  <a:lnTo>
                    <a:pt x="669" y="131"/>
                  </a:lnTo>
                  <a:lnTo>
                    <a:pt x="659" y="133"/>
                  </a:lnTo>
                  <a:lnTo>
                    <a:pt x="656" y="134"/>
                  </a:lnTo>
                  <a:lnTo>
                    <a:pt x="654" y="136"/>
                  </a:lnTo>
                  <a:lnTo>
                    <a:pt x="652" y="139"/>
                  </a:lnTo>
                  <a:lnTo>
                    <a:pt x="652" y="141"/>
                  </a:lnTo>
                  <a:lnTo>
                    <a:pt x="596" y="142"/>
                  </a:lnTo>
                  <a:lnTo>
                    <a:pt x="539" y="144"/>
                  </a:lnTo>
                  <a:lnTo>
                    <a:pt x="481" y="150"/>
                  </a:lnTo>
                  <a:lnTo>
                    <a:pt x="422" y="156"/>
                  </a:lnTo>
                  <a:lnTo>
                    <a:pt x="362" y="163"/>
                  </a:lnTo>
                  <a:lnTo>
                    <a:pt x="303" y="172"/>
                  </a:lnTo>
                  <a:lnTo>
                    <a:pt x="244" y="180"/>
                  </a:lnTo>
                  <a:lnTo>
                    <a:pt x="185" y="189"/>
                  </a:lnTo>
                  <a:lnTo>
                    <a:pt x="185" y="192"/>
                  </a:lnTo>
                  <a:lnTo>
                    <a:pt x="172" y="202"/>
                  </a:lnTo>
                  <a:lnTo>
                    <a:pt x="147" y="224"/>
                  </a:lnTo>
                  <a:lnTo>
                    <a:pt x="132" y="237"/>
                  </a:lnTo>
                  <a:lnTo>
                    <a:pt x="119" y="248"/>
                  </a:lnTo>
                  <a:lnTo>
                    <a:pt x="108" y="257"/>
                  </a:lnTo>
                  <a:lnTo>
                    <a:pt x="100" y="261"/>
                  </a:lnTo>
                  <a:lnTo>
                    <a:pt x="100" y="265"/>
                  </a:lnTo>
                  <a:lnTo>
                    <a:pt x="98" y="268"/>
                  </a:lnTo>
                  <a:lnTo>
                    <a:pt x="96" y="271"/>
                  </a:lnTo>
                  <a:lnTo>
                    <a:pt x="92" y="274"/>
                  </a:lnTo>
                  <a:lnTo>
                    <a:pt x="87" y="278"/>
                  </a:lnTo>
                  <a:lnTo>
                    <a:pt x="84" y="283"/>
                  </a:lnTo>
                  <a:lnTo>
                    <a:pt x="74" y="288"/>
                  </a:lnTo>
                  <a:lnTo>
                    <a:pt x="63" y="293"/>
                  </a:lnTo>
                  <a:lnTo>
                    <a:pt x="53" y="298"/>
                  </a:lnTo>
                  <a:lnTo>
                    <a:pt x="45" y="312"/>
                  </a:lnTo>
                  <a:lnTo>
                    <a:pt x="36" y="329"/>
                  </a:lnTo>
                  <a:lnTo>
                    <a:pt x="26" y="335"/>
                  </a:lnTo>
                  <a:lnTo>
                    <a:pt x="24" y="341"/>
                  </a:lnTo>
                  <a:lnTo>
                    <a:pt x="21" y="347"/>
                  </a:lnTo>
                  <a:lnTo>
                    <a:pt x="17" y="351"/>
                  </a:lnTo>
                  <a:lnTo>
                    <a:pt x="15" y="354"/>
                  </a:lnTo>
                  <a:lnTo>
                    <a:pt x="13" y="355"/>
                  </a:lnTo>
                  <a:lnTo>
                    <a:pt x="11" y="356"/>
                  </a:lnTo>
                  <a:lnTo>
                    <a:pt x="10" y="364"/>
                  </a:lnTo>
                  <a:lnTo>
                    <a:pt x="7" y="372"/>
                  </a:lnTo>
                  <a:lnTo>
                    <a:pt x="4" y="377"/>
                  </a:lnTo>
                  <a:lnTo>
                    <a:pt x="0" y="383"/>
                  </a:lnTo>
                  <a:lnTo>
                    <a:pt x="0" y="425"/>
                  </a:lnTo>
                  <a:lnTo>
                    <a:pt x="4" y="432"/>
                  </a:lnTo>
                  <a:lnTo>
                    <a:pt x="13" y="450"/>
                  </a:lnTo>
                  <a:lnTo>
                    <a:pt x="22" y="468"/>
                  </a:lnTo>
                  <a:lnTo>
                    <a:pt x="26" y="478"/>
                  </a:lnTo>
                  <a:lnTo>
                    <a:pt x="30" y="479"/>
                  </a:lnTo>
                  <a:lnTo>
                    <a:pt x="32" y="483"/>
                  </a:lnTo>
                  <a:lnTo>
                    <a:pt x="34" y="485"/>
                  </a:lnTo>
                  <a:lnTo>
                    <a:pt x="36" y="487"/>
                  </a:lnTo>
                  <a:lnTo>
                    <a:pt x="39" y="488"/>
                  </a:lnTo>
                  <a:lnTo>
                    <a:pt x="42" y="488"/>
                  </a:lnTo>
                  <a:lnTo>
                    <a:pt x="43" y="495"/>
                  </a:lnTo>
                  <a:lnTo>
                    <a:pt x="47" y="500"/>
                  </a:lnTo>
                  <a:lnTo>
                    <a:pt x="51" y="506"/>
                  </a:lnTo>
                  <a:lnTo>
                    <a:pt x="55" y="512"/>
                  </a:lnTo>
                  <a:lnTo>
                    <a:pt x="60" y="518"/>
                  </a:lnTo>
                  <a:lnTo>
                    <a:pt x="64" y="524"/>
                  </a:lnTo>
                  <a:lnTo>
                    <a:pt x="68" y="530"/>
                  </a:lnTo>
                  <a:lnTo>
                    <a:pt x="69" y="536"/>
                  </a:lnTo>
                  <a:lnTo>
                    <a:pt x="127" y="594"/>
                  </a:lnTo>
                  <a:lnTo>
                    <a:pt x="137" y="594"/>
                  </a:lnTo>
                  <a:lnTo>
                    <a:pt x="144" y="598"/>
                  </a:lnTo>
                  <a:lnTo>
                    <a:pt x="154" y="602"/>
                  </a:lnTo>
                  <a:lnTo>
                    <a:pt x="165" y="604"/>
                  </a:lnTo>
                  <a:lnTo>
                    <a:pt x="175" y="605"/>
                  </a:lnTo>
                  <a:lnTo>
                    <a:pt x="186" y="608"/>
                  </a:lnTo>
                  <a:lnTo>
                    <a:pt x="204" y="612"/>
                  </a:lnTo>
                  <a:lnTo>
                    <a:pt x="223" y="614"/>
                  </a:lnTo>
                  <a:lnTo>
                    <a:pt x="237" y="615"/>
                  </a:lnTo>
                  <a:lnTo>
                    <a:pt x="243" y="618"/>
                  </a:lnTo>
                  <a:lnTo>
                    <a:pt x="249" y="622"/>
                  </a:lnTo>
                  <a:lnTo>
                    <a:pt x="255" y="625"/>
                  </a:lnTo>
                  <a:lnTo>
                    <a:pt x="262" y="628"/>
                  </a:lnTo>
                  <a:lnTo>
                    <a:pt x="269" y="632"/>
                  </a:lnTo>
                  <a:lnTo>
                    <a:pt x="275" y="634"/>
                  </a:lnTo>
                  <a:lnTo>
                    <a:pt x="281" y="637"/>
                  </a:lnTo>
                  <a:lnTo>
                    <a:pt x="285" y="642"/>
                  </a:lnTo>
                  <a:lnTo>
                    <a:pt x="293" y="642"/>
                  </a:lnTo>
                  <a:lnTo>
                    <a:pt x="301" y="643"/>
                  </a:lnTo>
                  <a:lnTo>
                    <a:pt x="304" y="644"/>
                  </a:lnTo>
                  <a:lnTo>
                    <a:pt x="307" y="646"/>
                  </a:lnTo>
                  <a:lnTo>
                    <a:pt x="310" y="649"/>
                  </a:lnTo>
                  <a:lnTo>
                    <a:pt x="312" y="652"/>
                  </a:lnTo>
                  <a:lnTo>
                    <a:pt x="328" y="652"/>
                  </a:lnTo>
                  <a:lnTo>
                    <a:pt x="332" y="656"/>
                  </a:lnTo>
                  <a:lnTo>
                    <a:pt x="338" y="659"/>
                  </a:lnTo>
                  <a:lnTo>
                    <a:pt x="345" y="662"/>
                  </a:lnTo>
                  <a:lnTo>
                    <a:pt x="352" y="663"/>
                  </a:lnTo>
                  <a:lnTo>
                    <a:pt x="369" y="666"/>
                  </a:lnTo>
                  <a:lnTo>
                    <a:pt x="387" y="668"/>
                  </a:lnTo>
                  <a:lnTo>
                    <a:pt x="424" y="669"/>
                  </a:lnTo>
                  <a:lnTo>
                    <a:pt x="455" y="668"/>
                  </a:lnTo>
                  <a:lnTo>
                    <a:pt x="455" y="666"/>
                  </a:lnTo>
                  <a:lnTo>
                    <a:pt x="456" y="665"/>
                  </a:lnTo>
                  <a:lnTo>
                    <a:pt x="457" y="664"/>
                  </a:lnTo>
                  <a:lnTo>
                    <a:pt x="458" y="664"/>
                  </a:lnTo>
                  <a:lnTo>
                    <a:pt x="463" y="665"/>
                  </a:lnTo>
                  <a:lnTo>
                    <a:pt x="467" y="666"/>
                  </a:lnTo>
                  <a:lnTo>
                    <a:pt x="477" y="671"/>
                  </a:lnTo>
                  <a:lnTo>
                    <a:pt x="481" y="673"/>
                  </a:lnTo>
                  <a:lnTo>
                    <a:pt x="496" y="679"/>
                  </a:lnTo>
                  <a:lnTo>
                    <a:pt x="501" y="684"/>
                  </a:lnTo>
                  <a:lnTo>
                    <a:pt x="510" y="692"/>
                  </a:lnTo>
                  <a:lnTo>
                    <a:pt x="515" y="697"/>
                  </a:lnTo>
                  <a:lnTo>
                    <a:pt x="519" y="702"/>
                  </a:lnTo>
                  <a:lnTo>
                    <a:pt x="522" y="707"/>
                  </a:lnTo>
                  <a:lnTo>
                    <a:pt x="523" y="710"/>
                  </a:lnTo>
                  <a:lnTo>
                    <a:pt x="530" y="713"/>
                  </a:lnTo>
                  <a:lnTo>
                    <a:pt x="539" y="721"/>
                  </a:lnTo>
                  <a:lnTo>
                    <a:pt x="547" y="728"/>
                  </a:lnTo>
                  <a:lnTo>
                    <a:pt x="550" y="731"/>
                  </a:lnTo>
                  <a:lnTo>
                    <a:pt x="556" y="737"/>
                  </a:lnTo>
                  <a:lnTo>
                    <a:pt x="560" y="747"/>
                  </a:lnTo>
                  <a:lnTo>
                    <a:pt x="566" y="758"/>
                  </a:lnTo>
                  <a:lnTo>
                    <a:pt x="569" y="760"/>
                  </a:lnTo>
                  <a:lnTo>
                    <a:pt x="572" y="764"/>
                  </a:lnTo>
                  <a:lnTo>
                    <a:pt x="576" y="769"/>
                  </a:lnTo>
                  <a:lnTo>
                    <a:pt x="576" y="774"/>
                  </a:lnTo>
                  <a:lnTo>
                    <a:pt x="583" y="778"/>
                  </a:lnTo>
                  <a:lnTo>
                    <a:pt x="590" y="783"/>
                  </a:lnTo>
                  <a:lnTo>
                    <a:pt x="594" y="785"/>
                  </a:lnTo>
                  <a:lnTo>
                    <a:pt x="596" y="788"/>
                  </a:lnTo>
                  <a:lnTo>
                    <a:pt x="597" y="791"/>
                  </a:lnTo>
                  <a:lnTo>
                    <a:pt x="597" y="795"/>
                  </a:lnTo>
                  <a:lnTo>
                    <a:pt x="608" y="806"/>
                  </a:lnTo>
                  <a:lnTo>
                    <a:pt x="614" y="808"/>
                  </a:lnTo>
                  <a:lnTo>
                    <a:pt x="619" y="812"/>
                  </a:lnTo>
                  <a:lnTo>
                    <a:pt x="624" y="816"/>
                  </a:lnTo>
                  <a:lnTo>
                    <a:pt x="629" y="822"/>
                  </a:lnTo>
                  <a:lnTo>
                    <a:pt x="634" y="826"/>
                  </a:lnTo>
                  <a:lnTo>
                    <a:pt x="639" y="831"/>
                  </a:lnTo>
                  <a:lnTo>
                    <a:pt x="645" y="835"/>
                  </a:lnTo>
                  <a:lnTo>
                    <a:pt x="650" y="837"/>
                  </a:lnTo>
                  <a:lnTo>
                    <a:pt x="652" y="839"/>
                  </a:lnTo>
                  <a:lnTo>
                    <a:pt x="654" y="843"/>
                  </a:lnTo>
                  <a:lnTo>
                    <a:pt x="657" y="846"/>
                  </a:lnTo>
                  <a:lnTo>
                    <a:pt x="662" y="849"/>
                  </a:lnTo>
                  <a:lnTo>
                    <a:pt x="667" y="853"/>
                  </a:lnTo>
                  <a:lnTo>
                    <a:pt x="673" y="856"/>
                  </a:lnTo>
                  <a:lnTo>
                    <a:pt x="677" y="857"/>
                  </a:lnTo>
                  <a:lnTo>
                    <a:pt x="682" y="858"/>
                  </a:lnTo>
                  <a:lnTo>
                    <a:pt x="687" y="867"/>
                  </a:lnTo>
                  <a:lnTo>
                    <a:pt x="701" y="882"/>
                  </a:lnTo>
                  <a:lnTo>
                    <a:pt x="715" y="897"/>
                  </a:lnTo>
                  <a:lnTo>
                    <a:pt x="724" y="906"/>
                  </a:lnTo>
                  <a:lnTo>
                    <a:pt x="730" y="908"/>
                  </a:lnTo>
                  <a:lnTo>
                    <a:pt x="733" y="910"/>
                  </a:lnTo>
                  <a:lnTo>
                    <a:pt x="736" y="914"/>
                  </a:lnTo>
                  <a:lnTo>
                    <a:pt x="740" y="919"/>
                  </a:lnTo>
                  <a:lnTo>
                    <a:pt x="742" y="924"/>
                  </a:lnTo>
                  <a:lnTo>
                    <a:pt x="744" y="928"/>
                  </a:lnTo>
                  <a:lnTo>
                    <a:pt x="748" y="931"/>
                  </a:lnTo>
                  <a:lnTo>
                    <a:pt x="751" y="932"/>
                  </a:lnTo>
                  <a:lnTo>
                    <a:pt x="751" y="952"/>
                  </a:lnTo>
                  <a:lnTo>
                    <a:pt x="751" y="971"/>
                  </a:lnTo>
                  <a:lnTo>
                    <a:pt x="751" y="990"/>
                  </a:lnTo>
                  <a:lnTo>
                    <a:pt x="752" y="1010"/>
                  </a:lnTo>
                  <a:lnTo>
                    <a:pt x="753" y="1011"/>
                  </a:lnTo>
                  <a:lnTo>
                    <a:pt x="754" y="1012"/>
                  </a:lnTo>
                  <a:lnTo>
                    <a:pt x="756" y="1014"/>
                  </a:lnTo>
                  <a:lnTo>
                    <a:pt x="759" y="1014"/>
                  </a:lnTo>
                  <a:lnTo>
                    <a:pt x="762" y="1029"/>
                  </a:lnTo>
                  <a:lnTo>
                    <a:pt x="770" y="1054"/>
                  </a:lnTo>
                  <a:lnTo>
                    <a:pt x="774" y="1067"/>
                  </a:lnTo>
                  <a:lnTo>
                    <a:pt x="779" y="1077"/>
                  </a:lnTo>
                  <a:lnTo>
                    <a:pt x="781" y="1082"/>
                  </a:lnTo>
                  <a:lnTo>
                    <a:pt x="783" y="1085"/>
                  </a:lnTo>
                  <a:lnTo>
                    <a:pt x="784" y="1087"/>
                  </a:lnTo>
                  <a:lnTo>
                    <a:pt x="787" y="1087"/>
                  </a:lnTo>
                  <a:lnTo>
                    <a:pt x="789" y="1098"/>
                  </a:lnTo>
                  <a:lnTo>
                    <a:pt x="792" y="1114"/>
                  </a:lnTo>
                  <a:lnTo>
                    <a:pt x="796" y="1122"/>
                  </a:lnTo>
                  <a:lnTo>
                    <a:pt x="799" y="1127"/>
                  </a:lnTo>
                  <a:lnTo>
                    <a:pt x="802" y="1132"/>
                  </a:lnTo>
                  <a:lnTo>
                    <a:pt x="806" y="1134"/>
                  </a:lnTo>
                  <a:lnTo>
                    <a:pt x="806" y="1162"/>
                  </a:lnTo>
                  <a:lnTo>
                    <a:pt x="813" y="1171"/>
                  </a:lnTo>
                  <a:lnTo>
                    <a:pt x="822" y="1185"/>
                  </a:lnTo>
                  <a:lnTo>
                    <a:pt x="827" y="1193"/>
                  </a:lnTo>
                  <a:lnTo>
                    <a:pt x="830" y="1202"/>
                  </a:lnTo>
                  <a:lnTo>
                    <a:pt x="832" y="1210"/>
                  </a:lnTo>
                  <a:lnTo>
                    <a:pt x="832" y="1217"/>
                  </a:lnTo>
                  <a:lnTo>
                    <a:pt x="837" y="1219"/>
                  </a:lnTo>
                  <a:lnTo>
                    <a:pt x="840" y="1223"/>
                  </a:lnTo>
                  <a:lnTo>
                    <a:pt x="844" y="1228"/>
                  </a:lnTo>
                  <a:lnTo>
                    <a:pt x="847" y="1233"/>
                  </a:lnTo>
                  <a:lnTo>
                    <a:pt x="855" y="1247"/>
                  </a:lnTo>
                  <a:lnTo>
                    <a:pt x="861" y="1262"/>
                  </a:lnTo>
                  <a:lnTo>
                    <a:pt x="870" y="1276"/>
                  </a:lnTo>
                  <a:lnTo>
                    <a:pt x="878" y="1288"/>
                  </a:lnTo>
                  <a:lnTo>
                    <a:pt x="883" y="1293"/>
                  </a:lnTo>
                  <a:lnTo>
                    <a:pt x="887" y="1297"/>
                  </a:lnTo>
                  <a:lnTo>
                    <a:pt x="893" y="1299"/>
                  </a:lnTo>
                  <a:lnTo>
                    <a:pt x="897" y="1300"/>
                  </a:lnTo>
                  <a:lnTo>
                    <a:pt x="898" y="1305"/>
                  </a:lnTo>
                  <a:lnTo>
                    <a:pt x="899" y="1308"/>
                  </a:lnTo>
                  <a:lnTo>
                    <a:pt x="900" y="1309"/>
                  </a:lnTo>
                  <a:lnTo>
                    <a:pt x="903" y="1309"/>
                  </a:lnTo>
                  <a:lnTo>
                    <a:pt x="904" y="1309"/>
                  </a:lnTo>
                  <a:lnTo>
                    <a:pt x="905" y="1310"/>
                  </a:lnTo>
                  <a:lnTo>
                    <a:pt x="906" y="1313"/>
                  </a:lnTo>
                  <a:lnTo>
                    <a:pt x="907" y="1318"/>
                  </a:lnTo>
                  <a:lnTo>
                    <a:pt x="912" y="1320"/>
                  </a:lnTo>
                  <a:lnTo>
                    <a:pt x="918" y="1324"/>
                  </a:lnTo>
                  <a:lnTo>
                    <a:pt x="925" y="1330"/>
                  </a:lnTo>
                  <a:lnTo>
                    <a:pt x="933" y="1337"/>
                  </a:lnTo>
                  <a:lnTo>
                    <a:pt x="947" y="1349"/>
                  </a:lnTo>
                  <a:lnTo>
                    <a:pt x="953" y="1355"/>
                  </a:lnTo>
                  <a:lnTo>
                    <a:pt x="972" y="1355"/>
                  </a:lnTo>
                  <a:lnTo>
                    <a:pt x="981" y="1374"/>
                  </a:lnTo>
                  <a:lnTo>
                    <a:pt x="988" y="1375"/>
                  </a:lnTo>
                  <a:lnTo>
                    <a:pt x="996" y="1376"/>
                  </a:lnTo>
                  <a:lnTo>
                    <a:pt x="1004" y="1380"/>
                  </a:lnTo>
                  <a:lnTo>
                    <a:pt x="1013" y="1383"/>
                  </a:lnTo>
                  <a:lnTo>
                    <a:pt x="1022" y="1386"/>
                  </a:lnTo>
                  <a:lnTo>
                    <a:pt x="1030" y="1390"/>
                  </a:lnTo>
                  <a:lnTo>
                    <a:pt x="1038" y="1392"/>
                  </a:lnTo>
                  <a:lnTo>
                    <a:pt x="1046" y="1392"/>
                  </a:lnTo>
                  <a:lnTo>
                    <a:pt x="1053" y="1400"/>
                  </a:lnTo>
                  <a:lnTo>
                    <a:pt x="1062" y="1406"/>
                  </a:lnTo>
                  <a:lnTo>
                    <a:pt x="1072" y="1412"/>
                  </a:lnTo>
                  <a:lnTo>
                    <a:pt x="1082" y="1418"/>
                  </a:lnTo>
                  <a:lnTo>
                    <a:pt x="1092" y="1422"/>
                  </a:lnTo>
                  <a:lnTo>
                    <a:pt x="1103" y="1426"/>
                  </a:lnTo>
                  <a:lnTo>
                    <a:pt x="1111" y="1429"/>
                  </a:lnTo>
                  <a:lnTo>
                    <a:pt x="1119" y="1429"/>
                  </a:lnTo>
                  <a:lnTo>
                    <a:pt x="1138" y="1442"/>
                  </a:lnTo>
                  <a:lnTo>
                    <a:pt x="1181" y="1471"/>
                  </a:lnTo>
                  <a:lnTo>
                    <a:pt x="1204" y="1486"/>
                  </a:lnTo>
                  <a:lnTo>
                    <a:pt x="1224" y="1499"/>
                  </a:lnTo>
                  <a:lnTo>
                    <a:pt x="1241" y="1509"/>
                  </a:lnTo>
                  <a:lnTo>
                    <a:pt x="1249" y="1512"/>
                  </a:lnTo>
                  <a:lnTo>
                    <a:pt x="1258" y="1531"/>
                  </a:lnTo>
                  <a:lnTo>
                    <a:pt x="1269" y="1533"/>
                  </a:lnTo>
                  <a:lnTo>
                    <a:pt x="1284" y="1537"/>
                  </a:lnTo>
                  <a:lnTo>
                    <a:pt x="1292" y="1539"/>
                  </a:lnTo>
                  <a:lnTo>
                    <a:pt x="1298" y="1543"/>
                  </a:lnTo>
                  <a:lnTo>
                    <a:pt x="1302" y="1546"/>
                  </a:lnTo>
                  <a:lnTo>
                    <a:pt x="1305" y="1549"/>
                  </a:lnTo>
                  <a:lnTo>
                    <a:pt x="1331" y="1549"/>
                  </a:lnTo>
                  <a:lnTo>
                    <a:pt x="1341" y="1568"/>
                  </a:lnTo>
                  <a:lnTo>
                    <a:pt x="1368" y="1568"/>
                  </a:lnTo>
                  <a:lnTo>
                    <a:pt x="1369" y="1570"/>
                  </a:lnTo>
                  <a:lnTo>
                    <a:pt x="1370" y="1573"/>
                  </a:lnTo>
                  <a:lnTo>
                    <a:pt x="1372" y="1575"/>
                  </a:lnTo>
                  <a:lnTo>
                    <a:pt x="1373" y="1576"/>
                  </a:lnTo>
                  <a:lnTo>
                    <a:pt x="1377" y="1577"/>
                  </a:lnTo>
                  <a:lnTo>
                    <a:pt x="1383" y="1577"/>
                  </a:lnTo>
                  <a:lnTo>
                    <a:pt x="1387" y="1577"/>
                  </a:lnTo>
                  <a:lnTo>
                    <a:pt x="1392" y="1578"/>
                  </a:lnTo>
                  <a:lnTo>
                    <a:pt x="1394" y="1579"/>
                  </a:lnTo>
                  <a:lnTo>
                    <a:pt x="1395" y="1580"/>
                  </a:lnTo>
                  <a:lnTo>
                    <a:pt x="1396" y="1583"/>
                  </a:lnTo>
                  <a:lnTo>
                    <a:pt x="1396" y="1586"/>
                  </a:lnTo>
                  <a:lnTo>
                    <a:pt x="1415" y="1586"/>
                  </a:lnTo>
                  <a:lnTo>
                    <a:pt x="1425" y="1595"/>
                  </a:lnTo>
                  <a:lnTo>
                    <a:pt x="1439" y="1604"/>
                  </a:lnTo>
                  <a:lnTo>
                    <a:pt x="1445" y="1607"/>
                  </a:lnTo>
                  <a:lnTo>
                    <a:pt x="1451" y="1611"/>
                  </a:lnTo>
                  <a:lnTo>
                    <a:pt x="1456" y="1613"/>
                  </a:lnTo>
                  <a:lnTo>
                    <a:pt x="1461" y="1614"/>
                  </a:lnTo>
                  <a:lnTo>
                    <a:pt x="1462" y="1621"/>
                  </a:lnTo>
                  <a:lnTo>
                    <a:pt x="1464" y="1625"/>
                  </a:lnTo>
                  <a:lnTo>
                    <a:pt x="1466" y="1628"/>
                  </a:lnTo>
                  <a:lnTo>
                    <a:pt x="1470" y="1632"/>
                  </a:lnTo>
                  <a:lnTo>
                    <a:pt x="1474" y="1634"/>
                  </a:lnTo>
                  <a:lnTo>
                    <a:pt x="1477" y="1636"/>
                  </a:lnTo>
                  <a:lnTo>
                    <a:pt x="1479" y="1639"/>
                  </a:lnTo>
                  <a:lnTo>
                    <a:pt x="1480" y="1642"/>
                  </a:lnTo>
                  <a:lnTo>
                    <a:pt x="1498" y="1642"/>
                  </a:lnTo>
                  <a:lnTo>
                    <a:pt x="1503" y="1649"/>
                  </a:lnTo>
                  <a:lnTo>
                    <a:pt x="1510" y="1655"/>
                  </a:lnTo>
                  <a:lnTo>
                    <a:pt x="1518" y="1662"/>
                  </a:lnTo>
                  <a:lnTo>
                    <a:pt x="1528" y="1668"/>
                  </a:lnTo>
                  <a:lnTo>
                    <a:pt x="1539" y="1672"/>
                  </a:lnTo>
                  <a:lnTo>
                    <a:pt x="1550" y="1675"/>
                  </a:lnTo>
                  <a:lnTo>
                    <a:pt x="1561" y="1678"/>
                  </a:lnTo>
                  <a:lnTo>
                    <a:pt x="1573" y="1679"/>
                  </a:lnTo>
                  <a:lnTo>
                    <a:pt x="1581" y="1697"/>
                  </a:lnTo>
                  <a:lnTo>
                    <a:pt x="1612" y="1699"/>
                  </a:lnTo>
                  <a:lnTo>
                    <a:pt x="1647" y="1702"/>
                  </a:lnTo>
                  <a:lnTo>
                    <a:pt x="1684" y="1704"/>
                  </a:lnTo>
                  <a:lnTo>
                    <a:pt x="1720" y="1707"/>
                  </a:lnTo>
                  <a:lnTo>
                    <a:pt x="1720" y="17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1" name="Freeform 57"/>
            <p:cNvSpPr>
              <a:spLocks noChangeAspect="1"/>
            </p:cNvSpPr>
            <p:nvPr/>
          </p:nvSpPr>
          <p:spPr bwMode="gray">
            <a:xfrm rot="355651">
              <a:off x="6777161" y="2574925"/>
              <a:ext cx="326908" cy="198016"/>
            </a:xfrm>
            <a:custGeom>
              <a:avLst/>
              <a:gdLst/>
              <a:ahLst/>
              <a:cxnLst>
                <a:cxn ang="0">
                  <a:pos x="652" y="539"/>
                </a:cxn>
                <a:cxn ang="0">
                  <a:pos x="679" y="573"/>
                </a:cxn>
                <a:cxn ang="0">
                  <a:pos x="745" y="594"/>
                </a:cxn>
                <a:cxn ang="0">
                  <a:pos x="782" y="462"/>
                </a:cxn>
                <a:cxn ang="0">
                  <a:pos x="810" y="407"/>
                </a:cxn>
                <a:cxn ang="0">
                  <a:pos x="835" y="386"/>
                </a:cxn>
                <a:cxn ang="0">
                  <a:pos x="868" y="354"/>
                </a:cxn>
                <a:cxn ang="0">
                  <a:pos x="891" y="321"/>
                </a:cxn>
                <a:cxn ang="0">
                  <a:pos x="1004" y="237"/>
                </a:cxn>
                <a:cxn ang="0">
                  <a:pos x="1037" y="212"/>
                </a:cxn>
                <a:cxn ang="0">
                  <a:pos x="1231" y="199"/>
                </a:cxn>
                <a:cxn ang="0">
                  <a:pos x="1287" y="145"/>
                </a:cxn>
                <a:cxn ang="0">
                  <a:pos x="1303" y="123"/>
                </a:cxn>
                <a:cxn ang="0">
                  <a:pos x="1325" y="66"/>
                </a:cxn>
                <a:cxn ang="0">
                  <a:pos x="1366" y="49"/>
                </a:cxn>
                <a:cxn ang="0">
                  <a:pos x="1402" y="11"/>
                </a:cxn>
                <a:cxn ang="0">
                  <a:pos x="1470" y="4"/>
                </a:cxn>
                <a:cxn ang="0">
                  <a:pos x="1537" y="28"/>
                </a:cxn>
                <a:cxn ang="0">
                  <a:pos x="1572" y="57"/>
                </a:cxn>
                <a:cxn ang="0">
                  <a:pos x="1596" y="93"/>
                </a:cxn>
                <a:cxn ang="0">
                  <a:pos x="1626" y="193"/>
                </a:cxn>
                <a:cxn ang="0">
                  <a:pos x="1658" y="237"/>
                </a:cxn>
                <a:cxn ang="0">
                  <a:pos x="1717" y="276"/>
                </a:cxn>
                <a:cxn ang="0">
                  <a:pos x="1747" y="298"/>
                </a:cxn>
                <a:cxn ang="0">
                  <a:pos x="1774" y="346"/>
                </a:cxn>
                <a:cxn ang="0">
                  <a:pos x="1749" y="448"/>
                </a:cxn>
                <a:cxn ang="0">
                  <a:pos x="1722" y="559"/>
                </a:cxn>
                <a:cxn ang="0">
                  <a:pos x="1764" y="622"/>
                </a:cxn>
                <a:cxn ang="0">
                  <a:pos x="1795" y="769"/>
                </a:cxn>
                <a:cxn ang="0">
                  <a:pos x="1792" y="938"/>
                </a:cxn>
                <a:cxn ang="0">
                  <a:pos x="1701" y="919"/>
                </a:cxn>
                <a:cxn ang="0">
                  <a:pos x="1640" y="897"/>
                </a:cxn>
                <a:cxn ang="0">
                  <a:pos x="1607" y="880"/>
                </a:cxn>
                <a:cxn ang="0">
                  <a:pos x="1506" y="854"/>
                </a:cxn>
                <a:cxn ang="0">
                  <a:pos x="1434" y="842"/>
                </a:cxn>
                <a:cxn ang="0">
                  <a:pos x="1348" y="825"/>
                </a:cxn>
                <a:cxn ang="0">
                  <a:pos x="1274" y="766"/>
                </a:cxn>
                <a:cxn ang="0">
                  <a:pos x="1217" y="713"/>
                </a:cxn>
                <a:cxn ang="0">
                  <a:pos x="1174" y="687"/>
                </a:cxn>
                <a:cxn ang="0">
                  <a:pos x="1054" y="713"/>
                </a:cxn>
                <a:cxn ang="0">
                  <a:pos x="1001" y="756"/>
                </a:cxn>
                <a:cxn ang="0">
                  <a:pos x="948" y="797"/>
                </a:cxn>
                <a:cxn ang="0">
                  <a:pos x="886" y="841"/>
                </a:cxn>
                <a:cxn ang="0">
                  <a:pos x="812" y="930"/>
                </a:cxn>
                <a:cxn ang="0">
                  <a:pos x="797" y="976"/>
                </a:cxn>
                <a:cxn ang="0">
                  <a:pos x="779" y="999"/>
                </a:cxn>
                <a:cxn ang="0">
                  <a:pos x="750" y="1032"/>
                </a:cxn>
                <a:cxn ang="0">
                  <a:pos x="713" y="1071"/>
                </a:cxn>
                <a:cxn ang="0">
                  <a:pos x="691" y="1085"/>
                </a:cxn>
                <a:cxn ang="0">
                  <a:pos x="635" y="1119"/>
                </a:cxn>
                <a:cxn ang="0">
                  <a:pos x="524" y="1192"/>
                </a:cxn>
                <a:cxn ang="0">
                  <a:pos x="486" y="1221"/>
                </a:cxn>
                <a:cxn ang="0">
                  <a:pos x="368" y="1232"/>
                </a:cxn>
                <a:cxn ang="0">
                  <a:pos x="99" y="1207"/>
                </a:cxn>
                <a:cxn ang="0">
                  <a:pos x="25" y="1138"/>
                </a:cxn>
                <a:cxn ang="0">
                  <a:pos x="51" y="1115"/>
                </a:cxn>
                <a:cxn ang="0">
                  <a:pos x="73" y="1077"/>
                </a:cxn>
                <a:cxn ang="0">
                  <a:pos x="199" y="998"/>
                </a:cxn>
                <a:cxn ang="0">
                  <a:pos x="281" y="917"/>
                </a:cxn>
                <a:cxn ang="0">
                  <a:pos x="332" y="817"/>
                </a:cxn>
                <a:cxn ang="0">
                  <a:pos x="479" y="707"/>
                </a:cxn>
                <a:cxn ang="0">
                  <a:pos x="549" y="590"/>
                </a:cxn>
                <a:cxn ang="0">
                  <a:pos x="572" y="563"/>
                </a:cxn>
              </a:cxnLst>
              <a:rect l="0" t="0" r="r" b="b"/>
              <a:pathLst>
                <a:path w="1796" h="1235">
                  <a:moveTo>
                    <a:pt x="613" y="545"/>
                  </a:moveTo>
                  <a:lnTo>
                    <a:pt x="617" y="546"/>
                  </a:lnTo>
                  <a:lnTo>
                    <a:pt x="630" y="537"/>
                  </a:lnTo>
                  <a:lnTo>
                    <a:pt x="641" y="528"/>
                  </a:lnTo>
                  <a:lnTo>
                    <a:pt x="641" y="537"/>
                  </a:lnTo>
                  <a:lnTo>
                    <a:pt x="647" y="537"/>
                  </a:lnTo>
                  <a:lnTo>
                    <a:pt x="650" y="538"/>
                  </a:lnTo>
                  <a:lnTo>
                    <a:pt x="652" y="538"/>
                  </a:lnTo>
                  <a:lnTo>
                    <a:pt x="652" y="539"/>
                  </a:lnTo>
                  <a:lnTo>
                    <a:pt x="652" y="541"/>
                  </a:lnTo>
                  <a:lnTo>
                    <a:pt x="652" y="542"/>
                  </a:lnTo>
                  <a:lnTo>
                    <a:pt x="653" y="542"/>
                  </a:lnTo>
                  <a:lnTo>
                    <a:pt x="655" y="542"/>
                  </a:lnTo>
                  <a:lnTo>
                    <a:pt x="660" y="546"/>
                  </a:lnTo>
                  <a:lnTo>
                    <a:pt x="662" y="554"/>
                  </a:lnTo>
                  <a:lnTo>
                    <a:pt x="665" y="561"/>
                  </a:lnTo>
                  <a:lnTo>
                    <a:pt x="670" y="565"/>
                  </a:lnTo>
                  <a:lnTo>
                    <a:pt x="679" y="573"/>
                  </a:lnTo>
                  <a:lnTo>
                    <a:pt x="689" y="580"/>
                  </a:lnTo>
                  <a:lnTo>
                    <a:pt x="691" y="584"/>
                  </a:lnTo>
                  <a:lnTo>
                    <a:pt x="693" y="588"/>
                  </a:lnTo>
                  <a:lnTo>
                    <a:pt x="702" y="588"/>
                  </a:lnTo>
                  <a:lnTo>
                    <a:pt x="704" y="591"/>
                  </a:lnTo>
                  <a:lnTo>
                    <a:pt x="710" y="592"/>
                  </a:lnTo>
                  <a:lnTo>
                    <a:pt x="718" y="593"/>
                  </a:lnTo>
                  <a:lnTo>
                    <a:pt x="727" y="593"/>
                  </a:lnTo>
                  <a:lnTo>
                    <a:pt x="745" y="594"/>
                  </a:lnTo>
                  <a:lnTo>
                    <a:pt x="755" y="594"/>
                  </a:lnTo>
                  <a:lnTo>
                    <a:pt x="768" y="580"/>
                  </a:lnTo>
                  <a:lnTo>
                    <a:pt x="769" y="565"/>
                  </a:lnTo>
                  <a:lnTo>
                    <a:pt x="770" y="548"/>
                  </a:lnTo>
                  <a:lnTo>
                    <a:pt x="772" y="532"/>
                  </a:lnTo>
                  <a:lnTo>
                    <a:pt x="776" y="514"/>
                  </a:lnTo>
                  <a:lnTo>
                    <a:pt x="778" y="496"/>
                  </a:lnTo>
                  <a:lnTo>
                    <a:pt x="780" y="479"/>
                  </a:lnTo>
                  <a:lnTo>
                    <a:pt x="782" y="462"/>
                  </a:lnTo>
                  <a:lnTo>
                    <a:pt x="782" y="448"/>
                  </a:lnTo>
                  <a:lnTo>
                    <a:pt x="793" y="442"/>
                  </a:lnTo>
                  <a:lnTo>
                    <a:pt x="793" y="439"/>
                  </a:lnTo>
                  <a:lnTo>
                    <a:pt x="794" y="433"/>
                  </a:lnTo>
                  <a:lnTo>
                    <a:pt x="796" y="427"/>
                  </a:lnTo>
                  <a:lnTo>
                    <a:pt x="798" y="420"/>
                  </a:lnTo>
                  <a:lnTo>
                    <a:pt x="801" y="414"/>
                  </a:lnTo>
                  <a:lnTo>
                    <a:pt x="806" y="410"/>
                  </a:lnTo>
                  <a:lnTo>
                    <a:pt x="810" y="407"/>
                  </a:lnTo>
                  <a:lnTo>
                    <a:pt x="816" y="405"/>
                  </a:lnTo>
                  <a:lnTo>
                    <a:pt x="816" y="402"/>
                  </a:lnTo>
                  <a:lnTo>
                    <a:pt x="818" y="399"/>
                  </a:lnTo>
                  <a:lnTo>
                    <a:pt x="822" y="397"/>
                  </a:lnTo>
                  <a:lnTo>
                    <a:pt x="825" y="395"/>
                  </a:lnTo>
                  <a:lnTo>
                    <a:pt x="826" y="394"/>
                  </a:lnTo>
                  <a:lnTo>
                    <a:pt x="828" y="392"/>
                  </a:lnTo>
                  <a:lnTo>
                    <a:pt x="832" y="389"/>
                  </a:lnTo>
                  <a:lnTo>
                    <a:pt x="835" y="386"/>
                  </a:lnTo>
                  <a:lnTo>
                    <a:pt x="843" y="383"/>
                  </a:lnTo>
                  <a:lnTo>
                    <a:pt x="848" y="382"/>
                  </a:lnTo>
                  <a:lnTo>
                    <a:pt x="851" y="380"/>
                  </a:lnTo>
                  <a:lnTo>
                    <a:pt x="854" y="374"/>
                  </a:lnTo>
                  <a:lnTo>
                    <a:pt x="858" y="370"/>
                  </a:lnTo>
                  <a:lnTo>
                    <a:pt x="863" y="368"/>
                  </a:lnTo>
                  <a:lnTo>
                    <a:pt x="864" y="363"/>
                  </a:lnTo>
                  <a:lnTo>
                    <a:pt x="866" y="359"/>
                  </a:lnTo>
                  <a:lnTo>
                    <a:pt x="868" y="354"/>
                  </a:lnTo>
                  <a:lnTo>
                    <a:pt x="872" y="349"/>
                  </a:lnTo>
                  <a:lnTo>
                    <a:pt x="875" y="343"/>
                  </a:lnTo>
                  <a:lnTo>
                    <a:pt x="878" y="338"/>
                  </a:lnTo>
                  <a:lnTo>
                    <a:pt x="881" y="334"/>
                  </a:lnTo>
                  <a:lnTo>
                    <a:pt x="882" y="330"/>
                  </a:lnTo>
                  <a:lnTo>
                    <a:pt x="885" y="328"/>
                  </a:lnTo>
                  <a:lnTo>
                    <a:pt x="889" y="325"/>
                  </a:lnTo>
                  <a:lnTo>
                    <a:pt x="891" y="322"/>
                  </a:lnTo>
                  <a:lnTo>
                    <a:pt x="891" y="321"/>
                  </a:lnTo>
                  <a:lnTo>
                    <a:pt x="894" y="320"/>
                  </a:lnTo>
                  <a:lnTo>
                    <a:pt x="900" y="317"/>
                  </a:lnTo>
                  <a:lnTo>
                    <a:pt x="906" y="313"/>
                  </a:lnTo>
                  <a:lnTo>
                    <a:pt x="915" y="307"/>
                  </a:lnTo>
                  <a:lnTo>
                    <a:pt x="933" y="295"/>
                  </a:lnTo>
                  <a:lnTo>
                    <a:pt x="953" y="279"/>
                  </a:lnTo>
                  <a:lnTo>
                    <a:pt x="973" y="264"/>
                  </a:lnTo>
                  <a:lnTo>
                    <a:pt x="990" y="249"/>
                  </a:lnTo>
                  <a:lnTo>
                    <a:pt x="1004" y="237"/>
                  </a:lnTo>
                  <a:lnTo>
                    <a:pt x="1009" y="230"/>
                  </a:lnTo>
                  <a:lnTo>
                    <a:pt x="1012" y="230"/>
                  </a:lnTo>
                  <a:lnTo>
                    <a:pt x="1017" y="228"/>
                  </a:lnTo>
                  <a:lnTo>
                    <a:pt x="1022" y="226"/>
                  </a:lnTo>
                  <a:lnTo>
                    <a:pt x="1027" y="224"/>
                  </a:lnTo>
                  <a:lnTo>
                    <a:pt x="1030" y="220"/>
                  </a:lnTo>
                  <a:lnTo>
                    <a:pt x="1034" y="217"/>
                  </a:lnTo>
                  <a:lnTo>
                    <a:pt x="1036" y="215"/>
                  </a:lnTo>
                  <a:lnTo>
                    <a:pt x="1037" y="212"/>
                  </a:lnTo>
                  <a:lnTo>
                    <a:pt x="1059" y="211"/>
                  </a:lnTo>
                  <a:lnTo>
                    <a:pt x="1083" y="210"/>
                  </a:lnTo>
                  <a:lnTo>
                    <a:pt x="1108" y="209"/>
                  </a:lnTo>
                  <a:lnTo>
                    <a:pt x="1134" y="207"/>
                  </a:lnTo>
                  <a:lnTo>
                    <a:pt x="1160" y="206"/>
                  </a:lnTo>
                  <a:lnTo>
                    <a:pt x="1184" y="203"/>
                  </a:lnTo>
                  <a:lnTo>
                    <a:pt x="1208" y="203"/>
                  </a:lnTo>
                  <a:lnTo>
                    <a:pt x="1230" y="202"/>
                  </a:lnTo>
                  <a:lnTo>
                    <a:pt x="1231" y="199"/>
                  </a:lnTo>
                  <a:lnTo>
                    <a:pt x="1233" y="196"/>
                  </a:lnTo>
                  <a:lnTo>
                    <a:pt x="1237" y="192"/>
                  </a:lnTo>
                  <a:lnTo>
                    <a:pt x="1240" y="190"/>
                  </a:lnTo>
                  <a:lnTo>
                    <a:pt x="1248" y="186"/>
                  </a:lnTo>
                  <a:lnTo>
                    <a:pt x="1254" y="183"/>
                  </a:lnTo>
                  <a:lnTo>
                    <a:pt x="1259" y="174"/>
                  </a:lnTo>
                  <a:lnTo>
                    <a:pt x="1275" y="164"/>
                  </a:lnTo>
                  <a:lnTo>
                    <a:pt x="1287" y="155"/>
                  </a:lnTo>
                  <a:lnTo>
                    <a:pt x="1287" y="145"/>
                  </a:lnTo>
                  <a:lnTo>
                    <a:pt x="1288" y="145"/>
                  </a:lnTo>
                  <a:lnTo>
                    <a:pt x="1289" y="144"/>
                  </a:lnTo>
                  <a:lnTo>
                    <a:pt x="1290" y="143"/>
                  </a:lnTo>
                  <a:lnTo>
                    <a:pt x="1292" y="141"/>
                  </a:lnTo>
                  <a:lnTo>
                    <a:pt x="1292" y="136"/>
                  </a:lnTo>
                  <a:lnTo>
                    <a:pt x="1292" y="132"/>
                  </a:lnTo>
                  <a:lnTo>
                    <a:pt x="1295" y="129"/>
                  </a:lnTo>
                  <a:lnTo>
                    <a:pt x="1299" y="125"/>
                  </a:lnTo>
                  <a:lnTo>
                    <a:pt x="1303" y="123"/>
                  </a:lnTo>
                  <a:lnTo>
                    <a:pt x="1306" y="122"/>
                  </a:lnTo>
                  <a:lnTo>
                    <a:pt x="1307" y="116"/>
                  </a:lnTo>
                  <a:lnTo>
                    <a:pt x="1309" y="110"/>
                  </a:lnTo>
                  <a:lnTo>
                    <a:pt x="1312" y="103"/>
                  </a:lnTo>
                  <a:lnTo>
                    <a:pt x="1315" y="96"/>
                  </a:lnTo>
                  <a:lnTo>
                    <a:pt x="1318" y="88"/>
                  </a:lnTo>
                  <a:lnTo>
                    <a:pt x="1322" y="81"/>
                  </a:lnTo>
                  <a:lnTo>
                    <a:pt x="1324" y="73"/>
                  </a:lnTo>
                  <a:lnTo>
                    <a:pt x="1325" y="66"/>
                  </a:lnTo>
                  <a:lnTo>
                    <a:pt x="1329" y="61"/>
                  </a:lnTo>
                  <a:lnTo>
                    <a:pt x="1338" y="61"/>
                  </a:lnTo>
                  <a:lnTo>
                    <a:pt x="1348" y="61"/>
                  </a:lnTo>
                  <a:lnTo>
                    <a:pt x="1350" y="58"/>
                  </a:lnTo>
                  <a:lnTo>
                    <a:pt x="1352" y="57"/>
                  </a:lnTo>
                  <a:lnTo>
                    <a:pt x="1354" y="56"/>
                  </a:lnTo>
                  <a:lnTo>
                    <a:pt x="1357" y="56"/>
                  </a:lnTo>
                  <a:lnTo>
                    <a:pt x="1362" y="53"/>
                  </a:lnTo>
                  <a:lnTo>
                    <a:pt x="1366" y="49"/>
                  </a:lnTo>
                  <a:lnTo>
                    <a:pt x="1371" y="46"/>
                  </a:lnTo>
                  <a:lnTo>
                    <a:pt x="1372" y="43"/>
                  </a:lnTo>
                  <a:lnTo>
                    <a:pt x="1381" y="43"/>
                  </a:lnTo>
                  <a:lnTo>
                    <a:pt x="1383" y="41"/>
                  </a:lnTo>
                  <a:lnTo>
                    <a:pt x="1386" y="35"/>
                  </a:lnTo>
                  <a:lnTo>
                    <a:pt x="1391" y="30"/>
                  </a:lnTo>
                  <a:lnTo>
                    <a:pt x="1395" y="28"/>
                  </a:lnTo>
                  <a:lnTo>
                    <a:pt x="1395" y="18"/>
                  </a:lnTo>
                  <a:lnTo>
                    <a:pt x="1402" y="11"/>
                  </a:lnTo>
                  <a:lnTo>
                    <a:pt x="1410" y="5"/>
                  </a:lnTo>
                  <a:lnTo>
                    <a:pt x="1429" y="5"/>
                  </a:lnTo>
                  <a:lnTo>
                    <a:pt x="1429" y="3"/>
                  </a:lnTo>
                  <a:lnTo>
                    <a:pt x="1431" y="1"/>
                  </a:lnTo>
                  <a:lnTo>
                    <a:pt x="1433" y="1"/>
                  </a:lnTo>
                  <a:lnTo>
                    <a:pt x="1436" y="0"/>
                  </a:lnTo>
                  <a:lnTo>
                    <a:pt x="1443" y="0"/>
                  </a:lnTo>
                  <a:lnTo>
                    <a:pt x="1452" y="1"/>
                  </a:lnTo>
                  <a:lnTo>
                    <a:pt x="1470" y="4"/>
                  </a:lnTo>
                  <a:lnTo>
                    <a:pt x="1480" y="5"/>
                  </a:lnTo>
                  <a:lnTo>
                    <a:pt x="1485" y="8"/>
                  </a:lnTo>
                  <a:lnTo>
                    <a:pt x="1491" y="13"/>
                  </a:lnTo>
                  <a:lnTo>
                    <a:pt x="1499" y="16"/>
                  </a:lnTo>
                  <a:lnTo>
                    <a:pt x="1507" y="19"/>
                  </a:lnTo>
                  <a:lnTo>
                    <a:pt x="1515" y="23"/>
                  </a:lnTo>
                  <a:lnTo>
                    <a:pt x="1524" y="26"/>
                  </a:lnTo>
                  <a:lnTo>
                    <a:pt x="1530" y="27"/>
                  </a:lnTo>
                  <a:lnTo>
                    <a:pt x="1537" y="28"/>
                  </a:lnTo>
                  <a:lnTo>
                    <a:pt x="1539" y="32"/>
                  </a:lnTo>
                  <a:lnTo>
                    <a:pt x="1542" y="34"/>
                  </a:lnTo>
                  <a:lnTo>
                    <a:pt x="1545" y="37"/>
                  </a:lnTo>
                  <a:lnTo>
                    <a:pt x="1549" y="38"/>
                  </a:lnTo>
                  <a:lnTo>
                    <a:pt x="1557" y="42"/>
                  </a:lnTo>
                  <a:lnTo>
                    <a:pt x="1565" y="43"/>
                  </a:lnTo>
                  <a:lnTo>
                    <a:pt x="1565" y="52"/>
                  </a:lnTo>
                  <a:lnTo>
                    <a:pt x="1568" y="53"/>
                  </a:lnTo>
                  <a:lnTo>
                    <a:pt x="1572" y="57"/>
                  </a:lnTo>
                  <a:lnTo>
                    <a:pt x="1574" y="62"/>
                  </a:lnTo>
                  <a:lnTo>
                    <a:pt x="1575" y="66"/>
                  </a:lnTo>
                  <a:lnTo>
                    <a:pt x="1584" y="71"/>
                  </a:lnTo>
                  <a:lnTo>
                    <a:pt x="1588" y="75"/>
                  </a:lnTo>
                  <a:lnTo>
                    <a:pt x="1590" y="81"/>
                  </a:lnTo>
                  <a:lnTo>
                    <a:pt x="1592" y="86"/>
                  </a:lnTo>
                  <a:lnTo>
                    <a:pt x="1593" y="90"/>
                  </a:lnTo>
                  <a:lnTo>
                    <a:pt x="1595" y="92"/>
                  </a:lnTo>
                  <a:lnTo>
                    <a:pt x="1596" y="93"/>
                  </a:lnTo>
                  <a:lnTo>
                    <a:pt x="1599" y="94"/>
                  </a:lnTo>
                  <a:lnTo>
                    <a:pt x="1600" y="105"/>
                  </a:lnTo>
                  <a:lnTo>
                    <a:pt x="1603" y="119"/>
                  </a:lnTo>
                  <a:lnTo>
                    <a:pt x="1607" y="132"/>
                  </a:lnTo>
                  <a:lnTo>
                    <a:pt x="1612" y="145"/>
                  </a:lnTo>
                  <a:lnTo>
                    <a:pt x="1617" y="159"/>
                  </a:lnTo>
                  <a:lnTo>
                    <a:pt x="1622" y="171"/>
                  </a:lnTo>
                  <a:lnTo>
                    <a:pt x="1625" y="183"/>
                  </a:lnTo>
                  <a:lnTo>
                    <a:pt x="1626" y="193"/>
                  </a:lnTo>
                  <a:lnTo>
                    <a:pt x="1631" y="199"/>
                  </a:lnTo>
                  <a:lnTo>
                    <a:pt x="1636" y="207"/>
                  </a:lnTo>
                  <a:lnTo>
                    <a:pt x="1643" y="216"/>
                  </a:lnTo>
                  <a:lnTo>
                    <a:pt x="1650" y="221"/>
                  </a:lnTo>
                  <a:lnTo>
                    <a:pt x="1650" y="226"/>
                  </a:lnTo>
                  <a:lnTo>
                    <a:pt x="1651" y="229"/>
                  </a:lnTo>
                  <a:lnTo>
                    <a:pt x="1652" y="232"/>
                  </a:lnTo>
                  <a:lnTo>
                    <a:pt x="1653" y="235"/>
                  </a:lnTo>
                  <a:lnTo>
                    <a:pt x="1658" y="237"/>
                  </a:lnTo>
                  <a:lnTo>
                    <a:pt x="1664" y="240"/>
                  </a:lnTo>
                  <a:lnTo>
                    <a:pt x="1667" y="247"/>
                  </a:lnTo>
                  <a:lnTo>
                    <a:pt x="1669" y="255"/>
                  </a:lnTo>
                  <a:lnTo>
                    <a:pt x="1683" y="259"/>
                  </a:lnTo>
                  <a:lnTo>
                    <a:pt x="1697" y="264"/>
                  </a:lnTo>
                  <a:lnTo>
                    <a:pt x="1700" y="268"/>
                  </a:lnTo>
                  <a:lnTo>
                    <a:pt x="1702" y="273"/>
                  </a:lnTo>
                  <a:lnTo>
                    <a:pt x="1716" y="273"/>
                  </a:lnTo>
                  <a:lnTo>
                    <a:pt x="1717" y="276"/>
                  </a:lnTo>
                  <a:lnTo>
                    <a:pt x="1719" y="277"/>
                  </a:lnTo>
                  <a:lnTo>
                    <a:pt x="1722" y="278"/>
                  </a:lnTo>
                  <a:lnTo>
                    <a:pt x="1726" y="278"/>
                  </a:lnTo>
                  <a:lnTo>
                    <a:pt x="1730" y="283"/>
                  </a:lnTo>
                  <a:lnTo>
                    <a:pt x="1735" y="292"/>
                  </a:lnTo>
                  <a:lnTo>
                    <a:pt x="1738" y="293"/>
                  </a:lnTo>
                  <a:lnTo>
                    <a:pt x="1741" y="294"/>
                  </a:lnTo>
                  <a:lnTo>
                    <a:pt x="1744" y="296"/>
                  </a:lnTo>
                  <a:lnTo>
                    <a:pt x="1747" y="298"/>
                  </a:lnTo>
                  <a:lnTo>
                    <a:pt x="1751" y="304"/>
                  </a:lnTo>
                  <a:lnTo>
                    <a:pt x="1756" y="311"/>
                  </a:lnTo>
                  <a:lnTo>
                    <a:pt x="1759" y="317"/>
                  </a:lnTo>
                  <a:lnTo>
                    <a:pt x="1764" y="324"/>
                  </a:lnTo>
                  <a:lnTo>
                    <a:pt x="1766" y="326"/>
                  </a:lnTo>
                  <a:lnTo>
                    <a:pt x="1768" y="328"/>
                  </a:lnTo>
                  <a:lnTo>
                    <a:pt x="1770" y="330"/>
                  </a:lnTo>
                  <a:lnTo>
                    <a:pt x="1773" y="330"/>
                  </a:lnTo>
                  <a:lnTo>
                    <a:pt x="1774" y="346"/>
                  </a:lnTo>
                  <a:lnTo>
                    <a:pt x="1777" y="365"/>
                  </a:lnTo>
                  <a:lnTo>
                    <a:pt x="1780" y="386"/>
                  </a:lnTo>
                  <a:lnTo>
                    <a:pt x="1782" y="405"/>
                  </a:lnTo>
                  <a:lnTo>
                    <a:pt x="1777" y="410"/>
                  </a:lnTo>
                  <a:lnTo>
                    <a:pt x="1768" y="414"/>
                  </a:lnTo>
                  <a:lnTo>
                    <a:pt x="1764" y="424"/>
                  </a:lnTo>
                  <a:lnTo>
                    <a:pt x="1758" y="433"/>
                  </a:lnTo>
                  <a:lnTo>
                    <a:pt x="1749" y="438"/>
                  </a:lnTo>
                  <a:lnTo>
                    <a:pt x="1749" y="448"/>
                  </a:lnTo>
                  <a:lnTo>
                    <a:pt x="1739" y="452"/>
                  </a:lnTo>
                  <a:lnTo>
                    <a:pt x="1735" y="474"/>
                  </a:lnTo>
                  <a:lnTo>
                    <a:pt x="1726" y="510"/>
                  </a:lnTo>
                  <a:lnTo>
                    <a:pt x="1721" y="529"/>
                  </a:lnTo>
                  <a:lnTo>
                    <a:pt x="1720" y="545"/>
                  </a:lnTo>
                  <a:lnTo>
                    <a:pt x="1720" y="552"/>
                  </a:lnTo>
                  <a:lnTo>
                    <a:pt x="1720" y="556"/>
                  </a:lnTo>
                  <a:lnTo>
                    <a:pt x="1721" y="558"/>
                  </a:lnTo>
                  <a:lnTo>
                    <a:pt x="1722" y="559"/>
                  </a:lnTo>
                  <a:lnTo>
                    <a:pt x="1724" y="561"/>
                  </a:lnTo>
                  <a:lnTo>
                    <a:pt x="1726" y="561"/>
                  </a:lnTo>
                  <a:lnTo>
                    <a:pt x="1726" y="575"/>
                  </a:lnTo>
                  <a:lnTo>
                    <a:pt x="1730" y="580"/>
                  </a:lnTo>
                  <a:lnTo>
                    <a:pt x="1739" y="584"/>
                  </a:lnTo>
                  <a:lnTo>
                    <a:pt x="1739" y="594"/>
                  </a:lnTo>
                  <a:lnTo>
                    <a:pt x="1750" y="605"/>
                  </a:lnTo>
                  <a:lnTo>
                    <a:pt x="1758" y="613"/>
                  </a:lnTo>
                  <a:lnTo>
                    <a:pt x="1764" y="622"/>
                  </a:lnTo>
                  <a:lnTo>
                    <a:pt x="1765" y="632"/>
                  </a:lnTo>
                  <a:lnTo>
                    <a:pt x="1768" y="645"/>
                  </a:lnTo>
                  <a:lnTo>
                    <a:pt x="1774" y="660"/>
                  </a:lnTo>
                  <a:lnTo>
                    <a:pt x="1779" y="677"/>
                  </a:lnTo>
                  <a:lnTo>
                    <a:pt x="1786" y="695"/>
                  </a:lnTo>
                  <a:lnTo>
                    <a:pt x="1791" y="712"/>
                  </a:lnTo>
                  <a:lnTo>
                    <a:pt x="1795" y="731"/>
                  </a:lnTo>
                  <a:lnTo>
                    <a:pt x="1796" y="749"/>
                  </a:lnTo>
                  <a:lnTo>
                    <a:pt x="1795" y="769"/>
                  </a:lnTo>
                  <a:lnTo>
                    <a:pt x="1793" y="807"/>
                  </a:lnTo>
                  <a:lnTo>
                    <a:pt x="1792" y="827"/>
                  </a:lnTo>
                  <a:lnTo>
                    <a:pt x="1793" y="845"/>
                  </a:lnTo>
                  <a:lnTo>
                    <a:pt x="1793" y="852"/>
                  </a:lnTo>
                  <a:lnTo>
                    <a:pt x="1794" y="857"/>
                  </a:lnTo>
                  <a:lnTo>
                    <a:pt x="1795" y="861"/>
                  </a:lnTo>
                  <a:lnTo>
                    <a:pt x="1796" y="862"/>
                  </a:lnTo>
                  <a:lnTo>
                    <a:pt x="1796" y="933"/>
                  </a:lnTo>
                  <a:lnTo>
                    <a:pt x="1792" y="938"/>
                  </a:lnTo>
                  <a:lnTo>
                    <a:pt x="1773" y="938"/>
                  </a:lnTo>
                  <a:lnTo>
                    <a:pt x="1755" y="936"/>
                  </a:lnTo>
                  <a:lnTo>
                    <a:pt x="1746" y="934"/>
                  </a:lnTo>
                  <a:lnTo>
                    <a:pt x="1738" y="932"/>
                  </a:lnTo>
                  <a:lnTo>
                    <a:pt x="1731" y="928"/>
                  </a:lnTo>
                  <a:lnTo>
                    <a:pt x="1726" y="923"/>
                  </a:lnTo>
                  <a:lnTo>
                    <a:pt x="1719" y="923"/>
                  </a:lnTo>
                  <a:lnTo>
                    <a:pt x="1710" y="921"/>
                  </a:lnTo>
                  <a:lnTo>
                    <a:pt x="1701" y="919"/>
                  </a:lnTo>
                  <a:lnTo>
                    <a:pt x="1691" y="915"/>
                  </a:lnTo>
                  <a:lnTo>
                    <a:pt x="1681" y="912"/>
                  </a:lnTo>
                  <a:lnTo>
                    <a:pt x="1672" y="908"/>
                  </a:lnTo>
                  <a:lnTo>
                    <a:pt x="1664" y="903"/>
                  </a:lnTo>
                  <a:lnTo>
                    <a:pt x="1660" y="900"/>
                  </a:lnTo>
                  <a:lnTo>
                    <a:pt x="1652" y="900"/>
                  </a:lnTo>
                  <a:lnTo>
                    <a:pt x="1645" y="899"/>
                  </a:lnTo>
                  <a:lnTo>
                    <a:pt x="1643" y="898"/>
                  </a:lnTo>
                  <a:lnTo>
                    <a:pt x="1640" y="897"/>
                  </a:lnTo>
                  <a:lnTo>
                    <a:pt x="1638" y="893"/>
                  </a:lnTo>
                  <a:lnTo>
                    <a:pt x="1636" y="891"/>
                  </a:lnTo>
                  <a:lnTo>
                    <a:pt x="1629" y="890"/>
                  </a:lnTo>
                  <a:lnTo>
                    <a:pt x="1623" y="888"/>
                  </a:lnTo>
                  <a:lnTo>
                    <a:pt x="1621" y="886"/>
                  </a:lnTo>
                  <a:lnTo>
                    <a:pt x="1619" y="884"/>
                  </a:lnTo>
                  <a:lnTo>
                    <a:pt x="1617" y="883"/>
                  </a:lnTo>
                  <a:lnTo>
                    <a:pt x="1617" y="881"/>
                  </a:lnTo>
                  <a:lnTo>
                    <a:pt x="1607" y="880"/>
                  </a:lnTo>
                  <a:lnTo>
                    <a:pt x="1595" y="878"/>
                  </a:lnTo>
                  <a:lnTo>
                    <a:pt x="1588" y="875"/>
                  </a:lnTo>
                  <a:lnTo>
                    <a:pt x="1584" y="873"/>
                  </a:lnTo>
                  <a:lnTo>
                    <a:pt x="1581" y="871"/>
                  </a:lnTo>
                  <a:lnTo>
                    <a:pt x="1580" y="868"/>
                  </a:lnTo>
                  <a:lnTo>
                    <a:pt x="1565" y="868"/>
                  </a:lnTo>
                  <a:lnTo>
                    <a:pt x="1547" y="861"/>
                  </a:lnTo>
                  <a:lnTo>
                    <a:pt x="1527" y="856"/>
                  </a:lnTo>
                  <a:lnTo>
                    <a:pt x="1506" y="854"/>
                  </a:lnTo>
                  <a:lnTo>
                    <a:pt x="1485" y="853"/>
                  </a:lnTo>
                  <a:lnTo>
                    <a:pt x="1481" y="850"/>
                  </a:lnTo>
                  <a:lnTo>
                    <a:pt x="1478" y="847"/>
                  </a:lnTo>
                  <a:lnTo>
                    <a:pt x="1473" y="846"/>
                  </a:lnTo>
                  <a:lnTo>
                    <a:pt x="1469" y="845"/>
                  </a:lnTo>
                  <a:lnTo>
                    <a:pt x="1461" y="844"/>
                  </a:lnTo>
                  <a:lnTo>
                    <a:pt x="1452" y="843"/>
                  </a:lnTo>
                  <a:lnTo>
                    <a:pt x="1443" y="843"/>
                  </a:lnTo>
                  <a:lnTo>
                    <a:pt x="1434" y="842"/>
                  </a:lnTo>
                  <a:lnTo>
                    <a:pt x="1431" y="841"/>
                  </a:lnTo>
                  <a:lnTo>
                    <a:pt x="1427" y="840"/>
                  </a:lnTo>
                  <a:lnTo>
                    <a:pt x="1423" y="837"/>
                  </a:lnTo>
                  <a:lnTo>
                    <a:pt x="1419" y="834"/>
                  </a:lnTo>
                  <a:lnTo>
                    <a:pt x="1405" y="833"/>
                  </a:lnTo>
                  <a:lnTo>
                    <a:pt x="1391" y="831"/>
                  </a:lnTo>
                  <a:lnTo>
                    <a:pt x="1379" y="828"/>
                  </a:lnTo>
                  <a:lnTo>
                    <a:pt x="1367" y="825"/>
                  </a:lnTo>
                  <a:lnTo>
                    <a:pt x="1348" y="825"/>
                  </a:lnTo>
                  <a:lnTo>
                    <a:pt x="1342" y="822"/>
                  </a:lnTo>
                  <a:lnTo>
                    <a:pt x="1334" y="820"/>
                  </a:lnTo>
                  <a:lnTo>
                    <a:pt x="1325" y="809"/>
                  </a:lnTo>
                  <a:lnTo>
                    <a:pt x="1315" y="796"/>
                  </a:lnTo>
                  <a:lnTo>
                    <a:pt x="1304" y="792"/>
                  </a:lnTo>
                  <a:lnTo>
                    <a:pt x="1292" y="787"/>
                  </a:lnTo>
                  <a:lnTo>
                    <a:pt x="1287" y="777"/>
                  </a:lnTo>
                  <a:lnTo>
                    <a:pt x="1278" y="773"/>
                  </a:lnTo>
                  <a:lnTo>
                    <a:pt x="1274" y="766"/>
                  </a:lnTo>
                  <a:lnTo>
                    <a:pt x="1265" y="755"/>
                  </a:lnTo>
                  <a:lnTo>
                    <a:pt x="1256" y="745"/>
                  </a:lnTo>
                  <a:lnTo>
                    <a:pt x="1249" y="740"/>
                  </a:lnTo>
                  <a:lnTo>
                    <a:pt x="1245" y="735"/>
                  </a:lnTo>
                  <a:lnTo>
                    <a:pt x="1240" y="726"/>
                  </a:lnTo>
                  <a:lnTo>
                    <a:pt x="1230" y="726"/>
                  </a:lnTo>
                  <a:lnTo>
                    <a:pt x="1226" y="716"/>
                  </a:lnTo>
                  <a:lnTo>
                    <a:pt x="1221" y="716"/>
                  </a:lnTo>
                  <a:lnTo>
                    <a:pt x="1217" y="713"/>
                  </a:lnTo>
                  <a:lnTo>
                    <a:pt x="1211" y="710"/>
                  </a:lnTo>
                  <a:lnTo>
                    <a:pt x="1206" y="706"/>
                  </a:lnTo>
                  <a:lnTo>
                    <a:pt x="1200" y="701"/>
                  </a:lnTo>
                  <a:lnTo>
                    <a:pt x="1194" y="697"/>
                  </a:lnTo>
                  <a:lnTo>
                    <a:pt x="1191" y="692"/>
                  </a:lnTo>
                  <a:lnTo>
                    <a:pt x="1188" y="688"/>
                  </a:lnTo>
                  <a:lnTo>
                    <a:pt x="1183" y="688"/>
                  </a:lnTo>
                  <a:lnTo>
                    <a:pt x="1177" y="688"/>
                  </a:lnTo>
                  <a:lnTo>
                    <a:pt x="1174" y="687"/>
                  </a:lnTo>
                  <a:lnTo>
                    <a:pt x="1171" y="686"/>
                  </a:lnTo>
                  <a:lnTo>
                    <a:pt x="1170" y="684"/>
                  </a:lnTo>
                  <a:lnTo>
                    <a:pt x="1169" y="683"/>
                  </a:lnTo>
                  <a:lnTo>
                    <a:pt x="1113" y="683"/>
                  </a:lnTo>
                  <a:lnTo>
                    <a:pt x="1101" y="689"/>
                  </a:lnTo>
                  <a:lnTo>
                    <a:pt x="1084" y="697"/>
                  </a:lnTo>
                  <a:lnTo>
                    <a:pt x="1067" y="703"/>
                  </a:lnTo>
                  <a:lnTo>
                    <a:pt x="1056" y="707"/>
                  </a:lnTo>
                  <a:lnTo>
                    <a:pt x="1054" y="713"/>
                  </a:lnTo>
                  <a:lnTo>
                    <a:pt x="1052" y="721"/>
                  </a:lnTo>
                  <a:lnTo>
                    <a:pt x="1041" y="721"/>
                  </a:lnTo>
                  <a:lnTo>
                    <a:pt x="1039" y="726"/>
                  </a:lnTo>
                  <a:lnTo>
                    <a:pt x="1037" y="730"/>
                  </a:lnTo>
                  <a:lnTo>
                    <a:pt x="1030" y="731"/>
                  </a:lnTo>
                  <a:lnTo>
                    <a:pt x="1024" y="735"/>
                  </a:lnTo>
                  <a:lnTo>
                    <a:pt x="1018" y="738"/>
                  </a:lnTo>
                  <a:lnTo>
                    <a:pt x="1011" y="744"/>
                  </a:lnTo>
                  <a:lnTo>
                    <a:pt x="1001" y="756"/>
                  </a:lnTo>
                  <a:lnTo>
                    <a:pt x="990" y="768"/>
                  </a:lnTo>
                  <a:lnTo>
                    <a:pt x="981" y="768"/>
                  </a:lnTo>
                  <a:lnTo>
                    <a:pt x="976" y="773"/>
                  </a:lnTo>
                  <a:lnTo>
                    <a:pt x="971" y="783"/>
                  </a:lnTo>
                  <a:lnTo>
                    <a:pt x="967" y="784"/>
                  </a:lnTo>
                  <a:lnTo>
                    <a:pt x="960" y="787"/>
                  </a:lnTo>
                  <a:lnTo>
                    <a:pt x="954" y="792"/>
                  </a:lnTo>
                  <a:lnTo>
                    <a:pt x="952" y="796"/>
                  </a:lnTo>
                  <a:lnTo>
                    <a:pt x="948" y="797"/>
                  </a:lnTo>
                  <a:lnTo>
                    <a:pt x="942" y="801"/>
                  </a:lnTo>
                  <a:lnTo>
                    <a:pt x="937" y="804"/>
                  </a:lnTo>
                  <a:lnTo>
                    <a:pt x="930" y="808"/>
                  </a:lnTo>
                  <a:lnTo>
                    <a:pt x="924" y="814"/>
                  </a:lnTo>
                  <a:lnTo>
                    <a:pt x="919" y="818"/>
                  </a:lnTo>
                  <a:lnTo>
                    <a:pt x="915" y="822"/>
                  </a:lnTo>
                  <a:lnTo>
                    <a:pt x="914" y="825"/>
                  </a:lnTo>
                  <a:lnTo>
                    <a:pt x="902" y="831"/>
                  </a:lnTo>
                  <a:lnTo>
                    <a:pt x="886" y="841"/>
                  </a:lnTo>
                  <a:lnTo>
                    <a:pt x="870" y="854"/>
                  </a:lnTo>
                  <a:lnTo>
                    <a:pt x="852" y="871"/>
                  </a:lnTo>
                  <a:lnTo>
                    <a:pt x="844" y="879"/>
                  </a:lnTo>
                  <a:lnTo>
                    <a:pt x="836" y="888"/>
                  </a:lnTo>
                  <a:lnTo>
                    <a:pt x="829" y="897"/>
                  </a:lnTo>
                  <a:lnTo>
                    <a:pt x="823" y="905"/>
                  </a:lnTo>
                  <a:lnTo>
                    <a:pt x="818" y="914"/>
                  </a:lnTo>
                  <a:lnTo>
                    <a:pt x="814" y="922"/>
                  </a:lnTo>
                  <a:lnTo>
                    <a:pt x="812" y="930"/>
                  </a:lnTo>
                  <a:lnTo>
                    <a:pt x="810" y="938"/>
                  </a:lnTo>
                  <a:lnTo>
                    <a:pt x="809" y="938"/>
                  </a:lnTo>
                  <a:lnTo>
                    <a:pt x="808" y="940"/>
                  </a:lnTo>
                  <a:lnTo>
                    <a:pt x="807" y="942"/>
                  </a:lnTo>
                  <a:lnTo>
                    <a:pt x="807" y="946"/>
                  </a:lnTo>
                  <a:lnTo>
                    <a:pt x="806" y="951"/>
                  </a:lnTo>
                  <a:lnTo>
                    <a:pt x="806" y="957"/>
                  </a:lnTo>
                  <a:lnTo>
                    <a:pt x="797" y="966"/>
                  </a:lnTo>
                  <a:lnTo>
                    <a:pt x="797" y="976"/>
                  </a:lnTo>
                  <a:lnTo>
                    <a:pt x="794" y="976"/>
                  </a:lnTo>
                  <a:lnTo>
                    <a:pt x="793" y="978"/>
                  </a:lnTo>
                  <a:lnTo>
                    <a:pt x="793" y="981"/>
                  </a:lnTo>
                  <a:lnTo>
                    <a:pt x="793" y="985"/>
                  </a:lnTo>
                  <a:lnTo>
                    <a:pt x="789" y="986"/>
                  </a:lnTo>
                  <a:lnTo>
                    <a:pt x="786" y="987"/>
                  </a:lnTo>
                  <a:lnTo>
                    <a:pt x="784" y="989"/>
                  </a:lnTo>
                  <a:lnTo>
                    <a:pt x="781" y="993"/>
                  </a:lnTo>
                  <a:lnTo>
                    <a:pt x="779" y="999"/>
                  </a:lnTo>
                  <a:lnTo>
                    <a:pt x="778" y="1004"/>
                  </a:lnTo>
                  <a:lnTo>
                    <a:pt x="775" y="1004"/>
                  </a:lnTo>
                  <a:lnTo>
                    <a:pt x="771" y="1006"/>
                  </a:lnTo>
                  <a:lnTo>
                    <a:pt x="769" y="1007"/>
                  </a:lnTo>
                  <a:lnTo>
                    <a:pt x="767" y="1009"/>
                  </a:lnTo>
                  <a:lnTo>
                    <a:pt x="765" y="1016"/>
                  </a:lnTo>
                  <a:lnTo>
                    <a:pt x="764" y="1023"/>
                  </a:lnTo>
                  <a:lnTo>
                    <a:pt x="759" y="1027"/>
                  </a:lnTo>
                  <a:lnTo>
                    <a:pt x="750" y="1032"/>
                  </a:lnTo>
                  <a:lnTo>
                    <a:pt x="749" y="1036"/>
                  </a:lnTo>
                  <a:lnTo>
                    <a:pt x="748" y="1039"/>
                  </a:lnTo>
                  <a:lnTo>
                    <a:pt x="746" y="1042"/>
                  </a:lnTo>
                  <a:lnTo>
                    <a:pt x="743" y="1045"/>
                  </a:lnTo>
                  <a:lnTo>
                    <a:pt x="738" y="1052"/>
                  </a:lnTo>
                  <a:lnTo>
                    <a:pt x="731" y="1057"/>
                  </a:lnTo>
                  <a:lnTo>
                    <a:pt x="723" y="1062"/>
                  </a:lnTo>
                  <a:lnTo>
                    <a:pt x="718" y="1066"/>
                  </a:lnTo>
                  <a:lnTo>
                    <a:pt x="713" y="1071"/>
                  </a:lnTo>
                  <a:lnTo>
                    <a:pt x="712" y="1074"/>
                  </a:lnTo>
                  <a:lnTo>
                    <a:pt x="708" y="1075"/>
                  </a:lnTo>
                  <a:lnTo>
                    <a:pt x="703" y="1075"/>
                  </a:lnTo>
                  <a:lnTo>
                    <a:pt x="701" y="1076"/>
                  </a:lnTo>
                  <a:lnTo>
                    <a:pt x="700" y="1078"/>
                  </a:lnTo>
                  <a:lnTo>
                    <a:pt x="698" y="1081"/>
                  </a:lnTo>
                  <a:lnTo>
                    <a:pt x="698" y="1084"/>
                  </a:lnTo>
                  <a:lnTo>
                    <a:pt x="694" y="1084"/>
                  </a:lnTo>
                  <a:lnTo>
                    <a:pt x="691" y="1085"/>
                  </a:lnTo>
                  <a:lnTo>
                    <a:pt x="688" y="1087"/>
                  </a:lnTo>
                  <a:lnTo>
                    <a:pt x="685" y="1090"/>
                  </a:lnTo>
                  <a:lnTo>
                    <a:pt x="681" y="1094"/>
                  </a:lnTo>
                  <a:lnTo>
                    <a:pt x="679" y="1099"/>
                  </a:lnTo>
                  <a:lnTo>
                    <a:pt x="672" y="1101"/>
                  </a:lnTo>
                  <a:lnTo>
                    <a:pt x="662" y="1105"/>
                  </a:lnTo>
                  <a:lnTo>
                    <a:pt x="652" y="1112"/>
                  </a:lnTo>
                  <a:lnTo>
                    <a:pt x="646" y="1116"/>
                  </a:lnTo>
                  <a:lnTo>
                    <a:pt x="635" y="1119"/>
                  </a:lnTo>
                  <a:lnTo>
                    <a:pt x="624" y="1122"/>
                  </a:lnTo>
                  <a:lnTo>
                    <a:pt x="613" y="1128"/>
                  </a:lnTo>
                  <a:lnTo>
                    <a:pt x="602" y="1133"/>
                  </a:lnTo>
                  <a:lnTo>
                    <a:pt x="589" y="1140"/>
                  </a:lnTo>
                  <a:lnTo>
                    <a:pt x="578" y="1144"/>
                  </a:lnTo>
                  <a:lnTo>
                    <a:pt x="567" y="1149"/>
                  </a:lnTo>
                  <a:lnTo>
                    <a:pt x="556" y="1150"/>
                  </a:lnTo>
                  <a:lnTo>
                    <a:pt x="524" y="1183"/>
                  </a:lnTo>
                  <a:lnTo>
                    <a:pt x="524" y="1192"/>
                  </a:lnTo>
                  <a:lnTo>
                    <a:pt x="513" y="1192"/>
                  </a:lnTo>
                  <a:lnTo>
                    <a:pt x="513" y="1201"/>
                  </a:lnTo>
                  <a:lnTo>
                    <a:pt x="510" y="1203"/>
                  </a:lnTo>
                  <a:lnTo>
                    <a:pt x="508" y="1207"/>
                  </a:lnTo>
                  <a:lnTo>
                    <a:pt x="506" y="1210"/>
                  </a:lnTo>
                  <a:lnTo>
                    <a:pt x="505" y="1211"/>
                  </a:lnTo>
                  <a:lnTo>
                    <a:pt x="499" y="1212"/>
                  </a:lnTo>
                  <a:lnTo>
                    <a:pt x="492" y="1217"/>
                  </a:lnTo>
                  <a:lnTo>
                    <a:pt x="486" y="1221"/>
                  </a:lnTo>
                  <a:lnTo>
                    <a:pt x="481" y="1226"/>
                  </a:lnTo>
                  <a:lnTo>
                    <a:pt x="474" y="1226"/>
                  </a:lnTo>
                  <a:lnTo>
                    <a:pt x="465" y="1227"/>
                  </a:lnTo>
                  <a:lnTo>
                    <a:pt x="460" y="1228"/>
                  </a:lnTo>
                  <a:lnTo>
                    <a:pt x="457" y="1229"/>
                  </a:lnTo>
                  <a:lnTo>
                    <a:pt x="453" y="1231"/>
                  </a:lnTo>
                  <a:lnTo>
                    <a:pt x="453" y="1235"/>
                  </a:lnTo>
                  <a:lnTo>
                    <a:pt x="411" y="1234"/>
                  </a:lnTo>
                  <a:lnTo>
                    <a:pt x="368" y="1232"/>
                  </a:lnTo>
                  <a:lnTo>
                    <a:pt x="325" y="1230"/>
                  </a:lnTo>
                  <a:lnTo>
                    <a:pt x="281" y="1228"/>
                  </a:lnTo>
                  <a:lnTo>
                    <a:pt x="239" y="1225"/>
                  </a:lnTo>
                  <a:lnTo>
                    <a:pt x="196" y="1222"/>
                  </a:lnTo>
                  <a:lnTo>
                    <a:pt x="156" y="1221"/>
                  </a:lnTo>
                  <a:lnTo>
                    <a:pt x="118" y="1220"/>
                  </a:lnTo>
                  <a:lnTo>
                    <a:pt x="113" y="1216"/>
                  </a:lnTo>
                  <a:lnTo>
                    <a:pt x="108" y="1207"/>
                  </a:lnTo>
                  <a:lnTo>
                    <a:pt x="99" y="1207"/>
                  </a:lnTo>
                  <a:lnTo>
                    <a:pt x="97" y="1203"/>
                  </a:lnTo>
                  <a:lnTo>
                    <a:pt x="95" y="1200"/>
                  </a:lnTo>
                  <a:lnTo>
                    <a:pt x="91" y="1198"/>
                  </a:lnTo>
                  <a:lnTo>
                    <a:pt x="89" y="1197"/>
                  </a:lnTo>
                  <a:lnTo>
                    <a:pt x="86" y="1191"/>
                  </a:lnTo>
                  <a:lnTo>
                    <a:pt x="78" y="1182"/>
                  </a:lnTo>
                  <a:lnTo>
                    <a:pt x="66" y="1172"/>
                  </a:lnTo>
                  <a:lnTo>
                    <a:pt x="51" y="1160"/>
                  </a:lnTo>
                  <a:lnTo>
                    <a:pt x="25" y="1138"/>
                  </a:lnTo>
                  <a:lnTo>
                    <a:pt x="10" y="1126"/>
                  </a:lnTo>
                  <a:lnTo>
                    <a:pt x="4" y="1121"/>
                  </a:lnTo>
                  <a:lnTo>
                    <a:pt x="0" y="1115"/>
                  </a:lnTo>
                  <a:lnTo>
                    <a:pt x="0" y="1115"/>
                  </a:lnTo>
                  <a:lnTo>
                    <a:pt x="12" y="1118"/>
                  </a:lnTo>
                  <a:lnTo>
                    <a:pt x="25" y="1119"/>
                  </a:lnTo>
                  <a:lnTo>
                    <a:pt x="36" y="1119"/>
                  </a:lnTo>
                  <a:lnTo>
                    <a:pt x="47" y="1116"/>
                  </a:lnTo>
                  <a:lnTo>
                    <a:pt x="51" y="1115"/>
                  </a:lnTo>
                  <a:lnTo>
                    <a:pt x="56" y="1113"/>
                  </a:lnTo>
                  <a:lnTo>
                    <a:pt x="59" y="1111"/>
                  </a:lnTo>
                  <a:lnTo>
                    <a:pt x="62" y="1107"/>
                  </a:lnTo>
                  <a:lnTo>
                    <a:pt x="66" y="1103"/>
                  </a:lnTo>
                  <a:lnTo>
                    <a:pt x="67" y="1099"/>
                  </a:lnTo>
                  <a:lnTo>
                    <a:pt x="68" y="1093"/>
                  </a:lnTo>
                  <a:lnTo>
                    <a:pt x="69" y="1086"/>
                  </a:lnTo>
                  <a:lnTo>
                    <a:pt x="70" y="1082"/>
                  </a:lnTo>
                  <a:lnTo>
                    <a:pt x="73" y="1077"/>
                  </a:lnTo>
                  <a:lnTo>
                    <a:pt x="76" y="1073"/>
                  </a:lnTo>
                  <a:lnTo>
                    <a:pt x="80" y="1067"/>
                  </a:lnTo>
                  <a:lnTo>
                    <a:pt x="93" y="1057"/>
                  </a:lnTo>
                  <a:lnTo>
                    <a:pt x="107" y="1047"/>
                  </a:lnTo>
                  <a:lnTo>
                    <a:pt x="135" y="1029"/>
                  </a:lnTo>
                  <a:lnTo>
                    <a:pt x="154" y="1019"/>
                  </a:lnTo>
                  <a:lnTo>
                    <a:pt x="171" y="1013"/>
                  </a:lnTo>
                  <a:lnTo>
                    <a:pt x="185" y="1005"/>
                  </a:lnTo>
                  <a:lnTo>
                    <a:pt x="199" y="998"/>
                  </a:lnTo>
                  <a:lnTo>
                    <a:pt x="211" y="991"/>
                  </a:lnTo>
                  <a:lnTo>
                    <a:pt x="223" y="984"/>
                  </a:lnTo>
                  <a:lnTo>
                    <a:pt x="233" y="976"/>
                  </a:lnTo>
                  <a:lnTo>
                    <a:pt x="243" y="968"/>
                  </a:lnTo>
                  <a:lnTo>
                    <a:pt x="252" y="959"/>
                  </a:lnTo>
                  <a:lnTo>
                    <a:pt x="260" y="950"/>
                  </a:lnTo>
                  <a:lnTo>
                    <a:pt x="268" y="940"/>
                  </a:lnTo>
                  <a:lnTo>
                    <a:pt x="275" y="929"/>
                  </a:lnTo>
                  <a:lnTo>
                    <a:pt x="281" y="917"/>
                  </a:lnTo>
                  <a:lnTo>
                    <a:pt x="288" y="904"/>
                  </a:lnTo>
                  <a:lnTo>
                    <a:pt x="294" y="891"/>
                  </a:lnTo>
                  <a:lnTo>
                    <a:pt x="299" y="875"/>
                  </a:lnTo>
                  <a:lnTo>
                    <a:pt x="305" y="859"/>
                  </a:lnTo>
                  <a:lnTo>
                    <a:pt x="308" y="852"/>
                  </a:lnTo>
                  <a:lnTo>
                    <a:pt x="311" y="844"/>
                  </a:lnTo>
                  <a:lnTo>
                    <a:pt x="316" y="837"/>
                  </a:lnTo>
                  <a:lnTo>
                    <a:pt x="320" y="831"/>
                  </a:lnTo>
                  <a:lnTo>
                    <a:pt x="332" y="817"/>
                  </a:lnTo>
                  <a:lnTo>
                    <a:pt x="345" y="804"/>
                  </a:lnTo>
                  <a:lnTo>
                    <a:pt x="359" y="792"/>
                  </a:lnTo>
                  <a:lnTo>
                    <a:pt x="376" y="780"/>
                  </a:lnTo>
                  <a:lnTo>
                    <a:pt x="393" y="768"/>
                  </a:lnTo>
                  <a:lnTo>
                    <a:pt x="410" y="756"/>
                  </a:lnTo>
                  <a:lnTo>
                    <a:pt x="428" y="745"/>
                  </a:lnTo>
                  <a:lnTo>
                    <a:pt x="445" y="732"/>
                  </a:lnTo>
                  <a:lnTo>
                    <a:pt x="462" y="720"/>
                  </a:lnTo>
                  <a:lnTo>
                    <a:pt x="479" y="707"/>
                  </a:lnTo>
                  <a:lnTo>
                    <a:pt x="493" y="693"/>
                  </a:lnTo>
                  <a:lnTo>
                    <a:pt x="507" y="679"/>
                  </a:lnTo>
                  <a:lnTo>
                    <a:pt x="513" y="672"/>
                  </a:lnTo>
                  <a:lnTo>
                    <a:pt x="519" y="664"/>
                  </a:lnTo>
                  <a:lnTo>
                    <a:pt x="524" y="657"/>
                  </a:lnTo>
                  <a:lnTo>
                    <a:pt x="528" y="649"/>
                  </a:lnTo>
                  <a:lnTo>
                    <a:pt x="535" y="630"/>
                  </a:lnTo>
                  <a:lnTo>
                    <a:pt x="544" y="603"/>
                  </a:lnTo>
                  <a:lnTo>
                    <a:pt x="549" y="590"/>
                  </a:lnTo>
                  <a:lnTo>
                    <a:pt x="556" y="578"/>
                  </a:lnTo>
                  <a:lnTo>
                    <a:pt x="558" y="574"/>
                  </a:lnTo>
                  <a:lnTo>
                    <a:pt x="561" y="571"/>
                  </a:lnTo>
                  <a:lnTo>
                    <a:pt x="564" y="568"/>
                  </a:lnTo>
                  <a:lnTo>
                    <a:pt x="567" y="568"/>
                  </a:lnTo>
                  <a:lnTo>
                    <a:pt x="567" y="564"/>
                  </a:lnTo>
                  <a:lnTo>
                    <a:pt x="568" y="564"/>
                  </a:lnTo>
                  <a:lnTo>
                    <a:pt x="570" y="564"/>
                  </a:lnTo>
                  <a:lnTo>
                    <a:pt x="572" y="563"/>
                  </a:lnTo>
                  <a:lnTo>
                    <a:pt x="573" y="561"/>
                  </a:lnTo>
                  <a:lnTo>
                    <a:pt x="576" y="561"/>
                  </a:lnTo>
                  <a:lnTo>
                    <a:pt x="579" y="559"/>
                  </a:lnTo>
                  <a:lnTo>
                    <a:pt x="589" y="556"/>
                  </a:lnTo>
                  <a:lnTo>
                    <a:pt x="601" y="552"/>
                  </a:lnTo>
                  <a:lnTo>
                    <a:pt x="613" y="5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2" name="Freeform 58"/>
            <p:cNvSpPr>
              <a:spLocks noChangeAspect="1"/>
            </p:cNvSpPr>
            <p:nvPr/>
          </p:nvSpPr>
          <p:spPr bwMode="gray">
            <a:xfrm rot="355651">
              <a:off x="6999332" y="2509838"/>
              <a:ext cx="261314" cy="234213"/>
            </a:xfrm>
            <a:custGeom>
              <a:avLst/>
              <a:gdLst/>
              <a:ahLst/>
              <a:cxnLst>
                <a:cxn ang="0">
                  <a:pos x="691" y="73"/>
                </a:cxn>
                <a:cxn ang="0">
                  <a:pos x="753" y="35"/>
                </a:cxn>
                <a:cxn ang="0">
                  <a:pos x="833" y="10"/>
                </a:cxn>
                <a:cxn ang="0">
                  <a:pos x="993" y="4"/>
                </a:cxn>
                <a:cxn ang="0">
                  <a:pos x="1022" y="79"/>
                </a:cxn>
                <a:cxn ang="0">
                  <a:pos x="1061" y="109"/>
                </a:cxn>
                <a:cxn ang="0">
                  <a:pos x="1227" y="153"/>
                </a:cxn>
                <a:cxn ang="0">
                  <a:pos x="1283" y="181"/>
                </a:cxn>
                <a:cxn ang="0">
                  <a:pos x="1339" y="271"/>
                </a:cxn>
                <a:cxn ang="0">
                  <a:pos x="1378" y="305"/>
                </a:cxn>
                <a:cxn ang="0">
                  <a:pos x="1383" y="369"/>
                </a:cxn>
                <a:cxn ang="0">
                  <a:pos x="1425" y="403"/>
                </a:cxn>
                <a:cxn ang="0">
                  <a:pos x="1409" y="426"/>
                </a:cxn>
                <a:cxn ang="0">
                  <a:pos x="1349" y="475"/>
                </a:cxn>
                <a:cxn ang="0">
                  <a:pos x="1297" y="544"/>
                </a:cxn>
                <a:cxn ang="0">
                  <a:pos x="1263" y="564"/>
                </a:cxn>
                <a:cxn ang="0">
                  <a:pos x="1171" y="640"/>
                </a:cxn>
                <a:cxn ang="0">
                  <a:pos x="1113" y="691"/>
                </a:cxn>
                <a:cxn ang="0">
                  <a:pos x="1094" y="738"/>
                </a:cxn>
                <a:cxn ang="0">
                  <a:pos x="1144" y="797"/>
                </a:cxn>
                <a:cxn ang="0">
                  <a:pos x="1140" y="863"/>
                </a:cxn>
                <a:cxn ang="0">
                  <a:pos x="1094" y="897"/>
                </a:cxn>
                <a:cxn ang="0">
                  <a:pos x="1081" y="959"/>
                </a:cxn>
                <a:cxn ang="0">
                  <a:pos x="1104" y="980"/>
                </a:cxn>
                <a:cxn ang="0">
                  <a:pos x="1150" y="1010"/>
                </a:cxn>
                <a:cxn ang="0">
                  <a:pos x="1157" y="1038"/>
                </a:cxn>
                <a:cxn ang="0">
                  <a:pos x="1045" y="1076"/>
                </a:cxn>
                <a:cxn ang="0">
                  <a:pos x="1000" y="1121"/>
                </a:cxn>
                <a:cxn ang="0">
                  <a:pos x="1004" y="1170"/>
                </a:cxn>
                <a:cxn ang="0">
                  <a:pos x="966" y="1236"/>
                </a:cxn>
                <a:cxn ang="0">
                  <a:pos x="864" y="1260"/>
                </a:cxn>
                <a:cxn ang="0">
                  <a:pos x="797" y="1297"/>
                </a:cxn>
                <a:cxn ang="0">
                  <a:pos x="764" y="1324"/>
                </a:cxn>
                <a:cxn ang="0">
                  <a:pos x="628" y="1426"/>
                </a:cxn>
                <a:cxn ang="0">
                  <a:pos x="581" y="1392"/>
                </a:cxn>
                <a:cxn ang="0">
                  <a:pos x="562" y="1207"/>
                </a:cxn>
                <a:cxn ang="0">
                  <a:pos x="514" y="1122"/>
                </a:cxn>
                <a:cxn ang="0">
                  <a:pos x="514" y="1057"/>
                </a:cxn>
                <a:cxn ang="0">
                  <a:pos x="570" y="952"/>
                </a:cxn>
                <a:cxn ang="0">
                  <a:pos x="547" y="864"/>
                </a:cxn>
                <a:cxn ang="0">
                  <a:pos x="514" y="825"/>
                </a:cxn>
                <a:cxn ang="0">
                  <a:pos x="457" y="802"/>
                </a:cxn>
                <a:cxn ang="0">
                  <a:pos x="431" y="763"/>
                </a:cxn>
                <a:cxn ang="0">
                  <a:pos x="391" y="666"/>
                </a:cxn>
                <a:cxn ang="0">
                  <a:pos x="372" y="618"/>
                </a:cxn>
                <a:cxn ang="0">
                  <a:pos x="333" y="584"/>
                </a:cxn>
                <a:cxn ang="0">
                  <a:pos x="279" y="560"/>
                </a:cxn>
                <a:cxn ang="0">
                  <a:pos x="217" y="550"/>
                </a:cxn>
                <a:cxn ang="0">
                  <a:pos x="169" y="590"/>
                </a:cxn>
                <a:cxn ang="0">
                  <a:pos x="136" y="608"/>
                </a:cxn>
                <a:cxn ang="0">
                  <a:pos x="97" y="657"/>
                </a:cxn>
                <a:cxn ang="0">
                  <a:pos x="78" y="690"/>
                </a:cxn>
                <a:cxn ang="0">
                  <a:pos x="28" y="737"/>
                </a:cxn>
                <a:cxn ang="0">
                  <a:pos x="6" y="723"/>
                </a:cxn>
                <a:cxn ang="0">
                  <a:pos x="7" y="523"/>
                </a:cxn>
                <a:cxn ang="0">
                  <a:pos x="107" y="418"/>
                </a:cxn>
                <a:cxn ang="0">
                  <a:pos x="227" y="381"/>
                </a:cxn>
                <a:cxn ang="0">
                  <a:pos x="314" y="263"/>
                </a:cxn>
                <a:cxn ang="0">
                  <a:pos x="432" y="207"/>
                </a:cxn>
                <a:cxn ang="0">
                  <a:pos x="510" y="166"/>
                </a:cxn>
                <a:cxn ang="0">
                  <a:pos x="624" y="101"/>
                </a:cxn>
              </a:cxnLst>
              <a:rect l="0" t="0" r="r" b="b"/>
              <a:pathLst>
                <a:path w="1425" h="1461">
                  <a:moveTo>
                    <a:pt x="624" y="98"/>
                  </a:moveTo>
                  <a:lnTo>
                    <a:pt x="637" y="99"/>
                  </a:lnTo>
                  <a:lnTo>
                    <a:pt x="649" y="99"/>
                  </a:lnTo>
                  <a:lnTo>
                    <a:pt x="661" y="100"/>
                  </a:lnTo>
                  <a:lnTo>
                    <a:pt x="675" y="100"/>
                  </a:lnTo>
                  <a:lnTo>
                    <a:pt x="680" y="95"/>
                  </a:lnTo>
                  <a:lnTo>
                    <a:pt x="680" y="85"/>
                  </a:lnTo>
                  <a:lnTo>
                    <a:pt x="689" y="81"/>
                  </a:lnTo>
                  <a:lnTo>
                    <a:pt x="691" y="73"/>
                  </a:lnTo>
                  <a:lnTo>
                    <a:pt x="693" y="66"/>
                  </a:lnTo>
                  <a:lnTo>
                    <a:pt x="699" y="62"/>
                  </a:lnTo>
                  <a:lnTo>
                    <a:pt x="708" y="62"/>
                  </a:lnTo>
                  <a:lnTo>
                    <a:pt x="712" y="57"/>
                  </a:lnTo>
                  <a:lnTo>
                    <a:pt x="715" y="52"/>
                  </a:lnTo>
                  <a:lnTo>
                    <a:pt x="718" y="47"/>
                  </a:lnTo>
                  <a:lnTo>
                    <a:pt x="729" y="45"/>
                  </a:lnTo>
                  <a:lnTo>
                    <a:pt x="745" y="40"/>
                  </a:lnTo>
                  <a:lnTo>
                    <a:pt x="753" y="35"/>
                  </a:lnTo>
                  <a:lnTo>
                    <a:pt x="759" y="32"/>
                  </a:lnTo>
                  <a:lnTo>
                    <a:pt x="764" y="27"/>
                  </a:lnTo>
                  <a:lnTo>
                    <a:pt x="765" y="24"/>
                  </a:lnTo>
                  <a:lnTo>
                    <a:pt x="779" y="24"/>
                  </a:lnTo>
                  <a:lnTo>
                    <a:pt x="786" y="18"/>
                  </a:lnTo>
                  <a:lnTo>
                    <a:pt x="794" y="15"/>
                  </a:lnTo>
                  <a:lnTo>
                    <a:pt x="803" y="12"/>
                  </a:lnTo>
                  <a:lnTo>
                    <a:pt x="812" y="10"/>
                  </a:lnTo>
                  <a:lnTo>
                    <a:pt x="833" y="10"/>
                  </a:lnTo>
                  <a:lnTo>
                    <a:pt x="855" y="12"/>
                  </a:lnTo>
                  <a:lnTo>
                    <a:pt x="878" y="14"/>
                  </a:lnTo>
                  <a:lnTo>
                    <a:pt x="898" y="13"/>
                  </a:lnTo>
                  <a:lnTo>
                    <a:pt x="908" y="12"/>
                  </a:lnTo>
                  <a:lnTo>
                    <a:pt x="917" y="9"/>
                  </a:lnTo>
                  <a:lnTo>
                    <a:pt x="925" y="5"/>
                  </a:lnTo>
                  <a:lnTo>
                    <a:pt x="931" y="0"/>
                  </a:lnTo>
                  <a:lnTo>
                    <a:pt x="988" y="0"/>
                  </a:lnTo>
                  <a:lnTo>
                    <a:pt x="993" y="4"/>
                  </a:lnTo>
                  <a:lnTo>
                    <a:pt x="997" y="8"/>
                  </a:lnTo>
                  <a:lnTo>
                    <a:pt x="1003" y="13"/>
                  </a:lnTo>
                  <a:lnTo>
                    <a:pt x="1007" y="14"/>
                  </a:lnTo>
                  <a:lnTo>
                    <a:pt x="1008" y="27"/>
                  </a:lnTo>
                  <a:lnTo>
                    <a:pt x="1009" y="42"/>
                  </a:lnTo>
                  <a:lnTo>
                    <a:pt x="1013" y="54"/>
                  </a:lnTo>
                  <a:lnTo>
                    <a:pt x="1016" y="62"/>
                  </a:lnTo>
                  <a:lnTo>
                    <a:pt x="1016" y="76"/>
                  </a:lnTo>
                  <a:lnTo>
                    <a:pt x="1022" y="79"/>
                  </a:lnTo>
                  <a:lnTo>
                    <a:pt x="1027" y="86"/>
                  </a:lnTo>
                  <a:lnTo>
                    <a:pt x="1033" y="94"/>
                  </a:lnTo>
                  <a:lnTo>
                    <a:pt x="1035" y="100"/>
                  </a:lnTo>
                  <a:lnTo>
                    <a:pt x="1045" y="100"/>
                  </a:lnTo>
                  <a:lnTo>
                    <a:pt x="1046" y="101"/>
                  </a:lnTo>
                  <a:lnTo>
                    <a:pt x="1048" y="103"/>
                  </a:lnTo>
                  <a:lnTo>
                    <a:pt x="1051" y="104"/>
                  </a:lnTo>
                  <a:lnTo>
                    <a:pt x="1054" y="106"/>
                  </a:lnTo>
                  <a:lnTo>
                    <a:pt x="1061" y="109"/>
                  </a:lnTo>
                  <a:lnTo>
                    <a:pt x="1064" y="109"/>
                  </a:lnTo>
                  <a:lnTo>
                    <a:pt x="1076" y="110"/>
                  </a:lnTo>
                  <a:lnTo>
                    <a:pt x="1090" y="111"/>
                  </a:lnTo>
                  <a:lnTo>
                    <a:pt x="1103" y="114"/>
                  </a:lnTo>
                  <a:lnTo>
                    <a:pt x="1118" y="118"/>
                  </a:lnTo>
                  <a:lnTo>
                    <a:pt x="1146" y="125"/>
                  </a:lnTo>
                  <a:lnTo>
                    <a:pt x="1174" y="135"/>
                  </a:lnTo>
                  <a:lnTo>
                    <a:pt x="1201" y="144"/>
                  </a:lnTo>
                  <a:lnTo>
                    <a:pt x="1227" y="153"/>
                  </a:lnTo>
                  <a:lnTo>
                    <a:pt x="1239" y="157"/>
                  </a:lnTo>
                  <a:lnTo>
                    <a:pt x="1252" y="159"/>
                  </a:lnTo>
                  <a:lnTo>
                    <a:pt x="1263" y="161"/>
                  </a:lnTo>
                  <a:lnTo>
                    <a:pt x="1273" y="161"/>
                  </a:lnTo>
                  <a:lnTo>
                    <a:pt x="1275" y="168"/>
                  </a:lnTo>
                  <a:lnTo>
                    <a:pt x="1277" y="176"/>
                  </a:lnTo>
                  <a:lnTo>
                    <a:pt x="1280" y="177"/>
                  </a:lnTo>
                  <a:lnTo>
                    <a:pt x="1281" y="179"/>
                  </a:lnTo>
                  <a:lnTo>
                    <a:pt x="1283" y="181"/>
                  </a:lnTo>
                  <a:lnTo>
                    <a:pt x="1284" y="186"/>
                  </a:lnTo>
                  <a:lnTo>
                    <a:pt x="1286" y="194"/>
                  </a:lnTo>
                  <a:lnTo>
                    <a:pt x="1287" y="199"/>
                  </a:lnTo>
                  <a:lnTo>
                    <a:pt x="1296" y="209"/>
                  </a:lnTo>
                  <a:lnTo>
                    <a:pt x="1296" y="223"/>
                  </a:lnTo>
                  <a:lnTo>
                    <a:pt x="1309" y="235"/>
                  </a:lnTo>
                  <a:lnTo>
                    <a:pt x="1321" y="248"/>
                  </a:lnTo>
                  <a:lnTo>
                    <a:pt x="1332" y="260"/>
                  </a:lnTo>
                  <a:lnTo>
                    <a:pt x="1339" y="271"/>
                  </a:lnTo>
                  <a:lnTo>
                    <a:pt x="1351" y="275"/>
                  </a:lnTo>
                  <a:lnTo>
                    <a:pt x="1363" y="279"/>
                  </a:lnTo>
                  <a:lnTo>
                    <a:pt x="1368" y="290"/>
                  </a:lnTo>
                  <a:lnTo>
                    <a:pt x="1371" y="291"/>
                  </a:lnTo>
                  <a:lnTo>
                    <a:pt x="1374" y="293"/>
                  </a:lnTo>
                  <a:lnTo>
                    <a:pt x="1377" y="295"/>
                  </a:lnTo>
                  <a:lnTo>
                    <a:pt x="1377" y="298"/>
                  </a:lnTo>
                  <a:lnTo>
                    <a:pt x="1378" y="301"/>
                  </a:lnTo>
                  <a:lnTo>
                    <a:pt x="1378" y="305"/>
                  </a:lnTo>
                  <a:lnTo>
                    <a:pt x="1376" y="311"/>
                  </a:lnTo>
                  <a:lnTo>
                    <a:pt x="1373" y="319"/>
                  </a:lnTo>
                  <a:lnTo>
                    <a:pt x="1368" y="334"/>
                  </a:lnTo>
                  <a:lnTo>
                    <a:pt x="1366" y="345"/>
                  </a:lnTo>
                  <a:lnTo>
                    <a:pt x="1374" y="350"/>
                  </a:lnTo>
                  <a:lnTo>
                    <a:pt x="1380" y="360"/>
                  </a:lnTo>
                  <a:lnTo>
                    <a:pt x="1380" y="363"/>
                  </a:lnTo>
                  <a:lnTo>
                    <a:pt x="1381" y="367"/>
                  </a:lnTo>
                  <a:lnTo>
                    <a:pt x="1383" y="369"/>
                  </a:lnTo>
                  <a:lnTo>
                    <a:pt x="1387" y="372"/>
                  </a:lnTo>
                  <a:lnTo>
                    <a:pt x="1393" y="377"/>
                  </a:lnTo>
                  <a:lnTo>
                    <a:pt x="1402" y="381"/>
                  </a:lnTo>
                  <a:lnTo>
                    <a:pt x="1410" y="387"/>
                  </a:lnTo>
                  <a:lnTo>
                    <a:pt x="1418" y="391"/>
                  </a:lnTo>
                  <a:lnTo>
                    <a:pt x="1420" y="393"/>
                  </a:lnTo>
                  <a:lnTo>
                    <a:pt x="1422" y="397"/>
                  </a:lnTo>
                  <a:lnTo>
                    <a:pt x="1425" y="400"/>
                  </a:lnTo>
                  <a:lnTo>
                    <a:pt x="1425" y="403"/>
                  </a:lnTo>
                  <a:lnTo>
                    <a:pt x="1424" y="403"/>
                  </a:lnTo>
                  <a:lnTo>
                    <a:pt x="1422" y="404"/>
                  </a:lnTo>
                  <a:lnTo>
                    <a:pt x="1421" y="407"/>
                  </a:lnTo>
                  <a:lnTo>
                    <a:pt x="1420" y="409"/>
                  </a:lnTo>
                  <a:lnTo>
                    <a:pt x="1420" y="413"/>
                  </a:lnTo>
                  <a:lnTo>
                    <a:pt x="1420" y="418"/>
                  </a:lnTo>
                  <a:lnTo>
                    <a:pt x="1415" y="420"/>
                  </a:lnTo>
                  <a:lnTo>
                    <a:pt x="1410" y="422"/>
                  </a:lnTo>
                  <a:lnTo>
                    <a:pt x="1409" y="426"/>
                  </a:lnTo>
                  <a:lnTo>
                    <a:pt x="1408" y="429"/>
                  </a:lnTo>
                  <a:lnTo>
                    <a:pt x="1405" y="431"/>
                  </a:lnTo>
                  <a:lnTo>
                    <a:pt x="1401" y="431"/>
                  </a:lnTo>
                  <a:lnTo>
                    <a:pt x="1396" y="441"/>
                  </a:lnTo>
                  <a:lnTo>
                    <a:pt x="1384" y="448"/>
                  </a:lnTo>
                  <a:lnTo>
                    <a:pt x="1372" y="456"/>
                  </a:lnTo>
                  <a:lnTo>
                    <a:pt x="1364" y="463"/>
                  </a:lnTo>
                  <a:lnTo>
                    <a:pt x="1353" y="469"/>
                  </a:lnTo>
                  <a:lnTo>
                    <a:pt x="1349" y="475"/>
                  </a:lnTo>
                  <a:lnTo>
                    <a:pt x="1344" y="479"/>
                  </a:lnTo>
                  <a:lnTo>
                    <a:pt x="1339" y="484"/>
                  </a:lnTo>
                  <a:lnTo>
                    <a:pt x="1336" y="500"/>
                  </a:lnTo>
                  <a:lnTo>
                    <a:pt x="1334" y="517"/>
                  </a:lnTo>
                  <a:lnTo>
                    <a:pt x="1328" y="522"/>
                  </a:lnTo>
                  <a:lnTo>
                    <a:pt x="1316" y="532"/>
                  </a:lnTo>
                  <a:lnTo>
                    <a:pt x="1311" y="536"/>
                  </a:lnTo>
                  <a:lnTo>
                    <a:pt x="1304" y="541"/>
                  </a:lnTo>
                  <a:lnTo>
                    <a:pt x="1297" y="544"/>
                  </a:lnTo>
                  <a:lnTo>
                    <a:pt x="1292" y="545"/>
                  </a:lnTo>
                  <a:lnTo>
                    <a:pt x="1291" y="550"/>
                  </a:lnTo>
                  <a:lnTo>
                    <a:pt x="1288" y="553"/>
                  </a:lnTo>
                  <a:lnTo>
                    <a:pt x="1285" y="556"/>
                  </a:lnTo>
                  <a:lnTo>
                    <a:pt x="1281" y="558"/>
                  </a:lnTo>
                  <a:lnTo>
                    <a:pt x="1276" y="561"/>
                  </a:lnTo>
                  <a:lnTo>
                    <a:pt x="1272" y="563"/>
                  </a:lnTo>
                  <a:lnTo>
                    <a:pt x="1267" y="564"/>
                  </a:lnTo>
                  <a:lnTo>
                    <a:pt x="1263" y="564"/>
                  </a:lnTo>
                  <a:lnTo>
                    <a:pt x="1258" y="571"/>
                  </a:lnTo>
                  <a:lnTo>
                    <a:pt x="1248" y="581"/>
                  </a:lnTo>
                  <a:lnTo>
                    <a:pt x="1235" y="593"/>
                  </a:lnTo>
                  <a:lnTo>
                    <a:pt x="1219" y="606"/>
                  </a:lnTo>
                  <a:lnTo>
                    <a:pt x="1204" y="619"/>
                  </a:lnTo>
                  <a:lnTo>
                    <a:pt x="1188" y="630"/>
                  </a:lnTo>
                  <a:lnTo>
                    <a:pt x="1182" y="634"/>
                  </a:lnTo>
                  <a:lnTo>
                    <a:pt x="1177" y="638"/>
                  </a:lnTo>
                  <a:lnTo>
                    <a:pt x="1171" y="640"/>
                  </a:lnTo>
                  <a:lnTo>
                    <a:pt x="1168" y="640"/>
                  </a:lnTo>
                  <a:lnTo>
                    <a:pt x="1163" y="650"/>
                  </a:lnTo>
                  <a:lnTo>
                    <a:pt x="1157" y="652"/>
                  </a:lnTo>
                  <a:lnTo>
                    <a:pt x="1149" y="654"/>
                  </a:lnTo>
                  <a:lnTo>
                    <a:pt x="1143" y="661"/>
                  </a:lnTo>
                  <a:lnTo>
                    <a:pt x="1130" y="672"/>
                  </a:lnTo>
                  <a:lnTo>
                    <a:pt x="1123" y="679"/>
                  </a:lnTo>
                  <a:lnTo>
                    <a:pt x="1118" y="686"/>
                  </a:lnTo>
                  <a:lnTo>
                    <a:pt x="1113" y="691"/>
                  </a:lnTo>
                  <a:lnTo>
                    <a:pt x="1111" y="697"/>
                  </a:lnTo>
                  <a:lnTo>
                    <a:pt x="1105" y="698"/>
                  </a:lnTo>
                  <a:lnTo>
                    <a:pt x="1101" y="701"/>
                  </a:lnTo>
                  <a:lnTo>
                    <a:pt x="1099" y="705"/>
                  </a:lnTo>
                  <a:lnTo>
                    <a:pt x="1095" y="710"/>
                  </a:lnTo>
                  <a:lnTo>
                    <a:pt x="1094" y="716"/>
                  </a:lnTo>
                  <a:lnTo>
                    <a:pt x="1094" y="723"/>
                  </a:lnTo>
                  <a:lnTo>
                    <a:pt x="1094" y="730"/>
                  </a:lnTo>
                  <a:lnTo>
                    <a:pt x="1094" y="738"/>
                  </a:lnTo>
                  <a:lnTo>
                    <a:pt x="1099" y="765"/>
                  </a:lnTo>
                  <a:lnTo>
                    <a:pt x="1102" y="778"/>
                  </a:lnTo>
                  <a:lnTo>
                    <a:pt x="1109" y="781"/>
                  </a:lnTo>
                  <a:lnTo>
                    <a:pt x="1117" y="783"/>
                  </a:lnTo>
                  <a:lnTo>
                    <a:pt x="1118" y="786"/>
                  </a:lnTo>
                  <a:lnTo>
                    <a:pt x="1121" y="790"/>
                  </a:lnTo>
                  <a:lnTo>
                    <a:pt x="1127" y="794"/>
                  </a:lnTo>
                  <a:lnTo>
                    <a:pt x="1130" y="797"/>
                  </a:lnTo>
                  <a:lnTo>
                    <a:pt x="1144" y="797"/>
                  </a:lnTo>
                  <a:lnTo>
                    <a:pt x="1146" y="800"/>
                  </a:lnTo>
                  <a:lnTo>
                    <a:pt x="1148" y="802"/>
                  </a:lnTo>
                  <a:lnTo>
                    <a:pt x="1151" y="802"/>
                  </a:lnTo>
                  <a:lnTo>
                    <a:pt x="1155" y="802"/>
                  </a:lnTo>
                  <a:lnTo>
                    <a:pt x="1153" y="817"/>
                  </a:lnTo>
                  <a:lnTo>
                    <a:pt x="1152" y="834"/>
                  </a:lnTo>
                  <a:lnTo>
                    <a:pt x="1150" y="851"/>
                  </a:lnTo>
                  <a:lnTo>
                    <a:pt x="1149" y="863"/>
                  </a:lnTo>
                  <a:lnTo>
                    <a:pt x="1140" y="863"/>
                  </a:lnTo>
                  <a:lnTo>
                    <a:pt x="1138" y="871"/>
                  </a:lnTo>
                  <a:lnTo>
                    <a:pt x="1136" y="878"/>
                  </a:lnTo>
                  <a:lnTo>
                    <a:pt x="1126" y="878"/>
                  </a:lnTo>
                  <a:lnTo>
                    <a:pt x="1121" y="882"/>
                  </a:lnTo>
                  <a:lnTo>
                    <a:pt x="1113" y="887"/>
                  </a:lnTo>
                  <a:lnTo>
                    <a:pt x="1105" y="890"/>
                  </a:lnTo>
                  <a:lnTo>
                    <a:pt x="1098" y="892"/>
                  </a:lnTo>
                  <a:lnTo>
                    <a:pt x="1096" y="894"/>
                  </a:lnTo>
                  <a:lnTo>
                    <a:pt x="1094" y="897"/>
                  </a:lnTo>
                  <a:lnTo>
                    <a:pt x="1091" y="897"/>
                  </a:lnTo>
                  <a:lnTo>
                    <a:pt x="1088" y="897"/>
                  </a:lnTo>
                  <a:lnTo>
                    <a:pt x="1083" y="901"/>
                  </a:lnTo>
                  <a:lnTo>
                    <a:pt x="1079" y="907"/>
                  </a:lnTo>
                  <a:lnTo>
                    <a:pt x="1079" y="918"/>
                  </a:lnTo>
                  <a:lnTo>
                    <a:pt x="1079" y="932"/>
                  </a:lnTo>
                  <a:lnTo>
                    <a:pt x="1079" y="946"/>
                  </a:lnTo>
                  <a:lnTo>
                    <a:pt x="1079" y="958"/>
                  </a:lnTo>
                  <a:lnTo>
                    <a:pt x="1081" y="959"/>
                  </a:lnTo>
                  <a:lnTo>
                    <a:pt x="1082" y="961"/>
                  </a:lnTo>
                  <a:lnTo>
                    <a:pt x="1083" y="965"/>
                  </a:lnTo>
                  <a:lnTo>
                    <a:pt x="1083" y="968"/>
                  </a:lnTo>
                  <a:lnTo>
                    <a:pt x="1088" y="973"/>
                  </a:lnTo>
                  <a:lnTo>
                    <a:pt x="1098" y="973"/>
                  </a:lnTo>
                  <a:lnTo>
                    <a:pt x="1098" y="975"/>
                  </a:lnTo>
                  <a:lnTo>
                    <a:pt x="1099" y="976"/>
                  </a:lnTo>
                  <a:lnTo>
                    <a:pt x="1102" y="978"/>
                  </a:lnTo>
                  <a:lnTo>
                    <a:pt x="1104" y="980"/>
                  </a:lnTo>
                  <a:lnTo>
                    <a:pt x="1112" y="984"/>
                  </a:lnTo>
                  <a:lnTo>
                    <a:pt x="1121" y="988"/>
                  </a:lnTo>
                  <a:lnTo>
                    <a:pt x="1130" y="993"/>
                  </a:lnTo>
                  <a:lnTo>
                    <a:pt x="1137" y="998"/>
                  </a:lnTo>
                  <a:lnTo>
                    <a:pt x="1140" y="1000"/>
                  </a:lnTo>
                  <a:lnTo>
                    <a:pt x="1142" y="1004"/>
                  </a:lnTo>
                  <a:lnTo>
                    <a:pt x="1144" y="1007"/>
                  </a:lnTo>
                  <a:lnTo>
                    <a:pt x="1144" y="1010"/>
                  </a:lnTo>
                  <a:lnTo>
                    <a:pt x="1150" y="1010"/>
                  </a:lnTo>
                  <a:lnTo>
                    <a:pt x="1153" y="1012"/>
                  </a:lnTo>
                  <a:lnTo>
                    <a:pt x="1155" y="1012"/>
                  </a:lnTo>
                  <a:lnTo>
                    <a:pt x="1156" y="1013"/>
                  </a:lnTo>
                  <a:lnTo>
                    <a:pt x="1156" y="1014"/>
                  </a:lnTo>
                  <a:lnTo>
                    <a:pt x="1156" y="1015"/>
                  </a:lnTo>
                  <a:lnTo>
                    <a:pt x="1157" y="1015"/>
                  </a:lnTo>
                  <a:lnTo>
                    <a:pt x="1159" y="1015"/>
                  </a:lnTo>
                  <a:lnTo>
                    <a:pt x="1158" y="1027"/>
                  </a:lnTo>
                  <a:lnTo>
                    <a:pt x="1157" y="1038"/>
                  </a:lnTo>
                  <a:lnTo>
                    <a:pt x="1155" y="1050"/>
                  </a:lnTo>
                  <a:lnTo>
                    <a:pt x="1155" y="1058"/>
                  </a:lnTo>
                  <a:lnTo>
                    <a:pt x="1141" y="1058"/>
                  </a:lnTo>
                  <a:lnTo>
                    <a:pt x="1127" y="1061"/>
                  </a:lnTo>
                  <a:lnTo>
                    <a:pt x="1111" y="1064"/>
                  </a:lnTo>
                  <a:lnTo>
                    <a:pt x="1094" y="1067"/>
                  </a:lnTo>
                  <a:lnTo>
                    <a:pt x="1078" y="1071"/>
                  </a:lnTo>
                  <a:lnTo>
                    <a:pt x="1062" y="1074"/>
                  </a:lnTo>
                  <a:lnTo>
                    <a:pt x="1045" y="1076"/>
                  </a:lnTo>
                  <a:lnTo>
                    <a:pt x="1031" y="1077"/>
                  </a:lnTo>
                  <a:lnTo>
                    <a:pt x="1028" y="1082"/>
                  </a:lnTo>
                  <a:lnTo>
                    <a:pt x="1026" y="1086"/>
                  </a:lnTo>
                  <a:lnTo>
                    <a:pt x="1016" y="1086"/>
                  </a:lnTo>
                  <a:lnTo>
                    <a:pt x="1012" y="1091"/>
                  </a:lnTo>
                  <a:lnTo>
                    <a:pt x="1007" y="1101"/>
                  </a:lnTo>
                  <a:lnTo>
                    <a:pt x="1003" y="1105"/>
                  </a:lnTo>
                  <a:lnTo>
                    <a:pt x="1003" y="1120"/>
                  </a:lnTo>
                  <a:lnTo>
                    <a:pt x="1000" y="1121"/>
                  </a:lnTo>
                  <a:lnTo>
                    <a:pt x="999" y="1125"/>
                  </a:lnTo>
                  <a:lnTo>
                    <a:pt x="998" y="1132"/>
                  </a:lnTo>
                  <a:lnTo>
                    <a:pt x="998" y="1139"/>
                  </a:lnTo>
                  <a:lnTo>
                    <a:pt x="997" y="1153"/>
                  </a:lnTo>
                  <a:lnTo>
                    <a:pt x="997" y="1162"/>
                  </a:lnTo>
                  <a:lnTo>
                    <a:pt x="999" y="1163"/>
                  </a:lnTo>
                  <a:lnTo>
                    <a:pt x="1000" y="1165"/>
                  </a:lnTo>
                  <a:lnTo>
                    <a:pt x="1003" y="1167"/>
                  </a:lnTo>
                  <a:lnTo>
                    <a:pt x="1004" y="1170"/>
                  </a:lnTo>
                  <a:lnTo>
                    <a:pt x="1006" y="1178"/>
                  </a:lnTo>
                  <a:lnTo>
                    <a:pt x="1008" y="1187"/>
                  </a:lnTo>
                  <a:lnTo>
                    <a:pt x="1011" y="1207"/>
                  </a:lnTo>
                  <a:lnTo>
                    <a:pt x="1012" y="1219"/>
                  </a:lnTo>
                  <a:lnTo>
                    <a:pt x="1000" y="1221"/>
                  </a:lnTo>
                  <a:lnTo>
                    <a:pt x="985" y="1227"/>
                  </a:lnTo>
                  <a:lnTo>
                    <a:pt x="977" y="1230"/>
                  </a:lnTo>
                  <a:lnTo>
                    <a:pt x="970" y="1234"/>
                  </a:lnTo>
                  <a:lnTo>
                    <a:pt x="966" y="1236"/>
                  </a:lnTo>
                  <a:lnTo>
                    <a:pt x="965" y="1238"/>
                  </a:lnTo>
                  <a:lnTo>
                    <a:pt x="952" y="1239"/>
                  </a:lnTo>
                  <a:lnTo>
                    <a:pt x="938" y="1240"/>
                  </a:lnTo>
                  <a:lnTo>
                    <a:pt x="922" y="1243"/>
                  </a:lnTo>
                  <a:lnTo>
                    <a:pt x="906" y="1246"/>
                  </a:lnTo>
                  <a:lnTo>
                    <a:pt x="890" y="1249"/>
                  </a:lnTo>
                  <a:lnTo>
                    <a:pt x="877" y="1255"/>
                  </a:lnTo>
                  <a:lnTo>
                    <a:pt x="870" y="1257"/>
                  </a:lnTo>
                  <a:lnTo>
                    <a:pt x="864" y="1260"/>
                  </a:lnTo>
                  <a:lnTo>
                    <a:pt x="859" y="1264"/>
                  </a:lnTo>
                  <a:lnTo>
                    <a:pt x="855" y="1267"/>
                  </a:lnTo>
                  <a:lnTo>
                    <a:pt x="841" y="1267"/>
                  </a:lnTo>
                  <a:lnTo>
                    <a:pt x="834" y="1273"/>
                  </a:lnTo>
                  <a:lnTo>
                    <a:pt x="822" y="1281"/>
                  </a:lnTo>
                  <a:lnTo>
                    <a:pt x="811" y="1287"/>
                  </a:lnTo>
                  <a:lnTo>
                    <a:pt x="803" y="1291"/>
                  </a:lnTo>
                  <a:lnTo>
                    <a:pt x="802" y="1294"/>
                  </a:lnTo>
                  <a:lnTo>
                    <a:pt x="797" y="1297"/>
                  </a:lnTo>
                  <a:lnTo>
                    <a:pt x="793" y="1300"/>
                  </a:lnTo>
                  <a:lnTo>
                    <a:pt x="788" y="1300"/>
                  </a:lnTo>
                  <a:lnTo>
                    <a:pt x="786" y="1305"/>
                  </a:lnTo>
                  <a:lnTo>
                    <a:pt x="784" y="1310"/>
                  </a:lnTo>
                  <a:lnTo>
                    <a:pt x="775" y="1310"/>
                  </a:lnTo>
                  <a:lnTo>
                    <a:pt x="769" y="1314"/>
                  </a:lnTo>
                  <a:lnTo>
                    <a:pt x="769" y="1317"/>
                  </a:lnTo>
                  <a:lnTo>
                    <a:pt x="767" y="1321"/>
                  </a:lnTo>
                  <a:lnTo>
                    <a:pt x="764" y="1324"/>
                  </a:lnTo>
                  <a:lnTo>
                    <a:pt x="758" y="1326"/>
                  </a:lnTo>
                  <a:lnTo>
                    <a:pt x="747" y="1333"/>
                  </a:lnTo>
                  <a:lnTo>
                    <a:pt x="733" y="1339"/>
                  </a:lnTo>
                  <a:lnTo>
                    <a:pt x="718" y="1345"/>
                  </a:lnTo>
                  <a:lnTo>
                    <a:pt x="702" y="1352"/>
                  </a:lnTo>
                  <a:lnTo>
                    <a:pt x="689" y="1360"/>
                  </a:lnTo>
                  <a:lnTo>
                    <a:pt x="679" y="1369"/>
                  </a:lnTo>
                  <a:lnTo>
                    <a:pt x="652" y="1398"/>
                  </a:lnTo>
                  <a:lnTo>
                    <a:pt x="628" y="1426"/>
                  </a:lnTo>
                  <a:lnTo>
                    <a:pt x="616" y="1437"/>
                  </a:lnTo>
                  <a:lnTo>
                    <a:pt x="605" y="1448"/>
                  </a:lnTo>
                  <a:lnTo>
                    <a:pt x="594" y="1456"/>
                  </a:lnTo>
                  <a:lnTo>
                    <a:pt x="584" y="1461"/>
                  </a:lnTo>
                  <a:lnTo>
                    <a:pt x="584" y="1409"/>
                  </a:lnTo>
                  <a:lnTo>
                    <a:pt x="583" y="1408"/>
                  </a:lnTo>
                  <a:lnTo>
                    <a:pt x="582" y="1404"/>
                  </a:lnTo>
                  <a:lnTo>
                    <a:pt x="581" y="1399"/>
                  </a:lnTo>
                  <a:lnTo>
                    <a:pt x="581" y="1392"/>
                  </a:lnTo>
                  <a:lnTo>
                    <a:pt x="580" y="1374"/>
                  </a:lnTo>
                  <a:lnTo>
                    <a:pt x="581" y="1354"/>
                  </a:lnTo>
                  <a:lnTo>
                    <a:pt x="583" y="1316"/>
                  </a:lnTo>
                  <a:lnTo>
                    <a:pt x="584" y="1296"/>
                  </a:lnTo>
                  <a:lnTo>
                    <a:pt x="583" y="1278"/>
                  </a:lnTo>
                  <a:lnTo>
                    <a:pt x="579" y="1259"/>
                  </a:lnTo>
                  <a:lnTo>
                    <a:pt x="574" y="1242"/>
                  </a:lnTo>
                  <a:lnTo>
                    <a:pt x="567" y="1224"/>
                  </a:lnTo>
                  <a:lnTo>
                    <a:pt x="562" y="1207"/>
                  </a:lnTo>
                  <a:lnTo>
                    <a:pt x="556" y="1192"/>
                  </a:lnTo>
                  <a:lnTo>
                    <a:pt x="553" y="1179"/>
                  </a:lnTo>
                  <a:lnTo>
                    <a:pt x="552" y="1169"/>
                  </a:lnTo>
                  <a:lnTo>
                    <a:pt x="546" y="1160"/>
                  </a:lnTo>
                  <a:lnTo>
                    <a:pt x="538" y="1152"/>
                  </a:lnTo>
                  <a:lnTo>
                    <a:pt x="527" y="1141"/>
                  </a:lnTo>
                  <a:lnTo>
                    <a:pt x="527" y="1131"/>
                  </a:lnTo>
                  <a:lnTo>
                    <a:pt x="518" y="1127"/>
                  </a:lnTo>
                  <a:lnTo>
                    <a:pt x="514" y="1122"/>
                  </a:lnTo>
                  <a:lnTo>
                    <a:pt x="514" y="1108"/>
                  </a:lnTo>
                  <a:lnTo>
                    <a:pt x="512" y="1108"/>
                  </a:lnTo>
                  <a:lnTo>
                    <a:pt x="510" y="1106"/>
                  </a:lnTo>
                  <a:lnTo>
                    <a:pt x="509" y="1105"/>
                  </a:lnTo>
                  <a:lnTo>
                    <a:pt x="508" y="1103"/>
                  </a:lnTo>
                  <a:lnTo>
                    <a:pt x="508" y="1099"/>
                  </a:lnTo>
                  <a:lnTo>
                    <a:pt x="508" y="1092"/>
                  </a:lnTo>
                  <a:lnTo>
                    <a:pt x="509" y="1076"/>
                  </a:lnTo>
                  <a:lnTo>
                    <a:pt x="514" y="1057"/>
                  </a:lnTo>
                  <a:lnTo>
                    <a:pt x="523" y="1021"/>
                  </a:lnTo>
                  <a:lnTo>
                    <a:pt x="527" y="999"/>
                  </a:lnTo>
                  <a:lnTo>
                    <a:pt x="537" y="995"/>
                  </a:lnTo>
                  <a:lnTo>
                    <a:pt x="537" y="985"/>
                  </a:lnTo>
                  <a:lnTo>
                    <a:pt x="546" y="980"/>
                  </a:lnTo>
                  <a:lnTo>
                    <a:pt x="552" y="971"/>
                  </a:lnTo>
                  <a:lnTo>
                    <a:pt x="556" y="961"/>
                  </a:lnTo>
                  <a:lnTo>
                    <a:pt x="565" y="957"/>
                  </a:lnTo>
                  <a:lnTo>
                    <a:pt x="570" y="952"/>
                  </a:lnTo>
                  <a:lnTo>
                    <a:pt x="568" y="933"/>
                  </a:lnTo>
                  <a:lnTo>
                    <a:pt x="565" y="912"/>
                  </a:lnTo>
                  <a:lnTo>
                    <a:pt x="562" y="893"/>
                  </a:lnTo>
                  <a:lnTo>
                    <a:pt x="561" y="877"/>
                  </a:lnTo>
                  <a:lnTo>
                    <a:pt x="558" y="877"/>
                  </a:lnTo>
                  <a:lnTo>
                    <a:pt x="556" y="875"/>
                  </a:lnTo>
                  <a:lnTo>
                    <a:pt x="554" y="873"/>
                  </a:lnTo>
                  <a:lnTo>
                    <a:pt x="552" y="871"/>
                  </a:lnTo>
                  <a:lnTo>
                    <a:pt x="547" y="864"/>
                  </a:lnTo>
                  <a:lnTo>
                    <a:pt x="544" y="858"/>
                  </a:lnTo>
                  <a:lnTo>
                    <a:pt x="539" y="851"/>
                  </a:lnTo>
                  <a:lnTo>
                    <a:pt x="535" y="845"/>
                  </a:lnTo>
                  <a:lnTo>
                    <a:pt x="532" y="843"/>
                  </a:lnTo>
                  <a:lnTo>
                    <a:pt x="529" y="841"/>
                  </a:lnTo>
                  <a:lnTo>
                    <a:pt x="526" y="840"/>
                  </a:lnTo>
                  <a:lnTo>
                    <a:pt x="523" y="839"/>
                  </a:lnTo>
                  <a:lnTo>
                    <a:pt x="518" y="830"/>
                  </a:lnTo>
                  <a:lnTo>
                    <a:pt x="514" y="825"/>
                  </a:lnTo>
                  <a:lnTo>
                    <a:pt x="510" y="825"/>
                  </a:lnTo>
                  <a:lnTo>
                    <a:pt x="507" y="824"/>
                  </a:lnTo>
                  <a:lnTo>
                    <a:pt x="505" y="823"/>
                  </a:lnTo>
                  <a:lnTo>
                    <a:pt x="504" y="820"/>
                  </a:lnTo>
                  <a:lnTo>
                    <a:pt x="490" y="820"/>
                  </a:lnTo>
                  <a:lnTo>
                    <a:pt x="488" y="815"/>
                  </a:lnTo>
                  <a:lnTo>
                    <a:pt x="485" y="811"/>
                  </a:lnTo>
                  <a:lnTo>
                    <a:pt x="471" y="806"/>
                  </a:lnTo>
                  <a:lnTo>
                    <a:pt x="457" y="802"/>
                  </a:lnTo>
                  <a:lnTo>
                    <a:pt x="455" y="794"/>
                  </a:lnTo>
                  <a:lnTo>
                    <a:pt x="452" y="787"/>
                  </a:lnTo>
                  <a:lnTo>
                    <a:pt x="446" y="784"/>
                  </a:lnTo>
                  <a:lnTo>
                    <a:pt x="441" y="782"/>
                  </a:lnTo>
                  <a:lnTo>
                    <a:pt x="440" y="779"/>
                  </a:lnTo>
                  <a:lnTo>
                    <a:pt x="439" y="776"/>
                  </a:lnTo>
                  <a:lnTo>
                    <a:pt x="438" y="773"/>
                  </a:lnTo>
                  <a:lnTo>
                    <a:pt x="438" y="768"/>
                  </a:lnTo>
                  <a:lnTo>
                    <a:pt x="431" y="763"/>
                  </a:lnTo>
                  <a:lnTo>
                    <a:pt x="424" y="754"/>
                  </a:lnTo>
                  <a:lnTo>
                    <a:pt x="419" y="746"/>
                  </a:lnTo>
                  <a:lnTo>
                    <a:pt x="414" y="740"/>
                  </a:lnTo>
                  <a:lnTo>
                    <a:pt x="413" y="730"/>
                  </a:lnTo>
                  <a:lnTo>
                    <a:pt x="410" y="718"/>
                  </a:lnTo>
                  <a:lnTo>
                    <a:pt x="405" y="706"/>
                  </a:lnTo>
                  <a:lnTo>
                    <a:pt x="400" y="692"/>
                  </a:lnTo>
                  <a:lnTo>
                    <a:pt x="395" y="679"/>
                  </a:lnTo>
                  <a:lnTo>
                    <a:pt x="391" y="666"/>
                  </a:lnTo>
                  <a:lnTo>
                    <a:pt x="388" y="652"/>
                  </a:lnTo>
                  <a:lnTo>
                    <a:pt x="387" y="641"/>
                  </a:lnTo>
                  <a:lnTo>
                    <a:pt x="384" y="640"/>
                  </a:lnTo>
                  <a:lnTo>
                    <a:pt x="383" y="639"/>
                  </a:lnTo>
                  <a:lnTo>
                    <a:pt x="381" y="637"/>
                  </a:lnTo>
                  <a:lnTo>
                    <a:pt x="380" y="633"/>
                  </a:lnTo>
                  <a:lnTo>
                    <a:pt x="378" y="628"/>
                  </a:lnTo>
                  <a:lnTo>
                    <a:pt x="376" y="622"/>
                  </a:lnTo>
                  <a:lnTo>
                    <a:pt x="372" y="618"/>
                  </a:lnTo>
                  <a:lnTo>
                    <a:pt x="363" y="613"/>
                  </a:lnTo>
                  <a:lnTo>
                    <a:pt x="362" y="609"/>
                  </a:lnTo>
                  <a:lnTo>
                    <a:pt x="360" y="604"/>
                  </a:lnTo>
                  <a:lnTo>
                    <a:pt x="356" y="600"/>
                  </a:lnTo>
                  <a:lnTo>
                    <a:pt x="353" y="599"/>
                  </a:lnTo>
                  <a:lnTo>
                    <a:pt x="353" y="590"/>
                  </a:lnTo>
                  <a:lnTo>
                    <a:pt x="345" y="589"/>
                  </a:lnTo>
                  <a:lnTo>
                    <a:pt x="337" y="585"/>
                  </a:lnTo>
                  <a:lnTo>
                    <a:pt x="333" y="584"/>
                  </a:lnTo>
                  <a:lnTo>
                    <a:pt x="330" y="581"/>
                  </a:lnTo>
                  <a:lnTo>
                    <a:pt x="327" y="579"/>
                  </a:lnTo>
                  <a:lnTo>
                    <a:pt x="325" y="575"/>
                  </a:lnTo>
                  <a:lnTo>
                    <a:pt x="318" y="574"/>
                  </a:lnTo>
                  <a:lnTo>
                    <a:pt x="312" y="573"/>
                  </a:lnTo>
                  <a:lnTo>
                    <a:pt x="303" y="570"/>
                  </a:lnTo>
                  <a:lnTo>
                    <a:pt x="295" y="566"/>
                  </a:lnTo>
                  <a:lnTo>
                    <a:pt x="287" y="563"/>
                  </a:lnTo>
                  <a:lnTo>
                    <a:pt x="279" y="560"/>
                  </a:lnTo>
                  <a:lnTo>
                    <a:pt x="273" y="555"/>
                  </a:lnTo>
                  <a:lnTo>
                    <a:pt x="268" y="552"/>
                  </a:lnTo>
                  <a:lnTo>
                    <a:pt x="258" y="551"/>
                  </a:lnTo>
                  <a:lnTo>
                    <a:pt x="240" y="548"/>
                  </a:lnTo>
                  <a:lnTo>
                    <a:pt x="231" y="547"/>
                  </a:lnTo>
                  <a:lnTo>
                    <a:pt x="224" y="547"/>
                  </a:lnTo>
                  <a:lnTo>
                    <a:pt x="221" y="548"/>
                  </a:lnTo>
                  <a:lnTo>
                    <a:pt x="219" y="548"/>
                  </a:lnTo>
                  <a:lnTo>
                    <a:pt x="217" y="550"/>
                  </a:lnTo>
                  <a:lnTo>
                    <a:pt x="217" y="552"/>
                  </a:lnTo>
                  <a:lnTo>
                    <a:pt x="198" y="552"/>
                  </a:lnTo>
                  <a:lnTo>
                    <a:pt x="190" y="558"/>
                  </a:lnTo>
                  <a:lnTo>
                    <a:pt x="183" y="565"/>
                  </a:lnTo>
                  <a:lnTo>
                    <a:pt x="183" y="575"/>
                  </a:lnTo>
                  <a:lnTo>
                    <a:pt x="179" y="577"/>
                  </a:lnTo>
                  <a:lnTo>
                    <a:pt x="174" y="582"/>
                  </a:lnTo>
                  <a:lnTo>
                    <a:pt x="171" y="588"/>
                  </a:lnTo>
                  <a:lnTo>
                    <a:pt x="169" y="590"/>
                  </a:lnTo>
                  <a:lnTo>
                    <a:pt x="160" y="590"/>
                  </a:lnTo>
                  <a:lnTo>
                    <a:pt x="159" y="593"/>
                  </a:lnTo>
                  <a:lnTo>
                    <a:pt x="154" y="596"/>
                  </a:lnTo>
                  <a:lnTo>
                    <a:pt x="150" y="600"/>
                  </a:lnTo>
                  <a:lnTo>
                    <a:pt x="145" y="603"/>
                  </a:lnTo>
                  <a:lnTo>
                    <a:pt x="142" y="603"/>
                  </a:lnTo>
                  <a:lnTo>
                    <a:pt x="140" y="604"/>
                  </a:lnTo>
                  <a:lnTo>
                    <a:pt x="138" y="605"/>
                  </a:lnTo>
                  <a:lnTo>
                    <a:pt x="136" y="608"/>
                  </a:lnTo>
                  <a:lnTo>
                    <a:pt x="126" y="608"/>
                  </a:lnTo>
                  <a:lnTo>
                    <a:pt x="117" y="608"/>
                  </a:lnTo>
                  <a:lnTo>
                    <a:pt x="113" y="613"/>
                  </a:lnTo>
                  <a:lnTo>
                    <a:pt x="112" y="620"/>
                  </a:lnTo>
                  <a:lnTo>
                    <a:pt x="110" y="628"/>
                  </a:lnTo>
                  <a:lnTo>
                    <a:pt x="106" y="635"/>
                  </a:lnTo>
                  <a:lnTo>
                    <a:pt x="103" y="643"/>
                  </a:lnTo>
                  <a:lnTo>
                    <a:pt x="100" y="650"/>
                  </a:lnTo>
                  <a:lnTo>
                    <a:pt x="97" y="657"/>
                  </a:lnTo>
                  <a:lnTo>
                    <a:pt x="95" y="663"/>
                  </a:lnTo>
                  <a:lnTo>
                    <a:pt x="94" y="669"/>
                  </a:lnTo>
                  <a:lnTo>
                    <a:pt x="91" y="670"/>
                  </a:lnTo>
                  <a:lnTo>
                    <a:pt x="87" y="672"/>
                  </a:lnTo>
                  <a:lnTo>
                    <a:pt x="83" y="676"/>
                  </a:lnTo>
                  <a:lnTo>
                    <a:pt x="80" y="679"/>
                  </a:lnTo>
                  <a:lnTo>
                    <a:pt x="80" y="683"/>
                  </a:lnTo>
                  <a:lnTo>
                    <a:pt x="80" y="688"/>
                  </a:lnTo>
                  <a:lnTo>
                    <a:pt x="78" y="690"/>
                  </a:lnTo>
                  <a:lnTo>
                    <a:pt x="77" y="691"/>
                  </a:lnTo>
                  <a:lnTo>
                    <a:pt x="76" y="692"/>
                  </a:lnTo>
                  <a:lnTo>
                    <a:pt x="75" y="692"/>
                  </a:lnTo>
                  <a:lnTo>
                    <a:pt x="75" y="702"/>
                  </a:lnTo>
                  <a:lnTo>
                    <a:pt x="63" y="711"/>
                  </a:lnTo>
                  <a:lnTo>
                    <a:pt x="47" y="721"/>
                  </a:lnTo>
                  <a:lnTo>
                    <a:pt x="42" y="730"/>
                  </a:lnTo>
                  <a:lnTo>
                    <a:pt x="36" y="733"/>
                  </a:lnTo>
                  <a:lnTo>
                    <a:pt x="28" y="737"/>
                  </a:lnTo>
                  <a:lnTo>
                    <a:pt x="25" y="739"/>
                  </a:lnTo>
                  <a:lnTo>
                    <a:pt x="21" y="743"/>
                  </a:lnTo>
                  <a:lnTo>
                    <a:pt x="19" y="746"/>
                  </a:lnTo>
                  <a:lnTo>
                    <a:pt x="18" y="749"/>
                  </a:lnTo>
                  <a:lnTo>
                    <a:pt x="13" y="749"/>
                  </a:lnTo>
                  <a:lnTo>
                    <a:pt x="6" y="749"/>
                  </a:lnTo>
                  <a:lnTo>
                    <a:pt x="6" y="740"/>
                  </a:lnTo>
                  <a:lnTo>
                    <a:pt x="6" y="731"/>
                  </a:lnTo>
                  <a:lnTo>
                    <a:pt x="6" y="723"/>
                  </a:lnTo>
                  <a:lnTo>
                    <a:pt x="6" y="713"/>
                  </a:lnTo>
                  <a:lnTo>
                    <a:pt x="6" y="679"/>
                  </a:lnTo>
                  <a:lnTo>
                    <a:pt x="4" y="646"/>
                  </a:lnTo>
                  <a:lnTo>
                    <a:pt x="3" y="615"/>
                  </a:lnTo>
                  <a:lnTo>
                    <a:pt x="0" y="588"/>
                  </a:lnTo>
                  <a:lnTo>
                    <a:pt x="0" y="562"/>
                  </a:lnTo>
                  <a:lnTo>
                    <a:pt x="3" y="541"/>
                  </a:lnTo>
                  <a:lnTo>
                    <a:pt x="5" y="531"/>
                  </a:lnTo>
                  <a:lnTo>
                    <a:pt x="7" y="523"/>
                  </a:lnTo>
                  <a:lnTo>
                    <a:pt x="11" y="516"/>
                  </a:lnTo>
                  <a:lnTo>
                    <a:pt x="16" y="510"/>
                  </a:lnTo>
                  <a:lnTo>
                    <a:pt x="33" y="492"/>
                  </a:lnTo>
                  <a:lnTo>
                    <a:pt x="53" y="468"/>
                  </a:lnTo>
                  <a:lnTo>
                    <a:pt x="73" y="446"/>
                  </a:lnTo>
                  <a:lnTo>
                    <a:pt x="90" y="427"/>
                  </a:lnTo>
                  <a:lnTo>
                    <a:pt x="94" y="423"/>
                  </a:lnTo>
                  <a:lnTo>
                    <a:pt x="100" y="421"/>
                  </a:lnTo>
                  <a:lnTo>
                    <a:pt x="107" y="418"/>
                  </a:lnTo>
                  <a:lnTo>
                    <a:pt x="116" y="415"/>
                  </a:lnTo>
                  <a:lnTo>
                    <a:pt x="136" y="409"/>
                  </a:lnTo>
                  <a:lnTo>
                    <a:pt x="159" y="404"/>
                  </a:lnTo>
                  <a:lnTo>
                    <a:pt x="180" y="399"/>
                  </a:lnTo>
                  <a:lnTo>
                    <a:pt x="200" y="393"/>
                  </a:lnTo>
                  <a:lnTo>
                    <a:pt x="209" y="391"/>
                  </a:lnTo>
                  <a:lnTo>
                    <a:pt x="217" y="388"/>
                  </a:lnTo>
                  <a:lnTo>
                    <a:pt x="222" y="384"/>
                  </a:lnTo>
                  <a:lnTo>
                    <a:pt x="227" y="381"/>
                  </a:lnTo>
                  <a:lnTo>
                    <a:pt x="238" y="369"/>
                  </a:lnTo>
                  <a:lnTo>
                    <a:pt x="248" y="355"/>
                  </a:lnTo>
                  <a:lnTo>
                    <a:pt x="258" y="339"/>
                  </a:lnTo>
                  <a:lnTo>
                    <a:pt x="267" y="323"/>
                  </a:lnTo>
                  <a:lnTo>
                    <a:pt x="277" y="306"/>
                  </a:lnTo>
                  <a:lnTo>
                    <a:pt x="286" y="292"/>
                  </a:lnTo>
                  <a:lnTo>
                    <a:pt x="294" y="279"/>
                  </a:lnTo>
                  <a:lnTo>
                    <a:pt x="301" y="271"/>
                  </a:lnTo>
                  <a:lnTo>
                    <a:pt x="314" y="263"/>
                  </a:lnTo>
                  <a:lnTo>
                    <a:pt x="332" y="254"/>
                  </a:lnTo>
                  <a:lnTo>
                    <a:pt x="349" y="246"/>
                  </a:lnTo>
                  <a:lnTo>
                    <a:pt x="356" y="243"/>
                  </a:lnTo>
                  <a:lnTo>
                    <a:pt x="361" y="239"/>
                  </a:lnTo>
                  <a:lnTo>
                    <a:pt x="368" y="236"/>
                  </a:lnTo>
                  <a:lnTo>
                    <a:pt x="375" y="231"/>
                  </a:lnTo>
                  <a:lnTo>
                    <a:pt x="385" y="227"/>
                  </a:lnTo>
                  <a:lnTo>
                    <a:pt x="408" y="217"/>
                  </a:lnTo>
                  <a:lnTo>
                    <a:pt x="432" y="207"/>
                  </a:lnTo>
                  <a:lnTo>
                    <a:pt x="456" y="198"/>
                  </a:lnTo>
                  <a:lnTo>
                    <a:pt x="476" y="190"/>
                  </a:lnTo>
                  <a:lnTo>
                    <a:pt x="484" y="187"/>
                  </a:lnTo>
                  <a:lnTo>
                    <a:pt x="489" y="183"/>
                  </a:lnTo>
                  <a:lnTo>
                    <a:pt x="493" y="181"/>
                  </a:lnTo>
                  <a:lnTo>
                    <a:pt x="495" y="179"/>
                  </a:lnTo>
                  <a:lnTo>
                    <a:pt x="497" y="175"/>
                  </a:lnTo>
                  <a:lnTo>
                    <a:pt x="503" y="171"/>
                  </a:lnTo>
                  <a:lnTo>
                    <a:pt x="510" y="166"/>
                  </a:lnTo>
                  <a:lnTo>
                    <a:pt x="520" y="161"/>
                  </a:lnTo>
                  <a:lnTo>
                    <a:pt x="543" y="150"/>
                  </a:lnTo>
                  <a:lnTo>
                    <a:pt x="567" y="138"/>
                  </a:lnTo>
                  <a:lnTo>
                    <a:pt x="591" y="127"/>
                  </a:lnTo>
                  <a:lnTo>
                    <a:pt x="610" y="115"/>
                  </a:lnTo>
                  <a:lnTo>
                    <a:pt x="618" y="110"/>
                  </a:lnTo>
                  <a:lnTo>
                    <a:pt x="622" y="105"/>
                  </a:lnTo>
                  <a:lnTo>
                    <a:pt x="624" y="103"/>
                  </a:lnTo>
                  <a:lnTo>
                    <a:pt x="624" y="101"/>
                  </a:lnTo>
                  <a:lnTo>
                    <a:pt x="624" y="99"/>
                  </a:lnTo>
                  <a:lnTo>
                    <a:pt x="624" y="9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3" name="Freeform 59"/>
            <p:cNvSpPr>
              <a:spLocks noChangeAspect="1"/>
            </p:cNvSpPr>
            <p:nvPr/>
          </p:nvSpPr>
          <p:spPr bwMode="gray">
            <a:xfrm rot="355651">
              <a:off x="7140040" y="2557463"/>
              <a:ext cx="308922" cy="203340"/>
            </a:xfrm>
            <a:custGeom>
              <a:avLst/>
              <a:gdLst/>
              <a:ahLst/>
              <a:cxnLst>
                <a:cxn ang="0">
                  <a:pos x="427" y="228"/>
                </a:cxn>
                <a:cxn ang="0">
                  <a:pos x="507" y="245"/>
                </a:cxn>
                <a:cxn ang="0">
                  <a:pos x="620" y="228"/>
                </a:cxn>
                <a:cxn ang="0">
                  <a:pos x="666" y="207"/>
                </a:cxn>
                <a:cxn ang="0">
                  <a:pos x="845" y="206"/>
                </a:cxn>
                <a:cxn ang="0">
                  <a:pos x="909" y="169"/>
                </a:cxn>
                <a:cxn ang="0">
                  <a:pos x="952" y="138"/>
                </a:cxn>
                <a:cxn ang="0">
                  <a:pos x="990" y="109"/>
                </a:cxn>
                <a:cxn ang="0">
                  <a:pos x="1063" y="99"/>
                </a:cxn>
                <a:cxn ang="0">
                  <a:pos x="1381" y="64"/>
                </a:cxn>
                <a:cxn ang="0">
                  <a:pos x="1513" y="21"/>
                </a:cxn>
                <a:cxn ang="0">
                  <a:pos x="1570" y="2"/>
                </a:cxn>
                <a:cxn ang="0">
                  <a:pos x="1614" y="23"/>
                </a:cxn>
                <a:cxn ang="0">
                  <a:pos x="1628" y="51"/>
                </a:cxn>
                <a:cxn ang="0">
                  <a:pos x="1636" y="224"/>
                </a:cxn>
                <a:cxn ang="0">
                  <a:pos x="1632" y="425"/>
                </a:cxn>
                <a:cxn ang="0">
                  <a:pos x="1652" y="473"/>
                </a:cxn>
                <a:cxn ang="0">
                  <a:pos x="1689" y="516"/>
                </a:cxn>
                <a:cxn ang="0">
                  <a:pos x="1693" y="548"/>
                </a:cxn>
                <a:cxn ang="0">
                  <a:pos x="1655" y="604"/>
                </a:cxn>
                <a:cxn ang="0">
                  <a:pos x="1564" y="736"/>
                </a:cxn>
                <a:cxn ang="0">
                  <a:pos x="1501" y="879"/>
                </a:cxn>
                <a:cxn ang="0">
                  <a:pos x="1487" y="943"/>
                </a:cxn>
                <a:cxn ang="0">
                  <a:pos x="1177" y="960"/>
                </a:cxn>
                <a:cxn ang="0">
                  <a:pos x="1178" y="1110"/>
                </a:cxn>
                <a:cxn ang="0">
                  <a:pos x="1176" y="1198"/>
                </a:cxn>
                <a:cxn ang="0">
                  <a:pos x="1151" y="1258"/>
                </a:cxn>
                <a:cxn ang="0">
                  <a:pos x="1076" y="1253"/>
                </a:cxn>
                <a:cxn ang="0">
                  <a:pos x="1022" y="1233"/>
                </a:cxn>
                <a:cxn ang="0">
                  <a:pos x="903" y="1205"/>
                </a:cxn>
                <a:cxn ang="0">
                  <a:pos x="739" y="1197"/>
                </a:cxn>
                <a:cxn ang="0">
                  <a:pos x="719" y="1187"/>
                </a:cxn>
                <a:cxn ang="0">
                  <a:pos x="653" y="1149"/>
                </a:cxn>
                <a:cxn ang="0">
                  <a:pos x="534" y="1136"/>
                </a:cxn>
                <a:cxn ang="0">
                  <a:pos x="484" y="1093"/>
                </a:cxn>
                <a:cxn ang="0">
                  <a:pos x="451" y="1071"/>
                </a:cxn>
                <a:cxn ang="0">
                  <a:pos x="386" y="1036"/>
                </a:cxn>
                <a:cxn ang="0">
                  <a:pos x="311" y="1062"/>
                </a:cxn>
                <a:cxn ang="0">
                  <a:pos x="225" y="1079"/>
                </a:cxn>
                <a:cxn ang="0">
                  <a:pos x="182" y="1072"/>
                </a:cxn>
                <a:cxn ang="0">
                  <a:pos x="138" y="1007"/>
                </a:cxn>
                <a:cxn ang="0">
                  <a:pos x="131" y="976"/>
                </a:cxn>
                <a:cxn ang="0">
                  <a:pos x="152" y="879"/>
                </a:cxn>
                <a:cxn ang="0">
                  <a:pos x="136" y="722"/>
                </a:cxn>
                <a:cxn ang="0">
                  <a:pos x="83" y="667"/>
                </a:cxn>
                <a:cxn ang="0">
                  <a:pos x="52" y="635"/>
                </a:cxn>
                <a:cxn ang="0">
                  <a:pos x="15" y="616"/>
                </a:cxn>
                <a:cxn ang="0">
                  <a:pos x="1" y="545"/>
                </a:cxn>
                <a:cxn ang="0">
                  <a:pos x="29" y="514"/>
                </a:cxn>
                <a:cxn ang="0">
                  <a:pos x="77" y="475"/>
                </a:cxn>
                <a:cxn ang="0">
                  <a:pos x="154" y="416"/>
                </a:cxn>
                <a:cxn ang="0">
                  <a:pos x="191" y="391"/>
                </a:cxn>
                <a:cxn ang="0">
                  <a:pos x="222" y="367"/>
                </a:cxn>
                <a:cxn ang="0">
                  <a:pos x="259" y="304"/>
                </a:cxn>
                <a:cxn ang="0">
                  <a:pos x="314" y="264"/>
                </a:cxn>
                <a:cxn ang="0">
                  <a:pos x="327" y="242"/>
                </a:cxn>
                <a:cxn ang="0">
                  <a:pos x="317" y="222"/>
                </a:cxn>
              </a:cxnLst>
              <a:rect l="0" t="0" r="r" b="b"/>
              <a:pathLst>
                <a:path w="1694" h="1266">
                  <a:moveTo>
                    <a:pt x="294" y="208"/>
                  </a:moveTo>
                  <a:lnTo>
                    <a:pt x="325" y="215"/>
                  </a:lnTo>
                  <a:lnTo>
                    <a:pt x="357" y="222"/>
                  </a:lnTo>
                  <a:lnTo>
                    <a:pt x="374" y="224"/>
                  </a:lnTo>
                  <a:lnTo>
                    <a:pt x="391" y="226"/>
                  </a:lnTo>
                  <a:lnTo>
                    <a:pt x="409" y="228"/>
                  </a:lnTo>
                  <a:lnTo>
                    <a:pt x="427" y="228"/>
                  </a:lnTo>
                  <a:lnTo>
                    <a:pt x="437" y="229"/>
                  </a:lnTo>
                  <a:lnTo>
                    <a:pt x="448" y="232"/>
                  </a:lnTo>
                  <a:lnTo>
                    <a:pt x="459" y="234"/>
                  </a:lnTo>
                  <a:lnTo>
                    <a:pt x="472" y="237"/>
                  </a:lnTo>
                  <a:lnTo>
                    <a:pt x="485" y="241"/>
                  </a:lnTo>
                  <a:lnTo>
                    <a:pt x="497" y="244"/>
                  </a:lnTo>
                  <a:lnTo>
                    <a:pt x="507" y="245"/>
                  </a:lnTo>
                  <a:lnTo>
                    <a:pt x="517" y="246"/>
                  </a:lnTo>
                  <a:lnTo>
                    <a:pt x="531" y="245"/>
                  </a:lnTo>
                  <a:lnTo>
                    <a:pt x="546" y="244"/>
                  </a:lnTo>
                  <a:lnTo>
                    <a:pt x="561" y="241"/>
                  </a:lnTo>
                  <a:lnTo>
                    <a:pt x="575" y="237"/>
                  </a:lnTo>
                  <a:lnTo>
                    <a:pt x="602" y="232"/>
                  </a:lnTo>
                  <a:lnTo>
                    <a:pt x="620" y="228"/>
                  </a:lnTo>
                  <a:lnTo>
                    <a:pt x="621" y="225"/>
                  </a:lnTo>
                  <a:lnTo>
                    <a:pt x="622" y="223"/>
                  </a:lnTo>
                  <a:lnTo>
                    <a:pt x="625" y="219"/>
                  </a:lnTo>
                  <a:lnTo>
                    <a:pt x="629" y="217"/>
                  </a:lnTo>
                  <a:lnTo>
                    <a:pt x="638" y="213"/>
                  </a:lnTo>
                  <a:lnTo>
                    <a:pt x="650" y="209"/>
                  </a:lnTo>
                  <a:lnTo>
                    <a:pt x="666" y="207"/>
                  </a:lnTo>
                  <a:lnTo>
                    <a:pt x="682" y="206"/>
                  </a:lnTo>
                  <a:lnTo>
                    <a:pt x="700" y="205"/>
                  </a:lnTo>
                  <a:lnTo>
                    <a:pt x="719" y="204"/>
                  </a:lnTo>
                  <a:lnTo>
                    <a:pt x="758" y="204"/>
                  </a:lnTo>
                  <a:lnTo>
                    <a:pt x="795" y="205"/>
                  </a:lnTo>
                  <a:lnTo>
                    <a:pt x="825" y="205"/>
                  </a:lnTo>
                  <a:lnTo>
                    <a:pt x="845" y="206"/>
                  </a:lnTo>
                  <a:lnTo>
                    <a:pt x="846" y="204"/>
                  </a:lnTo>
                  <a:lnTo>
                    <a:pt x="849" y="200"/>
                  </a:lnTo>
                  <a:lnTo>
                    <a:pt x="853" y="197"/>
                  </a:lnTo>
                  <a:lnTo>
                    <a:pt x="860" y="194"/>
                  </a:lnTo>
                  <a:lnTo>
                    <a:pt x="874" y="186"/>
                  </a:lnTo>
                  <a:lnTo>
                    <a:pt x="892" y="178"/>
                  </a:lnTo>
                  <a:lnTo>
                    <a:pt x="909" y="169"/>
                  </a:lnTo>
                  <a:lnTo>
                    <a:pt x="925" y="160"/>
                  </a:lnTo>
                  <a:lnTo>
                    <a:pt x="930" y="156"/>
                  </a:lnTo>
                  <a:lnTo>
                    <a:pt x="935" y="151"/>
                  </a:lnTo>
                  <a:lnTo>
                    <a:pt x="938" y="147"/>
                  </a:lnTo>
                  <a:lnTo>
                    <a:pt x="939" y="143"/>
                  </a:lnTo>
                  <a:lnTo>
                    <a:pt x="946" y="141"/>
                  </a:lnTo>
                  <a:lnTo>
                    <a:pt x="952" y="138"/>
                  </a:lnTo>
                  <a:lnTo>
                    <a:pt x="958" y="133"/>
                  </a:lnTo>
                  <a:lnTo>
                    <a:pt x="964" y="128"/>
                  </a:lnTo>
                  <a:lnTo>
                    <a:pt x="969" y="121"/>
                  </a:lnTo>
                  <a:lnTo>
                    <a:pt x="976" y="117"/>
                  </a:lnTo>
                  <a:lnTo>
                    <a:pt x="981" y="113"/>
                  </a:lnTo>
                  <a:lnTo>
                    <a:pt x="988" y="111"/>
                  </a:lnTo>
                  <a:lnTo>
                    <a:pt x="990" y="109"/>
                  </a:lnTo>
                  <a:lnTo>
                    <a:pt x="994" y="106"/>
                  </a:lnTo>
                  <a:lnTo>
                    <a:pt x="1000" y="103"/>
                  </a:lnTo>
                  <a:lnTo>
                    <a:pt x="1006" y="102"/>
                  </a:lnTo>
                  <a:lnTo>
                    <a:pt x="1012" y="101"/>
                  </a:lnTo>
                  <a:lnTo>
                    <a:pt x="1024" y="100"/>
                  </a:lnTo>
                  <a:lnTo>
                    <a:pt x="1042" y="99"/>
                  </a:lnTo>
                  <a:lnTo>
                    <a:pt x="1063" y="99"/>
                  </a:lnTo>
                  <a:lnTo>
                    <a:pt x="1105" y="98"/>
                  </a:lnTo>
                  <a:lnTo>
                    <a:pt x="1132" y="98"/>
                  </a:lnTo>
                  <a:lnTo>
                    <a:pt x="1162" y="97"/>
                  </a:lnTo>
                  <a:lnTo>
                    <a:pt x="1213" y="91"/>
                  </a:lnTo>
                  <a:lnTo>
                    <a:pt x="1277" y="82"/>
                  </a:lnTo>
                  <a:lnTo>
                    <a:pt x="1347" y="71"/>
                  </a:lnTo>
                  <a:lnTo>
                    <a:pt x="1381" y="64"/>
                  </a:lnTo>
                  <a:lnTo>
                    <a:pt x="1415" y="56"/>
                  </a:lnTo>
                  <a:lnTo>
                    <a:pt x="1445" y="49"/>
                  </a:lnTo>
                  <a:lnTo>
                    <a:pt x="1473" y="40"/>
                  </a:lnTo>
                  <a:lnTo>
                    <a:pt x="1484" y="35"/>
                  </a:lnTo>
                  <a:lnTo>
                    <a:pt x="1495" y="30"/>
                  </a:lnTo>
                  <a:lnTo>
                    <a:pt x="1504" y="25"/>
                  </a:lnTo>
                  <a:lnTo>
                    <a:pt x="1513" y="21"/>
                  </a:lnTo>
                  <a:lnTo>
                    <a:pt x="1518" y="15"/>
                  </a:lnTo>
                  <a:lnTo>
                    <a:pt x="1524" y="10"/>
                  </a:lnTo>
                  <a:lnTo>
                    <a:pt x="1526" y="5"/>
                  </a:lnTo>
                  <a:lnTo>
                    <a:pt x="1527" y="0"/>
                  </a:lnTo>
                  <a:lnTo>
                    <a:pt x="1541" y="0"/>
                  </a:lnTo>
                  <a:lnTo>
                    <a:pt x="1555" y="0"/>
                  </a:lnTo>
                  <a:lnTo>
                    <a:pt x="1570" y="2"/>
                  </a:lnTo>
                  <a:lnTo>
                    <a:pt x="1584" y="4"/>
                  </a:lnTo>
                  <a:lnTo>
                    <a:pt x="1591" y="6"/>
                  </a:lnTo>
                  <a:lnTo>
                    <a:pt x="1598" y="8"/>
                  </a:lnTo>
                  <a:lnTo>
                    <a:pt x="1603" y="11"/>
                  </a:lnTo>
                  <a:lnTo>
                    <a:pt x="1608" y="14"/>
                  </a:lnTo>
                  <a:lnTo>
                    <a:pt x="1612" y="18"/>
                  </a:lnTo>
                  <a:lnTo>
                    <a:pt x="1614" y="23"/>
                  </a:lnTo>
                  <a:lnTo>
                    <a:pt x="1617" y="29"/>
                  </a:lnTo>
                  <a:lnTo>
                    <a:pt x="1618" y="35"/>
                  </a:lnTo>
                  <a:lnTo>
                    <a:pt x="1619" y="35"/>
                  </a:lnTo>
                  <a:lnTo>
                    <a:pt x="1621" y="37"/>
                  </a:lnTo>
                  <a:lnTo>
                    <a:pt x="1623" y="40"/>
                  </a:lnTo>
                  <a:lnTo>
                    <a:pt x="1624" y="42"/>
                  </a:lnTo>
                  <a:lnTo>
                    <a:pt x="1628" y="51"/>
                  </a:lnTo>
                  <a:lnTo>
                    <a:pt x="1630" y="61"/>
                  </a:lnTo>
                  <a:lnTo>
                    <a:pt x="1633" y="88"/>
                  </a:lnTo>
                  <a:lnTo>
                    <a:pt x="1635" y="119"/>
                  </a:lnTo>
                  <a:lnTo>
                    <a:pt x="1636" y="152"/>
                  </a:lnTo>
                  <a:lnTo>
                    <a:pt x="1636" y="183"/>
                  </a:lnTo>
                  <a:lnTo>
                    <a:pt x="1636" y="208"/>
                  </a:lnTo>
                  <a:lnTo>
                    <a:pt x="1636" y="224"/>
                  </a:lnTo>
                  <a:lnTo>
                    <a:pt x="1635" y="241"/>
                  </a:lnTo>
                  <a:lnTo>
                    <a:pt x="1635" y="268"/>
                  </a:lnTo>
                  <a:lnTo>
                    <a:pt x="1633" y="304"/>
                  </a:lnTo>
                  <a:lnTo>
                    <a:pt x="1632" y="342"/>
                  </a:lnTo>
                  <a:lnTo>
                    <a:pt x="1631" y="379"/>
                  </a:lnTo>
                  <a:lnTo>
                    <a:pt x="1631" y="411"/>
                  </a:lnTo>
                  <a:lnTo>
                    <a:pt x="1632" y="425"/>
                  </a:lnTo>
                  <a:lnTo>
                    <a:pt x="1632" y="435"/>
                  </a:lnTo>
                  <a:lnTo>
                    <a:pt x="1633" y="441"/>
                  </a:lnTo>
                  <a:lnTo>
                    <a:pt x="1636" y="444"/>
                  </a:lnTo>
                  <a:lnTo>
                    <a:pt x="1636" y="453"/>
                  </a:lnTo>
                  <a:lnTo>
                    <a:pt x="1640" y="456"/>
                  </a:lnTo>
                  <a:lnTo>
                    <a:pt x="1646" y="463"/>
                  </a:lnTo>
                  <a:lnTo>
                    <a:pt x="1652" y="473"/>
                  </a:lnTo>
                  <a:lnTo>
                    <a:pt x="1660" y="484"/>
                  </a:lnTo>
                  <a:lnTo>
                    <a:pt x="1669" y="496"/>
                  </a:lnTo>
                  <a:lnTo>
                    <a:pt x="1677" y="506"/>
                  </a:lnTo>
                  <a:lnTo>
                    <a:pt x="1680" y="510"/>
                  </a:lnTo>
                  <a:lnTo>
                    <a:pt x="1684" y="513"/>
                  </a:lnTo>
                  <a:lnTo>
                    <a:pt x="1687" y="515"/>
                  </a:lnTo>
                  <a:lnTo>
                    <a:pt x="1689" y="516"/>
                  </a:lnTo>
                  <a:lnTo>
                    <a:pt x="1689" y="534"/>
                  </a:lnTo>
                  <a:lnTo>
                    <a:pt x="1690" y="534"/>
                  </a:lnTo>
                  <a:lnTo>
                    <a:pt x="1691" y="535"/>
                  </a:lnTo>
                  <a:lnTo>
                    <a:pt x="1693" y="536"/>
                  </a:lnTo>
                  <a:lnTo>
                    <a:pt x="1693" y="539"/>
                  </a:lnTo>
                  <a:lnTo>
                    <a:pt x="1694" y="543"/>
                  </a:lnTo>
                  <a:lnTo>
                    <a:pt x="1693" y="548"/>
                  </a:lnTo>
                  <a:lnTo>
                    <a:pt x="1690" y="559"/>
                  </a:lnTo>
                  <a:lnTo>
                    <a:pt x="1689" y="565"/>
                  </a:lnTo>
                  <a:lnTo>
                    <a:pt x="1686" y="566"/>
                  </a:lnTo>
                  <a:lnTo>
                    <a:pt x="1681" y="571"/>
                  </a:lnTo>
                  <a:lnTo>
                    <a:pt x="1676" y="577"/>
                  </a:lnTo>
                  <a:lnTo>
                    <a:pt x="1669" y="584"/>
                  </a:lnTo>
                  <a:lnTo>
                    <a:pt x="1655" y="604"/>
                  </a:lnTo>
                  <a:lnTo>
                    <a:pt x="1638" y="628"/>
                  </a:lnTo>
                  <a:lnTo>
                    <a:pt x="1606" y="674"/>
                  </a:lnTo>
                  <a:lnTo>
                    <a:pt x="1587" y="700"/>
                  </a:lnTo>
                  <a:lnTo>
                    <a:pt x="1581" y="706"/>
                  </a:lnTo>
                  <a:lnTo>
                    <a:pt x="1576" y="714"/>
                  </a:lnTo>
                  <a:lnTo>
                    <a:pt x="1570" y="724"/>
                  </a:lnTo>
                  <a:lnTo>
                    <a:pt x="1564" y="736"/>
                  </a:lnTo>
                  <a:lnTo>
                    <a:pt x="1551" y="764"/>
                  </a:lnTo>
                  <a:lnTo>
                    <a:pt x="1536" y="794"/>
                  </a:lnTo>
                  <a:lnTo>
                    <a:pt x="1524" y="822"/>
                  </a:lnTo>
                  <a:lnTo>
                    <a:pt x="1513" y="847"/>
                  </a:lnTo>
                  <a:lnTo>
                    <a:pt x="1505" y="864"/>
                  </a:lnTo>
                  <a:lnTo>
                    <a:pt x="1501" y="870"/>
                  </a:lnTo>
                  <a:lnTo>
                    <a:pt x="1501" y="879"/>
                  </a:lnTo>
                  <a:lnTo>
                    <a:pt x="1498" y="888"/>
                  </a:lnTo>
                  <a:lnTo>
                    <a:pt x="1496" y="896"/>
                  </a:lnTo>
                  <a:lnTo>
                    <a:pt x="1494" y="905"/>
                  </a:lnTo>
                  <a:lnTo>
                    <a:pt x="1492" y="914"/>
                  </a:lnTo>
                  <a:lnTo>
                    <a:pt x="1489" y="923"/>
                  </a:lnTo>
                  <a:lnTo>
                    <a:pt x="1488" y="933"/>
                  </a:lnTo>
                  <a:lnTo>
                    <a:pt x="1487" y="943"/>
                  </a:lnTo>
                  <a:lnTo>
                    <a:pt x="1479" y="946"/>
                  </a:lnTo>
                  <a:lnTo>
                    <a:pt x="1465" y="954"/>
                  </a:lnTo>
                  <a:lnTo>
                    <a:pt x="1457" y="958"/>
                  </a:lnTo>
                  <a:lnTo>
                    <a:pt x="1448" y="962"/>
                  </a:lnTo>
                  <a:lnTo>
                    <a:pt x="1440" y="964"/>
                  </a:lnTo>
                  <a:lnTo>
                    <a:pt x="1434" y="965"/>
                  </a:lnTo>
                  <a:lnTo>
                    <a:pt x="1177" y="960"/>
                  </a:lnTo>
                  <a:lnTo>
                    <a:pt x="1168" y="972"/>
                  </a:lnTo>
                  <a:lnTo>
                    <a:pt x="1159" y="983"/>
                  </a:lnTo>
                  <a:lnTo>
                    <a:pt x="1160" y="1010"/>
                  </a:lnTo>
                  <a:lnTo>
                    <a:pt x="1163" y="1035"/>
                  </a:lnTo>
                  <a:lnTo>
                    <a:pt x="1168" y="1061"/>
                  </a:lnTo>
                  <a:lnTo>
                    <a:pt x="1172" y="1085"/>
                  </a:lnTo>
                  <a:lnTo>
                    <a:pt x="1178" y="1110"/>
                  </a:lnTo>
                  <a:lnTo>
                    <a:pt x="1182" y="1135"/>
                  </a:lnTo>
                  <a:lnTo>
                    <a:pt x="1185" y="1160"/>
                  </a:lnTo>
                  <a:lnTo>
                    <a:pt x="1186" y="1185"/>
                  </a:lnTo>
                  <a:lnTo>
                    <a:pt x="1184" y="1186"/>
                  </a:lnTo>
                  <a:lnTo>
                    <a:pt x="1180" y="1188"/>
                  </a:lnTo>
                  <a:lnTo>
                    <a:pt x="1178" y="1193"/>
                  </a:lnTo>
                  <a:lnTo>
                    <a:pt x="1176" y="1198"/>
                  </a:lnTo>
                  <a:lnTo>
                    <a:pt x="1172" y="1210"/>
                  </a:lnTo>
                  <a:lnTo>
                    <a:pt x="1168" y="1225"/>
                  </a:lnTo>
                  <a:lnTo>
                    <a:pt x="1166" y="1233"/>
                  </a:lnTo>
                  <a:lnTo>
                    <a:pt x="1162" y="1241"/>
                  </a:lnTo>
                  <a:lnTo>
                    <a:pt x="1159" y="1247"/>
                  </a:lnTo>
                  <a:lnTo>
                    <a:pt x="1156" y="1253"/>
                  </a:lnTo>
                  <a:lnTo>
                    <a:pt x="1151" y="1258"/>
                  </a:lnTo>
                  <a:lnTo>
                    <a:pt x="1146" y="1263"/>
                  </a:lnTo>
                  <a:lnTo>
                    <a:pt x="1139" y="1265"/>
                  </a:lnTo>
                  <a:lnTo>
                    <a:pt x="1132" y="1266"/>
                  </a:lnTo>
                  <a:lnTo>
                    <a:pt x="1118" y="1265"/>
                  </a:lnTo>
                  <a:lnTo>
                    <a:pt x="1103" y="1262"/>
                  </a:lnTo>
                  <a:lnTo>
                    <a:pt x="1090" y="1257"/>
                  </a:lnTo>
                  <a:lnTo>
                    <a:pt x="1076" y="1253"/>
                  </a:lnTo>
                  <a:lnTo>
                    <a:pt x="1064" y="1247"/>
                  </a:lnTo>
                  <a:lnTo>
                    <a:pt x="1051" y="1243"/>
                  </a:lnTo>
                  <a:lnTo>
                    <a:pt x="1037" y="1241"/>
                  </a:lnTo>
                  <a:lnTo>
                    <a:pt x="1025" y="1238"/>
                  </a:lnTo>
                  <a:lnTo>
                    <a:pt x="1024" y="1237"/>
                  </a:lnTo>
                  <a:lnTo>
                    <a:pt x="1023" y="1235"/>
                  </a:lnTo>
                  <a:lnTo>
                    <a:pt x="1022" y="1233"/>
                  </a:lnTo>
                  <a:lnTo>
                    <a:pt x="1018" y="1231"/>
                  </a:lnTo>
                  <a:lnTo>
                    <a:pt x="1013" y="1227"/>
                  </a:lnTo>
                  <a:lnTo>
                    <a:pt x="1004" y="1224"/>
                  </a:lnTo>
                  <a:lnTo>
                    <a:pt x="981" y="1217"/>
                  </a:lnTo>
                  <a:lnTo>
                    <a:pt x="956" y="1213"/>
                  </a:lnTo>
                  <a:lnTo>
                    <a:pt x="929" y="1208"/>
                  </a:lnTo>
                  <a:lnTo>
                    <a:pt x="903" y="1205"/>
                  </a:lnTo>
                  <a:lnTo>
                    <a:pt x="882" y="1204"/>
                  </a:lnTo>
                  <a:lnTo>
                    <a:pt x="868" y="1203"/>
                  </a:lnTo>
                  <a:lnTo>
                    <a:pt x="837" y="1204"/>
                  </a:lnTo>
                  <a:lnTo>
                    <a:pt x="791" y="1203"/>
                  </a:lnTo>
                  <a:lnTo>
                    <a:pt x="767" y="1202"/>
                  </a:lnTo>
                  <a:lnTo>
                    <a:pt x="747" y="1199"/>
                  </a:lnTo>
                  <a:lnTo>
                    <a:pt x="739" y="1197"/>
                  </a:lnTo>
                  <a:lnTo>
                    <a:pt x="734" y="1195"/>
                  </a:lnTo>
                  <a:lnTo>
                    <a:pt x="731" y="1194"/>
                  </a:lnTo>
                  <a:lnTo>
                    <a:pt x="729" y="1193"/>
                  </a:lnTo>
                  <a:lnTo>
                    <a:pt x="728" y="1191"/>
                  </a:lnTo>
                  <a:lnTo>
                    <a:pt x="728" y="1189"/>
                  </a:lnTo>
                  <a:lnTo>
                    <a:pt x="724" y="1189"/>
                  </a:lnTo>
                  <a:lnTo>
                    <a:pt x="719" y="1187"/>
                  </a:lnTo>
                  <a:lnTo>
                    <a:pt x="714" y="1186"/>
                  </a:lnTo>
                  <a:lnTo>
                    <a:pt x="709" y="1183"/>
                  </a:lnTo>
                  <a:lnTo>
                    <a:pt x="698" y="1175"/>
                  </a:lnTo>
                  <a:lnTo>
                    <a:pt x="686" y="1167"/>
                  </a:lnTo>
                  <a:lnTo>
                    <a:pt x="673" y="1159"/>
                  </a:lnTo>
                  <a:lnTo>
                    <a:pt x="660" y="1151"/>
                  </a:lnTo>
                  <a:lnTo>
                    <a:pt x="653" y="1149"/>
                  </a:lnTo>
                  <a:lnTo>
                    <a:pt x="648" y="1147"/>
                  </a:lnTo>
                  <a:lnTo>
                    <a:pt x="640" y="1145"/>
                  </a:lnTo>
                  <a:lnTo>
                    <a:pt x="633" y="1145"/>
                  </a:lnTo>
                  <a:lnTo>
                    <a:pt x="539" y="1145"/>
                  </a:lnTo>
                  <a:lnTo>
                    <a:pt x="538" y="1142"/>
                  </a:lnTo>
                  <a:lnTo>
                    <a:pt x="537" y="1139"/>
                  </a:lnTo>
                  <a:lnTo>
                    <a:pt x="534" y="1136"/>
                  </a:lnTo>
                  <a:lnTo>
                    <a:pt x="531" y="1132"/>
                  </a:lnTo>
                  <a:lnTo>
                    <a:pt x="520" y="1125"/>
                  </a:lnTo>
                  <a:lnTo>
                    <a:pt x="510" y="1117"/>
                  </a:lnTo>
                  <a:lnTo>
                    <a:pt x="499" y="1109"/>
                  </a:lnTo>
                  <a:lnTo>
                    <a:pt x="490" y="1101"/>
                  </a:lnTo>
                  <a:lnTo>
                    <a:pt x="486" y="1097"/>
                  </a:lnTo>
                  <a:lnTo>
                    <a:pt x="484" y="1093"/>
                  </a:lnTo>
                  <a:lnTo>
                    <a:pt x="481" y="1090"/>
                  </a:lnTo>
                  <a:lnTo>
                    <a:pt x="481" y="1087"/>
                  </a:lnTo>
                  <a:lnTo>
                    <a:pt x="477" y="1085"/>
                  </a:lnTo>
                  <a:lnTo>
                    <a:pt x="474" y="1084"/>
                  </a:lnTo>
                  <a:lnTo>
                    <a:pt x="468" y="1082"/>
                  </a:lnTo>
                  <a:lnTo>
                    <a:pt x="464" y="1079"/>
                  </a:lnTo>
                  <a:lnTo>
                    <a:pt x="451" y="1071"/>
                  </a:lnTo>
                  <a:lnTo>
                    <a:pt x="439" y="1062"/>
                  </a:lnTo>
                  <a:lnTo>
                    <a:pt x="426" y="1052"/>
                  </a:lnTo>
                  <a:lnTo>
                    <a:pt x="412" y="1044"/>
                  </a:lnTo>
                  <a:lnTo>
                    <a:pt x="405" y="1041"/>
                  </a:lnTo>
                  <a:lnTo>
                    <a:pt x="399" y="1039"/>
                  </a:lnTo>
                  <a:lnTo>
                    <a:pt x="393" y="1037"/>
                  </a:lnTo>
                  <a:lnTo>
                    <a:pt x="386" y="1036"/>
                  </a:lnTo>
                  <a:lnTo>
                    <a:pt x="371" y="1040"/>
                  </a:lnTo>
                  <a:lnTo>
                    <a:pt x="345" y="1046"/>
                  </a:lnTo>
                  <a:lnTo>
                    <a:pt x="332" y="1051"/>
                  </a:lnTo>
                  <a:lnTo>
                    <a:pt x="321" y="1055"/>
                  </a:lnTo>
                  <a:lnTo>
                    <a:pt x="316" y="1058"/>
                  </a:lnTo>
                  <a:lnTo>
                    <a:pt x="313" y="1060"/>
                  </a:lnTo>
                  <a:lnTo>
                    <a:pt x="311" y="1062"/>
                  </a:lnTo>
                  <a:lnTo>
                    <a:pt x="311" y="1064"/>
                  </a:lnTo>
                  <a:lnTo>
                    <a:pt x="298" y="1064"/>
                  </a:lnTo>
                  <a:lnTo>
                    <a:pt x="285" y="1066"/>
                  </a:lnTo>
                  <a:lnTo>
                    <a:pt x="270" y="1070"/>
                  </a:lnTo>
                  <a:lnTo>
                    <a:pt x="255" y="1073"/>
                  </a:lnTo>
                  <a:lnTo>
                    <a:pt x="240" y="1077"/>
                  </a:lnTo>
                  <a:lnTo>
                    <a:pt x="225" y="1079"/>
                  </a:lnTo>
                  <a:lnTo>
                    <a:pt x="209" y="1081"/>
                  </a:lnTo>
                  <a:lnTo>
                    <a:pt x="193" y="1082"/>
                  </a:lnTo>
                  <a:lnTo>
                    <a:pt x="192" y="1079"/>
                  </a:lnTo>
                  <a:lnTo>
                    <a:pt x="191" y="1078"/>
                  </a:lnTo>
                  <a:lnTo>
                    <a:pt x="188" y="1078"/>
                  </a:lnTo>
                  <a:lnTo>
                    <a:pt x="184" y="1078"/>
                  </a:lnTo>
                  <a:lnTo>
                    <a:pt x="182" y="1072"/>
                  </a:lnTo>
                  <a:lnTo>
                    <a:pt x="177" y="1064"/>
                  </a:lnTo>
                  <a:lnTo>
                    <a:pt x="169" y="1055"/>
                  </a:lnTo>
                  <a:lnTo>
                    <a:pt x="160" y="1043"/>
                  </a:lnTo>
                  <a:lnTo>
                    <a:pt x="151" y="1032"/>
                  </a:lnTo>
                  <a:lnTo>
                    <a:pt x="143" y="1020"/>
                  </a:lnTo>
                  <a:lnTo>
                    <a:pt x="140" y="1013"/>
                  </a:lnTo>
                  <a:lnTo>
                    <a:pt x="138" y="1007"/>
                  </a:lnTo>
                  <a:lnTo>
                    <a:pt x="135" y="1002"/>
                  </a:lnTo>
                  <a:lnTo>
                    <a:pt x="135" y="996"/>
                  </a:lnTo>
                  <a:lnTo>
                    <a:pt x="133" y="996"/>
                  </a:lnTo>
                  <a:lnTo>
                    <a:pt x="131" y="994"/>
                  </a:lnTo>
                  <a:lnTo>
                    <a:pt x="131" y="991"/>
                  </a:lnTo>
                  <a:lnTo>
                    <a:pt x="130" y="986"/>
                  </a:lnTo>
                  <a:lnTo>
                    <a:pt x="131" y="976"/>
                  </a:lnTo>
                  <a:lnTo>
                    <a:pt x="132" y="965"/>
                  </a:lnTo>
                  <a:lnTo>
                    <a:pt x="136" y="944"/>
                  </a:lnTo>
                  <a:lnTo>
                    <a:pt x="140" y="934"/>
                  </a:lnTo>
                  <a:lnTo>
                    <a:pt x="144" y="921"/>
                  </a:lnTo>
                  <a:lnTo>
                    <a:pt x="149" y="908"/>
                  </a:lnTo>
                  <a:lnTo>
                    <a:pt x="151" y="893"/>
                  </a:lnTo>
                  <a:lnTo>
                    <a:pt x="152" y="879"/>
                  </a:lnTo>
                  <a:lnTo>
                    <a:pt x="152" y="863"/>
                  </a:lnTo>
                  <a:lnTo>
                    <a:pt x="152" y="847"/>
                  </a:lnTo>
                  <a:lnTo>
                    <a:pt x="151" y="831"/>
                  </a:lnTo>
                  <a:lnTo>
                    <a:pt x="149" y="814"/>
                  </a:lnTo>
                  <a:lnTo>
                    <a:pt x="144" y="782"/>
                  </a:lnTo>
                  <a:lnTo>
                    <a:pt x="140" y="751"/>
                  </a:lnTo>
                  <a:lnTo>
                    <a:pt x="136" y="722"/>
                  </a:lnTo>
                  <a:lnTo>
                    <a:pt x="135" y="696"/>
                  </a:lnTo>
                  <a:lnTo>
                    <a:pt x="131" y="691"/>
                  </a:lnTo>
                  <a:lnTo>
                    <a:pt x="122" y="684"/>
                  </a:lnTo>
                  <a:lnTo>
                    <a:pt x="112" y="675"/>
                  </a:lnTo>
                  <a:lnTo>
                    <a:pt x="109" y="668"/>
                  </a:lnTo>
                  <a:lnTo>
                    <a:pt x="95" y="668"/>
                  </a:lnTo>
                  <a:lnTo>
                    <a:pt x="83" y="667"/>
                  </a:lnTo>
                  <a:lnTo>
                    <a:pt x="71" y="666"/>
                  </a:lnTo>
                  <a:lnTo>
                    <a:pt x="58" y="665"/>
                  </a:lnTo>
                  <a:lnTo>
                    <a:pt x="59" y="650"/>
                  </a:lnTo>
                  <a:lnTo>
                    <a:pt x="61" y="637"/>
                  </a:lnTo>
                  <a:lnTo>
                    <a:pt x="57" y="637"/>
                  </a:lnTo>
                  <a:lnTo>
                    <a:pt x="54" y="637"/>
                  </a:lnTo>
                  <a:lnTo>
                    <a:pt x="52" y="635"/>
                  </a:lnTo>
                  <a:lnTo>
                    <a:pt x="50" y="632"/>
                  </a:lnTo>
                  <a:lnTo>
                    <a:pt x="36" y="632"/>
                  </a:lnTo>
                  <a:lnTo>
                    <a:pt x="33" y="629"/>
                  </a:lnTo>
                  <a:lnTo>
                    <a:pt x="27" y="625"/>
                  </a:lnTo>
                  <a:lnTo>
                    <a:pt x="24" y="621"/>
                  </a:lnTo>
                  <a:lnTo>
                    <a:pt x="23" y="618"/>
                  </a:lnTo>
                  <a:lnTo>
                    <a:pt x="15" y="616"/>
                  </a:lnTo>
                  <a:lnTo>
                    <a:pt x="8" y="613"/>
                  </a:lnTo>
                  <a:lnTo>
                    <a:pt x="5" y="600"/>
                  </a:lnTo>
                  <a:lnTo>
                    <a:pt x="0" y="573"/>
                  </a:lnTo>
                  <a:lnTo>
                    <a:pt x="0" y="565"/>
                  </a:lnTo>
                  <a:lnTo>
                    <a:pt x="0" y="558"/>
                  </a:lnTo>
                  <a:lnTo>
                    <a:pt x="0" y="551"/>
                  </a:lnTo>
                  <a:lnTo>
                    <a:pt x="1" y="545"/>
                  </a:lnTo>
                  <a:lnTo>
                    <a:pt x="5" y="540"/>
                  </a:lnTo>
                  <a:lnTo>
                    <a:pt x="7" y="536"/>
                  </a:lnTo>
                  <a:lnTo>
                    <a:pt x="11" y="533"/>
                  </a:lnTo>
                  <a:lnTo>
                    <a:pt x="17" y="532"/>
                  </a:lnTo>
                  <a:lnTo>
                    <a:pt x="19" y="526"/>
                  </a:lnTo>
                  <a:lnTo>
                    <a:pt x="24" y="521"/>
                  </a:lnTo>
                  <a:lnTo>
                    <a:pt x="29" y="514"/>
                  </a:lnTo>
                  <a:lnTo>
                    <a:pt x="36" y="507"/>
                  </a:lnTo>
                  <a:lnTo>
                    <a:pt x="49" y="496"/>
                  </a:lnTo>
                  <a:lnTo>
                    <a:pt x="55" y="489"/>
                  </a:lnTo>
                  <a:lnTo>
                    <a:pt x="63" y="487"/>
                  </a:lnTo>
                  <a:lnTo>
                    <a:pt x="69" y="485"/>
                  </a:lnTo>
                  <a:lnTo>
                    <a:pt x="74" y="475"/>
                  </a:lnTo>
                  <a:lnTo>
                    <a:pt x="77" y="475"/>
                  </a:lnTo>
                  <a:lnTo>
                    <a:pt x="83" y="473"/>
                  </a:lnTo>
                  <a:lnTo>
                    <a:pt x="88" y="469"/>
                  </a:lnTo>
                  <a:lnTo>
                    <a:pt x="94" y="465"/>
                  </a:lnTo>
                  <a:lnTo>
                    <a:pt x="110" y="454"/>
                  </a:lnTo>
                  <a:lnTo>
                    <a:pt x="125" y="441"/>
                  </a:lnTo>
                  <a:lnTo>
                    <a:pt x="141" y="428"/>
                  </a:lnTo>
                  <a:lnTo>
                    <a:pt x="154" y="416"/>
                  </a:lnTo>
                  <a:lnTo>
                    <a:pt x="164" y="406"/>
                  </a:lnTo>
                  <a:lnTo>
                    <a:pt x="169" y="399"/>
                  </a:lnTo>
                  <a:lnTo>
                    <a:pt x="173" y="399"/>
                  </a:lnTo>
                  <a:lnTo>
                    <a:pt x="178" y="398"/>
                  </a:lnTo>
                  <a:lnTo>
                    <a:pt x="182" y="396"/>
                  </a:lnTo>
                  <a:lnTo>
                    <a:pt x="187" y="393"/>
                  </a:lnTo>
                  <a:lnTo>
                    <a:pt x="191" y="391"/>
                  </a:lnTo>
                  <a:lnTo>
                    <a:pt x="194" y="388"/>
                  </a:lnTo>
                  <a:lnTo>
                    <a:pt x="197" y="385"/>
                  </a:lnTo>
                  <a:lnTo>
                    <a:pt x="198" y="380"/>
                  </a:lnTo>
                  <a:lnTo>
                    <a:pt x="203" y="379"/>
                  </a:lnTo>
                  <a:lnTo>
                    <a:pt x="210" y="376"/>
                  </a:lnTo>
                  <a:lnTo>
                    <a:pt x="217" y="371"/>
                  </a:lnTo>
                  <a:lnTo>
                    <a:pt x="222" y="367"/>
                  </a:lnTo>
                  <a:lnTo>
                    <a:pt x="234" y="357"/>
                  </a:lnTo>
                  <a:lnTo>
                    <a:pt x="240" y="352"/>
                  </a:lnTo>
                  <a:lnTo>
                    <a:pt x="242" y="335"/>
                  </a:lnTo>
                  <a:lnTo>
                    <a:pt x="245" y="319"/>
                  </a:lnTo>
                  <a:lnTo>
                    <a:pt x="250" y="314"/>
                  </a:lnTo>
                  <a:lnTo>
                    <a:pt x="255" y="310"/>
                  </a:lnTo>
                  <a:lnTo>
                    <a:pt x="259" y="304"/>
                  </a:lnTo>
                  <a:lnTo>
                    <a:pt x="270" y="298"/>
                  </a:lnTo>
                  <a:lnTo>
                    <a:pt x="278" y="291"/>
                  </a:lnTo>
                  <a:lnTo>
                    <a:pt x="290" y="283"/>
                  </a:lnTo>
                  <a:lnTo>
                    <a:pt x="302" y="276"/>
                  </a:lnTo>
                  <a:lnTo>
                    <a:pt x="307" y="266"/>
                  </a:lnTo>
                  <a:lnTo>
                    <a:pt x="311" y="266"/>
                  </a:lnTo>
                  <a:lnTo>
                    <a:pt x="314" y="264"/>
                  </a:lnTo>
                  <a:lnTo>
                    <a:pt x="315" y="261"/>
                  </a:lnTo>
                  <a:lnTo>
                    <a:pt x="316" y="257"/>
                  </a:lnTo>
                  <a:lnTo>
                    <a:pt x="321" y="255"/>
                  </a:lnTo>
                  <a:lnTo>
                    <a:pt x="326" y="253"/>
                  </a:lnTo>
                  <a:lnTo>
                    <a:pt x="326" y="248"/>
                  </a:lnTo>
                  <a:lnTo>
                    <a:pt x="326" y="244"/>
                  </a:lnTo>
                  <a:lnTo>
                    <a:pt x="327" y="242"/>
                  </a:lnTo>
                  <a:lnTo>
                    <a:pt x="328" y="239"/>
                  </a:lnTo>
                  <a:lnTo>
                    <a:pt x="330" y="238"/>
                  </a:lnTo>
                  <a:lnTo>
                    <a:pt x="331" y="238"/>
                  </a:lnTo>
                  <a:lnTo>
                    <a:pt x="330" y="234"/>
                  </a:lnTo>
                  <a:lnTo>
                    <a:pt x="327" y="229"/>
                  </a:lnTo>
                  <a:lnTo>
                    <a:pt x="323" y="225"/>
                  </a:lnTo>
                  <a:lnTo>
                    <a:pt x="317" y="222"/>
                  </a:lnTo>
                  <a:lnTo>
                    <a:pt x="305" y="215"/>
                  </a:lnTo>
                  <a:lnTo>
                    <a:pt x="294" y="20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4" name="Freeform 60"/>
            <p:cNvSpPr>
              <a:spLocks noChangeAspect="1"/>
            </p:cNvSpPr>
            <p:nvPr/>
          </p:nvSpPr>
          <p:spPr bwMode="gray">
            <a:xfrm rot="355651">
              <a:off x="7339994" y="2400300"/>
              <a:ext cx="354416" cy="426907"/>
            </a:xfrm>
            <a:custGeom>
              <a:avLst/>
              <a:gdLst/>
              <a:ahLst/>
              <a:cxnLst>
                <a:cxn ang="0">
                  <a:pos x="683" y="1014"/>
                </a:cxn>
                <a:cxn ang="0">
                  <a:pos x="729" y="976"/>
                </a:cxn>
                <a:cxn ang="0">
                  <a:pos x="774" y="963"/>
                </a:cxn>
                <a:cxn ang="0">
                  <a:pos x="864" y="927"/>
                </a:cxn>
                <a:cxn ang="0">
                  <a:pos x="920" y="877"/>
                </a:cxn>
                <a:cxn ang="0">
                  <a:pos x="964" y="809"/>
                </a:cxn>
                <a:cxn ang="0">
                  <a:pos x="945" y="514"/>
                </a:cxn>
                <a:cxn ang="0">
                  <a:pos x="903" y="454"/>
                </a:cxn>
                <a:cxn ang="0">
                  <a:pos x="871" y="409"/>
                </a:cxn>
                <a:cxn ang="0">
                  <a:pos x="833" y="364"/>
                </a:cxn>
                <a:cxn ang="0">
                  <a:pos x="789" y="237"/>
                </a:cxn>
                <a:cxn ang="0">
                  <a:pos x="814" y="75"/>
                </a:cxn>
                <a:cxn ang="0">
                  <a:pos x="894" y="12"/>
                </a:cxn>
                <a:cxn ang="0">
                  <a:pos x="1082" y="5"/>
                </a:cxn>
                <a:cxn ang="0">
                  <a:pos x="1322" y="56"/>
                </a:cxn>
                <a:cxn ang="0">
                  <a:pos x="1371" y="94"/>
                </a:cxn>
                <a:cxn ang="0">
                  <a:pos x="1411" y="118"/>
                </a:cxn>
                <a:cxn ang="0">
                  <a:pos x="1537" y="171"/>
                </a:cxn>
                <a:cxn ang="0">
                  <a:pos x="1676" y="234"/>
                </a:cxn>
                <a:cxn ang="0">
                  <a:pos x="1716" y="290"/>
                </a:cxn>
                <a:cxn ang="0">
                  <a:pos x="1753" y="340"/>
                </a:cxn>
                <a:cxn ang="0">
                  <a:pos x="1792" y="410"/>
                </a:cxn>
                <a:cxn ang="0">
                  <a:pos x="1811" y="646"/>
                </a:cxn>
                <a:cxn ang="0">
                  <a:pos x="1861" y="759"/>
                </a:cxn>
                <a:cxn ang="0">
                  <a:pos x="1927" y="879"/>
                </a:cxn>
                <a:cxn ang="0">
                  <a:pos x="1934" y="1107"/>
                </a:cxn>
                <a:cxn ang="0">
                  <a:pos x="1660" y="1163"/>
                </a:cxn>
                <a:cxn ang="0">
                  <a:pos x="1598" y="1227"/>
                </a:cxn>
                <a:cxn ang="0">
                  <a:pos x="1552" y="1268"/>
                </a:cxn>
                <a:cxn ang="0">
                  <a:pos x="1484" y="1303"/>
                </a:cxn>
                <a:cxn ang="0">
                  <a:pos x="1387" y="1331"/>
                </a:cxn>
                <a:cxn ang="0">
                  <a:pos x="1322" y="1355"/>
                </a:cxn>
                <a:cxn ang="0">
                  <a:pos x="1288" y="1396"/>
                </a:cxn>
                <a:cxn ang="0">
                  <a:pos x="1268" y="1450"/>
                </a:cxn>
                <a:cxn ang="0">
                  <a:pos x="1249" y="1553"/>
                </a:cxn>
                <a:cxn ang="0">
                  <a:pos x="1320" y="1652"/>
                </a:cxn>
                <a:cxn ang="0">
                  <a:pos x="1450" y="1868"/>
                </a:cxn>
                <a:cxn ang="0">
                  <a:pos x="1437" y="2057"/>
                </a:cxn>
                <a:cxn ang="0">
                  <a:pos x="1325" y="2159"/>
                </a:cxn>
                <a:cxn ang="0">
                  <a:pos x="1205" y="2198"/>
                </a:cxn>
                <a:cxn ang="0">
                  <a:pos x="1112" y="2245"/>
                </a:cxn>
                <a:cxn ang="0">
                  <a:pos x="1069" y="2277"/>
                </a:cxn>
                <a:cxn ang="0">
                  <a:pos x="1029" y="2368"/>
                </a:cxn>
                <a:cxn ang="0">
                  <a:pos x="988" y="2569"/>
                </a:cxn>
                <a:cxn ang="0">
                  <a:pos x="967" y="2599"/>
                </a:cxn>
                <a:cxn ang="0">
                  <a:pos x="889" y="2638"/>
                </a:cxn>
                <a:cxn ang="0">
                  <a:pos x="754" y="2610"/>
                </a:cxn>
                <a:cxn ang="0">
                  <a:pos x="722" y="2450"/>
                </a:cxn>
                <a:cxn ang="0">
                  <a:pos x="637" y="2384"/>
                </a:cxn>
                <a:cxn ang="0">
                  <a:pos x="581" y="2419"/>
                </a:cxn>
                <a:cxn ang="0">
                  <a:pos x="504" y="2466"/>
                </a:cxn>
                <a:cxn ang="0">
                  <a:pos x="412" y="2443"/>
                </a:cxn>
                <a:cxn ang="0">
                  <a:pos x="256" y="2342"/>
                </a:cxn>
                <a:cxn ang="0">
                  <a:pos x="26" y="2320"/>
                </a:cxn>
                <a:cxn ang="0">
                  <a:pos x="65" y="2239"/>
                </a:cxn>
                <a:cxn ang="0">
                  <a:pos x="327" y="2010"/>
                </a:cxn>
                <a:cxn ang="0">
                  <a:pos x="400" y="1893"/>
                </a:cxn>
                <a:cxn ang="0">
                  <a:pos x="573" y="1612"/>
                </a:cxn>
                <a:cxn ang="0">
                  <a:pos x="556" y="1542"/>
                </a:cxn>
                <a:cxn ang="0">
                  <a:pos x="522" y="1287"/>
                </a:cxn>
                <a:cxn ang="0">
                  <a:pos x="503" y="1071"/>
                </a:cxn>
              </a:cxnLst>
              <a:rect l="0" t="0" r="r" b="b"/>
              <a:pathLst>
                <a:path w="1956" h="2656">
                  <a:moveTo>
                    <a:pt x="498" y="1063"/>
                  </a:moveTo>
                  <a:lnTo>
                    <a:pt x="518" y="1060"/>
                  </a:lnTo>
                  <a:lnTo>
                    <a:pt x="554" y="1053"/>
                  </a:lnTo>
                  <a:lnTo>
                    <a:pt x="589" y="1048"/>
                  </a:lnTo>
                  <a:lnTo>
                    <a:pt x="609" y="1046"/>
                  </a:lnTo>
                  <a:lnTo>
                    <a:pt x="615" y="1042"/>
                  </a:lnTo>
                  <a:lnTo>
                    <a:pt x="628" y="1039"/>
                  </a:lnTo>
                  <a:lnTo>
                    <a:pt x="640" y="1027"/>
                  </a:lnTo>
                  <a:lnTo>
                    <a:pt x="652" y="1027"/>
                  </a:lnTo>
                  <a:lnTo>
                    <a:pt x="653" y="1024"/>
                  </a:lnTo>
                  <a:lnTo>
                    <a:pt x="657" y="1022"/>
                  </a:lnTo>
                  <a:lnTo>
                    <a:pt x="660" y="1020"/>
                  </a:lnTo>
                  <a:lnTo>
                    <a:pt x="666" y="1018"/>
                  </a:lnTo>
                  <a:lnTo>
                    <a:pt x="676" y="1015"/>
                  </a:lnTo>
                  <a:lnTo>
                    <a:pt x="683" y="1014"/>
                  </a:lnTo>
                  <a:lnTo>
                    <a:pt x="685" y="1011"/>
                  </a:lnTo>
                  <a:lnTo>
                    <a:pt x="687" y="1009"/>
                  </a:lnTo>
                  <a:lnTo>
                    <a:pt x="689" y="1005"/>
                  </a:lnTo>
                  <a:lnTo>
                    <a:pt x="693" y="1002"/>
                  </a:lnTo>
                  <a:lnTo>
                    <a:pt x="701" y="998"/>
                  </a:lnTo>
                  <a:lnTo>
                    <a:pt x="708" y="995"/>
                  </a:lnTo>
                  <a:lnTo>
                    <a:pt x="709" y="993"/>
                  </a:lnTo>
                  <a:lnTo>
                    <a:pt x="710" y="991"/>
                  </a:lnTo>
                  <a:lnTo>
                    <a:pt x="712" y="989"/>
                  </a:lnTo>
                  <a:lnTo>
                    <a:pt x="715" y="986"/>
                  </a:lnTo>
                  <a:lnTo>
                    <a:pt x="721" y="984"/>
                  </a:lnTo>
                  <a:lnTo>
                    <a:pt x="727" y="983"/>
                  </a:lnTo>
                  <a:lnTo>
                    <a:pt x="727" y="980"/>
                  </a:lnTo>
                  <a:lnTo>
                    <a:pt x="728" y="977"/>
                  </a:lnTo>
                  <a:lnTo>
                    <a:pt x="729" y="976"/>
                  </a:lnTo>
                  <a:lnTo>
                    <a:pt x="730" y="976"/>
                  </a:lnTo>
                  <a:lnTo>
                    <a:pt x="731" y="976"/>
                  </a:lnTo>
                  <a:lnTo>
                    <a:pt x="733" y="976"/>
                  </a:lnTo>
                  <a:lnTo>
                    <a:pt x="733" y="974"/>
                  </a:lnTo>
                  <a:lnTo>
                    <a:pt x="733" y="971"/>
                  </a:lnTo>
                  <a:lnTo>
                    <a:pt x="751" y="971"/>
                  </a:lnTo>
                  <a:lnTo>
                    <a:pt x="751" y="969"/>
                  </a:lnTo>
                  <a:lnTo>
                    <a:pt x="753" y="967"/>
                  </a:lnTo>
                  <a:lnTo>
                    <a:pt x="754" y="966"/>
                  </a:lnTo>
                  <a:lnTo>
                    <a:pt x="756" y="965"/>
                  </a:lnTo>
                  <a:lnTo>
                    <a:pt x="759" y="964"/>
                  </a:lnTo>
                  <a:lnTo>
                    <a:pt x="764" y="964"/>
                  </a:lnTo>
                  <a:lnTo>
                    <a:pt x="768" y="964"/>
                  </a:lnTo>
                  <a:lnTo>
                    <a:pt x="773" y="963"/>
                  </a:lnTo>
                  <a:lnTo>
                    <a:pt x="774" y="963"/>
                  </a:lnTo>
                  <a:lnTo>
                    <a:pt x="775" y="962"/>
                  </a:lnTo>
                  <a:lnTo>
                    <a:pt x="776" y="960"/>
                  </a:lnTo>
                  <a:lnTo>
                    <a:pt x="776" y="958"/>
                  </a:lnTo>
                  <a:lnTo>
                    <a:pt x="814" y="958"/>
                  </a:lnTo>
                  <a:lnTo>
                    <a:pt x="826" y="945"/>
                  </a:lnTo>
                  <a:lnTo>
                    <a:pt x="839" y="945"/>
                  </a:lnTo>
                  <a:lnTo>
                    <a:pt x="840" y="944"/>
                  </a:lnTo>
                  <a:lnTo>
                    <a:pt x="841" y="942"/>
                  </a:lnTo>
                  <a:lnTo>
                    <a:pt x="843" y="941"/>
                  </a:lnTo>
                  <a:lnTo>
                    <a:pt x="845" y="941"/>
                  </a:lnTo>
                  <a:lnTo>
                    <a:pt x="852" y="939"/>
                  </a:lnTo>
                  <a:lnTo>
                    <a:pt x="858" y="939"/>
                  </a:lnTo>
                  <a:lnTo>
                    <a:pt x="863" y="933"/>
                  </a:lnTo>
                  <a:lnTo>
                    <a:pt x="864" y="929"/>
                  </a:lnTo>
                  <a:lnTo>
                    <a:pt x="864" y="927"/>
                  </a:lnTo>
                  <a:lnTo>
                    <a:pt x="865" y="927"/>
                  </a:lnTo>
                  <a:lnTo>
                    <a:pt x="866" y="927"/>
                  </a:lnTo>
                  <a:lnTo>
                    <a:pt x="868" y="927"/>
                  </a:lnTo>
                  <a:lnTo>
                    <a:pt x="869" y="926"/>
                  </a:lnTo>
                  <a:lnTo>
                    <a:pt x="870" y="924"/>
                  </a:lnTo>
                  <a:lnTo>
                    <a:pt x="870" y="921"/>
                  </a:lnTo>
                  <a:lnTo>
                    <a:pt x="882" y="921"/>
                  </a:lnTo>
                  <a:lnTo>
                    <a:pt x="889" y="915"/>
                  </a:lnTo>
                  <a:lnTo>
                    <a:pt x="890" y="909"/>
                  </a:lnTo>
                  <a:lnTo>
                    <a:pt x="892" y="905"/>
                  </a:lnTo>
                  <a:lnTo>
                    <a:pt x="897" y="900"/>
                  </a:lnTo>
                  <a:lnTo>
                    <a:pt x="901" y="896"/>
                  </a:lnTo>
                  <a:lnTo>
                    <a:pt x="913" y="896"/>
                  </a:lnTo>
                  <a:lnTo>
                    <a:pt x="920" y="889"/>
                  </a:lnTo>
                  <a:lnTo>
                    <a:pt x="920" y="877"/>
                  </a:lnTo>
                  <a:lnTo>
                    <a:pt x="926" y="871"/>
                  </a:lnTo>
                  <a:lnTo>
                    <a:pt x="932" y="865"/>
                  </a:lnTo>
                  <a:lnTo>
                    <a:pt x="936" y="865"/>
                  </a:lnTo>
                  <a:lnTo>
                    <a:pt x="938" y="864"/>
                  </a:lnTo>
                  <a:lnTo>
                    <a:pt x="938" y="862"/>
                  </a:lnTo>
                  <a:lnTo>
                    <a:pt x="938" y="861"/>
                  </a:lnTo>
                  <a:lnTo>
                    <a:pt x="938" y="860"/>
                  </a:lnTo>
                  <a:lnTo>
                    <a:pt x="939" y="859"/>
                  </a:lnTo>
                  <a:lnTo>
                    <a:pt x="941" y="859"/>
                  </a:lnTo>
                  <a:lnTo>
                    <a:pt x="945" y="858"/>
                  </a:lnTo>
                  <a:lnTo>
                    <a:pt x="946" y="849"/>
                  </a:lnTo>
                  <a:lnTo>
                    <a:pt x="948" y="840"/>
                  </a:lnTo>
                  <a:lnTo>
                    <a:pt x="950" y="830"/>
                  </a:lnTo>
                  <a:lnTo>
                    <a:pt x="950" y="821"/>
                  </a:lnTo>
                  <a:lnTo>
                    <a:pt x="964" y="809"/>
                  </a:lnTo>
                  <a:lnTo>
                    <a:pt x="964" y="775"/>
                  </a:lnTo>
                  <a:lnTo>
                    <a:pt x="964" y="742"/>
                  </a:lnTo>
                  <a:lnTo>
                    <a:pt x="964" y="707"/>
                  </a:lnTo>
                  <a:lnTo>
                    <a:pt x="964" y="672"/>
                  </a:lnTo>
                  <a:lnTo>
                    <a:pt x="964" y="637"/>
                  </a:lnTo>
                  <a:lnTo>
                    <a:pt x="964" y="602"/>
                  </a:lnTo>
                  <a:lnTo>
                    <a:pt x="964" y="568"/>
                  </a:lnTo>
                  <a:lnTo>
                    <a:pt x="964" y="535"/>
                  </a:lnTo>
                  <a:lnTo>
                    <a:pt x="959" y="530"/>
                  </a:lnTo>
                  <a:lnTo>
                    <a:pt x="955" y="525"/>
                  </a:lnTo>
                  <a:lnTo>
                    <a:pt x="951" y="521"/>
                  </a:lnTo>
                  <a:lnTo>
                    <a:pt x="950" y="517"/>
                  </a:lnTo>
                  <a:lnTo>
                    <a:pt x="947" y="517"/>
                  </a:lnTo>
                  <a:lnTo>
                    <a:pt x="946" y="515"/>
                  </a:lnTo>
                  <a:lnTo>
                    <a:pt x="945" y="514"/>
                  </a:lnTo>
                  <a:lnTo>
                    <a:pt x="945" y="513"/>
                  </a:lnTo>
                  <a:lnTo>
                    <a:pt x="945" y="512"/>
                  </a:lnTo>
                  <a:lnTo>
                    <a:pt x="943" y="511"/>
                  </a:lnTo>
                  <a:lnTo>
                    <a:pt x="942" y="511"/>
                  </a:lnTo>
                  <a:lnTo>
                    <a:pt x="938" y="510"/>
                  </a:lnTo>
                  <a:lnTo>
                    <a:pt x="937" y="505"/>
                  </a:lnTo>
                  <a:lnTo>
                    <a:pt x="935" y="502"/>
                  </a:lnTo>
                  <a:lnTo>
                    <a:pt x="930" y="499"/>
                  </a:lnTo>
                  <a:lnTo>
                    <a:pt x="926" y="498"/>
                  </a:lnTo>
                  <a:lnTo>
                    <a:pt x="923" y="491"/>
                  </a:lnTo>
                  <a:lnTo>
                    <a:pt x="919" y="482"/>
                  </a:lnTo>
                  <a:lnTo>
                    <a:pt x="912" y="473"/>
                  </a:lnTo>
                  <a:lnTo>
                    <a:pt x="907" y="466"/>
                  </a:lnTo>
                  <a:lnTo>
                    <a:pt x="907" y="454"/>
                  </a:lnTo>
                  <a:lnTo>
                    <a:pt x="903" y="454"/>
                  </a:lnTo>
                  <a:lnTo>
                    <a:pt x="902" y="453"/>
                  </a:lnTo>
                  <a:lnTo>
                    <a:pt x="901" y="452"/>
                  </a:lnTo>
                  <a:lnTo>
                    <a:pt x="901" y="451"/>
                  </a:lnTo>
                  <a:lnTo>
                    <a:pt x="901" y="450"/>
                  </a:lnTo>
                  <a:lnTo>
                    <a:pt x="900" y="448"/>
                  </a:lnTo>
                  <a:lnTo>
                    <a:pt x="899" y="448"/>
                  </a:lnTo>
                  <a:lnTo>
                    <a:pt x="894" y="448"/>
                  </a:lnTo>
                  <a:lnTo>
                    <a:pt x="894" y="429"/>
                  </a:lnTo>
                  <a:lnTo>
                    <a:pt x="890" y="428"/>
                  </a:lnTo>
                  <a:lnTo>
                    <a:pt x="887" y="425"/>
                  </a:lnTo>
                  <a:lnTo>
                    <a:pt x="883" y="422"/>
                  </a:lnTo>
                  <a:lnTo>
                    <a:pt x="882" y="417"/>
                  </a:lnTo>
                  <a:lnTo>
                    <a:pt x="878" y="416"/>
                  </a:lnTo>
                  <a:lnTo>
                    <a:pt x="874" y="413"/>
                  </a:lnTo>
                  <a:lnTo>
                    <a:pt x="871" y="409"/>
                  </a:lnTo>
                  <a:lnTo>
                    <a:pt x="870" y="405"/>
                  </a:lnTo>
                  <a:lnTo>
                    <a:pt x="865" y="404"/>
                  </a:lnTo>
                  <a:lnTo>
                    <a:pt x="861" y="400"/>
                  </a:lnTo>
                  <a:lnTo>
                    <a:pt x="859" y="396"/>
                  </a:lnTo>
                  <a:lnTo>
                    <a:pt x="858" y="392"/>
                  </a:lnTo>
                  <a:lnTo>
                    <a:pt x="855" y="392"/>
                  </a:lnTo>
                  <a:lnTo>
                    <a:pt x="853" y="390"/>
                  </a:lnTo>
                  <a:lnTo>
                    <a:pt x="851" y="388"/>
                  </a:lnTo>
                  <a:lnTo>
                    <a:pt x="849" y="385"/>
                  </a:lnTo>
                  <a:lnTo>
                    <a:pt x="846" y="379"/>
                  </a:lnTo>
                  <a:lnTo>
                    <a:pt x="845" y="374"/>
                  </a:lnTo>
                  <a:lnTo>
                    <a:pt x="842" y="373"/>
                  </a:lnTo>
                  <a:lnTo>
                    <a:pt x="840" y="370"/>
                  </a:lnTo>
                  <a:lnTo>
                    <a:pt x="836" y="367"/>
                  </a:lnTo>
                  <a:lnTo>
                    <a:pt x="833" y="364"/>
                  </a:lnTo>
                  <a:lnTo>
                    <a:pt x="829" y="355"/>
                  </a:lnTo>
                  <a:lnTo>
                    <a:pt x="826" y="348"/>
                  </a:lnTo>
                  <a:lnTo>
                    <a:pt x="824" y="348"/>
                  </a:lnTo>
                  <a:lnTo>
                    <a:pt x="822" y="347"/>
                  </a:lnTo>
                  <a:lnTo>
                    <a:pt x="820" y="345"/>
                  </a:lnTo>
                  <a:lnTo>
                    <a:pt x="817" y="341"/>
                  </a:lnTo>
                  <a:lnTo>
                    <a:pt x="813" y="333"/>
                  </a:lnTo>
                  <a:lnTo>
                    <a:pt x="810" y="325"/>
                  </a:lnTo>
                  <a:lnTo>
                    <a:pt x="806" y="316"/>
                  </a:lnTo>
                  <a:lnTo>
                    <a:pt x="804" y="307"/>
                  </a:lnTo>
                  <a:lnTo>
                    <a:pt x="802" y="299"/>
                  </a:lnTo>
                  <a:lnTo>
                    <a:pt x="802" y="292"/>
                  </a:lnTo>
                  <a:lnTo>
                    <a:pt x="789" y="280"/>
                  </a:lnTo>
                  <a:lnTo>
                    <a:pt x="789" y="259"/>
                  </a:lnTo>
                  <a:lnTo>
                    <a:pt x="789" y="237"/>
                  </a:lnTo>
                  <a:lnTo>
                    <a:pt x="789" y="215"/>
                  </a:lnTo>
                  <a:lnTo>
                    <a:pt x="789" y="194"/>
                  </a:lnTo>
                  <a:lnTo>
                    <a:pt x="789" y="173"/>
                  </a:lnTo>
                  <a:lnTo>
                    <a:pt x="789" y="152"/>
                  </a:lnTo>
                  <a:lnTo>
                    <a:pt x="789" y="131"/>
                  </a:lnTo>
                  <a:lnTo>
                    <a:pt x="789" y="112"/>
                  </a:lnTo>
                  <a:lnTo>
                    <a:pt x="802" y="106"/>
                  </a:lnTo>
                  <a:lnTo>
                    <a:pt x="802" y="94"/>
                  </a:lnTo>
                  <a:lnTo>
                    <a:pt x="804" y="94"/>
                  </a:lnTo>
                  <a:lnTo>
                    <a:pt x="805" y="92"/>
                  </a:lnTo>
                  <a:lnTo>
                    <a:pt x="806" y="91"/>
                  </a:lnTo>
                  <a:lnTo>
                    <a:pt x="807" y="89"/>
                  </a:lnTo>
                  <a:lnTo>
                    <a:pt x="807" y="86"/>
                  </a:lnTo>
                  <a:lnTo>
                    <a:pt x="807" y="81"/>
                  </a:lnTo>
                  <a:lnTo>
                    <a:pt x="814" y="75"/>
                  </a:lnTo>
                  <a:lnTo>
                    <a:pt x="820" y="69"/>
                  </a:lnTo>
                  <a:lnTo>
                    <a:pt x="826" y="62"/>
                  </a:lnTo>
                  <a:lnTo>
                    <a:pt x="833" y="56"/>
                  </a:lnTo>
                  <a:lnTo>
                    <a:pt x="839" y="50"/>
                  </a:lnTo>
                  <a:lnTo>
                    <a:pt x="851" y="50"/>
                  </a:lnTo>
                  <a:lnTo>
                    <a:pt x="851" y="38"/>
                  </a:lnTo>
                  <a:lnTo>
                    <a:pt x="863" y="38"/>
                  </a:lnTo>
                  <a:lnTo>
                    <a:pt x="864" y="35"/>
                  </a:lnTo>
                  <a:lnTo>
                    <a:pt x="864" y="33"/>
                  </a:lnTo>
                  <a:lnTo>
                    <a:pt x="866" y="32"/>
                  </a:lnTo>
                  <a:lnTo>
                    <a:pt x="868" y="32"/>
                  </a:lnTo>
                  <a:lnTo>
                    <a:pt x="872" y="31"/>
                  </a:lnTo>
                  <a:lnTo>
                    <a:pt x="877" y="31"/>
                  </a:lnTo>
                  <a:lnTo>
                    <a:pt x="885" y="22"/>
                  </a:lnTo>
                  <a:lnTo>
                    <a:pt x="894" y="12"/>
                  </a:lnTo>
                  <a:lnTo>
                    <a:pt x="907" y="12"/>
                  </a:lnTo>
                  <a:lnTo>
                    <a:pt x="908" y="11"/>
                  </a:lnTo>
                  <a:lnTo>
                    <a:pt x="910" y="9"/>
                  </a:lnTo>
                  <a:lnTo>
                    <a:pt x="913" y="8"/>
                  </a:lnTo>
                  <a:lnTo>
                    <a:pt x="918" y="6"/>
                  </a:lnTo>
                  <a:lnTo>
                    <a:pt x="926" y="6"/>
                  </a:lnTo>
                  <a:lnTo>
                    <a:pt x="932" y="6"/>
                  </a:lnTo>
                  <a:lnTo>
                    <a:pt x="932" y="4"/>
                  </a:lnTo>
                  <a:lnTo>
                    <a:pt x="936" y="3"/>
                  </a:lnTo>
                  <a:lnTo>
                    <a:pt x="939" y="2"/>
                  </a:lnTo>
                  <a:lnTo>
                    <a:pt x="945" y="1"/>
                  </a:lnTo>
                  <a:lnTo>
                    <a:pt x="959" y="1"/>
                  </a:lnTo>
                  <a:lnTo>
                    <a:pt x="978" y="0"/>
                  </a:lnTo>
                  <a:lnTo>
                    <a:pt x="1026" y="2"/>
                  </a:lnTo>
                  <a:lnTo>
                    <a:pt x="1082" y="5"/>
                  </a:lnTo>
                  <a:lnTo>
                    <a:pt x="1138" y="10"/>
                  </a:lnTo>
                  <a:lnTo>
                    <a:pt x="1189" y="14"/>
                  </a:lnTo>
                  <a:lnTo>
                    <a:pt x="1228" y="18"/>
                  </a:lnTo>
                  <a:lnTo>
                    <a:pt x="1249" y="19"/>
                  </a:lnTo>
                  <a:lnTo>
                    <a:pt x="1255" y="23"/>
                  </a:lnTo>
                  <a:lnTo>
                    <a:pt x="1263" y="28"/>
                  </a:lnTo>
                  <a:lnTo>
                    <a:pt x="1271" y="32"/>
                  </a:lnTo>
                  <a:lnTo>
                    <a:pt x="1280" y="37"/>
                  </a:lnTo>
                  <a:lnTo>
                    <a:pt x="1296" y="44"/>
                  </a:lnTo>
                  <a:lnTo>
                    <a:pt x="1305" y="50"/>
                  </a:lnTo>
                  <a:lnTo>
                    <a:pt x="1317" y="50"/>
                  </a:lnTo>
                  <a:lnTo>
                    <a:pt x="1319" y="52"/>
                  </a:lnTo>
                  <a:lnTo>
                    <a:pt x="1319" y="53"/>
                  </a:lnTo>
                  <a:lnTo>
                    <a:pt x="1320" y="54"/>
                  </a:lnTo>
                  <a:lnTo>
                    <a:pt x="1322" y="56"/>
                  </a:lnTo>
                  <a:lnTo>
                    <a:pt x="1325" y="56"/>
                  </a:lnTo>
                  <a:lnTo>
                    <a:pt x="1330" y="56"/>
                  </a:lnTo>
                  <a:lnTo>
                    <a:pt x="1331" y="60"/>
                  </a:lnTo>
                  <a:lnTo>
                    <a:pt x="1332" y="63"/>
                  </a:lnTo>
                  <a:lnTo>
                    <a:pt x="1334" y="66"/>
                  </a:lnTo>
                  <a:lnTo>
                    <a:pt x="1336" y="68"/>
                  </a:lnTo>
                  <a:lnTo>
                    <a:pt x="1341" y="71"/>
                  </a:lnTo>
                  <a:lnTo>
                    <a:pt x="1343" y="75"/>
                  </a:lnTo>
                  <a:lnTo>
                    <a:pt x="1355" y="75"/>
                  </a:lnTo>
                  <a:lnTo>
                    <a:pt x="1361" y="81"/>
                  </a:lnTo>
                  <a:lnTo>
                    <a:pt x="1368" y="87"/>
                  </a:lnTo>
                  <a:lnTo>
                    <a:pt x="1368" y="90"/>
                  </a:lnTo>
                  <a:lnTo>
                    <a:pt x="1369" y="92"/>
                  </a:lnTo>
                  <a:lnTo>
                    <a:pt x="1370" y="94"/>
                  </a:lnTo>
                  <a:lnTo>
                    <a:pt x="1371" y="94"/>
                  </a:lnTo>
                  <a:lnTo>
                    <a:pt x="1372" y="94"/>
                  </a:lnTo>
                  <a:lnTo>
                    <a:pt x="1373" y="95"/>
                  </a:lnTo>
                  <a:lnTo>
                    <a:pt x="1373" y="96"/>
                  </a:lnTo>
                  <a:lnTo>
                    <a:pt x="1374" y="99"/>
                  </a:lnTo>
                  <a:lnTo>
                    <a:pt x="1387" y="99"/>
                  </a:lnTo>
                  <a:lnTo>
                    <a:pt x="1392" y="106"/>
                  </a:lnTo>
                  <a:lnTo>
                    <a:pt x="1392" y="109"/>
                  </a:lnTo>
                  <a:lnTo>
                    <a:pt x="1393" y="111"/>
                  </a:lnTo>
                  <a:lnTo>
                    <a:pt x="1394" y="111"/>
                  </a:lnTo>
                  <a:lnTo>
                    <a:pt x="1396" y="112"/>
                  </a:lnTo>
                  <a:lnTo>
                    <a:pt x="1397" y="112"/>
                  </a:lnTo>
                  <a:lnTo>
                    <a:pt x="1398" y="112"/>
                  </a:lnTo>
                  <a:lnTo>
                    <a:pt x="1399" y="115"/>
                  </a:lnTo>
                  <a:lnTo>
                    <a:pt x="1399" y="118"/>
                  </a:lnTo>
                  <a:lnTo>
                    <a:pt x="1411" y="118"/>
                  </a:lnTo>
                  <a:lnTo>
                    <a:pt x="1412" y="120"/>
                  </a:lnTo>
                  <a:lnTo>
                    <a:pt x="1415" y="121"/>
                  </a:lnTo>
                  <a:lnTo>
                    <a:pt x="1418" y="123"/>
                  </a:lnTo>
                  <a:lnTo>
                    <a:pt x="1421" y="124"/>
                  </a:lnTo>
                  <a:lnTo>
                    <a:pt x="1429" y="125"/>
                  </a:lnTo>
                  <a:lnTo>
                    <a:pt x="1436" y="125"/>
                  </a:lnTo>
                  <a:lnTo>
                    <a:pt x="1448" y="134"/>
                  </a:lnTo>
                  <a:lnTo>
                    <a:pt x="1461" y="143"/>
                  </a:lnTo>
                  <a:lnTo>
                    <a:pt x="1479" y="143"/>
                  </a:lnTo>
                  <a:lnTo>
                    <a:pt x="1483" y="146"/>
                  </a:lnTo>
                  <a:lnTo>
                    <a:pt x="1489" y="149"/>
                  </a:lnTo>
                  <a:lnTo>
                    <a:pt x="1499" y="155"/>
                  </a:lnTo>
                  <a:lnTo>
                    <a:pt x="1513" y="159"/>
                  </a:lnTo>
                  <a:lnTo>
                    <a:pt x="1525" y="165"/>
                  </a:lnTo>
                  <a:lnTo>
                    <a:pt x="1537" y="171"/>
                  </a:lnTo>
                  <a:lnTo>
                    <a:pt x="1547" y="175"/>
                  </a:lnTo>
                  <a:lnTo>
                    <a:pt x="1554" y="181"/>
                  </a:lnTo>
                  <a:lnTo>
                    <a:pt x="1573" y="181"/>
                  </a:lnTo>
                  <a:lnTo>
                    <a:pt x="1581" y="186"/>
                  </a:lnTo>
                  <a:lnTo>
                    <a:pt x="1593" y="192"/>
                  </a:lnTo>
                  <a:lnTo>
                    <a:pt x="1608" y="198"/>
                  </a:lnTo>
                  <a:lnTo>
                    <a:pt x="1624" y="205"/>
                  </a:lnTo>
                  <a:lnTo>
                    <a:pt x="1640" y="212"/>
                  </a:lnTo>
                  <a:lnTo>
                    <a:pt x="1653" y="219"/>
                  </a:lnTo>
                  <a:lnTo>
                    <a:pt x="1659" y="222"/>
                  </a:lnTo>
                  <a:lnTo>
                    <a:pt x="1662" y="225"/>
                  </a:lnTo>
                  <a:lnTo>
                    <a:pt x="1666" y="227"/>
                  </a:lnTo>
                  <a:lnTo>
                    <a:pt x="1666" y="230"/>
                  </a:lnTo>
                  <a:lnTo>
                    <a:pt x="1671" y="231"/>
                  </a:lnTo>
                  <a:lnTo>
                    <a:pt x="1676" y="234"/>
                  </a:lnTo>
                  <a:lnTo>
                    <a:pt x="1680" y="239"/>
                  </a:lnTo>
                  <a:lnTo>
                    <a:pt x="1685" y="243"/>
                  </a:lnTo>
                  <a:lnTo>
                    <a:pt x="1685" y="255"/>
                  </a:lnTo>
                  <a:lnTo>
                    <a:pt x="1691" y="261"/>
                  </a:lnTo>
                  <a:lnTo>
                    <a:pt x="1694" y="262"/>
                  </a:lnTo>
                  <a:lnTo>
                    <a:pt x="1697" y="264"/>
                  </a:lnTo>
                  <a:lnTo>
                    <a:pt x="1699" y="268"/>
                  </a:lnTo>
                  <a:lnTo>
                    <a:pt x="1703" y="271"/>
                  </a:lnTo>
                  <a:lnTo>
                    <a:pt x="1708" y="280"/>
                  </a:lnTo>
                  <a:lnTo>
                    <a:pt x="1709" y="287"/>
                  </a:lnTo>
                  <a:lnTo>
                    <a:pt x="1714" y="287"/>
                  </a:lnTo>
                  <a:lnTo>
                    <a:pt x="1715" y="287"/>
                  </a:lnTo>
                  <a:lnTo>
                    <a:pt x="1716" y="288"/>
                  </a:lnTo>
                  <a:lnTo>
                    <a:pt x="1716" y="289"/>
                  </a:lnTo>
                  <a:lnTo>
                    <a:pt x="1716" y="290"/>
                  </a:lnTo>
                  <a:lnTo>
                    <a:pt x="1717" y="291"/>
                  </a:lnTo>
                  <a:lnTo>
                    <a:pt x="1718" y="292"/>
                  </a:lnTo>
                  <a:lnTo>
                    <a:pt x="1723" y="292"/>
                  </a:lnTo>
                  <a:lnTo>
                    <a:pt x="1723" y="304"/>
                  </a:lnTo>
                  <a:lnTo>
                    <a:pt x="1726" y="306"/>
                  </a:lnTo>
                  <a:lnTo>
                    <a:pt x="1729" y="307"/>
                  </a:lnTo>
                  <a:lnTo>
                    <a:pt x="1732" y="309"/>
                  </a:lnTo>
                  <a:lnTo>
                    <a:pt x="1734" y="311"/>
                  </a:lnTo>
                  <a:lnTo>
                    <a:pt x="1737" y="316"/>
                  </a:lnTo>
                  <a:lnTo>
                    <a:pt x="1741" y="317"/>
                  </a:lnTo>
                  <a:lnTo>
                    <a:pt x="1741" y="330"/>
                  </a:lnTo>
                  <a:lnTo>
                    <a:pt x="1745" y="331"/>
                  </a:lnTo>
                  <a:lnTo>
                    <a:pt x="1748" y="336"/>
                  </a:lnTo>
                  <a:lnTo>
                    <a:pt x="1749" y="338"/>
                  </a:lnTo>
                  <a:lnTo>
                    <a:pt x="1753" y="340"/>
                  </a:lnTo>
                  <a:lnTo>
                    <a:pt x="1755" y="341"/>
                  </a:lnTo>
                  <a:lnTo>
                    <a:pt x="1760" y="342"/>
                  </a:lnTo>
                  <a:lnTo>
                    <a:pt x="1763" y="351"/>
                  </a:lnTo>
                  <a:lnTo>
                    <a:pt x="1766" y="361"/>
                  </a:lnTo>
                  <a:lnTo>
                    <a:pt x="1768" y="361"/>
                  </a:lnTo>
                  <a:lnTo>
                    <a:pt x="1771" y="362"/>
                  </a:lnTo>
                  <a:lnTo>
                    <a:pt x="1773" y="365"/>
                  </a:lnTo>
                  <a:lnTo>
                    <a:pt x="1775" y="368"/>
                  </a:lnTo>
                  <a:lnTo>
                    <a:pt x="1780" y="374"/>
                  </a:lnTo>
                  <a:lnTo>
                    <a:pt x="1784" y="379"/>
                  </a:lnTo>
                  <a:lnTo>
                    <a:pt x="1784" y="398"/>
                  </a:lnTo>
                  <a:lnTo>
                    <a:pt x="1786" y="399"/>
                  </a:lnTo>
                  <a:lnTo>
                    <a:pt x="1789" y="402"/>
                  </a:lnTo>
                  <a:lnTo>
                    <a:pt x="1790" y="406"/>
                  </a:lnTo>
                  <a:lnTo>
                    <a:pt x="1792" y="410"/>
                  </a:lnTo>
                  <a:lnTo>
                    <a:pt x="1793" y="415"/>
                  </a:lnTo>
                  <a:lnTo>
                    <a:pt x="1796" y="419"/>
                  </a:lnTo>
                  <a:lnTo>
                    <a:pt x="1799" y="422"/>
                  </a:lnTo>
                  <a:lnTo>
                    <a:pt x="1803" y="423"/>
                  </a:lnTo>
                  <a:lnTo>
                    <a:pt x="1804" y="433"/>
                  </a:lnTo>
                  <a:lnTo>
                    <a:pt x="1806" y="442"/>
                  </a:lnTo>
                  <a:lnTo>
                    <a:pt x="1809" y="451"/>
                  </a:lnTo>
                  <a:lnTo>
                    <a:pt x="1810" y="461"/>
                  </a:lnTo>
                  <a:lnTo>
                    <a:pt x="1822" y="466"/>
                  </a:lnTo>
                  <a:lnTo>
                    <a:pt x="1821" y="492"/>
                  </a:lnTo>
                  <a:lnTo>
                    <a:pt x="1820" y="520"/>
                  </a:lnTo>
                  <a:lnTo>
                    <a:pt x="1818" y="549"/>
                  </a:lnTo>
                  <a:lnTo>
                    <a:pt x="1815" y="581"/>
                  </a:lnTo>
                  <a:lnTo>
                    <a:pt x="1813" y="614"/>
                  </a:lnTo>
                  <a:lnTo>
                    <a:pt x="1811" y="646"/>
                  </a:lnTo>
                  <a:lnTo>
                    <a:pt x="1810" y="678"/>
                  </a:lnTo>
                  <a:lnTo>
                    <a:pt x="1810" y="710"/>
                  </a:lnTo>
                  <a:lnTo>
                    <a:pt x="1812" y="710"/>
                  </a:lnTo>
                  <a:lnTo>
                    <a:pt x="1814" y="711"/>
                  </a:lnTo>
                  <a:lnTo>
                    <a:pt x="1816" y="713"/>
                  </a:lnTo>
                  <a:lnTo>
                    <a:pt x="1818" y="716"/>
                  </a:lnTo>
                  <a:lnTo>
                    <a:pt x="1821" y="722"/>
                  </a:lnTo>
                  <a:lnTo>
                    <a:pt x="1822" y="727"/>
                  </a:lnTo>
                  <a:lnTo>
                    <a:pt x="1828" y="734"/>
                  </a:lnTo>
                  <a:lnTo>
                    <a:pt x="1834" y="741"/>
                  </a:lnTo>
                  <a:lnTo>
                    <a:pt x="1847" y="746"/>
                  </a:lnTo>
                  <a:lnTo>
                    <a:pt x="1859" y="753"/>
                  </a:lnTo>
                  <a:lnTo>
                    <a:pt x="1859" y="756"/>
                  </a:lnTo>
                  <a:lnTo>
                    <a:pt x="1860" y="759"/>
                  </a:lnTo>
                  <a:lnTo>
                    <a:pt x="1861" y="759"/>
                  </a:lnTo>
                  <a:lnTo>
                    <a:pt x="1862" y="759"/>
                  </a:lnTo>
                  <a:lnTo>
                    <a:pt x="1863" y="759"/>
                  </a:lnTo>
                  <a:lnTo>
                    <a:pt x="1864" y="760"/>
                  </a:lnTo>
                  <a:lnTo>
                    <a:pt x="1866" y="762"/>
                  </a:lnTo>
                  <a:lnTo>
                    <a:pt x="1866" y="765"/>
                  </a:lnTo>
                  <a:lnTo>
                    <a:pt x="1878" y="765"/>
                  </a:lnTo>
                  <a:lnTo>
                    <a:pt x="1885" y="778"/>
                  </a:lnTo>
                  <a:lnTo>
                    <a:pt x="1890" y="790"/>
                  </a:lnTo>
                  <a:lnTo>
                    <a:pt x="1902" y="802"/>
                  </a:lnTo>
                  <a:lnTo>
                    <a:pt x="1915" y="814"/>
                  </a:lnTo>
                  <a:lnTo>
                    <a:pt x="1916" y="826"/>
                  </a:lnTo>
                  <a:lnTo>
                    <a:pt x="1917" y="837"/>
                  </a:lnTo>
                  <a:lnTo>
                    <a:pt x="1918" y="848"/>
                  </a:lnTo>
                  <a:lnTo>
                    <a:pt x="1920" y="858"/>
                  </a:lnTo>
                  <a:lnTo>
                    <a:pt x="1927" y="879"/>
                  </a:lnTo>
                  <a:lnTo>
                    <a:pt x="1934" y="899"/>
                  </a:lnTo>
                  <a:lnTo>
                    <a:pt x="1940" y="922"/>
                  </a:lnTo>
                  <a:lnTo>
                    <a:pt x="1947" y="944"/>
                  </a:lnTo>
                  <a:lnTo>
                    <a:pt x="1950" y="956"/>
                  </a:lnTo>
                  <a:lnTo>
                    <a:pt x="1953" y="970"/>
                  </a:lnTo>
                  <a:lnTo>
                    <a:pt x="1955" y="982"/>
                  </a:lnTo>
                  <a:lnTo>
                    <a:pt x="1956" y="996"/>
                  </a:lnTo>
                  <a:lnTo>
                    <a:pt x="1955" y="1008"/>
                  </a:lnTo>
                  <a:lnTo>
                    <a:pt x="1953" y="1021"/>
                  </a:lnTo>
                  <a:lnTo>
                    <a:pt x="1949" y="1037"/>
                  </a:lnTo>
                  <a:lnTo>
                    <a:pt x="1946" y="1052"/>
                  </a:lnTo>
                  <a:lnTo>
                    <a:pt x="1941" y="1069"/>
                  </a:lnTo>
                  <a:lnTo>
                    <a:pt x="1937" y="1083"/>
                  </a:lnTo>
                  <a:lnTo>
                    <a:pt x="1935" y="1097"/>
                  </a:lnTo>
                  <a:lnTo>
                    <a:pt x="1934" y="1107"/>
                  </a:lnTo>
                  <a:lnTo>
                    <a:pt x="1897" y="1133"/>
                  </a:lnTo>
                  <a:lnTo>
                    <a:pt x="1899" y="1123"/>
                  </a:lnTo>
                  <a:lnTo>
                    <a:pt x="1902" y="1114"/>
                  </a:lnTo>
                  <a:lnTo>
                    <a:pt x="1892" y="1117"/>
                  </a:lnTo>
                  <a:lnTo>
                    <a:pt x="1866" y="1123"/>
                  </a:lnTo>
                  <a:lnTo>
                    <a:pt x="1828" y="1128"/>
                  </a:lnTo>
                  <a:lnTo>
                    <a:pt x="1784" y="1135"/>
                  </a:lnTo>
                  <a:lnTo>
                    <a:pt x="1741" y="1140"/>
                  </a:lnTo>
                  <a:lnTo>
                    <a:pt x="1704" y="1146"/>
                  </a:lnTo>
                  <a:lnTo>
                    <a:pt x="1677" y="1149"/>
                  </a:lnTo>
                  <a:lnTo>
                    <a:pt x="1666" y="1150"/>
                  </a:lnTo>
                  <a:lnTo>
                    <a:pt x="1666" y="1154"/>
                  </a:lnTo>
                  <a:lnTo>
                    <a:pt x="1665" y="1157"/>
                  </a:lnTo>
                  <a:lnTo>
                    <a:pt x="1662" y="1160"/>
                  </a:lnTo>
                  <a:lnTo>
                    <a:pt x="1660" y="1163"/>
                  </a:lnTo>
                  <a:lnTo>
                    <a:pt x="1655" y="1168"/>
                  </a:lnTo>
                  <a:lnTo>
                    <a:pt x="1648" y="1173"/>
                  </a:lnTo>
                  <a:lnTo>
                    <a:pt x="1641" y="1177"/>
                  </a:lnTo>
                  <a:lnTo>
                    <a:pt x="1634" y="1183"/>
                  </a:lnTo>
                  <a:lnTo>
                    <a:pt x="1632" y="1185"/>
                  </a:lnTo>
                  <a:lnTo>
                    <a:pt x="1630" y="1188"/>
                  </a:lnTo>
                  <a:lnTo>
                    <a:pt x="1629" y="1191"/>
                  </a:lnTo>
                  <a:lnTo>
                    <a:pt x="1629" y="1194"/>
                  </a:lnTo>
                  <a:lnTo>
                    <a:pt x="1617" y="1201"/>
                  </a:lnTo>
                  <a:lnTo>
                    <a:pt x="1617" y="1213"/>
                  </a:lnTo>
                  <a:lnTo>
                    <a:pt x="1610" y="1220"/>
                  </a:lnTo>
                  <a:lnTo>
                    <a:pt x="1604" y="1225"/>
                  </a:lnTo>
                  <a:lnTo>
                    <a:pt x="1601" y="1226"/>
                  </a:lnTo>
                  <a:lnTo>
                    <a:pt x="1599" y="1226"/>
                  </a:lnTo>
                  <a:lnTo>
                    <a:pt x="1598" y="1227"/>
                  </a:lnTo>
                  <a:lnTo>
                    <a:pt x="1598" y="1229"/>
                  </a:lnTo>
                  <a:lnTo>
                    <a:pt x="1598" y="1230"/>
                  </a:lnTo>
                  <a:lnTo>
                    <a:pt x="1597" y="1231"/>
                  </a:lnTo>
                  <a:lnTo>
                    <a:pt x="1595" y="1232"/>
                  </a:lnTo>
                  <a:lnTo>
                    <a:pt x="1592" y="1232"/>
                  </a:lnTo>
                  <a:lnTo>
                    <a:pt x="1590" y="1235"/>
                  </a:lnTo>
                  <a:lnTo>
                    <a:pt x="1586" y="1240"/>
                  </a:lnTo>
                  <a:lnTo>
                    <a:pt x="1581" y="1244"/>
                  </a:lnTo>
                  <a:lnTo>
                    <a:pt x="1575" y="1250"/>
                  </a:lnTo>
                  <a:lnTo>
                    <a:pt x="1569" y="1254"/>
                  </a:lnTo>
                  <a:lnTo>
                    <a:pt x="1563" y="1259"/>
                  </a:lnTo>
                  <a:lnTo>
                    <a:pt x="1557" y="1262"/>
                  </a:lnTo>
                  <a:lnTo>
                    <a:pt x="1554" y="1263"/>
                  </a:lnTo>
                  <a:lnTo>
                    <a:pt x="1554" y="1265"/>
                  </a:lnTo>
                  <a:lnTo>
                    <a:pt x="1552" y="1268"/>
                  </a:lnTo>
                  <a:lnTo>
                    <a:pt x="1550" y="1270"/>
                  </a:lnTo>
                  <a:lnTo>
                    <a:pt x="1547" y="1271"/>
                  </a:lnTo>
                  <a:lnTo>
                    <a:pt x="1541" y="1274"/>
                  </a:lnTo>
                  <a:lnTo>
                    <a:pt x="1535" y="1275"/>
                  </a:lnTo>
                  <a:lnTo>
                    <a:pt x="1526" y="1284"/>
                  </a:lnTo>
                  <a:lnTo>
                    <a:pt x="1517" y="1294"/>
                  </a:lnTo>
                  <a:lnTo>
                    <a:pt x="1505" y="1294"/>
                  </a:lnTo>
                  <a:lnTo>
                    <a:pt x="1504" y="1296"/>
                  </a:lnTo>
                  <a:lnTo>
                    <a:pt x="1503" y="1298"/>
                  </a:lnTo>
                  <a:lnTo>
                    <a:pt x="1501" y="1299"/>
                  </a:lnTo>
                  <a:lnTo>
                    <a:pt x="1497" y="1299"/>
                  </a:lnTo>
                  <a:lnTo>
                    <a:pt x="1492" y="1300"/>
                  </a:lnTo>
                  <a:lnTo>
                    <a:pt x="1486" y="1300"/>
                  </a:lnTo>
                  <a:lnTo>
                    <a:pt x="1485" y="1302"/>
                  </a:lnTo>
                  <a:lnTo>
                    <a:pt x="1484" y="1303"/>
                  </a:lnTo>
                  <a:lnTo>
                    <a:pt x="1482" y="1304"/>
                  </a:lnTo>
                  <a:lnTo>
                    <a:pt x="1479" y="1306"/>
                  </a:lnTo>
                  <a:lnTo>
                    <a:pt x="1473" y="1307"/>
                  </a:lnTo>
                  <a:lnTo>
                    <a:pt x="1467" y="1307"/>
                  </a:lnTo>
                  <a:lnTo>
                    <a:pt x="1467" y="1309"/>
                  </a:lnTo>
                  <a:lnTo>
                    <a:pt x="1465" y="1311"/>
                  </a:lnTo>
                  <a:lnTo>
                    <a:pt x="1463" y="1312"/>
                  </a:lnTo>
                  <a:lnTo>
                    <a:pt x="1459" y="1314"/>
                  </a:lnTo>
                  <a:lnTo>
                    <a:pt x="1451" y="1318"/>
                  </a:lnTo>
                  <a:lnTo>
                    <a:pt x="1442" y="1321"/>
                  </a:lnTo>
                  <a:lnTo>
                    <a:pt x="1434" y="1323"/>
                  </a:lnTo>
                  <a:lnTo>
                    <a:pt x="1425" y="1327"/>
                  </a:lnTo>
                  <a:lnTo>
                    <a:pt x="1419" y="1329"/>
                  </a:lnTo>
                  <a:lnTo>
                    <a:pt x="1418" y="1331"/>
                  </a:lnTo>
                  <a:lnTo>
                    <a:pt x="1387" y="1331"/>
                  </a:lnTo>
                  <a:lnTo>
                    <a:pt x="1386" y="1333"/>
                  </a:lnTo>
                  <a:lnTo>
                    <a:pt x="1384" y="1335"/>
                  </a:lnTo>
                  <a:lnTo>
                    <a:pt x="1382" y="1336"/>
                  </a:lnTo>
                  <a:lnTo>
                    <a:pt x="1379" y="1337"/>
                  </a:lnTo>
                  <a:lnTo>
                    <a:pt x="1373" y="1338"/>
                  </a:lnTo>
                  <a:lnTo>
                    <a:pt x="1368" y="1338"/>
                  </a:lnTo>
                  <a:lnTo>
                    <a:pt x="1365" y="1340"/>
                  </a:lnTo>
                  <a:lnTo>
                    <a:pt x="1362" y="1342"/>
                  </a:lnTo>
                  <a:lnTo>
                    <a:pt x="1355" y="1345"/>
                  </a:lnTo>
                  <a:lnTo>
                    <a:pt x="1349" y="1346"/>
                  </a:lnTo>
                  <a:lnTo>
                    <a:pt x="1333" y="1349"/>
                  </a:lnTo>
                  <a:lnTo>
                    <a:pt x="1324" y="1350"/>
                  </a:lnTo>
                  <a:lnTo>
                    <a:pt x="1324" y="1352"/>
                  </a:lnTo>
                  <a:lnTo>
                    <a:pt x="1323" y="1354"/>
                  </a:lnTo>
                  <a:lnTo>
                    <a:pt x="1322" y="1355"/>
                  </a:lnTo>
                  <a:lnTo>
                    <a:pt x="1320" y="1356"/>
                  </a:lnTo>
                  <a:lnTo>
                    <a:pt x="1316" y="1356"/>
                  </a:lnTo>
                  <a:lnTo>
                    <a:pt x="1312" y="1356"/>
                  </a:lnTo>
                  <a:lnTo>
                    <a:pt x="1312" y="1368"/>
                  </a:lnTo>
                  <a:lnTo>
                    <a:pt x="1310" y="1369"/>
                  </a:lnTo>
                  <a:lnTo>
                    <a:pt x="1309" y="1369"/>
                  </a:lnTo>
                  <a:lnTo>
                    <a:pt x="1307" y="1371"/>
                  </a:lnTo>
                  <a:lnTo>
                    <a:pt x="1306" y="1373"/>
                  </a:lnTo>
                  <a:lnTo>
                    <a:pt x="1305" y="1377"/>
                  </a:lnTo>
                  <a:lnTo>
                    <a:pt x="1305" y="1381"/>
                  </a:lnTo>
                  <a:lnTo>
                    <a:pt x="1293" y="1381"/>
                  </a:lnTo>
                  <a:lnTo>
                    <a:pt x="1293" y="1394"/>
                  </a:lnTo>
                  <a:lnTo>
                    <a:pt x="1291" y="1394"/>
                  </a:lnTo>
                  <a:lnTo>
                    <a:pt x="1290" y="1395"/>
                  </a:lnTo>
                  <a:lnTo>
                    <a:pt x="1288" y="1396"/>
                  </a:lnTo>
                  <a:lnTo>
                    <a:pt x="1287" y="1397"/>
                  </a:lnTo>
                  <a:lnTo>
                    <a:pt x="1287" y="1402"/>
                  </a:lnTo>
                  <a:lnTo>
                    <a:pt x="1286" y="1406"/>
                  </a:lnTo>
                  <a:lnTo>
                    <a:pt x="1285" y="1406"/>
                  </a:lnTo>
                  <a:lnTo>
                    <a:pt x="1283" y="1407"/>
                  </a:lnTo>
                  <a:lnTo>
                    <a:pt x="1282" y="1408"/>
                  </a:lnTo>
                  <a:lnTo>
                    <a:pt x="1282" y="1409"/>
                  </a:lnTo>
                  <a:lnTo>
                    <a:pt x="1281" y="1414"/>
                  </a:lnTo>
                  <a:lnTo>
                    <a:pt x="1281" y="1418"/>
                  </a:lnTo>
                  <a:lnTo>
                    <a:pt x="1278" y="1419"/>
                  </a:lnTo>
                  <a:lnTo>
                    <a:pt x="1276" y="1423"/>
                  </a:lnTo>
                  <a:lnTo>
                    <a:pt x="1274" y="1426"/>
                  </a:lnTo>
                  <a:lnTo>
                    <a:pt x="1272" y="1432"/>
                  </a:lnTo>
                  <a:lnTo>
                    <a:pt x="1269" y="1442"/>
                  </a:lnTo>
                  <a:lnTo>
                    <a:pt x="1268" y="1450"/>
                  </a:lnTo>
                  <a:lnTo>
                    <a:pt x="1266" y="1451"/>
                  </a:lnTo>
                  <a:lnTo>
                    <a:pt x="1265" y="1455"/>
                  </a:lnTo>
                  <a:lnTo>
                    <a:pt x="1264" y="1462"/>
                  </a:lnTo>
                  <a:lnTo>
                    <a:pt x="1263" y="1469"/>
                  </a:lnTo>
                  <a:lnTo>
                    <a:pt x="1262" y="1484"/>
                  </a:lnTo>
                  <a:lnTo>
                    <a:pt x="1262" y="1493"/>
                  </a:lnTo>
                  <a:lnTo>
                    <a:pt x="1259" y="1494"/>
                  </a:lnTo>
                  <a:lnTo>
                    <a:pt x="1258" y="1499"/>
                  </a:lnTo>
                  <a:lnTo>
                    <a:pt x="1257" y="1505"/>
                  </a:lnTo>
                  <a:lnTo>
                    <a:pt x="1256" y="1512"/>
                  </a:lnTo>
                  <a:lnTo>
                    <a:pt x="1256" y="1528"/>
                  </a:lnTo>
                  <a:lnTo>
                    <a:pt x="1256" y="1537"/>
                  </a:lnTo>
                  <a:lnTo>
                    <a:pt x="1254" y="1539"/>
                  </a:lnTo>
                  <a:lnTo>
                    <a:pt x="1252" y="1544"/>
                  </a:lnTo>
                  <a:lnTo>
                    <a:pt x="1249" y="1553"/>
                  </a:lnTo>
                  <a:lnTo>
                    <a:pt x="1247" y="1563"/>
                  </a:lnTo>
                  <a:lnTo>
                    <a:pt x="1244" y="1583"/>
                  </a:lnTo>
                  <a:lnTo>
                    <a:pt x="1243" y="1599"/>
                  </a:lnTo>
                  <a:lnTo>
                    <a:pt x="1248" y="1601"/>
                  </a:lnTo>
                  <a:lnTo>
                    <a:pt x="1255" y="1606"/>
                  </a:lnTo>
                  <a:lnTo>
                    <a:pt x="1259" y="1611"/>
                  </a:lnTo>
                  <a:lnTo>
                    <a:pt x="1262" y="1617"/>
                  </a:lnTo>
                  <a:lnTo>
                    <a:pt x="1268" y="1624"/>
                  </a:lnTo>
                  <a:lnTo>
                    <a:pt x="1276" y="1625"/>
                  </a:lnTo>
                  <a:lnTo>
                    <a:pt x="1284" y="1626"/>
                  </a:lnTo>
                  <a:lnTo>
                    <a:pt x="1292" y="1629"/>
                  </a:lnTo>
                  <a:lnTo>
                    <a:pt x="1298" y="1634"/>
                  </a:lnTo>
                  <a:lnTo>
                    <a:pt x="1306" y="1638"/>
                  </a:lnTo>
                  <a:lnTo>
                    <a:pt x="1313" y="1645"/>
                  </a:lnTo>
                  <a:lnTo>
                    <a:pt x="1320" y="1652"/>
                  </a:lnTo>
                  <a:lnTo>
                    <a:pt x="1326" y="1658"/>
                  </a:lnTo>
                  <a:lnTo>
                    <a:pt x="1340" y="1676"/>
                  </a:lnTo>
                  <a:lnTo>
                    <a:pt x="1352" y="1695"/>
                  </a:lnTo>
                  <a:lnTo>
                    <a:pt x="1363" y="1715"/>
                  </a:lnTo>
                  <a:lnTo>
                    <a:pt x="1374" y="1735"/>
                  </a:lnTo>
                  <a:lnTo>
                    <a:pt x="1396" y="1777"/>
                  </a:lnTo>
                  <a:lnTo>
                    <a:pt x="1415" y="1812"/>
                  </a:lnTo>
                  <a:lnTo>
                    <a:pt x="1424" y="1827"/>
                  </a:lnTo>
                  <a:lnTo>
                    <a:pt x="1431" y="1838"/>
                  </a:lnTo>
                  <a:lnTo>
                    <a:pt x="1436" y="1842"/>
                  </a:lnTo>
                  <a:lnTo>
                    <a:pt x="1440" y="1845"/>
                  </a:lnTo>
                  <a:lnTo>
                    <a:pt x="1445" y="1847"/>
                  </a:lnTo>
                  <a:lnTo>
                    <a:pt x="1448" y="1848"/>
                  </a:lnTo>
                  <a:lnTo>
                    <a:pt x="1448" y="1866"/>
                  </a:lnTo>
                  <a:lnTo>
                    <a:pt x="1450" y="1868"/>
                  </a:lnTo>
                  <a:lnTo>
                    <a:pt x="1453" y="1873"/>
                  </a:lnTo>
                  <a:lnTo>
                    <a:pt x="1454" y="1878"/>
                  </a:lnTo>
                  <a:lnTo>
                    <a:pt x="1454" y="1886"/>
                  </a:lnTo>
                  <a:lnTo>
                    <a:pt x="1455" y="1900"/>
                  </a:lnTo>
                  <a:lnTo>
                    <a:pt x="1455" y="1909"/>
                  </a:lnTo>
                  <a:lnTo>
                    <a:pt x="1456" y="1910"/>
                  </a:lnTo>
                  <a:lnTo>
                    <a:pt x="1457" y="1912"/>
                  </a:lnTo>
                  <a:lnTo>
                    <a:pt x="1458" y="1914"/>
                  </a:lnTo>
                  <a:lnTo>
                    <a:pt x="1459" y="1917"/>
                  </a:lnTo>
                  <a:lnTo>
                    <a:pt x="1459" y="1926"/>
                  </a:lnTo>
                  <a:lnTo>
                    <a:pt x="1459" y="1937"/>
                  </a:lnTo>
                  <a:lnTo>
                    <a:pt x="1455" y="1965"/>
                  </a:lnTo>
                  <a:lnTo>
                    <a:pt x="1449" y="1996"/>
                  </a:lnTo>
                  <a:lnTo>
                    <a:pt x="1442" y="2029"/>
                  </a:lnTo>
                  <a:lnTo>
                    <a:pt x="1437" y="2057"/>
                  </a:lnTo>
                  <a:lnTo>
                    <a:pt x="1431" y="2077"/>
                  </a:lnTo>
                  <a:lnTo>
                    <a:pt x="1430" y="2083"/>
                  </a:lnTo>
                  <a:lnTo>
                    <a:pt x="1418" y="2090"/>
                  </a:lnTo>
                  <a:lnTo>
                    <a:pt x="1411" y="2102"/>
                  </a:lnTo>
                  <a:lnTo>
                    <a:pt x="1410" y="2105"/>
                  </a:lnTo>
                  <a:lnTo>
                    <a:pt x="1409" y="2108"/>
                  </a:lnTo>
                  <a:lnTo>
                    <a:pt x="1407" y="2111"/>
                  </a:lnTo>
                  <a:lnTo>
                    <a:pt x="1403" y="2115"/>
                  </a:lnTo>
                  <a:lnTo>
                    <a:pt x="1396" y="2123"/>
                  </a:lnTo>
                  <a:lnTo>
                    <a:pt x="1386" y="2130"/>
                  </a:lnTo>
                  <a:lnTo>
                    <a:pt x="1367" y="2144"/>
                  </a:lnTo>
                  <a:lnTo>
                    <a:pt x="1355" y="2153"/>
                  </a:lnTo>
                  <a:lnTo>
                    <a:pt x="1344" y="2154"/>
                  </a:lnTo>
                  <a:lnTo>
                    <a:pt x="1331" y="2157"/>
                  </a:lnTo>
                  <a:lnTo>
                    <a:pt x="1325" y="2159"/>
                  </a:lnTo>
                  <a:lnTo>
                    <a:pt x="1320" y="2163"/>
                  </a:lnTo>
                  <a:lnTo>
                    <a:pt x="1315" y="2167"/>
                  </a:lnTo>
                  <a:lnTo>
                    <a:pt x="1312" y="2172"/>
                  </a:lnTo>
                  <a:lnTo>
                    <a:pt x="1302" y="2172"/>
                  </a:lnTo>
                  <a:lnTo>
                    <a:pt x="1291" y="2173"/>
                  </a:lnTo>
                  <a:lnTo>
                    <a:pt x="1285" y="2174"/>
                  </a:lnTo>
                  <a:lnTo>
                    <a:pt x="1281" y="2176"/>
                  </a:lnTo>
                  <a:lnTo>
                    <a:pt x="1277" y="2179"/>
                  </a:lnTo>
                  <a:lnTo>
                    <a:pt x="1274" y="2184"/>
                  </a:lnTo>
                  <a:lnTo>
                    <a:pt x="1256" y="2184"/>
                  </a:lnTo>
                  <a:lnTo>
                    <a:pt x="1249" y="2188"/>
                  </a:lnTo>
                  <a:lnTo>
                    <a:pt x="1238" y="2192"/>
                  </a:lnTo>
                  <a:lnTo>
                    <a:pt x="1226" y="2195"/>
                  </a:lnTo>
                  <a:lnTo>
                    <a:pt x="1213" y="2196"/>
                  </a:lnTo>
                  <a:lnTo>
                    <a:pt x="1205" y="2198"/>
                  </a:lnTo>
                  <a:lnTo>
                    <a:pt x="1189" y="2202"/>
                  </a:lnTo>
                  <a:lnTo>
                    <a:pt x="1170" y="2206"/>
                  </a:lnTo>
                  <a:lnTo>
                    <a:pt x="1156" y="2208"/>
                  </a:lnTo>
                  <a:lnTo>
                    <a:pt x="1150" y="2221"/>
                  </a:lnTo>
                  <a:lnTo>
                    <a:pt x="1138" y="2221"/>
                  </a:lnTo>
                  <a:lnTo>
                    <a:pt x="1137" y="2223"/>
                  </a:lnTo>
                  <a:lnTo>
                    <a:pt x="1137" y="2224"/>
                  </a:lnTo>
                  <a:lnTo>
                    <a:pt x="1136" y="2225"/>
                  </a:lnTo>
                  <a:lnTo>
                    <a:pt x="1133" y="2226"/>
                  </a:lnTo>
                  <a:lnTo>
                    <a:pt x="1130" y="2227"/>
                  </a:lnTo>
                  <a:lnTo>
                    <a:pt x="1125" y="2227"/>
                  </a:lnTo>
                  <a:lnTo>
                    <a:pt x="1120" y="2232"/>
                  </a:lnTo>
                  <a:lnTo>
                    <a:pt x="1117" y="2236"/>
                  </a:lnTo>
                  <a:lnTo>
                    <a:pt x="1113" y="2241"/>
                  </a:lnTo>
                  <a:lnTo>
                    <a:pt x="1112" y="2245"/>
                  </a:lnTo>
                  <a:lnTo>
                    <a:pt x="1100" y="2245"/>
                  </a:lnTo>
                  <a:lnTo>
                    <a:pt x="1098" y="2251"/>
                  </a:lnTo>
                  <a:lnTo>
                    <a:pt x="1091" y="2255"/>
                  </a:lnTo>
                  <a:lnTo>
                    <a:pt x="1088" y="2259"/>
                  </a:lnTo>
                  <a:lnTo>
                    <a:pt x="1084" y="2262"/>
                  </a:lnTo>
                  <a:lnTo>
                    <a:pt x="1082" y="2266"/>
                  </a:lnTo>
                  <a:lnTo>
                    <a:pt x="1082" y="2271"/>
                  </a:lnTo>
                  <a:lnTo>
                    <a:pt x="1077" y="2271"/>
                  </a:lnTo>
                  <a:lnTo>
                    <a:pt x="1076" y="2272"/>
                  </a:lnTo>
                  <a:lnTo>
                    <a:pt x="1075" y="2272"/>
                  </a:lnTo>
                  <a:lnTo>
                    <a:pt x="1075" y="2273"/>
                  </a:lnTo>
                  <a:lnTo>
                    <a:pt x="1075" y="2275"/>
                  </a:lnTo>
                  <a:lnTo>
                    <a:pt x="1074" y="2275"/>
                  </a:lnTo>
                  <a:lnTo>
                    <a:pt x="1073" y="2277"/>
                  </a:lnTo>
                  <a:lnTo>
                    <a:pt x="1069" y="2277"/>
                  </a:lnTo>
                  <a:lnTo>
                    <a:pt x="1066" y="2287"/>
                  </a:lnTo>
                  <a:lnTo>
                    <a:pt x="1063" y="2302"/>
                  </a:lnTo>
                  <a:lnTo>
                    <a:pt x="1044" y="2314"/>
                  </a:lnTo>
                  <a:lnTo>
                    <a:pt x="1044" y="2323"/>
                  </a:lnTo>
                  <a:lnTo>
                    <a:pt x="1044" y="2332"/>
                  </a:lnTo>
                  <a:lnTo>
                    <a:pt x="1042" y="2333"/>
                  </a:lnTo>
                  <a:lnTo>
                    <a:pt x="1041" y="2335"/>
                  </a:lnTo>
                  <a:lnTo>
                    <a:pt x="1039" y="2337"/>
                  </a:lnTo>
                  <a:lnTo>
                    <a:pt x="1038" y="2340"/>
                  </a:lnTo>
                  <a:lnTo>
                    <a:pt x="1038" y="2346"/>
                  </a:lnTo>
                  <a:lnTo>
                    <a:pt x="1038" y="2351"/>
                  </a:lnTo>
                  <a:lnTo>
                    <a:pt x="1035" y="2352"/>
                  </a:lnTo>
                  <a:lnTo>
                    <a:pt x="1033" y="2357"/>
                  </a:lnTo>
                  <a:lnTo>
                    <a:pt x="1032" y="2361"/>
                  </a:lnTo>
                  <a:lnTo>
                    <a:pt x="1029" y="2368"/>
                  </a:lnTo>
                  <a:lnTo>
                    <a:pt x="1026" y="2380"/>
                  </a:lnTo>
                  <a:lnTo>
                    <a:pt x="1025" y="2389"/>
                  </a:lnTo>
                  <a:lnTo>
                    <a:pt x="1024" y="2389"/>
                  </a:lnTo>
                  <a:lnTo>
                    <a:pt x="1022" y="2391"/>
                  </a:lnTo>
                  <a:lnTo>
                    <a:pt x="1021" y="2395"/>
                  </a:lnTo>
                  <a:lnTo>
                    <a:pt x="1019" y="2399"/>
                  </a:lnTo>
                  <a:lnTo>
                    <a:pt x="1019" y="2407"/>
                  </a:lnTo>
                  <a:lnTo>
                    <a:pt x="1019" y="2414"/>
                  </a:lnTo>
                  <a:lnTo>
                    <a:pt x="1000" y="2532"/>
                  </a:lnTo>
                  <a:lnTo>
                    <a:pt x="998" y="2533"/>
                  </a:lnTo>
                  <a:lnTo>
                    <a:pt x="996" y="2537"/>
                  </a:lnTo>
                  <a:lnTo>
                    <a:pt x="994" y="2542"/>
                  </a:lnTo>
                  <a:lnTo>
                    <a:pt x="991" y="2548"/>
                  </a:lnTo>
                  <a:lnTo>
                    <a:pt x="989" y="2561"/>
                  </a:lnTo>
                  <a:lnTo>
                    <a:pt x="988" y="2569"/>
                  </a:lnTo>
                  <a:lnTo>
                    <a:pt x="986" y="2570"/>
                  </a:lnTo>
                  <a:lnTo>
                    <a:pt x="985" y="2570"/>
                  </a:lnTo>
                  <a:lnTo>
                    <a:pt x="984" y="2571"/>
                  </a:lnTo>
                  <a:lnTo>
                    <a:pt x="983" y="2573"/>
                  </a:lnTo>
                  <a:lnTo>
                    <a:pt x="981" y="2577"/>
                  </a:lnTo>
                  <a:lnTo>
                    <a:pt x="981" y="2581"/>
                  </a:lnTo>
                  <a:lnTo>
                    <a:pt x="980" y="2582"/>
                  </a:lnTo>
                  <a:lnTo>
                    <a:pt x="978" y="2582"/>
                  </a:lnTo>
                  <a:lnTo>
                    <a:pt x="977" y="2583"/>
                  </a:lnTo>
                  <a:lnTo>
                    <a:pt x="976" y="2586"/>
                  </a:lnTo>
                  <a:lnTo>
                    <a:pt x="976" y="2589"/>
                  </a:lnTo>
                  <a:lnTo>
                    <a:pt x="976" y="2595"/>
                  </a:lnTo>
                  <a:lnTo>
                    <a:pt x="973" y="2595"/>
                  </a:lnTo>
                  <a:lnTo>
                    <a:pt x="970" y="2596"/>
                  </a:lnTo>
                  <a:lnTo>
                    <a:pt x="967" y="2599"/>
                  </a:lnTo>
                  <a:lnTo>
                    <a:pt x="964" y="2602"/>
                  </a:lnTo>
                  <a:lnTo>
                    <a:pt x="961" y="2606"/>
                  </a:lnTo>
                  <a:lnTo>
                    <a:pt x="959" y="2610"/>
                  </a:lnTo>
                  <a:lnTo>
                    <a:pt x="958" y="2615"/>
                  </a:lnTo>
                  <a:lnTo>
                    <a:pt x="957" y="2619"/>
                  </a:lnTo>
                  <a:lnTo>
                    <a:pt x="950" y="2620"/>
                  </a:lnTo>
                  <a:lnTo>
                    <a:pt x="942" y="2623"/>
                  </a:lnTo>
                  <a:lnTo>
                    <a:pt x="938" y="2625"/>
                  </a:lnTo>
                  <a:lnTo>
                    <a:pt x="935" y="2627"/>
                  </a:lnTo>
                  <a:lnTo>
                    <a:pt x="932" y="2629"/>
                  </a:lnTo>
                  <a:lnTo>
                    <a:pt x="932" y="2631"/>
                  </a:lnTo>
                  <a:lnTo>
                    <a:pt x="922" y="2633"/>
                  </a:lnTo>
                  <a:lnTo>
                    <a:pt x="910" y="2635"/>
                  </a:lnTo>
                  <a:lnTo>
                    <a:pt x="899" y="2637"/>
                  </a:lnTo>
                  <a:lnTo>
                    <a:pt x="889" y="2638"/>
                  </a:lnTo>
                  <a:lnTo>
                    <a:pt x="882" y="2650"/>
                  </a:lnTo>
                  <a:lnTo>
                    <a:pt x="863" y="2652"/>
                  </a:lnTo>
                  <a:lnTo>
                    <a:pt x="845" y="2653"/>
                  </a:lnTo>
                  <a:lnTo>
                    <a:pt x="826" y="2655"/>
                  </a:lnTo>
                  <a:lnTo>
                    <a:pt x="807" y="2656"/>
                  </a:lnTo>
                  <a:lnTo>
                    <a:pt x="802" y="2650"/>
                  </a:lnTo>
                  <a:lnTo>
                    <a:pt x="799" y="2647"/>
                  </a:lnTo>
                  <a:lnTo>
                    <a:pt x="796" y="2644"/>
                  </a:lnTo>
                  <a:lnTo>
                    <a:pt x="792" y="2639"/>
                  </a:lnTo>
                  <a:lnTo>
                    <a:pt x="785" y="2635"/>
                  </a:lnTo>
                  <a:lnTo>
                    <a:pt x="773" y="2628"/>
                  </a:lnTo>
                  <a:lnTo>
                    <a:pt x="764" y="2625"/>
                  </a:lnTo>
                  <a:lnTo>
                    <a:pt x="758" y="2619"/>
                  </a:lnTo>
                  <a:lnTo>
                    <a:pt x="757" y="2615"/>
                  </a:lnTo>
                  <a:lnTo>
                    <a:pt x="754" y="2610"/>
                  </a:lnTo>
                  <a:lnTo>
                    <a:pt x="750" y="2608"/>
                  </a:lnTo>
                  <a:lnTo>
                    <a:pt x="746" y="2607"/>
                  </a:lnTo>
                  <a:lnTo>
                    <a:pt x="745" y="2602"/>
                  </a:lnTo>
                  <a:lnTo>
                    <a:pt x="741" y="2597"/>
                  </a:lnTo>
                  <a:lnTo>
                    <a:pt x="737" y="2592"/>
                  </a:lnTo>
                  <a:lnTo>
                    <a:pt x="733" y="2588"/>
                  </a:lnTo>
                  <a:lnTo>
                    <a:pt x="733" y="2563"/>
                  </a:lnTo>
                  <a:lnTo>
                    <a:pt x="731" y="2559"/>
                  </a:lnTo>
                  <a:lnTo>
                    <a:pt x="729" y="2548"/>
                  </a:lnTo>
                  <a:lnTo>
                    <a:pt x="728" y="2531"/>
                  </a:lnTo>
                  <a:lnTo>
                    <a:pt x="728" y="2512"/>
                  </a:lnTo>
                  <a:lnTo>
                    <a:pt x="727" y="2474"/>
                  </a:lnTo>
                  <a:lnTo>
                    <a:pt x="727" y="2451"/>
                  </a:lnTo>
                  <a:lnTo>
                    <a:pt x="725" y="2451"/>
                  </a:lnTo>
                  <a:lnTo>
                    <a:pt x="722" y="2450"/>
                  </a:lnTo>
                  <a:lnTo>
                    <a:pt x="720" y="2447"/>
                  </a:lnTo>
                  <a:lnTo>
                    <a:pt x="718" y="2444"/>
                  </a:lnTo>
                  <a:lnTo>
                    <a:pt x="716" y="2438"/>
                  </a:lnTo>
                  <a:lnTo>
                    <a:pt x="715" y="2433"/>
                  </a:lnTo>
                  <a:lnTo>
                    <a:pt x="699" y="2419"/>
                  </a:lnTo>
                  <a:lnTo>
                    <a:pt x="683" y="2407"/>
                  </a:lnTo>
                  <a:lnTo>
                    <a:pt x="682" y="2404"/>
                  </a:lnTo>
                  <a:lnTo>
                    <a:pt x="681" y="2400"/>
                  </a:lnTo>
                  <a:lnTo>
                    <a:pt x="679" y="2398"/>
                  </a:lnTo>
                  <a:lnTo>
                    <a:pt x="677" y="2396"/>
                  </a:lnTo>
                  <a:lnTo>
                    <a:pt x="672" y="2393"/>
                  </a:lnTo>
                  <a:lnTo>
                    <a:pt x="671" y="2389"/>
                  </a:lnTo>
                  <a:lnTo>
                    <a:pt x="659" y="2388"/>
                  </a:lnTo>
                  <a:lnTo>
                    <a:pt x="650" y="2386"/>
                  </a:lnTo>
                  <a:lnTo>
                    <a:pt x="637" y="2384"/>
                  </a:lnTo>
                  <a:lnTo>
                    <a:pt x="615" y="2383"/>
                  </a:lnTo>
                  <a:lnTo>
                    <a:pt x="609" y="2402"/>
                  </a:lnTo>
                  <a:lnTo>
                    <a:pt x="605" y="2402"/>
                  </a:lnTo>
                  <a:lnTo>
                    <a:pt x="603" y="2403"/>
                  </a:lnTo>
                  <a:lnTo>
                    <a:pt x="602" y="2404"/>
                  </a:lnTo>
                  <a:lnTo>
                    <a:pt x="602" y="2405"/>
                  </a:lnTo>
                  <a:lnTo>
                    <a:pt x="602" y="2406"/>
                  </a:lnTo>
                  <a:lnTo>
                    <a:pt x="602" y="2406"/>
                  </a:lnTo>
                  <a:lnTo>
                    <a:pt x="600" y="2407"/>
                  </a:lnTo>
                  <a:lnTo>
                    <a:pt x="596" y="2407"/>
                  </a:lnTo>
                  <a:lnTo>
                    <a:pt x="595" y="2409"/>
                  </a:lnTo>
                  <a:lnTo>
                    <a:pt x="594" y="2412"/>
                  </a:lnTo>
                  <a:lnTo>
                    <a:pt x="592" y="2414"/>
                  </a:lnTo>
                  <a:lnTo>
                    <a:pt x="589" y="2416"/>
                  </a:lnTo>
                  <a:lnTo>
                    <a:pt x="581" y="2419"/>
                  </a:lnTo>
                  <a:lnTo>
                    <a:pt x="571" y="2423"/>
                  </a:lnTo>
                  <a:lnTo>
                    <a:pt x="562" y="2426"/>
                  </a:lnTo>
                  <a:lnTo>
                    <a:pt x="554" y="2431"/>
                  </a:lnTo>
                  <a:lnTo>
                    <a:pt x="551" y="2432"/>
                  </a:lnTo>
                  <a:lnTo>
                    <a:pt x="548" y="2434"/>
                  </a:lnTo>
                  <a:lnTo>
                    <a:pt x="547" y="2436"/>
                  </a:lnTo>
                  <a:lnTo>
                    <a:pt x="546" y="2438"/>
                  </a:lnTo>
                  <a:lnTo>
                    <a:pt x="534" y="2438"/>
                  </a:lnTo>
                  <a:lnTo>
                    <a:pt x="533" y="2445"/>
                  </a:lnTo>
                  <a:lnTo>
                    <a:pt x="530" y="2451"/>
                  </a:lnTo>
                  <a:lnTo>
                    <a:pt x="527" y="2455"/>
                  </a:lnTo>
                  <a:lnTo>
                    <a:pt x="523" y="2460"/>
                  </a:lnTo>
                  <a:lnTo>
                    <a:pt x="517" y="2462"/>
                  </a:lnTo>
                  <a:lnTo>
                    <a:pt x="510" y="2465"/>
                  </a:lnTo>
                  <a:lnTo>
                    <a:pt x="504" y="2466"/>
                  </a:lnTo>
                  <a:lnTo>
                    <a:pt x="497" y="2468"/>
                  </a:lnTo>
                  <a:lnTo>
                    <a:pt x="466" y="2470"/>
                  </a:lnTo>
                  <a:lnTo>
                    <a:pt x="440" y="2470"/>
                  </a:lnTo>
                  <a:lnTo>
                    <a:pt x="440" y="2467"/>
                  </a:lnTo>
                  <a:lnTo>
                    <a:pt x="439" y="2466"/>
                  </a:lnTo>
                  <a:lnTo>
                    <a:pt x="438" y="2465"/>
                  </a:lnTo>
                  <a:lnTo>
                    <a:pt x="437" y="2464"/>
                  </a:lnTo>
                  <a:lnTo>
                    <a:pt x="432" y="2464"/>
                  </a:lnTo>
                  <a:lnTo>
                    <a:pt x="428" y="2463"/>
                  </a:lnTo>
                  <a:lnTo>
                    <a:pt x="427" y="2458"/>
                  </a:lnTo>
                  <a:lnTo>
                    <a:pt x="424" y="2455"/>
                  </a:lnTo>
                  <a:lnTo>
                    <a:pt x="420" y="2452"/>
                  </a:lnTo>
                  <a:lnTo>
                    <a:pt x="415" y="2451"/>
                  </a:lnTo>
                  <a:lnTo>
                    <a:pt x="414" y="2447"/>
                  </a:lnTo>
                  <a:lnTo>
                    <a:pt x="412" y="2443"/>
                  </a:lnTo>
                  <a:lnTo>
                    <a:pt x="408" y="2438"/>
                  </a:lnTo>
                  <a:lnTo>
                    <a:pt x="403" y="2433"/>
                  </a:lnTo>
                  <a:lnTo>
                    <a:pt x="390" y="2422"/>
                  </a:lnTo>
                  <a:lnTo>
                    <a:pt x="375" y="2409"/>
                  </a:lnTo>
                  <a:lnTo>
                    <a:pt x="361" y="2397"/>
                  </a:lnTo>
                  <a:lnTo>
                    <a:pt x="347" y="2386"/>
                  </a:lnTo>
                  <a:lnTo>
                    <a:pt x="342" y="2379"/>
                  </a:lnTo>
                  <a:lnTo>
                    <a:pt x="338" y="2374"/>
                  </a:lnTo>
                  <a:lnTo>
                    <a:pt x="335" y="2369"/>
                  </a:lnTo>
                  <a:lnTo>
                    <a:pt x="335" y="2364"/>
                  </a:lnTo>
                  <a:lnTo>
                    <a:pt x="325" y="2361"/>
                  </a:lnTo>
                  <a:lnTo>
                    <a:pt x="316" y="2358"/>
                  </a:lnTo>
                  <a:lnTo>
                    <a:pt x="309" y="2346"/>
                  </a:lnTo>
                  <a:lnTo>
                    <a:pt x="285" y="2345"/>
                  </a:lnTo>
                  <a:lnTo>
                    <a:pt x="256" y="2342"/>
                  </a:lnTo>
                  <a:lnTo>
                    <a:pt x="227" y="2340"/>
                  </a:lnTo>
                  <a:lnTo>
                    <a:pt x="198" y="2339"/>
                  </a:lnTo>
                  <a:lnTo>
                    <a:pt x="194" y="2341"/>
                  </a:lnTo>
                  <a:lnTo>
                    <a:pt x="186" y="2342"/>
                  </a:lnTo>
                  <a:lnTo>
                    <a:pt x="172" y="2343"/>
                  </a:lnTo>
                  <a:lnTo>
                    <a:pt x="158" y="2345"/>
                  </a:lnTo>
                  <a:lnTo>
                    <a:pt x="130" y="2345"/>
                  </a:lnTo>
                  <a:lnTo>
                    <a:pt x="117" y="2346"/>
                  </a:lnTo>
                  <a:lnTo>
                    <a:pt x="104" y="2332"/>
                  </a:lnTo>
                  <a:lnTo>
                    <a:pt x="92" y="2332"/>
                  </a:lnTo>
                  <a:lnTo>
                    <a:pt x="78" y="2331"/>
                  </a:lnTo>
                  <a:lnTo>
                    <a:pt x="65" y="2329"/>
                  </a:lnTo>
                  <a:lnTo>
                    <a:pt x="53" y="2327"/>
                  </a:lnTo>
                  <a:lnTo>
                    <a:pt x="39" y="2323"/>
                  </a:lnTo>
                  <a:lnTo>
                    <a:pt x="26" y="2320"/>
                  </a:lnTo>
                  <a:lnTo>
                    <a:pt x="14" y="2316"/>
                  </a:lnTo>
                  <a:lnTo>
                    <a:pt x="0" y="2310"/>
                  </a:lnTo>
                  <a:lnTo>
                    <a:pt x="9" y="2311"/>
                  </a:lnTo>
                  <a:lnTo>
                    <a:pt x="19" y="2312"/>
                  </a:lnTo>
                  <a:lnTo>
                    <a:pt x="26" y="2311"/>
                  </a:lnTo>
                  <a:lnTo>
                    <a:pt x="33" y="2309"/>
                  </a:lnTo>
                  <a:lnTo>
                    <a:pt x="38" y="2304"/>
                  </a:lnTo>
                  <a:lnTo>
                    <a:pt x="43" y="2299"/>
                  </a:lnTo>
                  <a:lnTo>
                    <a:pt x="46" y="2293"/>
                  </a:lnTo>
                  <a:lnTo>
                    <a:pt x="49" y="2287"/>
                  </a:lnTo>
                  <a:lnTo>
                    <a:pt x="53" y="2279"/>
                  </a:lnTo>
                  <a:lnTo>
                    <a:pt x="55" y="2271"/>
                  </a:lnTo>
                  <a:lnTo>
                    <a:pt x="59" y="2256"/>
                  </a:lnTo>
                  <a:lnTo>
                    <a:pt x="63" y="2244"/>
                  </a:lnTo>
                  <a:lnTo>
                    <a:pt x="65" y="2239"/>
                  </a:lnTo>
                  <a:lnTo>
                    <a:pt x="67" y="2234"/>
                  </a:lnTo>
                  <a:lnTo>
                    <a:pt x="71" y="2232"/>
                  </a:lnTo>
                  <a:lnTo>
                    <a:pt x="73" y="2231"/>
                  </a:lnTo>
                  <a:lnTo>
                    <a:pt x="72" y="2206"/>
                  </a:lnTo>
                  <a:lnTo>
                    <a:pt x="69" y="2181"/>
                  </a:lnTo>
                  <a:lnTo>
                    <a:pt x="65" y="2156"/>
                  </a:lnTo>
                  <a:lnTo>
                    <a:pt x="59" y="2131"/>
                  </a:lnTo>
                  <a:lnTo>
                    <a:pt x="55" y="2107"/>
                  </a:lnTo>
                  <a:lnTo>
                    <a:pt x="50" y="2081"/>
                  </a:lnTo>
                  <a:lnTo>
                    <a:pt x="47" y="2056"/>
                  </a:lnTo>
                  <a:lnTo>
                    <a:pt x="46" y="2029"/>
                  </a:lnTo>
                  <a:lnTo>
                    <a:pt x="55" y="2018"/>
                  </a:lnTo>
                  <a:lnTo>
                    <a:pt x="64" y="2006"/>
                  </a:lnTo>
                  <a:lnTo>
                    <a:pt x="321" y="2011"/>
                  </a:lnTo>
                  <a:lnTo>
                    <a:pt x="327" y="2010"/>
                  </a:lnTo>
                  <a:lnTo>
                    <a:pt x="335" y="2008"/>
                  </a:lnTo>
                  <a:lnTo>
                    <a:pt x="344" y="2004"/>
                  </a:lnTo>
                  <a:lnTo>
                    <a:pt x="352" y="2000"/>
                  </a:lnTo>
                  <a:lnTo>
                    <a:pt x="366" y="1992"/>
                  </a:lnTo>
                  <a:lnTo>
                    <a:pt x="374" y="1989"/>
                  </a:lnTo>
                  <a:lnTo>
                    <a:pt x="375" y="1979"/>
                  </a:lnTo>
                  <a:lnTo>
                    <a:pt x="376" y="1969"/>
                  </a:lnTo>
                  <a:lnTo>
                    <a:pt x="379" y="1960"/>
                  </a:lnTo>
                  <a:lnTo>
                    <a:pt x="381" y="1951"/>
                  </a:lnTo>
                  <a:lnTo>
                    <a:pt x="383" y="1942"/>
                  </a:lnTo>
                  <a:lnTo>
                    <a:pt x="385" y="1934"/>
                  </a:lnTo>
                  <a:lnTo>
                    <a:pt x="388" y="1925"/>
                  </a:lnTo>
                  <a:lnTo>
                    <a:pt x="388" y="1916"/>
                  </a:lnTo>
                  <a:lnTo>
                    <a:pt x="392" y="1910"/>
                  </a:lnTo>
                  <a:lnTo>
                    <a:pt x="400" y="1893"/>
                  </a:lnTo>
                  <a:lnTo>
                    <a:pt x="411" y="1868"/>
                  </a:lnTo>
                  <a:lnTo>
                    <a:pt x="423" y="1840"/>
                  </a:lnTo>
                  <a:lnTo>
                    <a:pt x="438" y="1810"/>
                  </a:lnTo>
                  <a:lnTo>
                    <a:pt x="451" y="1782"/>
                  </a:lnTo>
                  <a:lnTo>
                    <a:pt x="457" y="1770"/>
                  </a:lnTo>
                  <a:lnTo>
                    <a:pt x="463" y="1760"/>
                  </a:lnTo>
                  <a:lnTo>
                    <a:pt x="468" y="1752"/>
                  </a:lnTo>
                  <a:lnTo>
                    <a:pt x="474" y="1746"/>
                  </a:lnTo>
                  <a:lnTo>
                    <a:pt x="493" y="1720"/>
                  </a:lnTo>
                  <a:lnTo>
                    <a:pt x="525" y="1674"/>
                  </a:lnTo>
                  <a:lnTo>
                    <a:pt x="542" y="1650"/>
                  </a:lnTo>
                  <a:lnTo>
                    <a:pt x="556" y="1630"/>
                  </a:lnTo>
                  <a:lnTo>
                    <a:pt x="563" y="1623"/>
                  </a:lnTo>
                  <a:lnTo>
                    <a:pt x="568" y="1617"/>
                  </a:lnTo>
                  <a:lnTo>
                    <a:pt x="573" y="1612"/>
                  </a:lnTo>
                  <a:lnTo>
                    <a:pt x="576" y="1611"/>
                  </a:lnTo>
                  <a:lnTo>
                    <a:pt x="577" y="1605"/>
                  </a:lnTo>
                  <a:lnTo>
                    <a:pt x="580" y="1594"/>
                  </a:lnTo>
                  <a:lnTo>
                    <a:pt x="581" y="1589"/>
                  </a:lnTo>
                  <a:lnTo>
                    <a:pt x="580" y="1585"/>
                  </a:lnTo>
                  <a:lnTo>
                    <a:pt x="580" y="1582"/>
                  </a:lnTo>
                  <a:lnTo>
                    <a:pt x="578" y="1581"/>
                  </a:lnTo>
                  <a:lnTo>
                    <a:pt x="577" y="1580"/>
                  </a:lnTo>
                  <a:lnTo>
                    <a:pt x="576" y="1580"/>
                  </a:lnTo>
                  <a:lnTo>
                    <a:pt x="576" y="1562"/>
                  </a:lnTo>
                  <a:lnTo>
                    <a:pt x="574" y="1561"/>
                  </a:lnTo>
                  <a:lnTo>
                    <a:pt x="571" y="1559"/>
                  </a:lnTo>
                  <a:lnTo>
                    <a:pt x="567" y="1556"/>
                  </a:lnTo>
                  <a:lnTo>
                    <a:pt x="564" y="1552"/>
                  </a:lnTo>
                  <a:lnTo>
                    <a:pt x="556" y="1542"/>
                  </a:lnTo>
                  <a:lnTo>
                    <a:pt x="547" y="1530"/>
                  </a:lnTo>
                  <a:lnTo>
                    <a:pt x="539" y="1519"/>
                  </a:lnTo>
                  <a:lnTo>
                    <a:pt x="533" y="1509"/>
                  </a:lnTo>
                  <a:lnTo>
                    <a:pt x="527" y="1502"/>
                  </a:lnTo>
                  <a:lnTo>
                    <a:pt x="523" y="1499"/>
                  </a:lnTo>
                  <a:lnTo>
                    <a:pt x="523" y="1490"/>
                  </a:lnTo>
                  <a:lnTo>
                    <a:pt x="520" y="1487"/>
                  </a:lnTo>
                  <a:lnTo>
                    <a:pt x="519" y="1481"/>
                  </a:lnTo>
                  <a:lnTo>
                    <a:pt x="519" y="1471"/>
                  </a:lnTo>
                  <a:lnTo>
                    <a:pt x="518" y="1457"/>
                  </a:lnTo>
                  <a:lnTo>
                    <a:pt x="518" y="1425"/>
                  </a:lnTo>
                  <a:lnTo>
                    <a:pt x="519" y="1388"/>
                  </a:lnTo>
                  <a:lnTo>
                    <a:pt x="520" y="1350"/>
                  </a:lnTo>
                  <a:lnTo>
                    <a:pt x="522" y="1314"/>
                  </a:lnTo>
                  <a:lnTo>
                    <a:pt x="522" y="1287"/>
                  </a:lnTo>
                  <a:lnTo>
                    <a:pt x="523" y="1270"/>
                  </a:lnTo>
                  <a:lnTo>
                    <a:pt x="523" y="1254"/>
                  </a:lnTo>
                  <a:lnTo>
                    <a:pt x="523" y="1229"/>
                  </a:lnTo>
                  <a:lnTo>
                    <a:pt x="523" y="1198"/>
                  </a:lnTo>
                  <a:lnTo>
                    <a:pt x="522" y="1165"/>
                  </a:lnTo>
                  <a:lnTo>
                    <a:pt x="520" y="1134"/>
                  </a:lnTo>
                  <a:lnTo>
                    <a:pt x="517" y="1107"/>
                  </a:lnTo>
                  <a:lnTo>
                    <a:pt x="515" y="1097"/>
                  </a:lnTo>
                  <a:lnTo>
                    <a:pt x="511" y="1088"/>
                  </a:lnTo>
                  <a:lnTo>
                    <a:pt x="510" y="1086"/>
                  </a:lnTo>
                  <a:lnTo>
                    <a:pt x="508" y="1083"/>
                  </a:lnTo>
                  <a:lnTo>
                    <a:pt x="506" y="1081"/>
                  </a:lnTo>
                  <a:lnTo>
                    <a:pt x="505" y="1081"/>
                  </a:lnTo>
                  <a:lnTo>
                    <a:pt x="504" y="1076"/>
                  </a:lnTo>
                  <a:lnTo>
                    <a:pt x="503" y="1071"/>
                  </a:lnTo>
                  <a:lnTo>
                    <a:pt x="500" y="1067"/>
                  </a:lnTo>
                  <a:lnTo>
                    <a:pt x="498" y="1063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5" name="Freeform 61"/>
            <p:cNvSpPr>
              <a:spLocks noChangeAspect="1"/>
            </p:cNvSpPr>
            <p:nvPr/>
          </p:nvSpPr>
          <p:spPr bwMode="gray">
            <a:xfrm rot="355651">
              <a:off x="7744133" y="4838700"/>
              <a:ext cx="81463" cy="166078"/>
            </a:xfrm>
            <a:custGeom>
              <a:avLst/>
              <a:gdLst/>
              <a:ahLst/>
              <a:cxnLst>
                <a:cxn ang="0">
                  <a:pos x="294" y="31"/>
                </a:cxn>
                <a:cxn ang="0">
                  <a:pos x="275" y="62"/>
                </a:cxn>
                <a:cxn ang="0">
                  <a:pos x="244" y="90"/>
                </a:cxn>
                <a:cxn ang="0">
                  <a:pos x="214" y="106"/>
                </a:cxn>
                <a:cxn ang="0">
                  <a:pos x="175" y="140"/>
                </a:cxn>
                <a:cxn ang="0">
                  <a:pos x="140" y="164"/>
                </a:cxn>
                <a:cxn ang="0">
                  <a:pos x="149" y="200"/>
                </a:cxn>
                <a:cxn ang="0">
                  <a:pos x="175" y="215"/>
                </a:cxn>
                <a:cxn ang="0">
                  <a:pos x="179" y="304"/>
                </a:cxn>
                <a:cxn ang="0">
                  <a:pos x="157" y="375"/>
                </a:cxn>
                <a:cxn ang="0">
                  <a:pos x="150" y="390"/>
                </a:cxn>
                <a:cxn ang="0">
                  <a:pos x="141" y="404"/>
                </a:cxn>
                <a:cxn ang="0">
                  <a:pos x="124" y="431"/>
                </a:cxn>
                <a:cxn ang="0">
                  <a:pos x="84" y="474"/>
                </a:cxn>
                <a:cxn ang="0">
                  <a:pos x="35" y="528"/>
                </a:cxn>
                <a:cxn ang="0">
                  <a:pos x="9" y="579"/>
                </a:cxn>
                <a:cxn ang="0">
                  <a:pos x="17" y="642"/>
                </a:cxn>
                <a:cxn ang="0">
                  <a:pos x="100" y="663"/>
                </a:cxn>
                <a:cxn ang="0">
                  <a:pos x="104" y="678"/>
                </a:cxn>
                <a:cxn ang="0">
                  <a:pos x="106" y="750"/>
                </a:cxn>
                <a:cxn ang="0">
                  <a:pos x="100" y="843"/>
                </a:cxn>
                <a:cxn ang="0">
                  <a:pos x="90" y="885"/>
                </a:cxn>
                <a:cxn ang="0">
                  <a:pos x="80" y="902"/>
                </a:cxn>
                <a:cxn ang="0">
                  <a:pos x="75" y="932"/>
                </a:cxn>
                <a:cxn ang="0">
                  <a:pos x="94" y="957"/>
                </a:cxn>
                <a:cxn ang="0">
                  <a:pos x="168" y="1000"/>
                </a:cxn>
                <a:cxn ang="0">
                  <a:pos x="185" y="1022"/>
                </a:cxn>
                <a:cxn ang="0">
                  <a:pos x="219" y="1022"/>
                </a:cxn>
                <a:cxn ang="0">
                  <a:pos x="239" y="983"/>
                </a:cxn>
                <a:cxn ang="0">
                  <a:pos x="252" y="966"/>
                </a:cxn>
                <a:cxn ang="0">
                  <a:pos x="274" y="951"/>
                </a:cxn>
                <a:cxn ang="0">
                  <a:pos x="313" y="936"/>
                </a:cxn>
                <a:cxn ang="0">
                  <a:pos x="353" y="914"/>
                </a:cxn>
                <a:cxn ang="0">
                  <a:pos x="387" y="901"/>
                </a:cxn>
                <a:cxn ang="0">
                  <a:pos x="390" y="887"/>
                </a:cxn>
                <a:cxn ang="0">
                  <a:pos x="399" y="861"/>
                </a:cxn>
                <a:cxn ang="0">
                  <a:pos x="431" y="840"/>
                </a:cxn>
                <a:cxn ang="0">
                  <a:pos x="459" y="794"/>
                </a:cxn>
                <a:cxn ang="0">
                  <a:pos x="370" y="814"/>
                </a:cxn>
                <a:cxn ang="0">
                  <a:pos x="281" y="808"/>
                </a:cxn>
                <a:cxn ang="0">
                  <a:pos x="274" y="738"/>
                </a:cxn>
                <a:cxn ang="0">
                  <a:pos x="304" y="704"/>
                </a:cxn>
                <a:cxn ang="0">
                  <a:pos x="294" y="613"/>
                </a:cxn>
                <a:cxn ang="0">
                  <a:pos x="264" y="589"/>
                </a:cxn>
                <a:cxn ang="0">
                  <a:pos x="228" y="558"/>
                </a:cxn>
                <a:cxn ang="0">
                  <a:pos x="195" y="524"/>
                </a:cxn>
                <a:cxn ang="0">
                  <a:pos x="199" y="469"/>
                </a:cxn>
                <a:cxn ang="0">
                  <a:pos x="229" y="443"/>
                </a:cxn>
                <a:cxn ang="0">
                  <a:pos x="309" y="384"/>
                </a:cxn>
                <a:cxn ang="0">
                  <a:pos x="329" y="369"/>
                </a:cxn>
                <a:cxn ang="0">
                  <a:pos x="354" y="354"/>
                </a:cxn>
                <a:cxn ang="0">
                  <a:pos x="383" y="350"/>
                </a:cxn>
                <a:cxn ang="0">
                  <a:pos x="390" y="320"/>
                </a:cxn>
                <a:cxn ang="0">
                  <a:pos x="367" y="312"/>
                </a:cxn>
                <a:cxn ang="0">
                  <a:pos x="341" y="297"/>
                </a:cxn>
                <a:cxn ang="0">
                  <a:pos x="319" y="259"/>
                </a:cxn>
                <a:cxn ang="0">
                  <a:pos x="292" y="217"/>
                </a:cxn>
                <a:cxn ang="0">
                  <a:pos x="302" y="119"/>
                </a:cxn>
                <a:cxn ang="0">
                  <a:pos x="314" y="90"/>
                </a:cxn>
                <a:cxn ang="0">
                  <a:pos x="319" y="10"/>
                </a:cxn>
              </a:cxnLst>
              <a:rect l="0" t="0" r="r" b="b"/>
              <a:pathLst>
                <a:path w="465" h="1027">
                  <a:moveTo>
                    <a:pt x="304" y="0"/>
                  </a:moveTo>
                  <a:lnTo>
                    <a:pt x="303" y="5"/>
                  </a:lnTo>
                  <a:lnTo>
                    <a:pt x="301" y="10"/>
                  </a:lnTo>
                  <a:lnTo>
                    <a:pt x="297" y="16"/>
                  </a:lnTo>
                  <a:lnTo>
                    <a:pt x="294" y="21"/>
                  </a:lnTo>
                  <a:lnTo>
                    <a:pt x="294" y="31"/>
                  </a:lnTo>
                  <a:lnTo>
                    <a:pt x="290" y="35"/>
                  </a:lnTo>
                  <a:lnTo>
                    <a:pt x="285" y="41"/>
                  </a:lnTo>
                  <a:lnTo>
                    <a:pt x="281" y="46"/>
                  </a:lnTo>
                  <a:lnTo>
                    <a:pt x="279" y="51"/>
                  </a:lnTo>
                  <a:lnTo>
                    <a:pt x="279" y="61"/>
                  </a:lnTo>
                  <a:lnTo>
                    <a:pt x="275" y="62"/>
                  </a:lnTo>
                  <a:lnTo>
                    <a:pt x="272" y="66"/>
                  </a:lnTo>
                  <a:lnTo>
                    <a:pt x="269" y="71"/>
                  </a:lnTo>
                  <a:lnTo>
                    <a:pt x="269" y="75"/>
                  </a:lnTo>
                  <a:lnTo>
                    <a:pt x="259" y="75"/>
                  </a:lnTo>
                  <a:lnTo>
                    <a:pt x="249" y="80"/>
                  </a:lnTo>
                  <a:lnTo>
                    <a:pt x="244" y="90"/>
                  </a:lnTo>
                  <a:lnTo>
                    <a:pt x="240" y="91"/>
                  </a:lnTo>
                  <a:lnTo>
                    <a:pt x="235" y="93"/>
                  </a:lnTo>
                  <a:lnTo>
                    <a:pt x="229" y="96"/>
                  </a:lnTo>
                  <a:lnTo>
                    <a:pt x="224" y="100"/>
                  </a:lnTo>
                  <a:lnTo>
                    <a:pt x="218" y="104"/>
                  </a:lnTo>
                  <a:lnTo>
                    <a:pt x="214" y="106"/>
                  </a:lnTo>
                  <a:lnTo>
                    <a:pt x="208" y="109"/>
                  </a:lnTo>
                  <a:lnTo>
                    <a:pt x="205" y="110"/>
                  </a:lnTo>
                  <a:lnTo>
                    <a:pt x="195" y="125"/>
                  </a:lnTo>
                  <a:lnTo>
                    <a:pt x="187" y="128"/>
                  </a:lnTo>
                  <a:lnTo>
                    <a:pt x="179" y="130"/>
                  </a:lnTo>
                  <a:lnTo>
                    <a:pt x="175" y="140"/>
                  </a:lnTo>
                  <a:lnTo>
                    <a:pt x="167" y="142"/>
                  </a:lnTo>
                  <a:lnTo>
                    <a:pt x="159" y="144"/>
                  </a:lnTo>
                  <a:lnTo>
                    <a:pt x="157" y="150"/>
                  </a:lnTo>
                  <a:lnTo>
                    <a:pt x="154" y="154"/>
                  </a:lnTo>
                  <a:lnTo>
                    <a:pt x="146" y="160"/>
                  </a:lnTo>
                  <a:lnTo>
                    <a:pt x="140" y="164"/>
                  </a:lnTo>
                  <a:lnTo>
                    <a:pt x="140" y="175"/>
                  </a:lnTo>
                  <a:lnTo>
                    <a:pt x="134" y="177"/>
                  </a:lnTo>
                  <a:lnTo>
                    <a:pt x="130" y="180"/>
                  </a:lnTo>
                  <a:lnTo>
                    <a:pt x="130" y="190"/>
                  </a:lnTo>
                  <a:lnTo>
                    <a:pt x="140" y="195"/>
                  </a:lnTo>
                  <a:lnTo>
                    <a:pt x="149" y="200"/>
                  </a:lnTo>
                  <a:lnTo>
                    <a:pt x="159" y="200"/>
                  </a:lnTo>
                  <a:lnTo>
                    <a:pt x="160" y="204"/>
                  </a:lnTo>
                  <a:lnTo>
                    <a:pt x="162" y="207"/>
                  </a:lnTo>
                  <a:lnTo>
                    <a:pt x="166" y="209"/>
                  </a:lnTo>
                  <a:lnTo>
                    <a:pt x="169" y="209"/>
                  </a:lnTo>
                  <a:lnTo>
                    <a:pt x="175" y="215"/>
                  </a:lnTo>
                  <a:lnTo>
                    <a:pt x="175" y="223"/>
                  </a:lnTo>
                  <a:lnTo>
                    <a:pt x="175" y="229"/>
                  </a:lnTo>
                  <a:lnTo>
                    <a:pt x="177" y="245"/>
                  </a:lnTo>
                  <a:lnTo>
                    <a:pt x="179" y="265"/>
                  </a:lnTo>
                  <a:lnTo>
                    <a:pt x="179" y="286"/>
                  </a:lnTo>
                  <a:lnTo>
                    <a:pt x="179" y="304"/>
                  </a:lnTo>
                  <a:lnTo>
                    <a:pt x="175" y="314"/>
                  </a:lnTo>
                  <a:lnTo>
                    <a:pt x="169" y="326"/>
                  </a:lnTo>
                  <a:lnTo>
                    <a:pt x="163" y="337"/>
                  </a:lnTo>
                  <a:lnTo>
                    <a:pt x="159" y="344"/>
                  </a:lnTo>
                  <a:lnTo>
                    <a:pt x="159" y="374"/>
                  </a:lnTo>
                  <a:lnTo>
                    <a:pt x="157" y="375"/>
                  </a:lnTo>
                  <a:lnTo>
                    <a:pt x="156" y="378"/>
                  </a:lnTo>
                  <a:lnTo>
                    <a:pt x="154" y="381"/>
                  </a:lnTo>
                  <a:lnTo>
                    <a:pt x="154" y="384"/>
                  </a:lnTo>
                  <a:lnTo>
                    <a:pt x="151" y="385"/>
                  </a:lnTo>
                  <a:lnTo>
                    <a:pt x="150" y="388"/>
                  </a:lnTo>
                  <a:lnTo>
                    <a:pt x="150" y="390"/>
                  </a:lnTo>
                  <a:lnTo>
                    <a:pt x="149" y="394"/>
                  </a:lnTo>
                  <a:lnTo>
                    <a:pt x="147" y="394"/>
                  </a:lnTo>
                  <a:lnTo>
                    <a:pt x="146" y="397"/>
                  </a:lnTo>
                  <a:lnTo>
                    <a:pt x="144" y="400"/>
                  </a:lnTo>
                  <a:lnTo>
                    <a:pt x="144" y="404"/>
                  </a:lnTo>
                  <a:lnTo>
                    <a:pt x="141" y="404"/>
                  </a:lnTo>
                  <a:lnTo>
                    <a:pt x="140" y="407"/>
                  </a:lnTo>
                  <a:lnTo>
                    <a:pt x="140" y="410"/>
                  </a:lnTo>
                  <a:lnTo>
                    <a:pt x="140" y="414"/>
                  </a:lnTo>
                  <a:lnTo>
                    <a:pt x="130" y="419"/>
                  </a:lnTo>
                  <a:lnTo>
                    <a:pt x="128" y="425"/>
                  </a:lnTo>
                  <a:lnTo>
                    <a:pt x="124" y="431"/>
                  </a:lnTo>
                  <a:lnTo>
                    <a:pt x="118" y="441"/>
                  </a:lnTo>
                  <a:lnTo>
                    <a:pt x="111" y="450"/>
                  </a:lnTo>
                  <a:lnTo>
                    <a:pt x="103" y="459"/>
                  </a:lnTo>
                  <a:lnTo>
                    <a:pt x="95" y="467"/>
                  </a:lnTo>
                  <a:lnTo>
                    <a:pt x="90" y="471"/>
                  </a:lnTo>
                  <a:lnTo>
                    <a:pt x="84" y="474"/>
                  </a:lnTo>
                  <a:lnTo>
                    <a:pt x="83" y="479"/>
                  </a:lnTo>
                  <a:lnTo>
                    <a:pt x="76" y="487"/>
                  </a:lnTo>
                  <a:lnTo>
                    <a:pt x="69" y="496"/>
                  </a:lnTo>
                  <a:lnTo>
                    <a:pt x="60" y="505"/>
                  </a:lnTo>
                  <a:lnTo>
                    <a:pt x="43" y="522"/>
                  </a:lnTo>
                  <a:lnTo>
                    <a:pt x="35" y="528"/>
                  </a:lnTo>
                  <a:lnTo>
                    <a:pt x="35" y="538"/>
                  </a:lnTo>
                  <a:lnTo>
                    <a:pt x="29" y="544"/>
                  </a:lnTo>
                  <a:lnTo>
                    <a:pt x="23" y="552"/>
                  </a:lnTo>
                  <a:lnTo>
                    <a:pt x="15" y="561"/>
                  </a:lnTo>
                  <a:lnTo>
                    <a:pt x="9" y="568"/>
                  </a:lnTo>
                  <a:lnTo>
                    <a:pt x="9" y="579"/>
                  </a:lnTo>
                  <a:lnTo>
                    <a:pt x="5" y="586"/>
                  </a:lnTo>
                  <a:lnTo>
                    <a:pt x="0" y="593"/>
                  </a:lnTo>
                  <a:lnTo>
                    <a:pt x="0" y="633"/>
                  </a:lnTo>
                  <a:lnTo>
                    <a:pt x="5" y="637"/>
                  </a:lnTo>
                  <a:lnTo>
                    <a:pt x="10" y="640"/>
                  </a:lnTo>
                  <a:lnTo>
                    <a:pt x="17" y="642"/>
                  </a:lnTo>
                  <a:lnTo>
                    <a:pt x="25" y="643"/>
                  </a:lnTo>
                  <a:lnTo>
                    <a:pt x="31" y="649"/>
                  </a:lnTo>
                  <a:lnTo>
                    <a:pt x="37" y="656"/>
                  </a:lnTo>
                  <a:lnTo>
                    <a:pt x="44" y="661"/>
                  </a:lnTo>
                  <a:lnTo>
                    <a:pt x="50" y="663"/>
                  </a:lnTo>
                  <a:lnTo>
                    <a:pt x="100" y="663"/>
                  </a:lnTo>
                  <a:lnTo>
                    <a:pt x="100" y="668"/>
                  </a:lnTo>
                  <a:lnTo>
                    <a:pt x="100" y="672"/>
                  </a:lnTo>
                  <a:lnTo>
                    <a:pt x="101" y="675"/>
                  </a:lnTo>
                  <a:lnTo>
                    <a:pt x="102" y="677"/>
                  </a:lnTo>
                  <a:lnTo>
                    <a:pt x="103" y="678"/>
                  </a:lnTo>
                  <a:lnTo>
                    <a:pt x="104" y="678"/>
                  </a:lnTo>
                  <a:lnTo>
                    <a:pt x="105" y="693"/>
                  </a:lnTo>
                  <a:lnTo>
                    <a:pt x="108" y="708"/>
                  </a:lnTo>
                  <a:lnTo>
                    <a:pt x="109" y="723"/>
                  </a:lnTo>
                  <a:lnTo>
                    <a:pt x="110" y="738"/>
                  </a:lnTo>
                  <a:lnTo>
                    <a:pt x="108" y="741"/>
                  </a:lnTo>
                  <a:lnTo>
                    <a:pt x="106" y="750"/>
                  </a:lnTo>
                  <a:lnTo>
                    <a:pt x="105" y="764"/>
                  </a:lnTo>
                  <a:lnTo>
                    <a:pt x="105" y="779"/>
                  </a:lnTo>
                  <a:lnTo>
                    <a:pt x="104" y="810"/>
                  </a:lnTo>
                  <a:lnTo>
                    <a:pt x="104" y="827"/>
                  </a:lnTo>
                  <a:lnTo>
                    <a:pt x="102" y="835"/>
                  </a:lnTo>
                  <a:lnTo>
                    <a:pt x="100" y="843"/>
                  </a:lnTo>
                  <a:lnTo>
                    <a:pt x="100" y="850"/>
                  </a:lnTo>
                  <a:lnTo>
                    <a:pt x="100" y="858"/>
                  </a:lnTo>
                  <a:lnTo>
                    <a:pt x="98" y="868"/>
                  </a:lnTo>
                  <a:lnTo>
                    <a:pt x="94" y="882"/>
                  </a:lnTo>
                  <a:lnTo>
                    <a:pt x="92" y="883"/>
                  </a:lnTo>
                  <a:lnTo>
                    <a:pt x="90" y="885"/>
                  </a:lnTo>
                  <a:lnTo>
                    <a:pt x="90" y="889"/>
                  </a:lnTo>
                  <a:lnTo>
                    <a:pt x="90" y="892"/>
                  </a:lnTo>
                  <a:lnTo>
                    <a:pt x="89" y="894"/>
                  </a:lnTo>
                  <a:lnTo>
                    <a:pt x="86" y="898"/>
                  </a:lnTo>
                  <a:lnTo>
                    <a:pt x="83" y="901"/>
                  </a:lnTo>
                  <a:lnTo>
                    <a:pt x="80" y="902"/>
                  </a:lnTo>
                  <a:lnTo>
                    <a:pt x="80" y="922"/>
                  </a:lnTo>
                  <a:lnTo>
                    <a:pt x="77" y="922"/>
                  </a:lnTo>
                  <a:lnTo>
                    <a:pt x="76" y="923"/>
                  </a:lnTo>
                  <a:lnTo>
                    <a:pt x="76" y="926"/>
                  </a:lnTo>
                  <a:lnTo>
                    <a:pt x="75" y="928"/>
                  </a:lnTo>
                  <a:lnTo>
                    <a:pt x="75" y="932"/>
                  </a:lnTo>
                  <a:lnTo>
                    <a:pt x="75" y="937"/>
                  </a:lnTo>
                  <a:lnTo>
                    <a:pt x="70" y="940"/>
                  </a:lnTo>
                  <a:lnTo>
                    <a:pt x="65" y="942"/>
                  </a:lnTo>
                  <a:lnTo>
                    <a:pt x="65" y="957"/>
                  </a:lnTo>
                  <a:lnTo>
                    <a:pt x="80" y="957"/>
                  </a:lnTo>
                  <a:lnTo>
                    <a:pt x="94" y="957"/>
                  </a:lnTo>
                  <a:lnTo>
                    <a:pt x="110" y="957"/>
                  </a:lnTo>
                  <a:lnTo>
                    <a:pt x="124" y="957"/>
                  </a:lnTo>
                  <a:lnTo>
                    <a:pt x="137" y="967"/>
                  </a:lnTo>
                  <a:lnTo>
                    <a:pt x="153" y="983"/>
                  </a:lnTo>
                  <a:lnTo>
                    <a:pt x="161" y="991"/>
                  </a:lnTo>
                  <a:lnTo>
                    <a:pt x="168" y="1000"/>
                  </a:lnTo>
                  <a:lnTo>
                    <a:pt x="172" y="1007"/>
                  </a:lnTo>
                  <a:lnTo>
                    <a:pt x="175" y="1012"/>
                  </a:lnTo>
                  <a:lnTo>
                    <a:pt x="176" y="1013"/>
                  </a:lnTo>
                  <a:lnTo>
                    <a:pt x="179" y="1015"/>
                  </a:lnTo>
                  <a:lnTo>
                    <a:pt x="182" y="1018"/>
                  </a:lnTo>
                  <a:lnTo>
                    <a:pt x="185" y="1022"/>
                  </a:lnTo>
                  <a:lnTo>
                    <a:pt x="188" y="1022"/>
                  </a:lnTo>
                  <a:lnTo>
                    <a:pt x="191" y="1023"/>
                  </a:lnTo>
                  <a:lnTo>
                    <a:pt x="194" y="1024"/>
                  </a:lnTo>
                  <a:lnTo>
                    <a:pt x="195" y="1027"/>
                  </a:lnTo>
                  <a:lnTo>
                    <a:pt x="215" y="1027"/>
                  </a:lnTo>
                  <a:lnTo>
                    <a:pt x="219" y="1022"/>
                  </a:lnTo>
                  <a:lnTo>
                    <a:pt x="220" y="1018"/>
                  </a:lnTo>
                  <a:lnTo>
                    <a:pt x="221" y="1013"/>
                  </a:lnTo>
                  <a:lnTo>
                    <a:pt x="224" y="1007"/>
                  </a:lnTo>
                  <a:lnTo>
                    <a:pt x="227" y="1002"/>
                  </a:lnTo>
                  <a:lnTo>
                    <a:pt x="234" y="991"/>
                  </a:lnTo>
                  <a:lnTo>
                    <a:pt x="239" y="983"/>
                  </a:lnTo>
                  <a:lnTo>
                    <a:pt x="239" y="973"/>
                  </a:lnTo>
                  <a:lnTo>
                    <a:pt x="243" y="971"/>
                  </a:lnTo>
                  <a:lnTo>
                    <a:pt x="246" y="971"/>
                  </a:lnTo>
                  <a:lnTo>
                    <a:pt x="248" y="970"/>
                  </a:lnTo>
                  <a:lnTo>
                    <a:pt x="250" y="968"/>
                  </a:lnTo>
                  <a:lnTo>
                    <a:pt x="252" y="966"/>
                  </a:lnTo>
                  <a:lnTo>
                    <a:pt x="253" y="964"/>
                  </a:lnTo>
                  <a:lnTo>
                    <a:pt x="254" y="960"/>
                  </a:lnTo>
                  <a:lnTo>
                    <a:pt x="254" y="957"/>
                  </a:lnTo>
                  <a:lnTo>
                    <a:pt x="264" y="957"/>
                  </a:lnTo>
                  <a:lnTo>
                    <a:pt x="268" y="956"/>
                  </a:lnTo>
                  <a:lnTo>
                    <a:pt x="274" y="951"/>
                  </a:lnTo>
                  <a:lnTo>
                    <a:pt x="279" y="947"/>
                  </a:lnTo>
                  <a:lnTo>
                    <a:pt x="284" y="942"/>
                  </a:lnTo>
                  <a:lnTo>
                    <a:pt x="291" y="941"/>
                  </a:lnTo>
                  <a:lnTo>
                    <a:pt x="297" y="940"/>
                  </a:lnTo>
                  <a:lnTo>
                    <a:pt x="305" y="938"/>
                  </a:lnTo>
                  <a:lnTo>
                    <a:pt x="313" y="936"/>
                  </a:lnTo>
                  <a:lnTo>
                    <a:pt x="321" y="931"/>
                  </a:lnTo>
                  <a:lnTo>
                    <a:pt x="329" y="928"/>
                  </a:lnTo>
                  <a:lnTo>
                    <a:pt x="334" y="922"/>
                  </a:lnTo>
                  <a:lnTo>
                    <a:pt x="339" y="918"/>
                  </a:lnTo>
                  <a:lnTo>
                    <a:pt x="346" y="917"/>
                  </a:lnTo>
                  <a:lnTo>
                    <a:pt x="353" y="914"/>
                  </a:lnTo>
                  <a:lnTo>
                    <a:pt x="359" y="911"/>
                  </a:lnTo>
                  <a:lnTo>
                    <a:pt x="363" y="908"/>
                  </a:lnTo>
                  <a:lnTo>
                    <a:pt x="379" y="908"/>
                  </a:lnTo>
                  <a:lnTo>
                    <a:pt x="380" y="907"/>
                  </a:lnTo>
                  <a:lnTo>
                    <a:pt x="383" y="904"/>
                  </a:lnTo>
                  <a:lnTo>
                    <a:pt x="387" y="901"/>
                  </a:lnTo>
                  <a:lnTo>
                    <a:pt x="389" y="898"/>
                  </a:lnTo>
                  <a:lnTo>
                    <a:pt x="390" y="897"/>
                  </a:lnTo>
                  <a:lnTo>
                    <a:pt x="391" y="895"/>
                  </a:lnTo>
                  <a:lnTo>
                    <a:pt x="391" y="894"/>
                  </a:lnTo>
                  <a:lnTo>
                    <a:pt x="391" y="892"/>
                  </a:lnTo>
                  <a:lnTo>
                    <a:pt x="390" y="887"/>
                  </a:lnTo>
                  <a:lnTo>
                    <a:pt x="389" y="881"/>
                  </a:lnTo>
                  <a:lnTo>
                    <a:pt x="389" y="874"/>
                  </a:lnTo>
                  <a:lnTo>
                    <a:pt x="390" y="868"/>
                  </a:lnTo>
                  <a:lnTo>
                    <a:pt x="392" y="865"/>
                  </a:lnTo>
                  <a:lnTo>
                    <a:pt x="396" y="863"/>
                  </a:lnTo>
                  <a:lnTo>
                    <a:pt x="399" y="861"/>
                  </a:lnTo>
                  <a:lnTo>
                    <a:pt x="403" y="860"/>
                  </a:lnTo>
                  <a:lnTo>
                    <a:pt x="409" y="858"/>
                  </a:lnTo>
                  <a:lnTo>
                    <a:pt x="415" y="855"/>
                  </a:lnTo>
                  <a:lnTo>
                    <a:pt x="419" y="852"/>
                  </a:lnTo>
                  <a:lnTo>
                    <a:pt x="423" y="849"/>
                  </a:lnTo>
                  <a:lnTo>
                    <a:pt x="431" y="840"/>
                  </a:lnTo>
                  <a:lnTo>
                    <a:pt x="438" y="830"/>
                  </a:lnTo>
                  <a:lnTo>
                    <a:pt x="449" y="810"/>
                  </a:lnTo>
                  <a:lnTo>
                    <a:pt x="457" y="797"/>
                  </a:lnTo>
                  <a:lnTo>
                    <a:pt x="464" y="792"/>
                  </a:lnTo>
                  <a:lnTo>
                    <a:pt x="465" y="791"/>
                  </a:lnTo>
                  <a:lnTo>
                    <a:pt x="459" y="794"/>
                  </a:lnTo>
                  <a:lnTo>
                    <a:pt x="446" y="798"/>
                  </a:lnTo>
                  <a:lnTo>
                    <a:pt x="436" y="802"/>
                  </a:lnTo>
                  <a:lnTo>
                    <a:pt x="423" y="805"/>
                  </a:lnTo>
                  <a:lnTo>
                    <a:pt x="408" y="808"/>
                  </a:lnTo>
                  <a:lnTo>
                    <a:pt x="391" y="811"/>
                  </a:lnTo>
                  <a:lnTo>
                    <a:pt x="370" y="814"/>
                  </a:lnTo>
                  <a:lnTo>
                    <a:pt x="346" y="816"/>
                  </a:lnTo>
                  <a:lnTo>
                    <a:pt x="320" y="817"/>
                  </a:lnTo>
                  <a:lnTo>
                    <a:pt x="290" y="817"/>
                  </a:lnTo>
                  <a:lnTo>
                    <a:pt x="287" y="814"/>
                  </a:lnTo>
                  <a:lnTo>
                    <a:pt x="284" y="811"/>
                  </a:lnTo>
                  <a:lnTo>
                    <a:pt x="281" y="808"/>
                  </a:lnTo>
                  <a:lnTo>
                    <a:pt x="279" y="807"/>
                  </a:lnTo>
                  <a:lnTo>
                    <a:pt x="274" y="797"/>
                  </a:lnTo>
                  <a:lnTo>
                    <a:pt x="269" y="783"/>
                  </a:lnTo>
                  <a:lnTo>
                    <a:pt x="269" y="753"/>
                  </a:lnTo>
                  <a:lnTo>
                    <a:pt x="272" y="745"/>
                  </a:lnTo>
                  <a:lnTo>
                    <a:pt x="274" y="738"/>
                  </a:lnTo>
                  <a:lnTo>
                    <a:pt x="279" y="737"/>
                  </a:lnTo>
                  <a:lnTo>
                    <a:pt x="284" y="734"/>
                  </a:lnTo>
                  <a:lnTo>
                    <a:pt x="287" y="729"/>
                  </a:lnTo>
                  <a:lnTo>
                    <a:pt x="291" y="724"/>
                  </a:lnTo>
                  <a:lnTo>
                    <a:pt x="297" y="712"/>
                  </a:lnTo>
                  <a:lnTo>
                    <a:pt x="304" y="704"/>
                  </a:lnTo>
                  <a:lnTo>
                    <a:pt x="304" y="678"/>
                  </a:lnTo>
                  <a:lnTo>
                    <a:pt x="306" y="668"/>
                  </a:lnTo>
                  <a:lnTo>
                    <a:pt x="309" y="656"/>
                  </a:lnTo>
                  <a:lnTo>
                    <a:pt x="309" y="641"/>
                  </a:lnTo>
                  <a:lnTo>
                    <a:pt x="309" y="629"/>
                  </a:lnTo>
                  <a:lnTo>
                    <a:pt x="294" y="613"/>
                  </a:lnTo>
                  <a:lnTo>
                    <a:pt x="294" y="603"/>
                  </a:lnTo>
                  <a:lnTo>
                    <a:pt x="290" y="599"/>
                  </a:lnTo>
                  <a:lnTo>
                    <a:pt x="279" y="599"/>
                  </a:lnTo>
                  <a:lnTo>
                    <a:pt x="276" y="593"/>
                  </a:lnTo>
                  <a:lnTo>
                    <a:pt x="274" y="589"/>
                  </a:lnTo>
                  <a:lnTo>
                    <a:pt x="264" y="589"/>
                  </a:lnTo>
                  <a:lnTo>
                    <a:pt x="263" y="585"/>
                  </a:lnTo>
                  <a:lnTo>
                    <a:pt x="258" y="582"/>
                  </a:lnTo>
                  <a:lnTo>
                    <a:pt x="254" y="580"/>
                  </a:lnTo>
                  <a:lnTo>
                    <a:pt x="249" y="579"/>
                  </a:lnTo>
                  <a:lnTo>
                    <a:pt x="243" y="572"/>
                  </a:lnTo>
                  <a:lnTo>
                    <a:pt x="228" y="558"/>
                  </a:lnTo>
                  <a:lnTo>
                    <a:pt x="219" y="551"/>
                  </a:lnTo>
                  <a:lnTo>
                    <a:pt x="211" y="545"/>
                  </a:lnTo>
                  <a:lnTo>
                    <a:pt x="205" y="541"/>
                  </a:lnTo>
                  <a:lnTo>
                    <a:pt x="199" y="538"/>
                  </a:lnTo>
                  <a:lnTo>
                    <a:pt x="195" y="534"/>
                  </a:lnTo>
                  <a:lnTo>
                    <a:pt x="195" y="524"/>
                  </a:lnTo>
                  <a:lnTo>
                    <a:pt x="191" y="515"/>
                  </a:lnTo>
                  <a:lnTo>
                    <a:pt x="190" y="503"/>
                  </a:lnTo>
                  <a:lnTo>
                    <a:pt x="189" y="490"/>
                  </a:lnTo>
                  <a:lnTo>
                    <a:pt x="189" y="479"/>
                  </a:lnTo>
                  <a:lnTo>
                    <a:pt x="194" y="475"/>
                  </a:lnTo>
                  <a:lnTo>
                    <a:pt x="199" y="469"/>
                  </a:lnTo>
                  <a:lnTo>
                    <a:pt x="205" y="466"/>
                  </a:lnTo>
                  <a:lnTo>
                    <a:pt x="209" y="464"/>
                  </a:lnTo>
                  <a:lnTo>
                    <a:pt x="213" y="457"/>
                  </a:lnTo>
                  <a:lnTo>
                    <a:pt x="217" y="452"/>
                  </a:lnTo>
                  <a:lnTo>
                    <a:pt x="223" y="448"/>
                  </a:lnTo>
                  <a:lnTo>
                    <a:pt x="229" y="443"/>
                  </a:lnTo>
                  <a:lnTo>
                    <a:pt x="233" y="440"/>
                  </a:lnTo>
                  <a:lnTo>
                    <a:pt x="240" y="432"/>
                  </a:lnTo>
                  <a:lnTo>
                    <a:pt x="253" y="422"/>
                  </a:lnTo>
                  <a:lnTo>
                    <a:pt x="267" y="412"/>
                  </a:lnTo>
                  <a:lnTo>
                    <a:pt x="294" y="393"/>
                  </a:lnTo>
                  <a:lnTo>
                    <a:pt x="309" y="384"/>
                  </a:lnTo>
                  <a:lnTo>
                    <a:pt x="311" y="380"/>
                  </a:lnTo>
                  <a:lnTo>
                    <a:pt x="315" y="374"/>
                  </a:lnTo>
                  <a:lnTo>
                    <a:pt x="319" y="372"/>
                  </a:lnTo>
                  <a:lnTo>
                    <a:pt x="322" y="371"/>
                  </a:lnTo>
                  <a:lnTo>
                    <a:pt x="325" y="370"/>
                  </a:lnTo>
                  <a:lnTo>
                    <a:pt x="329" y="369"/>
                  </a:lnTo>
                  <a:lnTo>
                    <a:pt x="334" y="359"/>
                  </a:lnTo>
                  <a:lnTo>
                    <a:pt x="344" y="359"/>
                  </a:lnTo>
                  <a:lnTo>
                    <a:pt x="344" y="356"/>
                  </a:lnTo>
                  <a:lnTo>
                    <a:pt x="346" y="355"/>
                  </a:lnTo>
                  <a:lnTo>
                    <a:pt x="350" y="354"/>
                  </a:lnTo>
                  <a:lnTo>
                    <a:pt x="354" y="354"/>
                  </a:lnTo>
                  <a:lnTo>
                    <a:pt x="355" y="353"/>
                  </a:lnTo>
                  <a:lnTo>
                    <a:pt x="358" y="351"/>
                  </a:lnTo>
                  <a:lnTo>
                    <a:pt x="362" y="351"/>
                  </a:lnTo>
                  <a:lnTo>
                    <a:pt x="367" y="350"/>
                  </a:lnTo>
                  <a:lnTo>
                    <a:pt x="377" y="350"/>
                  </a:lnTo>
                  <a:lnTo>
                    <a:pt x="383" y="350"/>
                  </a:lnTo>
                  <a:lnTo>
                    <a:pt x="393" y="340"/>
                  </a:lnTo>
                  <a:lnTo>
                    <a:pt x="403" y="340"/>
                  </a:lnTo>
                  <a:lnTo>
                    <a:pt x="403" y="332"/>
                  </a:lnTo>
                  <a:lnTo>
                    <a:pt x="403" y="324"/>
                  </a:lnTo>
                  <a:lnTo>
                    <a:pt x="393" y="320"/>
                  </a:lnTo>
                  <a:lnTo>
                    <a:pt x="390" y="320"/>
                  </a:lnTo>
                  <a:lnTo>
                    <a:pt x="387" y="318"/>
                  </a:lnTo>
                  <a:lnTo>
                    <a:pt x="384" y="317"/>
                  </a:lnTo>
                  <a:lnTo>
                    <a:pt x="383" y="314"/>
                  </a:lnTo>
                  <a:lnTo>
                    <a:pt x="369" y="314"/>
                  </a:lnTo>
                  <a:lnTo>
                    <a:pt x="369" y="313"/>
                  </a:lnTo>
                  <a:lnTo>
                    <a:pt x="367" y="312"/>
                  </a:lnTo>
                  <a:lnTo>
                    <a:pt x="365" y="311"/>
                  </a:lnTo>
                  <a:lnTo>
                    <a:pt x="363" y="310"/>
                  </a:lnTo>
                  <a:lnTo>
                    <a:pt x="359" y="310"/>
                  </a:lnTo>
                  <a:lnTo>
                    <a:pt x="354" y="310"/>
                  </a:lnTo>
                  <a:lnTo>
                    <a:pt x="344" y="304"/>
                  </a:lnTo>
                  <a:lnTo>
                    <a:pt x="341" y="297"/>
                  </a:lnTo>
                  <a:lnTo>
                    <a:pt x="339" y="289"/>
                  </a:lnTo>
                  <a:lnTo>
                    <a:pt x="334" y="287"/>
                  </a:lnTo>
                  <a:lnTo>
                    <a:pt x="329" y="284"/>
                  </a:lnTo>
                  <a:lnTo>
                    <a:pt x="329" y="275"/>
                  </a:lnTo>
                  <a:lnTo>
                    <a:pt x="324" y="267"/>
                  </a:lnTo>
                  <a:lnTo>
                    <a:pt x="319" y="259"/>
                  </a:lnTo>
                  <a:lnTo>
                    <a:pt x="319" y="249"/>
                  </a:lnTo>
                  <a:lnTo>
                    <a:pt x="314" y="247"/>
                  </a:lnTo>
                  <a:lnTo>
                    <a:pt x="309" y="245"/>
                  </a:lnTo>
                  <a:lnTo>
                    <a:pt x="304" y="235"/>
                  </a:lnTo>
                  <a:lnTo>
                    <a:pt x="298" y="225"/>
                  </a:lnTo>
                  <a:lnTo>
                    <a:pt x="292" y="217"/>
                  </a:lnTo>
                  <a:lnTo>
                    <a:pt x="284" y="209"/>
                  </a:lnTo>
                  <a:lnTo>
                    <a:pt x="284" y="154"/>
                  </a:lnTo>
                  <a:lnTo>
                    <a:pt x="292" y="142"/>
                  </a:lnTo>
                  <a:lnTo>
                    <a:pt x="298" y="130"/>
                  </a:lnTo>
                  <a:lnTo>
                    <a:pt x="298" y="120"/>
                  </a:lnTo>
                  <a:lnTo>
                    <a:pt x="302" y="119"/>
                  </a:lnTo>
                  <a:lnTo>
                    <a:pt x="303" y="116"/>
                  </a:lnTo>
                  <a:lnTo>
                    <a:pt x="304" y="114"/>
                  </a:lnTo>
                  <a:lnTo>
                    <a:pt x="304" y="110"/>
                  </a:lnTo>
                  <a:lnTo>
                    <a:pt x="314" y="110"/>
                  </a:lnTo>
                  <a:lnTo>
                    <a:pt x="314" y="100"/>
                  </a:lnTo>
                  <a:lnTo>
                    <a:pt x="314" y="90"/>
                  </a:lnTo>
                  <a:lnTo>
                    <a:pt x="315" y="87"/>
                  </a:lnTo>
                  <a:lnTo>
                    <a:pt x="316" y="79"/>
                  </a:lnTo>
                  <a:lnTo>
                    <a:pt x="317" y="67"/>
                  </a:lnTo>
                  <a:lnTo>
                    <a:pt x="319" y="54"/>
                  </a:lnTo>
                  <a:lnTo>
                    <a:pt x="319" y="27"/>
                  </a:lnTo>
                  <a:lnTo>
                    <a:pt x="319" y="10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6" name="Freeform 62"/>
            <p:cNvSpPr>
              <a:spLocks noChangeAspect="1"/>
            </p:cNvSpPr>
            <p:nvPr/>
          </p:nvSpPr>
          <p:spPr bwMode="gray">
            <a:xfrm rot="355651">
              <a:off x="7656513" y="4975225"/>
              <a:ext cx="66652" cy="50036"/>
            </a:xfrm>
            <a:custGeom>
              <a:avLst/>
              <a:gdLst/>
              <a:ahLst/>
              <a:cxnLst>
                <a:cxn ang="0">
                  <a:pos x="304" y="17"/>
                </a:cxn>
                <a:cxn ang="0">
                  <a:pos x="289" y="20"/>
                </a:cxn>
                <a:cxn ang="0">
                  <a:pos x="266" y="24"/>
                </a:cxn>
                <a:cxn ang="0">
                  <a:pos x="235" y="34"/>
                </a:cxn>
                <a:cxn ang="0">
                  <a:pos x="200" y="39"/>
                </a:cxn>
                <a:cxn ang="0">
                  <a:pos x="164" y="46"/>
                </a:cxn>
                <a:cxn ang="0">
                  <a:pos x="141" y="56"/>
                </a:cxn>
                <a:cxn ang="0">
                  <a:pos x="127" y="66"/>
                </a:cxn>
                <a:cxn ang="0">
                  <a:pos x="116" y="81"/>
                </a:cxn>
                <a:cxn ang="0">
                  <a:pos x="105" y="100"/>
                </a:cxn>
                <a:cxn ang="0">
                  <a:pos x="87" y="119"/>
                </a:cxn>
                <a:cxn ang="0">
                  <a:pos x="57" y="141"/>
                </a:cxn>
                <a:cxn ang="0">
                  <a:pos x="32" y="159"/>
                </a:cxn>
                <a:cxn ang="0">
                  <a:pos x="18" y="171"/>
                </a:cxn>
                <a:cxn ang="0">
                  <a:pos x="7" y="186"/>
                </a:cxn>
                <a:cxn ang="0">
                  <a:pos x="1" y="200"/>
                </a:cxn>
                <a:cxn ang="0">
                  <a:pos x="9" y="214"/>
                </a:cxn>
                <a:cxn ang="0">
                  <a:pos x="20" y="227"/>
                </a:cxn>
                <a:cxn ang="0">
                  <a:pos x="31" y="253"/>
                </a:cxn>
                <a:cxn ang="0">
                  <a:pos x="39" y="279"/>
                </a:cxn>
                <a:cxn ang="0">
                  <a:pos x="47" y="292"/>
                </a:cxn>
                <a:cxn ang="0">
                  <a:pos x="57" y="301"/>
                </a:cxn>
                <a:cxn ang="0">
                  <a:pos x="68" y="306"/>
                </a:cxn>
                <a:cxn ang="0">
                  <a:pos x="88" y="311"/>
                </a:cxn>
                <a:cxn ang="0">
                  <a:pos x="117" y="311"/>
                </a:cxn>
                <a:cxn ang="0">
                  <a:pos x="143" y="308"/>
                </a:cxn>
                <a:cxn ang="0">
                  <a:pos x="163" y="303"/>
                </a:cxn>
                <a:cxn ang="0">
                  <a:pos x="181" y="294"/>
                </a:cxn>
                <a:cxn ang="0">
                  <a:pos x="192" y="284"/>
                </a:cxn>
                <a:cxn ang="0">
                  <a:pos x="196" y="275"/>
                </a:cxn>
                <a:cxn ang="0">
                  <a:pos x="201" y="263"/>
                </a:cxn>
                <a:cxn ang="0">
                  <a:pos x="209" y="250"/>
                </a:cxn>
                <a:cxn ang="0">
                  <a:pos x="225" y="236"/>
                </a:cxn>
                <a:cxn ang="0">
                  <a:pos x="268" y="211"/>
                </a:cxn>
                <a:cxn ang="0">
                  <a:pos x="302" y="190"/>
                </a:cxn>
                <a:cxn ang="0">
                  <a:pos x="317" y="172"/>
                </a:cxn>
                <a:cxn ang="0">
                  <a:pos x="327" y="151"/>
                </a:cxn>
                <a:cxn ang="0">
                  <a:pos x="333" y="128"/>
                </a:cxn>
                <a:cxn ang="0">
                  <a:pos x="334" y="100"/>
                </a:cxn>
                <a:cxn ang="0">
                  <a:pos x="338" y="81"/>
                </a:cxn>
                <a:cxn ang="0">
                  <a:pos x="345" y="68"/>
                </a:cxn>
                <a:cxn ang="0">
                  <a:pos x="356" y="52"/>
                </a:cxn>
                <a:cxn ang="0">
                  <a:pos x="364" y="37"/>
                </a:cxn>
                <a:cxn ang="0">
                  <a:pos x="368" y="25"/>
                </a:cxn>
                <a:cxn ang="0">
                  <a:pos x="367" y="16"/>
                </a:cxn>
                <a:cxn ang="0">
                  <a:pos x="363" y="9"/>
                </a:cxn>
                <a:cxn ang="0">
                  <a:pos x="356" y="5"/>
                </a:cxn>
                <a:cxn ang="0">
                  <a:pos x="338" y="0"/>
                </a:cxn>
                <a:cxn ang="0">
                  <a:pos x="318" y="6"/>
                </a:cxn>
              </a:cxnLst>
              <a:rect l="0" t="0" r="r" b="b"/>
              <a:pathLst>
                <a:path w="368" h="311">
                  <a:moveTo>
                    <a:pt x="310" y="14"/>
                  </a:moveTo>
                  <a:lnTo>
                    <a:pt x="304" y="17"/>
                  </a:lnTo>
                  <a:lnTo>
                    <a:pt x="297" y="19"/>
                  </a:lnTo>
                  <a:lnTo>
                    <a:pt x="289" y="20"/>
                  </a:lnTo>
                  <a:lnTo>
                    <a:pt x="281" y="22"/>
                  </a:lnTo>
                  <a:lnTo>
                    <a:pt x="266" y="24"/>
                  </a:lnTo>
                  <a:lnTo>
                    <a:pt x="251" y="28"/>
                  </a:lnTo>
                  <a:lnTo>
                    <a:pt x="235" y="34"/>
                  </a:lnTo>
                  <a:lnTo>
                    <a:pt x="218" y="37"/>
                  </a:lnTo>
                  <a:lnTo>
                    <a:pt x="200" y="39"/>
                  </a:lnTo>
                  <a:lnTo>
                    <a:pt x="182" y="43"/>
                  </a:lnTo>
                  <a:lnTo>
                    <a:pt x="164" y="46"/>
                  </a:lnTo>
                  <a:lnTo>
                    <a:pt x="148" y="52"/>
                  </a:lnTo>
                  <a:lnTo>
                    <a:pt x="141" y="56"/>
                  </a:lnTo>
                  <a:lnTo>
                    <a:pt x="134" y="61"/>
                  </a:lnTo>
                  <a:lnTo>
                    <a:pt x="127" y="66"/>
                  </a:lnTo>
                  <a:lnTo>
                    <a:pt x="122" y="72"/>
                  </a:lnTo>
                  <a:lnTo>
                    <a:pt x="116" y="81"/>
                  </a:lnTo>
                  <a:lnTo>
                    <a:pt x="110" y="91"/>
                  </a:lnTo>
                  <a:lnTo>
                    <a:pt x="105" y="100"/>
                  </a:lnTo>
                  <a:lnTo>
                    <a:pt x="99" y="107"/>
                  </a:lnTo>
                  <a:lnTo>
                    <a:pt x="87" y="119"/>
                  </a:lnTo>
                  <a:lnTo>
                    <a:pt x="72" y="130"/>
                  </a:lnTo>
                  <a:lnTo>
                    <a:pt x="57" y="141"/>
                  </a:lnTo>
                  <a:lnTo>
                    <a:pt x="40" y="152"/>
                  </a:lnTo>
                  <a:lnTo>
                    <a:pt x="32" y="159"/>
                  </a:lnTo>
                  <a:lnTo>
                    <a:pt x="24" y="164"/>
                  </a:lnTo>
                  <a:lnTo>
                    <a:pt x="18" y="171"/>
                  </a:lnTo>
                  <a:lnTo>
                    <a:pt x="12" y="178"/>
                  </a:lnTo>
                  <a:lnTo>
                    <a:pt x="7" y="186"/>
                  </a:lnTo>
                  <a:lnTo>
                    <a:pt x="3" y="192"/>
                  </a:lnTo>
                  <a:lnTo>
                    <a:pt x="1" y="200"/>
                  </a:lnTo>
                  <a:lnTo>
                    <a:pt x="0" y="208"/>
                  </a:lnTo>
                  <a:lnTo>
                    <a:pt x="9" y="214"/>
                  </a:lnTo>
                  <a:lnTo>
                    <a:pt x="16" y="219"/>
                  </a:lnTo>
                  <a:lnTo>
                    <a:pt x="20" y="227"/>
                  </a:lnTo>
                  <a:lnTo>
                    <a:pt x="24" y="235"/>
                  </a:lnTo>
                  <a:lnTo>
                    <a:pt x="31" y="253"/>
                  </a:lnTo>
                  <a:lnTo>
                    <a:pt x="37" y="272"/>
                  </a:lnTo>
                  <a:lnTo>
                    <a:pt x="39" y="279"/>
                  </a:lnTo>
                  <a:lnTo>
                    <a:pt x="42" y="286"/>
                  </a:lnTo>
                  <a:lnTo>
                    <a:pt x="47" y="292"/>
                  </a:lnTo>
                  <a:lnTo>
                    <a:pt x="51" y="297"/>
                  </a:lnTo>
                  <a:lnTo>
                    <a:pt x="57" y="301"/>
                  </a:lnTo>
                  <a:lnTo>
                    <a:pt x="62" y="304"/>
                  </a:lnTo>
                  <a:lnTo>
                    <a:pt x="68" y="306"/>
                  </a:lnTo>
                  <a:lnTo>
                    <a:pt x="75" y="308"/>
                  </a:lnTo>
                  <a:lnTo>
                    <a:pt x="88" y="311"/>
                  </a:lnTo>
                  <a:lnTo>
                    <a:pt x="103" y="311"/>
                  </a:lnTo>
                  <a:lnTo>
                    <a:pt x="117" y="311"/>
                  </a:lnTo>
                  <a:lnTo>
                    <a:pt x="132" y="310"/>
                  </a:lnTo>
                  <a:lnTo>
                    <a:pt x="143" y="308"/>
                  </a:lnTo>
                  <a:lnTo>
                    <a:pt x="153" y="306"/>
                  </a:lnTo>
                  <a:lnTo>
                    <a:pt x="163" y="303"/>
                  </a:lnTo>
                  <a:lnTo>
                    <a:pt x="173" y="299"/>
                  </a:lnTo>
                  <a:lnTo>
                    <a:pt x="181" y="294"/>
                  </a:lnTo>
                  <a:lnTo>
                    <a:pt x="189" y="287"/>
                  </a:lnTo>
                  <a:lnTo>
                    <a:pt x="192" y="284"/>
                  </a:lnTo>
                  <a:lnTo>
                    <a:pt x="194" y="279"/>
                  </a:lnTo>
                  <a:lnTo>
                    <a:pt x="196" y="275"/>
                  </a:lnTo>
                  <a:lnTo>
                    <a:pt x="199" y="269"/>
                  </a:lnTo>
                  <a:lnTo>
                    <a:pt x="201" y="263"/>
                  </a:lnTo>
                  <a:lnTo>
                    <a:pt x="204" y="256"/>
                  </a:lnTo>
                  <a:lnTo>
                    <a:pt x="209" y="250"/>
                  </a:lnTo>
                  <a:lnTo>
                    <a:pt x="213" y="245"/>
                  </a:lnTo>
                  <a:lnTo>
                    <a:pt x="225" y="236"/>
                  </a:lnTo>
                  <a:lnTo>
                    <a:pt x="239" y="227"/>
                  </a:lnTo>
                  <a:lnTo>
                    <a:pt x="268" y="211"/>
                  </a:lnTo>
                  <a:lnTo>
                    <a:pt x="294" y="197"/>
                  </a:lnTo>
                  <a:lnTo>
                    <a:pt x="302" y="190"/>
                  </a:lnTo>
                  <a:lnTo>
                    <a:pt x="309" y="182"/>
                  </a:lnTo>
                  <a:lnTo>
                    <a:pt x="317" y="172"/>
                  </a:lnTo>
                  <a:lnTo>
                    <a:pt x="323" y="162"/>
                  </a:lnTo>
                  <a:lnTo>
                    <a:pt x="327" y="151"/>
                  </a:lnTo>
                  <a:lnTo>
                    <a:pt x="330" y="139"/>
                  </a:lnTo>
                  <a:lnTo>
                    <a:pt x="333" y="128"/>
                  </a:lnTo>
                  <a:lnTo>
                    <a:pt x="334" y="116"/>
                  </a:lnTo>
                  <a:lnTo>
                    <a:pt x="334" y="100"/>
                  </a:lnTo>
                  <a:lnTo>
                    <a:pt x="336" y="87"/>
                  </a:lnTo>
                  <a:lnTo>
                    <a:pt x="338" y="81"/>
                  </a:lnTo>
                  <a:lnTo>
                    <a:pt x="340" y="75"/>
                  </a:lnTo>
                  <a:lnTo>
                    <a:pt x="345" y="68"/>
                  </a:lnTo>
                  <a:lnTo>
                    <a:pt x="349" y="61"/>
                  </a:lnTo>
                  <a:lnTo>
                    <a:pt x="356" y="52"/>
                  </a:lnTo>
                  <a:lnTo>
                    <a:pt x="360" y="44"/>
                  </a:lnTo>
                  <a:lnTo>
                    <a:pt x="364" y="37"/>
                  </a:lnTo>
                  <a:lnTo>
                    <a:pt x="367" y="30"/>
                  </a:lnTo>
                  <a:lnTo>
                    <a:pt x="368" y="25"/>
                  </a:lnTo>
                  <a:lnTo>
                    <a:pt x="368" y="20"/>
                  </a:lnTo>
                  <a:lnTo>
                    <a:pt x="367" y="16"/>
                  </a:lnTo>
                  <a:lnTo>
                    <a:pt x="366" y="13"/>
                  </a:lnTo>
                  <a:lnTo>
                    <a:pt x="363" y="9"/>
                  </a:lnTo>
                  <a:lnTo>
                    <a:pt x="359" y="6"/>
                  </a:lnTo>
                  <a:lnTo>
                    <a:pt x="356" y="5"/>
                  </a:lnTo>
                  <a:lnTo>
                    <a:pt x="350" y="3"/>
                  </a:lnTo>
                  <a:lnTo>
                    <a:pt x="338" y="0"/>
                  </a:lnTo>
                  <a:lnTo>
                    <a:pt x="324" y="0"/>
                  </a:lnTo>
                  <a:lnTo>
                    <a:pt x="318" y="6"/>
                  </a:lnTo>
                  <a:lnTo>
                    <a:pt x="310" y="14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7" name="Freeform 64"/>
            <p:cNvSpPr>
              <a:spLocks noChangeAspect="1"/>
            </p:cNvSpPr>
            <p:nvPr/>
          </p:nvSpPr>
          <p:spPr bwMode="gray">
            <a:xfrm rot="355651">
              <a:off x="7922928" y="4676775"/>
              <a:ext cx="55014" cy="39390"/>
            </a:xfrm>
            <a:custGeom>
              <a:avLst/>
              <a:gdLst/>
              <a:ahLst/>
              <a:cxnLst>
                <a:cxn ang="0">
                  <a:pos x="61" y="3"/>
                </a:cxn>
                <a:cxn ang="0">
                  <a:pos x="40" y="5"/>
                </a:cxn>
                <a:cxn ang="0">
                  <a:pos x="30" y="26"/>
                </a:cxn>
                <a:cxn ang="0">
                  <a:pos x="24" y="39"/>
                </a:cxn>
                <a:cxn ang="0">
                  <a:pos x="24" y="51"/>
                </a:cxn>
                <a:cxn ang="0">
                  <a:pos x="24" y="63"/>
                </a:cxn>
                <a:cxn ang="0">
                  <a:pos x="24" y="81"/>
                </a:cxn>
                <a:cxn ang="0">
                  <a:pos x="24" y="109"/>
                </a:cxn>
                <a:cxn ang="0">
                  <a:pos x="24" y="145"/>
                </a:cxn>
                <a:cxn ang="0">
                  <a:pos x="24" y="169"/>
                </a:cxn>
                <a:cxn ang="0">
                  <a:pos x="24" y="184"/>
                </a:cxn>
                <a:cxn ang="0">
                  <a:pos x="15" y="212"/>
                </a:cxn>
                <a:cxn ang="0">
                  <a:pos x="6" y="225"/>
                </a:cxn>
                <a:cxn ang="0">
                  <a:pos x="6" y="228"/>
                </a:cxn>
                <a:cxn ang="0">
                  <a:pos x="0" y="229"/>
                </a:cxn>
                <a:cxn ang="0">
                  <a:pos x="12" y="238"/>
                </a:cxn>
                <a:cxn ang="0">
                  <a:pos x="24" y="224"/>
                </a:cxn>
                <a:cxn ang="0">
                  <a:pos x="54" y="205"/>
                </a:cxn>
                <a:cxn ang="0">
                  <a:pos x="91" y="199"/>
                </a:cxn>
                <a:cxn ang="0">
                  <a:pos x="118" y="199"/>
                </a:cxn>
                <a:cxn ang="0">
                  <a:pos x="139" y="199"/>
                </a:cxn>
                <a:cxn ang="0">
                  <a:pos x="158" y="205"/>
                </a:cxn>
                <a:cxn ang="0">
                  <a:pos x="188" y="205"/>
                </a:cxn>
                <a:cxn ang="0">
                  <a:pos x="195" y="188"/>
                </a:cxn>
                <a:cxn ang="0">
                  <a:pos x="202" y="181"/>
                </a:cxn>
                <a:cxn ang="0">
                  <a:pos x="215" y="166"/>
                </a:cxn>
                <a:cxn ang="0">
                  <a:pos x="231" y="154"/>
                </a:cxn>
                <a:cxn ang="0">
                  <a:pos x="243" y="151"/>
                </a:cxn>
                <a:cxn ang="0">
                  <a:pos x="253" y="143"/>
                </a:cxn>
                <a:cxn ang="0">
                  <a:pos x="273" y="139"/>
                </a:cxn>
                <a:cxn ang="0">
                  <a:pos x="275" y="135"/>
                </a:cxn>
                <a:cxn ang="0">
                  <a:pos x="285" y="132"/>
                </a:cxn>
                <a:cxn ang="0">
                  <a:pos x="288" y="128"/>
                </a:cxn>
                <a:cxn ang="0">
                  <a:pos x="296" y="127"/>
                </a:cxn>
                <a:cxn ang="0">
                  <a:pos x="303" y="102"/>
                </a:cxn>
                <a:cxn ang="0">
                  <a:pos x="308" y="98"/>
                </a:cxn>
                <a:cxn ang="0">
                  <a:pos x="309" y="84"/>
                </a:cxn>
                <a:cxn ang="0">
                  <a:pos x="285" y="72"/>
                </a:cxn>
                <a:cxn ang="0">
                  <a:pos x="283" y="66"/>
                </a:cxn>
                <a:cxn ang="0">
                  <a:pos x="280" y="65"/>
                </a:cxn>
                <a:cxn ang="0">
                  <a:pos x="266" y="60"/>
                </a:cxn>
                <a:cxn ang="0">
                  <a:pos x="236" y="60"/>
                </a:cxn>
                <a:cxn ang="0">
                  <a:pos x="218" y="60"/>
                </a:cxn>
                <a:cxn ang="0">
                  <a:pos x="206" y="54"/>
                </a:cxn>
                <a:cxn ang="0">
                  <a:pos x="176" y="48"/>
                </a:cxn>
                <a:cxn ang="0">
                  <a:pos x="169" y="35"/>
                </a:cxn>
                <a:cxn ang="0">
                  <a:pos x="154" y="25"/>
                </a:cxn>
                <a:cxn ang="0">
                  <a:pos x="146" y="0"/>
                </a:cxn>
                <a:cxn ang="0">
                  <a:pos x="134" y="0"/>
                </a:cxn>
                <a:cxn ang="0">
                  <a:pos x="103" y="0"/>
                </a:cxn>
              </a:cxnLst>
              <a:rect l="0" t="0" r="r" b="b"/>
              <a:pathLst>
                <a:path w="309" h="242">
                  <a:moveTo>
                    <a:pt x="79" y="5"/>
                  </a:moveTo>
                  <a:lnTo>
                    <a:pt x="70" y="4"/>
                  </a:lnTo>
                  <a:lnTo>
                    <a:pt x="61" y="3"/>
                  </a:lnTo>
                  <a:lnTo>
                    <a:pt x="51" y="1"/>
                  </a:lnTo>
                  <a:lnTo>
                    <a:pt x="42" y="0"/>
                  </a:lnTo>
                  <a:lnTo>
                    <a:pt x="40" y="5"/>
                  </a:lnTo>
                  <a:lnTo>
                    <a:pt x="36" y="12"/>
                  </a:lnTo>
                  <a:lnTo>
                    <a:pt x="30" y="24"/>
                  </a:lnTo>
                  <a:lnTo>
                    <a:pt x="30" y="26"/>
                  </a:lnTo>
                  <a:lnTo>
                    <a:pt x="30" y="30"/>
                  </a:lnTo>
                  <a:lnTo>
                    <a:pt x="24" y="35"/>
                  </a:lnTo>
                  <a:lnTo>
                    <a:pt x="24" y="39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51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3"/>
                  </a:lnTo>
                  <a:lnTo>
                    <a:pt x="24" y="66"/>
                  </a:lnTo>
                  <a:lnTo>
                    <a:pt x="24" y="72"/>
                  </a:lnTo>
                  <a:lnTo>
                    <a:pt x="24" y="81"/>
                  </a:lnTo>
                  <a:lnTo>
                    <a:pt x="24" y="90"/>
                  </a:lnTo>
                  <a:lnTo>
                    <a:pt x="24" y="97"/>
                  </a:lnTo>
                  <a:lnTo>
                    <a:pt x="24" y="109"/>
                  </a:lnTo>
                  <a:lnTo>
                    <a:pt x="24" y="120"/>
                  </a:lnTo>
                  <a:lnTo>
                    <a:pt x="24" y="132"/>
                  </a:lnTo>
                  <a:lnTo>
                    <a:pt x="24" y="145"/>
                  </a:lnTo>
                  <a:lnTo>
                    <a:pt x="24" y="154"/>
                  </a:lnTo>
                  <a:lnTo>
                    <a:pt x="24" y="162"/>
                  </a:lnTo>
                  <a:lnTo>
                    <a:pt x="24" y="169"/>
                  </a:lnTo>
                  <a:lnTo>
                    <a:pt x="24" y="175"/>
                  </a:lnTo>
                  <a:lnTo>
                    <a:pt x="24" y="181"/>
                  </a:lnTo>
                  <a:lnTo>
                    <a:pt x="24" y="184"/>
                  </a:lnTo>
                  <a:lnTo>
                    <a:pt x="24" y="187"/>
                  </a:lnTo>
                  <a:lnTo>
                    <a:pt x="19" y="199"/>
                  </a:lnTo>
                  <a:lnTo>
                    <a:pt x="15" y="212"/>
                  </a:lnTo>
                  <a:lnTo>
                    <a:pt x="12" y="224"/>
                  </a:lnTo>
                  <a:lnTo>
                    <a:pt x="8" y="224"/>
                  </a:lnTo>
                  <a:lnTo>
                    <a:pt x="6" y="225"/>
                  </a:lnTo>
                  <a:lnTo>
                    <a:pt x="6" y="226"/>
                  </a:lnTo>
                  <a:lnTo>
                    <a:pt x="6" y="227"/>
                  </a:lnTo>
                  <a:lnTo>
                    <a:pt x="6" y="228"/>
                  </a:lnTo>
                  <a:lnTo>
                    <a:pt x="5" y="228"/>
                  </a:lnTo>
                  <a:lnTo>
                    <a:pt x="3" y="229"/>
                  </a:lnTo>
                  <a:lnTo>
                    <a:pt x="0" y="229"/>
                  </a:lnTo>
                  <a:lnTo>
                    <a:pt x="0" y="242"/>
                  </a:lnTo>
                  <a:lnTo>
                    <a:pt x="12" y="242"/>
                  </a:lnTo>
                  <a:lnTo>
                    <a:pt x="12" y="238"/>
                  </a:lnTo>
                  <a:lnTo>
                    <a:pt x="12" y="236"/>
                  </a:lnTo>
                  <a:lnTo>
                    <a:pt x="19" y="229"/>
                  </a:lnTo>
                  <a:lnTo>
                    <a:pt x="24" y="224"/>
                  </a:lnTo>
                  <a:lnTo>
                    <a:pt x="30" y="217"/>
                  </a:lnTo>
                  <a:lnTo>
                    <a:pt x="42" y="212"/>
                  </a:lnTo>
                  <a:lnTo>
                    <a:pt x="54" y="205"/>
                  </a:lnTo>
                  <a:lnTo>
                    <a:pt x="67" y="205"/>
                  </a:lnTo>
                  <a:lnTo>
                    <a:pt x="77" y="203"/>
                  </a:lnTo>
                  <a:lnTo>
                    <a:pt x="91" y="199"/>
                  </a:lnTo>
                  <a:lnTo>
                    <a:pt x="100" y="199"/>
                  </a:lnTo>
                  <a:lnTo>
                    <a:pt x="109" y="199"/>
                  </a:lnTo>
                  <a:lnTo>
                    <a:pt x="118" y="199"/>
                  </a:lnTo>
                  <a:lnTo>
                    <a:pt x="127" y="199"/>
                  </a:lnTo>
                  <a:lnTo>
                    <a:pt x="134" y="199"/>
                  </a:lnTo>
                  <a:lnTo>
                    <a:pt x="139" y="199"/>
                  </a:lnTo>
                  <a:lnTo>
                    <a:pt x="146" y="205"/>
                  </a:lnTo>
                  <a:lnTo>
                    <a:pt x="151" y="205"/>
                  </a:lnTo>
                  <a:lnTo>
                    <a:pt x="158" y="205"/>
                  </a:lnTo>
                  <a:lnTo>
                    <a:pt x="164" y="205"/>
                  </a:lnTo>
                  <a:lnTo>
                    <a:pt x="176" y="205"/>
                  </a:lnTo>
                  <a:lnTo>
                    <a:pt x="188" y="205"/>
                  </a:lnTo>
                  <a:lnTo>
                    <a:pt x="194" y="199"/>
                  </a:lnTo>
                  <a:lnTo>
                    <a:pt x="194" y="194"/>
                  </a:lnTo>
                  <a:lnTo>
                    <a:pt x="195" y="188"/>
                  </a:lnTo>
                  <a:lnTo>
                    <a:pt x="197" y="186"/>
                  </a:lnTo>
                  <a:lnTo>
                    <a:pt x="199" y="184"/>
                  </a:lnTo>
                  <a:lnTo>
                    <a:pt x="202" y="181"/>
                  </a:lnTo>
                  <a:lnTo>
                    <a:pt x="206" y="181"/>
                  </a:lnTo>
                  <a:lnTo>
                    <a:pt x="212" y="175"/>
                  </a:lnTo>
                  <a:lnTo>
                    <a:pt x="215" y="166"/>
                  </a:lnTo>
                  <a:lnTo>
                    <a:pt x="218" y="157"/>
                  </a:lnTo>
                  <a:lnTo>
                    <a:pt x="231" y="157"/>
                  </a:lnTo>
                  <a:lnTo>
                    <a:pt x="231" y="154"/>
                  </a:lnTo>
                  <a:lnTo>
                    <a:pt x="231" y="151"/>
                  </a:lnTo>
                  <a:lnTo>
                    <a:pt x="236" y="151"/>
                  </a:lnTo>
                  <a:lnTo>
                    <a:pt x="243" y="151"/>
                  </a:lnTo>
                  <a:lnTo>
                    <a:pt x="244" y="150"/>
                  </a:lnTo>
                  <a:lnTo>
                    <a:pt x="248" y="147"/>
                  </a:lnTo>
                  <a:lnTo>
                    <a:pt x="253" y="143"/>
                  </a:lnTo>
                  <a:lnTo>
                    <a:pt x="254" y="139"/>
                  </a:lnTo>
                  <a:lnTo>
                    <a:pt x="264" y="139"/>
                  </a:lnTo>
                  <a:lnTo>
                    <a:pt x="273" y="139"/>
                  </a:lnTo>
                  <a:lnTo>
                    <a:pt x="273" y="137"/>
                  </a:lnTo>
                  <a:lnTo>
                    <a:pt x="274" y="136"/>
                  </a:lnTo>
                  <a:lnTo>
                    <a:pt x="275" y="135"/>
                  </a:lnTo>
                  <a:lnTo>
                    <a:pt x="276" y="133"/>
                  </a:lnTo>
                  <a:lnTo>
                    <a:pt x="281" y="132"/>
                  </a:lnTo>
                  <a:lnTo>
                    <a:pt x="285" y="132"/>
                  </a:lnTo>
                  <a:lnTo>
                    <a:pt x="285" y="131"/>
                  </a:lnTo>
                  <a:lnTo>
                    <a:pt x="285" y="129"/>
                  </a:lnTo>
                  <a:lnTo>
                    <a:pt x="288" y="128"/>
                  </a:lnTo>
                  <a:lnTo>
                    <a:pt x="289" y="128"/>
                  </a:lnTo>
                  <a:lnTo>
                    <a:pt x="292" y="127"/>
                  </a:lnTo>
                  <a:lnTo>
                    <a:pt x="296" y="127"/>
                  </a:lnTo>
                  <a:lnTo>
                    <a:pt x="303" y="120"/>
                  </a:lnTo>
                  <a:lnTo>
                    <a:pt x="303" y="111"/>
                  </a:lnTo>
                  <a:lnTo>
                    <a:pt x="303" y="102"/>
                  </a:lnTo>
                  <a:lnTo>
                    <a:pt x="305" y="102"/>
                  </a:lnTo>
                  <a:lnTo>
                    <a:pt x="307" y="100"/>
                  </a:lnTo>
                  <a:lnTo>
                    <a:pt x="308" y="98"/>
                  </a:lnTo>
                  <a:lnTo>
                    <a:pt x="309" y="95"/>
                  </a:lnTo>
                  <a:lnTo>
                    <a:pt x="309" y="90"/>
                  </a:lnTo>
                  <a:lnTo>
                    <a:pt x="309" y="84"/>
                  </a:lnTo>
                  <a:lnTo>
                    <a:pt x="303" y="78"/>
                  </a:lnTo>
                  <a:lnTo>
                    <a:pt x="294" y="75"/>
                  </a:lnTo>
                  <a:lnTo>
                    <a:pt x="285" y="72"/>
                  </a:lnTo>
                  <a:lnTo>
                    <a:pt x="284" y="69"/>
                  </a:lnTo>
                  <a:lnTo>
                    <a:pt x="284" y="66"/>
                  </a:lnTo>
                  <a:lnTo>
                    <a:pt x="283" y="66"/>
                  </a:lnTo>
                  <a:lnTo>
                    <a:pt x="282" y="66"/>
                  </a:lnTo>
                  <a:lnTo>
                    <a:pt x="281" y="65"/>
                  </a:lnTo>
                  <a:lnTo>
                    <a:pt x="280" y="65"/>
                  </a:lnTo>
                  <a:lnTo>
                    <a:pt x="279" y="63"/>
                  </a:lnTo>
                  <a:lnTo>
                    <a:pt x="279" y="60"/>
                  </a:lnTo>
                  <a:lnTo>
                    <a:pt x="266" y="60"/>
                  </a:lnTo>
                  <a:lnTo>
                    <a:pt x="254" y="60"/>
                  </a:lnTo>
                  <a:lnTo>
                    <a:pt x="245" y="60"/>
                  </a:lnTo>
                  <a:lnTo>
                    <a:pt x="236" y="60"/>
                  </a:lnTo>
                  <a:lnTo>
                    <a:pt x="231" y="60"/>
                  </a:lnTo>
                  <a:lnTo>
                    <a:pt x="224" y="60"/>
                  </a:lnTo>
                  <a:lnTo>
                    <a:pt x="218" y="60"/>
                  </a:lnTo>
                  <a:lnTo>
                    <a:pt x="215" y="60"/>
                  </a:lnTo>
                  <a:lnTo>
                    <a:pt x="212" y="60"/>
                  </a:lnTo>
                  <a:lnTo>
                    <a:pt x="206" y="54"/>
                  </a:lnTo>
                  <a:lnTo>
                    <a:pt x="194" y="54"/>
                  </a:lnTo>
                  <a:lnTo>
                    <a:pt x="182" y="54"/>
                  </a:lnTo>
                  <a:lnTo>
                    <a:pt x="176" y="48"/>
                  </a:lnTo>
                  <a:lnTo>
                    <a:pt x="176" y="45"/>
                  </a:lnTo>
                  <a:lnTo>
                    <a:pt x="176" y="42"/>
                  </a:lnTo>
                  <a:lnTo>
                    <a:pt x="169" y="35"/>
                  </a:lnTo>
                  <a:lnTo>
                    <a:pt x="165" y="34"/>
                  </a:lnTo>
                  <a:lnTo>
                    <a:pt x="158" y="30"/>
                  </a:lnTo>
                  <a:lnTo>
                    <a:pt x="154" y="25"/>
                  </a:lnTo>
                  <a:lnTo>
                    <a:pt x="151" y="24"/>
                  </a:lnTo>
                  <a:lnTo>
                    <a:pt x="148" y="12"/>
                  </a:lnTo>
                  <a:lnTo>
                    <a:pt x="146" y="0"/>
                  </a:lnTo>
                  <a:lnTo>
                    <a:pt x="139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27" y="0"/>
                  </a:lnTo>
                  <a:lnTo>
                    <a:pt x="115" y="0"/>
                  </a:lnTo>
                  <a:lnTo>
                    <a:pt x="103" y="0"/>
                  </a:lnTo>
                  <a:lnTo>
                    <a:pt x="79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8" name="Freeform 65"/>
            <p:cNvSpPr>
              <a:spLocks noChangeAspect="1"/>
            </p:cNvSpPr>
            <p:nvPr/>
          </p:nvSpPr>
          <p:spPr bwMode="gray">
            <a:xfrm rot="355651">
              <a:off x="7834313" y="4591050"/>
              <a:ext cx="66652" cy="45779"/>
            </a:xfrm>
            <a:custGeom>
              <a:avLst/>
              <a:gdLst/>
              <a:ahLst/>
              <a:cxnLst>
                <a:cxn ang="0">
                  <a:pos x="39" y="5"/>
                </a:cxn>
                <a:cxn ang="0">
                  <a:pos x="16" y="25"/>
                </a:cxn>
                <a:cxn ang="0">
                  <a:pos x="2" y="47"/>
                </a:cxn>
                <a:cxn ang="0">
                  <a:pos x="0" y="59"/>
                </a:cxn>
                <a:cxn ang="0">
                  <a:pos x="2" y="77"/>
                </a:cxn>
                <a:cxn ang="0">
                  <a:pos x="11" y="99"/>
                </a:cxn>
                <a:cxn ang="0">
                  <a:pos x="25" y="118"/>
                </a:cxn>
                <a:cxn ang="0">
                  <a:pos x="40" y="140"/>
                </a:cxn>
                <a:cxn ang="0">
                  <a:pos x="66" y="173"/>
                </a:cxn>
                <a:cxn ang="0">
                  <a:pos x="81" y="190"/>
                </a:cxn>
                <a:cxn ang="0">
                  <a:pos x="89" y="195"/>
                </a:cxn>
                <a:cxn ang="0">
                  <a:pos x="94" y="200"/>
                </a:cxn>
                <a:cxn ang="0">
                  <a:pos x="98" y="203"/>
                </a:cxn>
                <a:cxn ang="0">
                  <a:pos x="106" y="211"/>
                </a:cxn>
                <a:cxn ang="0">
                  <a:pos x="109" y="219"/>
                </a:cxn>
                <a:cxn ang="0">
                  <a:pos x="114" y="226"/>
                </a:cxn>
                <a:cxn ang="0">
                  <a:pos x="123" y="227"/>
                </a:cxn>
                <a:cxn ang="0">
                  <a:pos x="133" y="224"/>
                </a:cxn>
                <a:cxn ang="0">
                  <a:pos x="150" y="218"/>
                </a:cxn>
                <a:cxn ang="0">
                  <a:pos x="165" y="212"/>
                </a:cxn>
                <a:cxn ang="0">
                  <a:pos x="173" y="210"/>
                </a:cxn>
                <a:cxn ang="0">
                  <a:pos x="183" y="218"/>
                </a:cxn>
                <a:cxn ang="0">
                  <a:pos x="202" y="240"/>
                </a:cxn>
                <a:cxn ang="0">
                  <a:pos x="224" y="266"/>
                </a:cxn>
                <a:cxn ang="0">
                  <a:pos x="239" y="281"/>
                </a:cxn>
                <a:cxn ang="0">
                  <a:pos x="247" y="287"/>
                </a:cxn>
                <a:cxn ang="0">
                  <a:pos x="251" y="289"/>
                </a:cxn>
                <a:cxn ang="0">
                  <a:pos x="258" y="293"/>
                </a:cxn>
                <a:cxn ang="0">
                  <a:pos x="273" y="296"/>
                </a:cxn>
                <a:cxn ang="0">
                  <a:pos x="290" y="289"/>
                </a:cxn>
                <a:cxn ang="0">
                  <a:pos x="307" y="271"/>
                </a:cxn>
                <a:cxn ang="0">
                  <a:pos x="321" y="251"/>
                </a:cxn>
                <a:cxn ang="0">
                  <a:pos x="332" y="230"/>
                </a:cxn>
                <a:cxn ang="0">
                  <a:pos x="337" y="212"/>
                </a:cxn>
                <a:cxn ang="0">
                  <a:pos x="345" y="199"/>
                </a:cxn>
                <a:cxn ang="0">
                  <a:pos x="356" y="187"/>
                </a:cxn>
                <a:cxn ang="0">
                  <a:pos x="365" y="175"/>
                </a:cxn>
                <a:cxn ang="0">
                  <a:pos x="368" y="161"/>
                </a:cxn>
                <a:cxn ang="0">
                  <a:pos x="367" y="142"/>
                </a:cxn>
                <a:cxn ang="0">
                  <a:pos x="358" y="113"/>
                </a:cxn>
                <a:cxn ang="0">
                  <a:pos x="345" y="91"/>
                </a:cxn>
                <a:cxn ang="0">
                  <a:pos x="323" y="73"/>
                </a:cxn>
                <a:cxn ang="0">
                  <a:pos x="284" y="47"/>
                </a:cxn>
                <a:cxn ang="0">
                  <a:pos x="268" y="38"/>
                </a:cxn>
                <a:cxn ang="0">
                  <a:pos x="257" y="33"/>
                </a:cxn>
                <a:cxn ang="0">
                  <a:pos x="241" y="20"/>
                </a:cxn>
                <a:cxn ang="0">
                  <a:pos x="227" y="8"/>
                </a:cxn>
                <a:cxn ang="0">
                  <a:pos x="210" y="3"/>
                </a:cxn>
                <a:cxn ang="0">
                  <a:pos x="179" y="1"/>
                </a:cxn>
                <a:cxn ang="0">
                  <a:pos x="160" y="5"/>
                </a:cxn>
                <a:cxn ang="0">
                  <a:pos x="143" y="11"/>
                </a:cxn>
                <a:cxn ang="0">
                  <a:pos x="115" y="14"/>
                </a:cxn>
                <a:cxn ang="0">
                  <a:pos x="99" y="9"/>
                </a:cxn>
                <a:cxn ang="0">
                  <a:pos x="89" y="6"/>
                </a:cxn>
                <a:cxn ang="0">
                  <a:pos x="69" y="5"/>
                </a:cxn>
                <a:cxn ang="0">
                  <a:pos x="56" y="2"/>
                </a:cxn>
              </a:cxnLst>
              <a:rect l="0" t="0" r="r" b="b"/>
              <a:pathLst>
                <a:path w="368" h="296">
                  <a:moveTo>
                    <a:pt x="51" y="0"/>
                  </a:moveTo>
                  <a:lnTo>
                    <a:pt x="39" y="5"/>
                  </a:lnTo>
                  <a:lnTo>
                    <a:pt x="27" y="8"/>
                  </a:lnTo>
                  <a:lnTo>
                    <a:pt x="16" y="25"/>
                  </a:lnTo>
                  <a:lnTo>
                    <a:pt x="3" y="41"/>
                  </a:lnTo>
                  <a:lnTo>
                    <a:pt x="2" y="47"/>
                  </a:lnTo>
                  <a:lnTo>
                    <a:pt x="1" y="54"/>
                  </a:lnTo>
                  <a:lnTo>
                    <a:pt x="0" y="59"/>
                  </a:lnTo>
                  <a:lnTo>
                    <a:pt x="0" y="66"/>
                  </a:lnTo>
                  <a:lnTo>
                    <a:pt x="2" y="77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18" y="108"/>
                  </a:lnTo>
                  <a:lnTo>
                    <a:pt x="25" y="118"/>
                  </a:lnTo>
                  <a:lnTo>
                    <a:pt x="31" y="126"/>
                  </a:lnTo>
                  <a:lnTo>
                    <a:pt x="40" y="140"/>
                  </a:lnTo>
                  <a:lnTo>
                    <a:pt x="57" y="162"/>
                  </a:lnTo>
                  <a:lnTo>
                    <a:pt x="66" y="173"/>
                  </a:lnTo>
                  <a:lnTo>
                    <a:pt x="75" y="183"/>
                  </a:lnTo>
                  <a:lnTo>
                    <a:pt x="81" y="190"/>
                  </a:lnTo>
                  <a:lnTo>
                    <a:pt x="86" y="192"/>
                  </a:lnTo>
                  <a:lnTo>
                    <a:pt x="89" y="195"/>
                  </a:lnTo>
                  <a:lnTo>
                    <a:pt x="93" y="197"/>
                  </a:lnTo>
                  <a:lnTo>
                    <a:pt x="94" y="200"/>
                  </a:lnTo>
                  <a:lnTo>
                    <a:pt x="97" y="201"/>
                  </a:lnTo>
                  <a:lnTo>
                    <a:pt x="98" y="203"/>
                  </a:lnTo>
                  <a:lnTo>
                    <a:pt x="103" y="208"/>
                  </a:lnTo>
                  <a:lnTo>
                    <a:pt x="106" y="211"/>
                  </a:lnTo>
                  <a:lnTo>
                    <a:pt x="109" y="213"/>
                  </a:lnTo>
                  <a:lnTo>
                    <a:pt x="109" y="219"/>
                  </a:lnTo>
                  <a:lnTo>
                    <a:pt x="112" y="223"/>
                  </a:lnTo>
                  <a:lnTo>
                    <a:pt x="114" y="226"/>
                  </a:lnTo>
                  <a:lnTo>
                    <a:pt x="118" y="227"/>
                  </a:lnTo>
                  <a:lnTo>
                    <a:pt x="123" y="227"/>
                  </a:lnTo>
                  <a:lnTo>
                    <a:pt x="127" y="227"/>
                  </a:lnTo>
                  <a:lnTo>
                    <a:pt x="133" y="224"/>
                  </a:lnTo>
                  <a:lnTo>
                    <a:pt x="138" y="223"/>
                  </a:lnTo>
                  <a:lnTo>
                    <a:pt x="150" y="218"/>
                  </a:lnTo>
                  <a:lnTo>
                    <a:pt x="161" y="213"/>
                  </a:lnTo>
                  <a:lnTo>
                    <a:pt x="165" y="212"/>
                  </a:lnTo>
                  <a:lnTo>
                    <a:pt x="170" y="211"/>
                  </a:lnTo>
                  <a:lnTo>
                    <a:pt x="173" y="210"/>
                  </a:lnTo>
                  <a:lnTo>
                    <a:pt x="175" y="211"/>
                  </a:lnTo>
                  <a:lnTo>
                    <a:pt x="183" y="218"/>
                  </a:lnTo>
                  <a:lnTo>
                    <a:pt x="192" y="228"/>
                  </a:lnTo>
                  <a:lnTo>
                    <a:pt x="202" y="240"/>
                  </a:lnTo>
                  <a:lnTo>
                    <a:pt x="213" y="253"/>
                  </a:lnTo>
                  <a:lnTo>
                    <a:pt x="224" y="266"/>
                  </a:lnTo>
                  <a:lnTo>
                    <a:pt x="234" y="277"/>
                  </a:lnTo>
                  <a:lnTo>
                    <a:pt x="239" y="281"/>
                  </a:lnTo>
                  <a:lnTo>
                    <a:pt x="243" y="285"/>
                  </a:lnTo>
                  <a:lnTo>
                    <a:pt x="247" y="287"/>
                  </a:lnTo>
                  <a:lnTo>
                    <a:pt x="250" y="288"/>
                  </a:lnTo>
                  <a:lnTo>
                    <a:pt x="251" y="289"/>
                  </a:lnTo>
                  <a:lnTo>
                    <a:pt x="253" y="291"/>
                  </a:lnTo>
                  <a:lnTo>
                    <a:pt x="258" y="293"/>
                  </a:lnTo>
                  <a:lnTo>
                    <a:pt x="263" y="294"/>
                  </a:lnTo>
                  <a:lnTo>
                    <a:pt x="273" y="296"/>
                  </a:lnTo>
                  <a:lnTo>
                    <a:pt x="280" y="296"/>
                  </a:lnTo>
                  <a:lnTo>
                    <a:pt x="290" y="289"/>
                  </a:lnTo>
                  <a:lnTo>
                    <a:pt x="298" y="280"/>
                  </a:lnTo>
                  <a:lnTo>
                    <a:pt x="307" y="271"/>
                  </a:lnTo>
                  <a:lnTo>
                    <a:pt x="315" y="261"/>
                  </a:lnTo>
                  <a:lnTo>
                    <a:pt x="321" y="251"/>
                  </a:lnTo>
                  <a:lnTo>
                    <a:pt x="327" y="240"/>
                  </a:lnTo>
                  <a:lnTo>
                    <a:pt x="332" y="230"/>
                  </a:lnTo>
                  <a:lnTo>
                    <a:pt x="334" y="219"/>
                  </a:lnTo>
                  <a:lnTo>
                    <a:pt x="337" y="212"/>
                  </a:lnTo>
                  <a:lnTo>
                    <a:pt x="340" y="205"/>
                  </a:lnTo>
                  <a:lnTo>
                    <a:pt x="345" y="199"/>
                  </a:lnTo>
                  <a:lnTo>
                    <a:pt x="351" y="193"/>
                  </a:lnTo>
                  <a:lnTo>
                    <a:pt x="356" y="187"/>
                  </a:lnTo>
                  <a:lnTo>
                    <a:pt x="361" y="181"/>
                  </a:lnTo>
                  <a:lnTo>
                    <a:pt x="365" y="175"/>
                  </a:lnTo>
                  <a:lnTo>
                    <a:pt x="367" y="170"/>
                  </a:lnTo>
                  <a:lnTo>
                    <a:pt x="368" y="161"/>
                  </a:lnTo>
                  <a:lnTo>
                    <a:pt x="368" y="151"/>
                  </a:lnTo>
                  <a:lnTo>
                    <a:pt x="367" y="142"/>
                  </a:lnTo>
                  <a:lnTo>
                    <a:pt x="365" y="132"/>
                  </a:lnTo>
                  <a:lnTo>
                    <a:pt x="358" y="113"/>
                  </a:lnTo>
                  <a:lnTo>
                    <a:pt x="351" y="97"/>
                  </a:lnTo>
                  <a:lnTo>
                    <a:pt x="345" y="91"/>
                  </a:lnTo>
                  <a:lnTo>
                    <a:pt x="335" y="83"/>
                  </a:lnTo>
                  <a:lnTo>
                    <a:pt x="323" y="73"/>
                  </a:lnTo>
                  <a:lnTo>
                    <a:pt x="308" y="64"/>
                  </a:lnTo>
                  <a:lnTo>
                    <a:pt x="284" y="47"/>
                  </a:lnTo>
                  <a:lnTo>
                    <a:pt x="272" y="39"/>
                  </a:lnTo>
                  <a:lnTo>
                    <a:pt x="268" y="38"/>
                  </a:lnTo>
                  <a:lnTo>
                    <a:pt x="262" y="36"/>
                  </a:lnTo>
                  <a:lnTo>
                    <a:pt x="257" y="33"/>
                  </a:lnTo>
                  <a:lnTo>
                    <a:pt x="251" y="29"/>
                  </a:lnTo>
                  <a:lnTo>
                    <a:pt x="241" y="20"/>
                  </a:lnTo>
                  <a:lnTo>
                    <a:pt x="233" y="12"/>
                  </a:lnTo>
                  <a:lnTo>
                    <a:pt x="227" y="8"/>
                  </a:lnTo>
                  <a:lnTo>
                    <a:pt x="219" y="6"/>
                  </a:lnTo>
                  <a:lnTo>
                    <a:pt x="210" y="3"/>
                  </a:lnTo>
                  <a:lnTo>
                    <a:pt x="200" y="2"/>
                  </a:lnTo>
                  <a:lnTo>
                    <a:pt x="179" y="1"/>
                  </a:lnTo>
                  <a:lnTo>
                    <a:pt x="163" y="2"/>
                  </a:lnTo>
                  <a:lnTo>
                    <a:pt x="160" y="5"/>
                  </a:lnTo>
                  <a:lnTo>
                    <a:pt x="156" y="8"/>
                  </a:lnTo>
                  <a:lnTo>
                    <a:pt x="143" y="11"/>
                  </a:lnTo>
                  <a:lnTo>
                    <a:pt x="127" y="15"/>
                  </a:lnTo>
                  <a:lnTo>
                    <a:pt x="115" y="14"/>
                  </a:lnTo>
                  <a:lnTo>
                    <a:pt x="103" y="12"/>
                  </a:lnTo>
                  <a:lnTo>
                    <a:pt x="99" y="9"/>
                  </a:lnTo>
                  <a:lnTo>
                    <a:pt x="95" y="8"/>
                  </a:lnTo>
                  <a:lnTo>
                    <a:pt x="89" y="6"/>
                  </a:lnTo>
                  <a:lnTo>
                    <a:pt x="83" y="5"/>
                  </a:lnTo>
                  <a:lnTo>
                    <a:pt x="69" y="5"/>
                  </a:lnTo>
                  <a:lnTo>
                    <a:pt x="58" y="3"/>
                  </a:lnTo>
                  <a:lnTo>
                    <a:pt x="56" y="2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9" name="Freeform 66"/>
            <p:cNvSpPr>
              <a:spLocks noChangeAspect="1"/>
            </p:cNvSpPr>
            <p:nvPr/>
          </p:nvSpPr>
          <p:spPr bwMode="gray">
            <a:xfrm rot="355651">
              <a:off x="7834313" y="4591050"/>
              <a:ext cx="66652" cy="45779"/>
            </a:xfrm>
            <a:custGeom>
              <a:avLst/>
              <a:gdLst/>
              <a:ahLst/>
              <a:cxnLst>
                <a:cxn ang="0">
                  <a:pos x="39" y="5"/>
                </a:cxn>
                <a:cxn ang="0">
                  <a:pos x="16" y="25"/>
                </a:cxn>
                <a:cxn ang="0">
                  <a:pos x="2" y="47"/>
                </a:cxn>
                <a:cxn ang="0">
                  <a:pos x="0" y="59"/>
                </a:cxn>
                <a:cxn ang="0">
                  <a:pos x="2" y="77"/>
                </a:cxn>
                <a:cxn ang="0">
                  <a:pos x="11" y="99"/>
                </a:cxn>
                <a:cxn ang="0">
                  <a:pos x="25" y="118"/>
                </a:cxn>
                <a:cxn ang="0">
                  <a:pos x="40" y="140"/>
                </a:cxn>
                <a:cxn ang="0">
                  <a:pos x="66" y="173"/>
                </a:cxn>
                <a:cxn ang="0">
                  <a:pos x="81" y="190"/>
                </a:cxn>
                <a:cxn ang="0">
                  <a:pos x="89" y="195"/>
                </a:cxn>
                <a:cxn ang="0">
                  <a:pos x="94" y="200"/>
                </a:cxn>
                <a:cxn ang="0">
                  <a:pos x="98" y="203"/>
                </a:cxn>
                <a:cxn ang="0">
                  <a:pos x="106" y="211"/>
                </a:cxn>
                <a:cxn ang="0">
                  <a:pos x="109" y="219"/>
                </a:cxn>
                <a:cxn ang="0">
                  <a:pos x="114" y="226"/>
                </a:cxn>
                <a:cxn ang="0">
                  <a:pos x="123" y="227"/>
                </a:cxn>
                <a:cxn ang="0">
                  <a:pos x="133" y="224"/>
                </a:cxn>
                <a:cxn ang="0">
                  <a:pos x="150" y="218"/>
                </a:cxn>
                <a:cxn ang="0">
                  <a:pos x="165" y="212"/>
                </a:cxn>
                <a:cxn ang="0">
                  <a:pos x="173" y="210"/>
                </a:cxn>
                <a:cxn ang="0">
                  <a:pos x="183" y="218"/>
                </a:cxn>
                <a:cxn ang="0">
                  <a:pos x="202" y="240"/>
                </a:cxn>
                <a:cxn ang="0">
                  <a:pos x="224" y="266"/>
                </a:cxn>
                <a:cxn ang="0">
                  <a:pos x="239" y="281"/>
                </a:cxn>
                <a:cxn ang="0">
                  <a:pos x="247" y="287"/>
                </a:cxn>
                <a:cxn ang="0">
                  <a:pos x="251" y="289"/>
                </a:cxn>
                <a:cxn ang="0">
                  <a:pos x="258" y="293"/>
                </a:cxn>
                <a:cxn ang="0">
                  <a:pos x="273" y="296"/>
                </a:cxn>
                <a:cxn ang="0">
                  <a:pos x="290" y="289"/>
                </a:cxn>
                <a:cxn ang="0">
                  <a:pos x="307" y="271"/>
                </a:cxn>
                <a:cxn ang="0">
                  <a:pos x="321" y="251"/>
                </a:cxn>
                <a:cxn ang="0">
                  <a:pos x="332" y="230"/>
                </a:cxn>
                <a:cxn ang="0">
                  <a:pos x="337" y="212"/>
                </a:cxn>
                <a:cxn ang="0">
                  <a:pos x="345" y="199"/>
                </a:cxn>
                <a:cxn ang="0">
                  <a:pos x="356" y="187"/>
                </a:cxn>
                <a:cxn ang="0">
                  <a:pos x="365" y="175"/>
                </a:cxn>
                <a:cxn ang="0">
                  <a:pos x="368" y="161"/>
                </a:cxn>
                <a:cxn ang="0">
                  <a:pos x="367" y="142"/>
                </a:cxn>
                <a:cxn ang="0">
                  <a:pos x="358" y="113"/>
                </a:cxn>
                <a:cxn ang="0">
                  <a:pos x="345" y="91"/>
                </a:cxn>
                <a:cxn ang="0">
                  <a:pos x="323" y="73"/>
                </a:cxn>
                <a:cxn ang="0">
                  <a:pos x="284" y="47"/>
                </a:cxn>
                <a:cxn ang="0">
                  <a:pos x="268" y="38"/>
                </a:cxn>
                <a:cxn ang="0">
                  <a:pos x="257" y="33"/>
                </a:cxn>
                <a:cxn ang="0">
                  <a:pos x="241" y="20"/>
                </a:cxn>
                <a:cxn ang="0">
                  <a:pos x="227" y="8"/>
                </a:cxn>
                <a:cxn ang="0">
                  <a:pos x="210" y="3"/>
                </a:cxn>
                <a:cxn ang="0">
                  <a:pos x="179" y="1"/>
                </a:cxn>
                <a:cxn ang="0">
                  <a:pos x="160" y="5"/>
                </a:cxn>
                <a:cxn ang="0">
                  <a:pos x="143" y="11"/>
                </a:cxn>
                <a:cxn ang="0">
                  <a:pos x="115" y="14"/>
                </a:cxn>
                <a:cxn ang="0">
                  <a:pos x="99" y="9"/>
                </a:cxn>
                <a:cxn ang="0">
                  <a:pos x="89" y="6"/>
                </a:cxn>
                <a:cxn ang="0">
                  <a:pos x="69" y="5"/>
                </a:cxn>
                <a:cxn ang="0">
                  <a:pos x="56" y="2"/>
                </a:cxn>
              </a:cxnLst>
              <a:rect l="0" t="0" r="r" b="b"/>
              <a:pathLst>
                <a:path w="368" h="296">
                  <a:moveTo>
                    <a:pt x="51" y="0"/>
                  </a:moveTo>
                  <a:lnTo>
                    <a:pt x="39" y="5"/>
                  </a:lnTo>
                  <a:lnTo>
                    <a:pt x="27" y="8"/>
                  </a:lnTo>
                  <a:lnTo>
                    <a:pt x="16" y="25"/>
                  </a:lnTo>
                  <a:lnTo>
                    <a:pt x="3" y="41"/>
                  </a:lnTo>
                  <a:lnTo>
                    <a:pt x="2" y="47"/>
                  </a:lnTo>
                  <a:lnTo>
                    <a:pt x="1" y="54"/>
                  </a:lnTo>
                  <a:lnTo>
                    <a:pt x="0" y="59"/>
                  </a:lnTo>
                  <a:lnTo>
                    <a:pt x="0" y="66"/>
                  </a:lnTo>
                  <a:lnTo>
                    <a:pt x="2" y="77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18" y="108"/>
                  </a:lnTo>
                  <a:lnTo>
                    <a:pt x="25" y="118"/>
                  </a:lnTo>
                  <a:lnTo>
                    <a:pt x="31" y="126"/>
                  </a:lnTo>
                  <a:lnTo>
                    <a:pt x="40" y="140"/>
                  </a:lnTo>
                  <a:lnTo>
                    <a:pt x="57" y="162"/>
                  </a:lnTo>
                  <a:lnTo>
                    <a:pt x="66" y="173"/>
                  </a:lnTo>
                  <a:lnTo>
                    <a:pt x="75" y="183"/>
                  </a:lnTo>
                  <a:lnTo>
                    <a:pt x="81" y="190"/>
                  </a:lnTo>
                  <a:lnTo>
                    <a:pt x="86" y="192"/>
                  </a:lnTo>
                  <a:lnTo>
                    <a:pt x="89" y="195"/>
                  </a:lnTo>
                  <a:lnTo>
                    <a:pt x="93" y="197"/>
                  </a:lnTo>
                  <a:lnTo>
                    <a:pt x="94" y="200"/>
                  </a:lnTo>
                  <a:lnTo>
                    <a:pt x="97" y="201"/>
                  </a:lnTo>
                  <a:lnTo>
                    <a:pt x="98" y="203"/>
                  </a:lnTo>
                  <a:lnTo>
                    <a:pt x="103" y="208"/>
                  </a:lnTo>
                  <a:lnTo>
                    <a:pt x="106" y="211"/>
                  </a:lnTo>
                  <a:lnTo>
                    <a:pt x="109" y="213"/>
                  </a:lnTo>
                  <a:lnTo>
                    <a:pt x="109" y="219"/>
                  </a:lnTo>
                  <a:lnTo>
                    <a:pt x="112" y="223"/>
                  </a:lnTo>
                  <a:lnTo>
                    <a:pt x="114" y="226"/>
                  </a:lnTo>
                  <a:lnTo>
                    <a:pt x="118" y="227"/>
                  </a:lnTo>
                  <a:lnTo>
                    <a:pt x="123" y="227"/>
                  </a:lnTo>
                  <a:lnTo>
                    <a:pt x="127" y="227"/>
                  </a:lnTo>
                  <a:lnTo>
                    <a:pt x="133" y="224"/>
                  </a:lnTo>
                  <a:lnTo>
                    <a:pt x="138" y="223"/>
                  </a:lnTo>
                  <a:lnTo>
                    <a:pt x="150" y="218"/>
                  </a:lnTo>
                  <a:lnTo>
                    <a:pt x="161" y="213"/>
                  </a:lnTo>
                  <a:lnTo>
                    <a:pt x="165" y="212"/>
                  </a:lnTo>
                  <a:lnTo>
                    <a:pt x="170" y="211"/>
                  </a:lnTo>
                  <a:lnTo>
                    <a:pt x="173" y="210"/>
                  </a:lnTo>
                  <a:lnTo>
                    <a:pt x="175" y="211"/>
                  </a:lnTo>
                  <a:lnTo>
                    <a:pt x="183" y="218"/>
                  </a:lnTo>
                  <a:lnTo>
                    <a:pt x="192" y="228"/>
                  </a:lnTo>
                  <a:lnTo>
                    <a:pt x="202" y="240"/>
                  </a:lnTo>
                  <a:lnTo>
                    <a:pt x="213" y="253"/>
                  </a:lnTo>
                  <a:lnTo>
                    <a:pt x="224" y="266"/>
                  </a:lnTo>
                  <a:lnTo>
                    <a:pt x="234" y="277"/>
                  </a:lnTo>
                  <a:lnTo>
                    <a:pt x="239" y="281"/>
                  </a:lnTo>
                  <a:lnTo>
                    <a:pt x="243" y="285"/>
                  </a:lnTo>
                  <a:lnTo>
                    <a:pt x="247" y="287"/>
                  </a:lnTo>
                  <a:lnTo>
                    <a:pt x="250" y="288"/>
                  </a:lnTo>
                  <a:lnTo>
                    <a:pt x="251" y="289"/>
                  </a:lnTo>
                  <a:lnTo>
                    <a:pt x="253" y="291"/>
                  </a:lnTo>
                  <a:lnTo>
                    <a:pt x="258" y="293"/>
                  </a:lnTo>
                  <a:lnTo>
                    <a:pt x="263" y="294"/>
                  </a:lnTo>
                  <a:lnTo>
                    <a:pt x="273" y="296"/>
                  </a:lnTo>
                  <a:lnTo>
                    <a:pt x="280" y="296"/>
                  </a:lnTo>
                  <a:lnTo>
                    <a:pt x="290" y="289"/>
                  </a:lnTo>
                  <a:lnTo>
                    <a:pt x="298" y="280"/>
                  </a:lnTo>
                  <a:lnTo>
                    <a:pt x="307" y="271"/>
                  </a:lnTo>
                  <a:lnTo>
                    <a:pt x="315" y="261"/>
                  </a:lnTo>
                  <a:lnTo>
                    <a:pt x="321" y="251"/>
                  </a:lnTo>
                  <a:lnTo>
                    <a:pt x="327" y="240"/>
                  </a:lnTo>
                  <a:lnTo>
                    <a:pt x="332" y="230"/>
                  </a:lnTo>
                  <a:lnTo>
                    <a:pt x="334" y="219"/>
                  </a:lnTo>
                  <a:lnTo>
                    <a:pt x="337" y="212"/>
                  </a:lnTo>
                  <a:lnTo>
                    <a:pt x="340" y="205"/>
                  </a:lnTo>
                  <a:lnTo>
                    <a:pt x="345" y="199"/>
                  </a:lnTo>
                  <a:lnTo>
                    <a:pt x="351" y="193"/>
                  </a:lnTo>
                  <a:lnTo>
                    <a:pt x="356" y="187"/>
                  </a:lnTo>
                  <a:lnTo>
                    <a:pt x="361" y="181"/>
                  </a:lnTo>
                  <a:lnTo>
                    <a:pt x="365" y="175"/>
                  </a:lnTo>
                  <a:lnTo>
                    <a:pt x="367" y="170"/>
                  </a:lnTo>
                  <a:lnTo>
                    <a:pt x="368" y="161"/>
                  </a:lnTo>
                  <a:lnTo>
                    <a:pt x="368" y="151"/>
                  </a:lnTo>
                  <a:lnTo>
                    <a:pt x="367" y="142"/>
                  </a:lnTo>
                  <a:lnTo>
                    <a:pt x="365" y="132"/>
                  </a:lnTo>
                  <a:lnTo>
                    <a:pt x="358" y="113"/>
                  </a:lnTo>
                  <a:lnTo>
                    <a:pt x="351" y="97"/>
                  </a:lnTo>
                  <a:lnTo>
                    <a:pt x="345" y="91"/>
                  </a:lnTo>
                  <a:lnTo>
                    <a:pt x="335" y="83"/>
                  </a:lnTo>
                  <a:lnTo>
                    <a:pt x="323" y="73"/>
                  </a:lnTo>
                  <a:lnTo>
                    <a:pt x="308" y="64"/>
                  </a:lnTo>
                  <a:lnTo>
                    <a:pt x="284" y="47"/>
                  </a:lnTo>
                  <a:lnTo>
                    <a:pt x="272" y="39"/>
                  </a:lnTo>
                  <a:lnTo>
                    <a:pt x="268" y="38"/>
                  </a:lnTo>
                  <a:lnTo>
                    <a:pt x="262" y="36"/>
                  </a:lnTo>
                  <a:lnTo>
                    <a:pt x="257" y="33"/>
                  </a:lnTo>
                  <a:lnTo>
                    <a:pt x="251" y="29"/>
                  </a:lnTo>
                  <a:lnTo>
                    <a:pt x="241" y="20"/>
                  </a:lnTo>
                  <a:lnTo>
                    <a:pt x="233" y="12"/>
                  </a:lnTo>
                  <a:lnTo>
                    <a:pt x="227" y="8"/>
                  </a:lnTo>
                  <a:lnTo>
                    <a:pt x="219" y="6"/>
                  </a:lnTo>
                  <a:lnTo>
                    <a:pt x="210" y="3"/>
                  </a:lnTo>
                  <a:lnTo>
                    <a:pt x="200" y="2"/>
                  </a:lnTo>
                  <a:lnTo>
                    <a:pt x="179" y="1"/>
                  </a:lnTo>
                  <a:lnTo>
                    <a:pt x="163" y="2"/>
                  </a:lnTo>
                  <a:lnTo>
                    <a:pt x="160" y="5"/>
                  </a:lnTo>
                  <a:lnTo>
                    <a:pt x="156" y="8"/>
                  </a:lnTo>
                  <a:lnTo>
                    <a:pt x="143" y="11"/>
                  </a:lnTo>
                  <a:lnTo>
                    <a:pt x="127" y="15"/>
                  </a:lnTo>
                  <a:lnTo>
                    <a:pt x="115" y="14"/>
                  </a:lnTo>
                  <a:lnTo>
                    <a:pt x="103" y="12"/>
                  </a:lnTo>
                  <a:lnTo>
                    <a:pt x="99" y="9"/>
                  </a:lnTo>
                  <a:lnTo>
                    <a:pt x="95" y="8"/>
                  </a:lnTo>
                  <a:lnTo>
                    <a:pt x="89" y="6"/>
                  </a:lnTo>
                  <a:lnTo>
                    <a:pt x="83" y="5"/>
                  </a:lnTo>
                  <a:lnTo>
                    <a:pt x="69" y="5"/>
                  </a:lnTo>
                  <a:lnTo>
                    <a:pt x="58" y="3"/>
                  </a:lnTo>
                  <a:lnTo>
                    <a:pt x="56" y="2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0" name="Freeform 67"/>
            <p:cNvSpPr>
              <a:spLocks noChangeAspect="1"/>
            </p:cNvSpPr>
            <p:nvPr/>
          </p:nvSpPr>
          <p:spPr bwMode="gray">
            <a:xfrm rot="355651">
              <a:off x="7785393" y="4518025"/>
              <a:ext cx="53957" cy="38325"/>
            </a:xfrm>
            <a:custGeom>
              <a:avLst/>
              <a:gdLst/>
              <a:ahLst/>
              <a:cxnLst>
                <a:cxn ang="0">
                  <a:pos x="20" y="11"/>
                </a:cxn>
                <a:cxn ang="0">
                  <a:pos x="11" y="28"/>
                </a:cxn>
                <a:cxn ang="0">
                  <a:pos x="4" y="46"/>
                </a:cxn>
                <a:cxn ang="0">
                  <a:pos x="1" y="65"/>
                </a:cxn>
                <a:cxn ang="0">
                  <a:pos x="3" y="87"/>
                </a:cxn>
                <a:cxn ang="0">
                  <a:pos x="17" y="120"/>
                </a:cxn>
                <a:cxn ang="0">
                  <a:pos x="24" y="136"/>
                </a:cxn>
                <a:cxn ang="0">
                  <a:pos x="25" y="146"/>
                </a:cxn>
                <a:cxn ang="0">
                  <a:pos x="24" y="164"/>
                </a:cxn>
                <a:cxn ang="0">
                  <a:pos x="19" y="189"/>
                </a:cxn>
                <a:cxn ang="0">
                  <a:pos x="14" y="213"/>
                </a:cxn>
                <a:cxn ang="0">
                  <a:pos x="13" y="228"/>
                </a:cxn>
                <a:cxn ang="0">
                  <a:pos x="19" y="236"/>
                </a:cxn>
                <a:cxn ang="0">
                  <a:pos x="22" y="241"/>
                </a:cxn>
                <a:cxn ang="0">
                  <a:pos x="25" y="241"/>
                </a:cxn>
                <a:cxn ang="0">
                  <a:pos x="30" y="239"/>
                </a:cxn>
                <a:cxn ang="0">
                  <a:pos x="41" y="226"/>
                </a:cxn>
                <a:cxn ang="0">
                  <a:pos x="58" y="214"/>
                </a:cxn>
                <a:cxn ang="0">
                  <a:pos x="80" y="212"/>
                </a:cxn>
                <a:cxn ang="0">
                  <a:pos x="114" y="217"/>
                </a:cxn>
                <a:cxn ang="0">
                  <a:pos x="154" y="218"/>
                </a:cxn>
                <a:cxn ang="0">
                  <a:pos x="177" y="214"/>
                </a:cxn>
                <a:cxn ang="0">
                  <a:pos x="191" y="207"/>
                </a:cxn>
                <a:cxn ang="0">
                  <a:pos x="205" y="194"/>
                </a:cxn>
                <a:cxn ang="0">
                  <a:pos x="226" y="178"/>
                </a:cxn>
                <a:cxn ang="0">
                  <a:pos x="252" y="164"/>
                </a:cxn>
                <a:cxn ang="0">
                  <a:pos x="274" y="151"/>
                </a:cxn>
                <a:cxn ang="0">
                  <a:pos x="280" y="144"/>
                </a:cxn>
                <a:cxn ang="0">
                  <a:pos x="282" y="137"/>
                </a:cxn>
                <a:cxn ang="0">
                  <a:pos x="279" y="128"/>
                </a:cxn>
                <a:cxn ang="0">
                  <a:pos x="268" y="117"/>
                </a:cxn>
                <a:cxn ang="0">
                  <a:pos x="251" y="106"/>
                </a:cxn>
                <a:cxn ang="0">
                  <a:pos x="222" y="93"/>
                </a:cxn>
                <a:cxn ang="0">
                  <a:pos x="192" y="78"/>
                </a:cxn>
                <a:cxn ang="0">
                  <a:pos x="171" y="66"/>
                </a:cxn>
                <a:cxn ang="0">
                  <a:pos x="161" y="56"/>
                </a:cxn>
                <a:cxn ang="0">
                  <a:pos x="154" y="45"/>
                </a:cxn>
                <a:cxn ang="0">
                  <a:pos x="143" y="30"/>
                </a:cxn>
                <a:cxn ang="0">
                  <a:pos x="128" y="17"/>
                </a:cxn>
                <a:cxn ang="0">
                  <a:pos x="113" y="7"/>
                </a:cxn>
                <a:cxn ang="0">
                  <a:pos x="96" y="0"/>
                </a:cxn>
                <a:cxn ang="0">
                  <a:pos x="71" y="0"/>
                </a:cxn>
                <a:cxn ang="0">
                  <a:pos x="56" y="1"/>
                </a:cxn>
                <a:cxn ang="0">
                  <a:pos x="37" y="1"/>
                </a:cxn>
                <a:cxn ang="0">
                  <a:pos x="25" y="3"/>
                </a:cxn>
              </a:cxnLst>
              <a:rect l="0" t="0" r="r" b="b"/>
              <a:pathLst>
                <a:path w="282" h="241">
                  <a:moveTo>
                    <a:pt x="25" y="3"/>
                  </a:moveTo>
                  <a:lnTo>
                    <a:pt x="20" y="11"/>
                  </a:lnTo>
                  <a:lnTo>
                    <a:pt x="15" y="19"/>
                  </a:lnTo>
                  <a:lnTo>
                    <a:pt x="11" y="28"/>
                  </a:lnTo>
                  <a:lnTo>
                    <a:pt x="8" y="37"/>
                  </a:lnTo>
                  <a:lnTo>
                    <a:pt x="4" y="46"/>
                  </a:lnTo>
                  <a:lnTo>
                    <a:pt x="2" y="55"/>
                  </a:lnTo>
                  <a:lnTo>
                    <a:pt x="1" y="65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10" y="104"/>
                  </a:lnTo>
                  <a:lnTo>
                    <a:pt x="17" y="120"/>
                  </a:lnTo>
                  <a:lnTo>
                    <a:pt x="22" y="132"/>
                  </a:lnTo>
                  <a:lnTo>
                    <a:pt x="24" y="136"/>
                  </a:lnTo>
                  <a:lnTo>
                    <a:pt x="25" y="142"/>
                  </a:lnTo>
                  <a:lnTo>
                    <a:pt x="25" y="146"/>
                  </a:lnTo>
                  <a:lnTo>
                    <a:pt x="25" y="152"/>
                  </a:lnTo>
                  <a:lnTo>
                    <a:pt x="24" y="164"/>
                  </a:lnTo>
                  <a:lnTo>
                    <a:pt x="22" y="176"/>
                  </a:lnTo>
                  <a:lnTo>
                    <a:pt x="19" y="189"/>
                  </a:lnTo>
                  <a:lnTo>
                    <a:pt x="15" y="201"/>
                  </a:lnTo>
                  <a:lnTo>
                    <a:pt x="14" y="213"/>
                  </a:lnTo>
                  <a:lnTo>
                    <a:pt x="13" y="223"/>
                  </a:lnTo>
                  <a:lnTo>
                    <a:pt x="13" y="228"/>
                  </a:lnTo>
                  <a:lnTo>
                    <a:pt x="15" y="231"/>
                  </a:lnTo>
                  <a:lnTo>
                    <a:pt x="19" y="236"/>
                  </a:lnTo>
                  <a:lnTo>
                    <a:pt x="21" y="239"/>
                  </a:lnTo>
                  <a:lnTo>
                    <a:pt x="22" y="241"/>
                  </a:lnTo>
                  <a:lnTo>
                    <a:pt x="24" y="241"/>
                  </a:lnTo>
                  <a:lnTo>
                    <a:pt x="25" y="241"/>
                  </a:lnTo>
                  <a:lnTo>
                    <a:pt x="27" y="241"/>
                  </a:lnTo>
                  <a:lnTo>
                    <a:pt x="30" y="239"/>
                  </a:lnTo>
                  <a:lnTo>
                    <a:pt x="33" y="234"/>
                  </a:lnTo>
                  <a:lnTo>
                    <a:pt x="41" y="226"/>
                  </a:lnTo>
                  <a:lnTo>
                    <a:pt x="48" y="219"/>
                  </a:lnTo>
                  <a:lnTo>
                    <a:pt x="58" y="214"/>
                  </a:lnTo>
                  <a:lnTo>
                    <a:pt x="69" y="213"/>
                  </a:lnTo>
                  <a:lnTo>
                    <a:pt x="80" y="212"/>
                  </a:lnTo>
                  <a:lnTo>
                    <a:pt x="91" y="213"/>
                  </a:lnTo>
                  <a:lnTo>
                    <a:pt x="114" y="217"/>
                  </a:lnTo>
                  <a:lnTo>
                    <a:pt x="135" y="219"/>
                  </a:lnTo>
                  <a:lnTo>
                    <a:pt x="154" y="218"/>
                  </a:lnTo>
                  <a:lnTo>
                    <a:pt x="169" y="217"/>
                  </a:lnTo>
                  <a:lnTo>
                    <a:pt x="177" y="214"/>
                  </a:lnTo>
                  <a:lnTo>
                    <a:pt x="184" y="211"/>
                  </a:lnTo>
                  <a:lnTo>
                    <a:pt x="191" y="207"/>
                  </a:lnTo>
                  <a:lnTo>
                    <a:pt x="197" y="201"/>
                  </a:lnTo>
                  <a:lnTo>
                    <a:pt x="205" y="194"/>
                  </a:lnTo>
                  <a:lnTo>
                    <a:pt x="215" y="185"/>
                  </a:lnTo>
                  <a:lnTo>
                    <a:pt x="226" y="178"/>
                  </a:lnTo>
                  <a:lnTo>
                    <a:pt x="235" y="172"/>
                  </a:lnTo>
                  <a:lnTo>
                    <a:pt x="252" y="164"/>
                  </a:lnTo>
                  <a:lnTo>
                    <a:pt x="270" y="154"/>
                  </a:lnTo>
                  <a:lnTo>
                    <a:pt x="274" y="151"/>
                  </a:lnTo>
                  <a:lnTo>
                    <a:pt x="278" y="147"/>
                  </a:lnTo>
                  <a:lnTo>
                    <a:pt x="280" y="144"/>
                  </a:lnTo>
                  <a:lnTo>
                    <a:pt x="281" y="141"/>
                  </a:lnTo>
                  <a:lnTo>
                    <a:pt x="282" y="137"/>
                  </a:lnTo>
                  <a:lnTo>
                    <a:pt x="281" y="133"/>
                  </a:lnTo>
                  <a:lnTo>
                    <a:pt x="279" y="128"/>
                  </a:lnTo>
                  <a:lnTo>
                    <a:pt x="275" y="124"/>
                  </a:lnTo>
                  <a:lnTo>
                    <a:pt x="268" y="117"/>
                  </a:lnTo>
                  <a:lnTo>
                    <a:pt x="260" y="112"/>
                  </a:lnTo>
                  <a:lnTo>
                    <a:pt x="251" y="106"/>
                  </a:lnTo>
                  <a:lnTo>
                    <a:pt x="241" y="102"/>
                  </a:lnTo>
                  <a:lnTo>
                    <a:pt x="222" y="93"/>
                  </a:lnTo>
                  <a:lnTo>
                    <a:pt x="202" y="84"/>
                  </a:lnTo>
                  <a:lnTo>
                    <a:pt x="192" y="78"/>
                  </a:lnTo>
                  <a:lnTo>
                    <a:pt x="177" y="70"/>
                  </a:lnTo>
                  <a:lnTo>
                    <a:pt x="171" y="66"/>
                  </a:lnTo>
                  <a:lnTo>
                    <a:pt x="165" y="60"/>
                  </a:lnTo>
                  <a:lnTo>
                    <a:pt x="161" y="56"/>
                  </a:lnTo>
                  <a:lnTo>
                    <a:pt x="157" y="53"/>
                  </a:lnTo>
                  <a:lnTo>
                    <a:pt x="154" y="45"/>
                  </a:lnTo>
                  <a:lnTo>
                    <a:pt x="149" y="37"/>
                  </a:lnTo>
                  <a:lnTo>
                    <a:pt x="143" y="30"/>
                  </a:lnTo>
                  <a:lnTo>
                    <a:pt x="136" y="22"/>
                  </a:lnTo>
                  <a:lnTo>
                    <a:pt x="128" y="17"/>
                  </a:lnTo>
                  <a:lnTo>
                    <a:pt x="120" y="11"/>
                  </a:lnTo>
                  <a:lnTo>
                    <a:pt x="113" y="7"/>
                  </a:lnTo>
                  <a:lnTo>
                    <a:pt x="105" y="3"/>
                  </a:lnTo>
                  <a:lnTo>
                    <a:pt x="96" y="0"/>
                  </a:lnTo>
                  <a:lnTo>
                    <a:pt x="83" y="0"/>
                  </a:lnTo>
                  <a:lnTo>
                    <a:pt x="71" y="0"/>
                  </a:lnTo>
                  <a:lnTo>
                    <a:pt x="60" y="0"/>
                  </a:lnTo>
                  <a:lnTo>
                    <a:pt x="56" y="1"/>
                  </a:lnTo>
                  <a:lnTo>
                    <a:pt x="47" y="1"/>
                  </a:lnTo>
                  <a:lnTo>
                    <a:pt x="37" y="1"/>
                  </a:lnTo>
                  <a:lnTo>
                    <a:pt x="32" y="0"/>
                  </a:lnTo>
                  <a:lnTo>
                    <a:pt x="25" y="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1" name="Freeform 68"/>
            <p:cNvSpPr>
              <a:spLocks noChangeAspect="1"/>
            </p:cNvSpPr>
            <p:nvPr/>
          </p:nvSpPr>
          <p:spPr bwMode="gray">
            <a:xfrm rot="355651">
              <a:off x="7716627" y="4405313"/>
              <a:ext cx="178795" cy="103268"/>
            </a:xfrm>
            <a:custGeom>
              <a:avLst/>
              <a:gdLst/>
              <a:ahLst/>
              <a:cxnLst>
                <a:cxn ang="0">
                  <a:pos x="267" y="256"/>
                </a:cxn>
                <a:cxn ang="0">
                  <a:pos x="239" y="293"/>
                </a:cxn>
                <a:cxn ang="0">
                  <a:pos x="227" y="307"/>
                </a:cxn>
                <a:cxn ang="0">
                  <a:pos x="215" y="322"/>
                </a:cxn>
                <a:cxn ang="0">
                  <a:pos x="234" y="365"/>
                </a:cxn>
                <a:cxn ang="0">
                  <a:pos x="248" y="388"/>
                </a:cxn>
                <a:cxn ang="0">
                  <a:pos x="264" y="405"/>
                </a:cxn>
                <a:cxn ang="0">
                  <a:pos x="257" y="405"/>
                </a:cxn>
                <a:cxn ang="0">
                  <a:pos x="234" y="411"/>
                </a:cxn>
                <a:cxn ang="0">
                  <a:pos x="215" y="417"/>
                </a:cxn>
                <a:cxn ang="0">
                  <a:pos x="183" y="436"/>
                </a:cxn>
                <a:cxn ang="0">
                  <a:pos x="154" y="439"/>
                </a:cxn>
                <a:cxn ang="0">
                  <a:pos x="140" y="439"/>
                </a:cxn>
                <a:cxn ang="0">
                  <a:pos x="113" y="439"/>
                </a:cxn>
                <a:cxn ang="0">
                  <a:pos x="75" y="439"/>
                </a:cxn>
                <a:cxn ang="0">
                  <a:pos x="55" y="439"/>
                </a:cxn>
                <a:cxn ang="0">
                  <a:pos x="32" y="447"/>
                </a:cxn>
                <a:cxn ang="0">
                  <a:pos x="16" y="456"/>
                </a:cxn>
                <a:cxn ang="0">
                  <a:pos x="0" y="480"/>
                </a:cxn>
                <a:cxn ang="0">
                  <a:pos x="0" y="505"/>
                </a:cxn>
                <a:cxn ang="0">
                  <a:pos x="5" y="530"/>
                </a:cxn>
                <a:cxn ang="0">
                  <a:pos x="17" y="546"/>
                </a:cxn>
                <a:cxn ang="0">
                  <a:pos x="26" y="575"/>
                </a:cxn>
                <a:cxn ang="0">
                  <a:pos x="45" y="597"/>
                </a:cxn>
                <a:cxn ang="0">
                  <a:pos x="67" y="624"/>
                </a:cxn>
                <a:cxn ang="0">
                  <a:pos x="94" y="634"/>
                </a:cxn>
                <a:cxn ang="0">
                  <a:pos x="114" y="623"/>
                </a:cxn>
                <a:cxn ang="0">
                  <a:pos x="130" y="601"/>
                </a:cxn>
                <a:cxn ang="0">
                  <a:pos x="139" y="583"/>
                </a:cxn>
                <a:cxn ang="0">
                  <a:pos x="153" y="557"/>
                </a:cxn>
                <a:cxn ang="0">
                  <a:pos x="166" y="526"/>
                </a:cxn>
                <a:cxn ang="0">
                  <a:pos x="184" y="515"/>
                </a:cxn>
                <a:cxn ang="0">
                  <a:pos x="200" y="497"/>
                </a:cxn>
                <a:cxn ang="0">
                  <a:pos x="221" y="472"/>
                </a:cxn>
                <a:cxn ang="0">
                  <a:pos x="246" y="458"/>
                </a:cxn>
                <a:cxn ang="0">
                  <a:pos x="272" y="433"/>
                </a:cxn>
                <a:cxn ang="0">
                  <a:pos x="282" y="420"/>
                </a:cxn>
                <a:cxn ang="0">
                  <a:pos x="336" y="423"/>
                </a:cxn>
                <a:cxn ang="0">
                  <a:pos x="469" y="395"/>
                </a:cxn>
                <a:cxn ang="0">
                  <a:pos x="552" y="360"/>
                </a:cxn>
                <a:cxn ang="0">
                  <a:pos x="583" y="327"/>
                </a:cxn>
                <a:cxn ang="0">
                  <a:pos x="622" y="303"/>
                </a:cxn>
                <a:cxn ang="0">
                  <a:pos x="712" y="259"/>
                </a:cxn>
                <a:cxn ang="0">
                  <a:pos x="795" y="227"/>
                </a:cxn>
                <a:cxn ang="0">
                  <a:pos x="846" y="201"/>
                </a:cxn>
                <a:cxn ang="0">
                  <a:pos x="888" y="184"/>
                </a:cxn>
                <a:cxn ang="0">
                  <a:pos x="959" y="152"/>
                </a:cxn>
                <a:cxn ang="0">
                  <a:pos x="973" y="141"/>
                </a:cxn>
                <a:cxn ang="0">
                  <a:pos x="937" y="106"/>
                </a:cxn>
                <a:cxn ang="0">
                  <a:pos x="875" y="92"/>
                </a:cxn>
                <a:cxn ang="0">
                  <a:pos x="820" y="64"/>
                </a:cxn>
                <a:cxn ang="0">
                  <a:pos x="762" y="13"/>
                </a:cxn>
                <a:cxn ang="0">
                  <a:pos x="716" y="1"/>
                </a:cxn>
                <a:cxn ang="0">
                  <a:pos x="623" y="21"/>
                </a:cxn>
                <a:cxn ang="0">
                  <a:pos x="534" y="77"/>
                </a:cxn>
                <a:cxn ang="0">
                  <a:pos x="504" y="95"/>
                </a:cxn>
                <a:cxn ang="0">
                  <a:pos x="451" y="116"/>
                </a:cxn>
                <a:cxn ang="0">
                  <a:pos x="394" y="148"/>
                </a:cxn>
                <a:cxn ang="0">
                  <a:pos x="362" y="178"/>
                </a:cxn>
                <a:cxn ang="0">
                  <a:pos x="336" y="201"/>
                </a:cxn>
                <a:cxn ang="0">
                  <a:pos x="316" y="212"/>
                </a:cxn>
              </a:cxnLst>
              <a:rect l="0" t="0" r="r" b="b"/>
              <a:pathLst>
                <a:path w="978" h="635">
                  <a:moveTo>
                    <a:pt x="295" y="220"/>
                  </a:moveTo>
                  <a:lnTo>
                    <a:pt x="287" y="230"/>
                  </a:lnTo>
                  <a:lnTo>
                    <a:pt x="279" y="242"/>
                  </a:lnTo>
                  <a:lnTo>
                    <a:pt x="272" y="246"/>
                  </a:lnTo>
                  <a:lnTo>
                    <a:pt x="270" y="250"/>
                  </a:lnTo>
                  <a:lnTo>
                    <a:pt x="267" y="256"/>
                  </a:lnTo>
                  <a:lnTo>
                    <a:pt x="264" y="263"/>
                  </a:lnTo>
                  <a:lnTo>
                    <a:pt x="258" y="270"/>
                  </a:lnTo>
                  <a:lnTo>
                    <a:pt x="248" y="283"/>
                  </a:lnTo>
                  <a:lnTo>
                    <a:pt x="241" y="288"/>
                  </a:lnTo>
                  <a:lnTo>
                    <a:pt x="241" y="290"/>
                  </a:lnTo>
                  <a:lnTo>
                    <a:pt x="239" y="293"/>
                  </a:lnTo>
                  <a:lnTo>
                    <a:pt x="237" y="295"/>
                  </a:lnTo>
                  <a:lnTo>
                    <a:pt x="234" y="295"/>
                  </a:lnTo>
                  <a:lnTo>
                    <a:pt x="234" y="298"/>
                  </a:lnTo>
                  <a:lnTo>
                    <a:pt x="231" y="303"/>
                  </a:lnTo>
                  <a:lnTo>
                    <a:pt x="229" y="305"/>
                  </a:lnTo>
                  <a:lnTo>
                    <a:pt x="227" y="307"/>
                  </a:lnTo>
                  <a:lnTo>
                    <a:pt x="226" y="314"/>
                  </a:lnTo>
                  <a:lnTo>
                    <a:pt x="225" y="315"/>
                  </a:lnTo>
                  <a:lnTo>
                    <a:pt x="224" y="315"/>
                  </a:lnTo>
                  <a:lnTo>
                    <a:pt x="222" y="318"/>
                  </a:lnTo>
                  <a:lnTo>
                    <a:pt x="219" y="319"/>
                  </a:lnTo>
                  <a:lnTo>
                    <a:pt x="215" y="322"/>
                  </a:lnTo>
                  <a:lnTo>
                    <a:pt x="215" y="348"/>
                  </a:lnTo>
                  <a:lnTo>
                    <a:pt x="219" y="352"/>
                  </a:lnTo>
                  <a:lnTo>
                    <a:pt x="227" y="352"/>
                  </a:lnTo>
                  <a:lnTo>
                    <a:pt x="228" y="357"/>
                  </a:lnTo>
                  <a:lnTo>
                    <a:pt x="230" y="363"/>
                  </a:lnTo>
                  <a:lnTo>
                    <a:pt x="234" y="365"/>
                  </a:lnTo>
                  <a:lnTo>
                    <a:pt x="237" y="371"/>
                  </a:lnTo>
                  <a:lnTo>
                    <a:pt x="240" y="378"/>
                  </a:lnTo>
                  <a:lnTo>
                    <a:pt x="241" y="382"/>
                  </a:lnTo>
                  <a:lnTo>
                    <a:pt x="245" y="383"/>
                  </a:lnTo>
                  <a:lnTo>
                    <a:pt x="247" y="384"/>
                  </a:lnTo>
                  <a:lnTo>
                    <a:pt x="248" y="388"/>
                  </a:lnTo>
                  <a:lnTo>
                    <a:pt x="249" y="390"/>
                  </a:lnTo>
                  <a:lnTo>
                    <a:pt x="251" y="391"/>
                  </a:lnTo>
                  <a:lnTo>
                    <a:pt x="255" y="394"/>
                  </a:lnTo>
                  <a:lnTo>
                    <a:pt x="256" y="398"/>
                  </a:lnTo>
                  <a:lnTo>
                    <a:pt x="257" y="401"/>
                  </a:lnTo>
                  <a:lnTo>
                    <a:pt x="264" y="405"/>
                  </a:lnTo>
                  <a:lnTo>
                    <a:pt x="268" y="409"/>
                  </a:lnTo>
                  <a:lnTo>
                    <a:pt x="268" y="409"/>
                  </a:lnTo>
                  <a:lnTo>
                    <a:pt x="264" y="409"/>
                  </a:lnTo>
                  <a:lnTo>
                    <a:pt x="260" y="409"/>
                  </a:lnTo>
                  <a:lnTo>
                    <a:pt x="258" y="407"/>
                  </a:lnTo>
                  <a:lnTo>
                    <a:pt x="257" y="405"/>
                  </a:lnTo>
                  <a:lnTo>
                    <a:pt x="253" y="405"/>
                  </a:lnTo>
                  <a:lnTo>
                    <a:pt x="251" y="405"/>
                  </a:lnTo>
                  <a:lnTo>
                    <a:pt x="249" y="405"/>
                  </a:lnTo>
                  <a:lnTo>
                    <a:pt x="241" y="407"/>
                  </a:lnTo>
                  <a:lnTo>
                    <a:pt x="234" y="409"/>
                  </a:lnTo>
                  <a:lnTo>
                    <a:pt x="234" y="411"/>
                  </a:lnTo>
                  <a:lnTo>
                    <a:pt x="234" y="412"/>
                  </a:lnTo>
                  <a:lnTo>
                    <a:pt x="232" y="412"/>
                  </a:lnTo>
                  <a:lnTo>
                    <a:pt x="231" y="412"/>
                  </a:lnTo>
                  <a:lnTo>
                    <a:pt x="229" y="411"/>
                  </a:lnTo>
                  <a:lnTo>
                    <a:pt x="227" y="412"/>
                  </a:lnTo>
                  <a:lnTo>
                    <a:pt x="215" y="417"/>
                  </a:lnTo>
                  <a:lnTo>
                    <a:pt x="203" y="420"/>
                  </a:lnTo>
                  <a:lnTo>
                    <a:pt x="200" y="423"/>
                  </a:lnTo>
                  <a:lnTo>
                    <a:pt x="200" y="426"/>
                  </a:lnTo>
                  <a:lnTo>
                    <a:pt x="200" y="428"/>
                  </a:lnTo>
                  <a:lnTo>
                    <a:pt x="192" y="431"/>
                  </a:lnTo>
                  <a:lnTo>
                    <a:pt x="183" y="436"/>
                  </a:lnTo>
                  <a:lnTo>
                    <a:pt x="178" y="439"/>
                  </a:lnTo>
                  <a:lnTo>
                    <a:pt x="172" y="439"/>
                  </a:lnTo>
                  <a:lnTo>
                    <a:pt x="166" y="439"/>
                  </a:lnTo>
                  <a:lnTo>
                    <a:pt x="162" y="439"/>
                  </a:lnTo>
                  <a:lnTo>
                    <a:pt x="159" y="439"/>
                  </a:lnTo>
                  <a:lnTo>
                    <a:pt x="154" y="439"/>
                  </a:lnTo>
                  <a:lnTo>
                    <a:pt x="153" y="439"/>
                  </a:lnTo>
                  <a:lnTo>
                    <a:pt x="151" y="439"/>
                  </a:lnTo>
                  <a:lnTo>
                    <a:pt x="148" y="439"/>
                  </a:lnTo>
                  <a:lnTo>
                    <a:pt x="145" y="439"/>
                  </a:lnTo>
                  <a:lnTo>
                    <a:pt x="143" y="439"/>
                  </a:lnTo>
                  <a:lnTo>
                    <a:pt x="140" y="439"/>
                  </a:lnTo>
                  <a:lnTo>
                    <a:pt x="138" y="439"/>
                  </a:lnTo>
                  <a:lnTo>
                    <a:pt x="135" y="439"/>
                  </a:lnTo>
                  <a:lnTo>
                    <a:pt x="129" y="439"/>
                  </a:lnTo>
                  <a:lnTo>
                    <a:pt x="123" y="439"/>
                  </a:lnTo>
                  <a:lnTo>
                    <a:pt x="116" y="439"/>
                  </a:lnTo>
                  <a:lnTo>
                    <a:pt x="113" y="439"/>
                  </a:lnTo>
                  <a:lnTo>
                    <a:pt x="109" y="439"/>
                  </a:lnTo>
                  <a:lnTo>
                    <a:pt x="102" y="439"/>
                  </a:lnTo>
                  <a:lnTo>
                    <a:pt x="94" y="439"/>
                  </a:lnTo>
                  <a:lnTo>
                    <a:pt x="86" y="439"/>
                  </a:lnTo>
                  <a:lnTo>
                    <a:pt x="81" y="439"/>
                  </a:lnTo>
                  <a:lnTo>
                    <a:pt x="75" y="439"/>
                  </a:lnTo>
                  <a:lnTo>
                    <a:pt x="72" y="439"/>
                  </a:lnTo>
                  <a:lnTo>
                    <a:pt x="67" y="439"/>
                  </a:lnTo>
                  <a:lnTo>
                    <a:pt x="64" y="439"/>
                  </a:lnTo>
                  <a:lnTo>
                    <a:pt x="61" y="439"/>
                  </a:lnTo>
                  <a:lnTo>
                    <a:pt x="56" y="439"/>
                  </a:lnTo>
                  <a:lnTo>
                    <a:pt x="55" y="439"/>
                  </a:lnTo>
                  <a:lnTo>
                    <a:pt x="53" y="439"/>
                  </a:lnTo>
                  <a:lnTo>
                    <a:pt x="49" y="442"/>
                  </a:lnTo>
                  <a:lnTo>
                    <a:pt x="42" y="442"/>
                  </a:lnTo>
                  <a:lnTo>
                    <a:pt x="34" y="442"/>
                  </a:lnTo>
                  <a:lnTo>
                    <a:pt x="34" y="447"/>
                  </a:lnTo>
                  <a:lnTo>
                    <a:pt x="32" y="447"/>
                  </a:lnTo>
                  <a:lnTo>
                    <a:pt x="30" y="447"/>
                  </a:lnTo>
                  <a:lnTo>
                    <a:pt x="26" y="447"/>
                  </a:lnTo>
                  <a:lnTo>
                    <a:pt x="21" y="449"/>
                  </a:lnTo>
                  <a:lnTo>
                    <a:pt x="18" y="451"/>
                  </a:lnTo>
                  <a:lnTo>
                    <a:pt x="17" y="452"/>
                  </a:lnTo>
                  <a:lnTo>
                    <a:pt x="16" y="456"/>
                  </a:lnTo>
                  <a:lnTo>
                    <a:pt x="15" y="458"/>
                  </a:lnTo>
                  <a:lnTo>
                    <a:pt x="11" y="461"/>
                  </a:lnTo>
                  <a:lnTo>
                    <a:pt x="7" y="463"/>
                  </a:lnTo>
                  <a:lnTo>
                    <a:pt x="4" y="466"/>
                  </a:lnTo>
                  <a:lnTo>
                    <a:pt x="1" y="475"/>
                  </a:lnTo>
                  <a:lnTo>
                    <a:pt x="0" y="480"/>
                  </a:lnTo>
                  <a:lnTo>
                    <a:pt x="0" y="486"/>
                  </a:lnTo>
                  <a:lnTo>
                    <a:pt x="0" y="491"/>
                  </a:lnTo>
                  <a:lnTo>
                    <a:pt x="0" y="496"/>
                  </a:lnTo>
                  <a:lnTo>
                    <a:pt x="0" y="499"/>
                  </a:lnTo>
                  <a:lnTo>
                    <a:pt x="0" y="503"/>
                  </a:lnTo>
                  <a:lnTo>
                    <a:pt x="0" y="505"/>
                  </a:lnTo>
                  <a:lnTo>
                    <a:pt x="0" y="507"/>
                  </a:lnTo>
                  <a:lnTo>
                    <a:pt x="0" y="510"/>
                  </a:lnTo>
                  <a:lnTo>
                    <a:pt x="0" y="518"/>
                  </a:lnTo>
                  <a:lnTo>
                    <a:pt x="0" y="526"/>
                  </a:lnTo>
                  <a:lnTo>
                    <a:pt x="3" y="527"/>
                  </a:lnTo>
                  <a:lnTo>
                    <a:pt x="5" y="530"/>
                  </a:lnTo>
                  <a:lnTo>
                    <a:pt x="7" y="534"/>
                  </a:lnTo>
                  <a:lnTo>
                    <a:pt x="7" y="537"/>
                  </a:lnTo>
                  <a:lnTo>
                    <a:pt x="11" y="539"/>
                  </a:lnTo>
                  <a:lnTo>
                    <a:pt x="15" y="540"/>
                  </a:lnTo>
                  <a:lnTo>
                    <a:pt x="16" y="544"/>
                  </a:lnTo>
                  <a:lnTo>
                    <a:pt x="17" y="546"/>
                  </a:lnTo>
                  <a:lnTo>
                    <a:pt x="19" y="549"/>
                  </a:lnTo>
                  <a:lnTo>
                    <a:pt x="23" y="552"/>
                  </a:lnTo>
                  <a:lnTo>
                    <a:pt x="23" y="556"/>
                  </a:lnTo>
                  <a:lnTo>
                    <a:pt x="23" y="559"/>
                  </a:lnTo>
                  <a:lnTo>
                    <a:pt x="25" y="567"/>
                  </a:lnTo>
                  <a:lnTo>
                    <a:pt x="26" y="575"/>
                  </a:lnTo>
                  <a:lnTo>
                    <a:pt x="30" y="578"/>
                  </a:lnTo>
                  <a:lnTo>
                    <a:pt x="34" y="583"/>
                  </a:lnTo>
                  <a:lnTo>
                    <a:pt x="36" y="588"/>
                  </a:lnTo>
                  <a:lnTo>
                    <a:pt x="37" y="594"/>
                  </a:lnTo>
                  <a:lnTo>
                    <a:pt x="42" y="595"/>
                  </a:lnTo>
                  <a:lnTo>
                    <a:pt x="45" y="597"/>
                  </a:lnTo>
                  <a:lnTo>
                    <a:pt x="49" y="605"/>
                  </a:lnTo>
                  <a:lnTo>
                    <a:pt x="53" y="613"/>
                  </a:lnTo>
                  <a:lnTo>
                    <a:pt x="58" y="616"/>
                  </a:lnTo>
                  <a:lnTo>
                    <a:pt x="61" y="620"/>
                  </a:lnTo>
                  <a:lnTo>
                    <a:pt x="64" y="622"/>
                  </a:lnTo>
                  <a:lnTo>
                    <a:pt x="67" y="624"/>
                  </a:lnTo>
                  <a:lnTo>
                    <a:pt x="74" y="624"/>
                  </a:lnTo>
                  <a:lnTo>
                    <a:pt x="80" y="624"/>
                  </a:lnTo>
                  <a:lnTo>
                    <a:pt x="83" y="628"/>
                  </a:lnTo>
                  <a:lnTo>
                    <a:pt x="86" y="630"/>
                  </a:lnTo>
                  <a:lnTo>
                    <a:pt x="91" y="632"/>
                  </a:lnTo>
                  <a:lnTo>
                    <a:pt x="94" y="634"/>
                  </a:lnTo>
                  <a:lnTo>
                    <a:pt x="99" y="635"/>
                  </a:lnTo>
                  <a:lnTo>
                    <a:pt x="102" y="635"/>
                  </a:lnTo>
                  <a:lnTo>
                    <a:pt x="105" y="635"/>
                  </a:lnTo>
                  <a:lnTo>
                    <a:pt x="110" y="632"/>
                  </a:lnTo>
                  <a:lnTo>
                    <a:pt x="112" y="626"/>
                  </a:lnTo>
                  <a:lnTo>
                    <a:pt x="114" y="623"/>
                  </a:lnTo>
                  <a:lnTo>
                    <a:pt x="116" y="620"/>
                  </a:lnTo>
                  <a:lnTo>
                    <a:pt x="121" y="616"/>
                  </a:lnTo>
                  <a:lnTo>
                    <a:pt x="121" y="609"/>
                  </a:lnTo>
                  <a:lnTo>
                    <a:pt x="126" y="607"/>
                  </a:lnTo>
                  <a:lnTo>
                    <a:pt x="129" y="605"/>
                  </a:lnTo>
                  <a:lnTo>
                    <a:pt x="130" y="601"/>
                  </a:lnTo>
                  <a:lnTo>
                    <a:pt x="132" y="597"/>
                  </a:lnTo>
                  <a:lnTo>
                    <a:pt x="132" y="594"/>
                  </a:lnTo>
                  <a:lnTo>
                    <a:pt x="134" y="592"/>
                  </a:lnTo>
                  <a:lnTo>
                    <a:pt x="135" y="590"/>
                  </a:lnTo>
                  <a:lnTo>
                    <a:pt x="136" y="586"/>
                  </a:lnTo>
                  <a:lnTo>
                    <a:pt x="139" y="583"/>
                  </a:lnTo>
                  <a:lnTo>
                    <a:pt x="141" y="580"/>
                  </a:lnTo>
                  <a:lnTo>
                    <a:pt x="143" y="578"/>
                  </a:lnTo>
                  <a:lnTo>
                    <a:pt x="143" y="571"/>
                  </a:lnTo>
                  <a:lnTo>
                    <a:pt x="148" y="567"/>
                  </a:lnTo>
                  <a:lnTo>
                    <a:pt x="151" y="564"/>
                  </a:lnTo>
                  <a:lnTo>
                    <a:pt x="153" y="557"/>
                  </a:lnTo>
                  <a:lnTo>
                    <a:pt x="154" y="548"/>
                  </a:lnTo>
                  <a:lnTo>
                    <a:pt x="159" y="548"/>
                  </a:lnTo>
                  <a:lnTo>
                    <a:pt x="160" y="545"/>
                  </a:lnTo>
                  <a:lnTo>
                    <a:pt x="162" y="540"/>
                  </a:lnTo>
                  <a:lnTo>
                    <a:pt x="164" y="534"/>
                  </a:lnTo>
                  <a:lnTo>
                    <a:pt x="166" y="526"/>
                  </a:lnTo>
                  <a:lnTo>
                    <a:pt x="170" y="521"/>
                  </a:lnTo>
                  <a:lnTo>
                    <a:pt x="178" y="521"/>
                  </a:lnTo>
                  <a:lnTo>
                    <a:pt x="178" y="519"/>
                  </a:lnTo>
                  <a:lnTo>
                    <a:pt x="180" y="517"/>
                  </a:lnTo>
                  <a:lnTo>
                    <a:pt x="182" y="515"/>
                  </a:lnTo>
                  <a:lnTo>
                    <a:pt x="184" y="515"/>
                  </a:lnTo>
                  <a:lnTo>
                    <a:pt x="187" y="513"/>
                  </a:lnTo>
                  <a:lnTo>
                    <a:pt x="189" y="510"/>
                  </a:lnTo>
                  <a:lnTo>
                    <a:pt x="192" y="507"/>
                  </a:lnTo>
                  <a:lnTo>
                    <a:pt x="197" y="503"/>
                  </a:lnTo>
                  <a:lnTo>
                    <a:pt x="200" y="499"/>
                  </a:lnTo>
                  <a:lnTo>
                    <a:pt x="200" y="497"/>
                  </a:lnTo>
                  <a:lnTo>
                    <a:pt x="200" y="496"/>
                  </a:lnTo>
                  <a:lnTo>
                    <a:pt x="206" y="489"/>
                  </a:lnTo>
                  <a:lnTo>
                    <a:pt x="211" y="480"/>
                  </a:lnTo>
                  <a:lnTo>
                    <a:pt x="215" y="477"/>
                  </a:lnTo>
                  <a:lnTo>
                    <a:pt x="219" y="472"/>
                  </a:lnTo>
                  <a:lnTo>
                    <a:pt x="221" y="472"/>
                  </a:lnTo>
                  <a:lnTo>
                    <a:pt x="222" y="472"/>
                  </a:lnTo>
                  <a:lnTo>
                    <a:pt x="230" y="467"/>
                  </a:lnTo>
                  <a:lnTo>
                    <a:pt x="234" y="461"/>
                  </a:lnTo>
                  <a:lnTo>
                    <a:pt x="241" y="461"/>
                  </a:lnTo>
                  <a:lnTo>
                    <a:pt x="244" y="460"/>
                  </a:lnTo>
                  <a:lnTo>
                    <a:pt x="246" y="458"/>
                  </a:lnTo>
                  <a:lnTo>
                    <a:pt x="249" y="455"/>
                  </a:lnTo>
                  <a:lnTo>
                    <a:pt x="253" y="452"/>
                  </a:lnTo>
                  <a:lnTo>
                    <a:pt x="257" y="450"/>
                  </a:lnTo>
                  <a:lnTo>
                    <a:pt x="263" y="444"/>
                  </a:lnTo>
                  <a:lnTo>
                    <a:pt x="268" y="436"/>
                  </a:lnTo>
                  <a:lnTo>
                    <a:pt x="272" y="433"/>
                  </a:lnTo>
                  <a:lnTo>
                    <a:pt x="276" y="431"/>
                  </a:lnTo>
                  <a:lnTo>
                    <a:pt x="276" y="423"/>
                  </a:lnTo>
                  <a:lnTo>
                    <a:pt x="277" y="423"/>
                  </a:lnTo>
                  <a:lnTo>
                    <a:pt x="279" y="423"/>
                  </a:lnTo>
                  <a:lnTo>
                    <a:pt x="279" y="422"/>
                  </a:lnTo>
                  <a:lnTo>
                    <a:pt x="282" y="420"/>
                  </a:lnTo>
                  <a:lnTo>
                    <a:pt x="283" y="420"/>
                  </a:lnTo>
                  <a:lnTo>
                    <a:pt x="283" y="423"/>
                  </a:lnTo>
                  <a:lnTo>
                    <a:pt x="295" y="424"/>
                  </a:lnTo>
                  <a:lnTo>
                    <a:pt x="308" y="426"/>
                  </a:lnTo>
                  <a:lnTo>
                    <a:pt x="322" y="426"/>
                  </a:lnTo>
                  <a:lnTo>
                    <a:pt x="336" y="423"/>
                  </a:lnTo>
                  <a:lnTo>
                    <a:pt x="359" y="417"/>
                  </a:lnTo>
                  <a:lnTo>
                    <a:pt x="380" y="411"/>
                  </a:lnTo>
                  <a:lnTo>
                    <a:pt x="402" y="405"/>
                  </a:lnTo>
                  <a:lnTo>
                    <a:pt x="423" y="402"/>
                  </a:lnTo>
                  <a:lnTo>
                    <a:pt x="446" y="398"/>
                  </a:lnTo>
                  <a:lnTo>
                    <a:pt x="469" y="395"/>
                  </a:lnTo>
                  <a:lnTo>
                    <a:pt x="493" y="394"/>
                  </a:lnTo>
                  <a:lnTo>
                    <a:pt x="517" y="393"/>
                  </a:lnTo>
                  <a:lnTo>
                    <a:pt x="529" y="386"/>
                  </a:lnTo>
                  <a:lnTo>
                    <a:pt x="544" y="379"/>
                  </a:lnTo>
                  <a:lnTo>
                    <a:pt x="547" y="369"/>
                  </a:lnTo>
                  <a:lnTo>
                    <a:pt x="552" y="360"/>
                  </a:lnTo>
                  <a:lnTo>
                    <a:pt x="562" y="348"/>
                  </a:lnTo>
                  <a:lnTo>
                    <a:pt x="574" y="337"/>
                  </a:lnTo>
                  <a:lnTo>
                    <a:pt x="576" y="333"/>
                  </a:lnTo>
                  <a:lnTo>
                    <a:pt x="577" y="330"/>
                  </a:lnTo>
                  <a:lnTo>
                    <a:pt x="581" y="328"/>
                  </a:lnTo>
                  <a:lnTo>
                    <a:pt x="583" y="327"/>
                  </a:lnTo>
                  <a:lnTo>
                    <a:pt x="585" y="325"/>
                  </a:lnTo>
                  <a:lnTo>
                    <a:pt x="585" y="322"/>
                  </a:lnTo>
                  <a:lnTo>
                    <a:pt x="591" y="321"/>
                  </a:lnTo>
                  <a:lnTo>
                    <a:pt x="600" y="316"/>
                  </a:lnTo>
                  <a:lnTo>
                    <a:pt x="611" y="309"/>
                  </a:lnTo>
                  <a:lnTo>
                    <a:pt x="622" y="303"/>
                  </a:lnTo>
                  <a:lnTo>
                    <a:pt x="634" y="295"/>
                  </a:lnTo>
                  <a:lnTo>
                    <a:pt x="646" y="288"/>
                  </a:lnTo>
                  <a:lnTo>
                    <a:pt x="657" y="283"/>
                  </a:lnTo>
                  <a:lnTo>
                    <a:pt x="664" y="280"/>
                  </a:lnTo>
                  <a:lnTo>
                    <a:pt x="682" y="274"/>
                  </a:lnTo>
                  <a:lnTo>
                    <a:pt x="712" y="259"/>
                  </a:lnTo>
                  <a:lnTo>
                    <a:pt x="743" y="245"/>
                  </a:lnTo>
                  <a:lnTo>
                    <a:pt x="755" y="239"/>
                  </a:lnTo>
                  <a:lnTo>
                    <a:pt x="762" y="238"/>
                  </a:lnTo>
                  <a:lnTo>
                    <a:pt x="771" y="235"/>
                  </a:lnTo>
                  <a:lnTo>
                    <a:pt x="782" y="231"/>
                  </a:lnTo>
                  <a:lnTo>
                    <a:pt x="795" y="227"/>
                  </a:lnTo>
                  <a:lnTo>
                    <a:pt x="806" y="221"/>
                  </a:lnTo>
                  <a:lnTo>
                    <a:pt x="817" y="217"/>
                  </a:lnTo>
                  <a:lnTo>
                    <a:pt x="826" y="212"/>
                  </a:lnTo>
                  <a:lnTo>
                    <a:pt x="831" y="209"/>
                  </a:lnTo>
                  <a:lnTo>
                    <a:pt x="842" y="209"/>
                  </a:lnTo>
                  <a:lnTo>
                    <a:pt x="846" y="201"/>
                  </a:lnTo>
                  <a:lnTo>
                    <a:pt x="855" y="199"/>
                  </a:lnTo>
                  <a:lnTo>
                    <a:pt x="865" y="197"/>
                  </a:lnTo>
                  <a:lnTo>
                    <a:pt x="867" y="193"/>
                  </a:lnTo>
                  <a:lnTo>
                    <a:pt x="869" y="190"/>
                  </a:lnTo>
                  <a:lnTo>
                    <a:pt x="875" y="188"/>
                  </a:lnTo>
                  <a:lnTo>
                    <a:pt x="888" y="184"/>
                  </a:lnTo>
                  <a:lnTo>
                    <a:pt x="902" y="179"/>
                  </a:lnTo>
                  <a:lnTo>
                    <a:pt x="918" y="172"/>
                  </a:lnTo>
                  <a:lnTo>
                    <a:pt x="934" y="165"/>
                  </a:lnTo>
                  <a:lnTo>
                    <a:pt x="947" y="159"/>
                  </a:lnTo>
                  <a:lnTo>
                    <a:pt x="956" y="154"/>
                  </a:lnTo>
                  <a:lnTo>
                    <a:pt x="959" y="152"/>
                  </a:lnTo>
                  <a:lnTo>
                    <a:pt x="966" y="151"/>
                  </a:lnTo>
                  <a:lnTo>
                    <a:pt x="968" y="150"/>
                  </a:lnTo>
                  <a:lnTo>
                    <a:pt x="968" y="149"/>
                  </a:lnTo>
                  <a:lnTo>
                    <a:pt x="970" y="148"/>
                  </a:lnTo>
                  <a:lnTo>
                    <a:pt x="971" y="144"/>
                  </a:lnTo>
                  <a:lnTo>
                    <a:pt x="973" y="141"/>
                  </a:lnTo>
                  <a:lnTo>
                    <a:pt x="976" y="138"/>
                  </a:lnTo>
                  <a:lnTo>
                    <a:pt x="978" y="136"/>
                  </a:lnTo>
                  <a:lnTo>
                    <a:pt x="978" y="125"/>
                  </a:lnTo>
                  <a:lnTo>
                    <a:pt x="967" y="125"/>
                  </a:lnTo>
                  <a:lnTo>
                    <a:pt x="954" y="116"/>
                  </a:lnTo>
                  <a:lnTo>
                    <a:pt x="937" y="106"/>
                  </a:lnTo>
                  <a:lnTo>
                    <a:pt x="926" y="106"/>
                  </a:lnTo>
                  <a:lnTo>
                    <a:pt x="919" y="102"/>
                  </a:lnTo>
                  <a:lnTo>
                    <a:pt x="911" y="97"/>
                  </a:lnTo>
                  <a:lnTo>
                    <a:pt x="903" y="95"/>
                  </a:lnTo>
                  <a:lnTo>
                    <a:pt x="894" y="93"/>
                  </a:lnTo>
                  <a:lnTo>
                    <a:pt x="875" y="92"/>
                  </a:lnTo>
                  <a:lnTo>
                    <a:pt x="858" y="92"/>
                  </a:lnTo>
                  <a:lnTo>
                    <a:pt x="853" y="84"/>
                  </a:lnTo>
                  <a:lnTo>
                    <a:pt x="842" y="84"/>
                  </a:lnTo>
                  <a:lnTo>
                    <a:pt x="831" y="74"/>
                  </a:lnTo>
                  <a:lnTo>
                    <a:pt x="823" y="65"/>
                  </a:lnTo>
                  <a:lnTo>
                    <a:pt x="820" y="64"/>
                  </a:lnTo>
                  <a:lnTo>
                    <a:pt x="816" y="61"/>
                  </a:lnTo>
                  <a:lnTo>
                    <a:pt x="813" y="57"/>
                  </a:lnTo>
                  <a:lnTo>
                    <a:pt x="812" y="54"/>
                  </a:lnTo>
                  <a:lnTo>
                    <a:pt x="802" y="46"/>
                  </a:lnTo>
                  <a:lnTo>
                    <a:pt x="782" y="29"/>
                  </a:lnTo>
                  <a:lnTo>
                    <a:pt x="762" y="13"/>
                  </a:lnTo>
                  <a:lnTo>
                    <a:pt x="752" y="5"/>
                  </a:lnTo>
                  <a:lnTo>
                    <a:pt x="747" y="3"/>
                  </a:lnTo>
                  <a:lnTo>
                    <a:pt x="742" y="1"/>
                  </a:lnTo>
                  <a:lnTo>
                    <a:pt x="736" y="0"/>
                  </a:lnTo>
                  <a:lnTo>
                    <a:pt x="729" y="0"/>
                  </a:lnTo>
                  <a:lnTo>
                    <a:pt x="716" y="1"/>
                  </a:lnTo>
                  <a:lnTo>
                    <a:pt x="700" y="3"/>
                  </a:lnTo>
                  <a:lnTo>
                    <a:pt x="672" y="8"/>
                  </a:lnTo>
                  <a:lnTo>
                    <a:pt x="650" y="13"/>
                  </a:lnTo>
                  <a:lnTo>
                    <a:pt x="640" y="15"/>
                  </a:lnTo>
                  <a:lnTo>
                    <a:pt x="632" y="18"/>
                  </a:lnTo>
                  <a:lnTo>
                    <a:pt x="623" y="21"/>
                  </a:lnTo>
                  <a:lnTo>
                    <a:pt x="614" y="26"/>
                  </a:lnTo>
                  <a:lnTo>
                    <a:pt x="599" y="36"/>
                  </a:lnTo>
                  <a:lnTo>
                    <a:pt x="582" y="46"/>
                  </a:lnTo>
                  <a:lnTo>
                    <a:pt x="566" y="57"/>
                  </a:lnTo>
                  <a:lnTo>
                    <a:pt x="551" y="68"/>
                  </a:lnTo>
                  <a:lnTo>
                    <a:pt x="534" y="77"/>
                  </a:lnTo>
                  <a:lnTo>
                    <a:pt x="517" y="84"/>
                  </a:lnTo>
                  <a:lnTo>
                    <a:pt x="516" y="86"/>
                  </a:lnTo>
                  <a:lnTo>
                    <a:pt x="513" y="90"/>
                  </a:lnTo>
                  <a:lnTo>
                    <a:pt x="509" y="91"/>
                  </a:lnTo>
                  <a:lnTo>
                    <a:pt x="506" y="92"/>
                  </a:lnTo>
                  <a:lnTo>
                    <a:pt x="504" y="95"/>
                  </a:lnTo>
                  <a:lnTo>
                    <a:pt x="503" y="98"/>
                  </a:lnTo>
                  <a:lnTo>
                    <a:pt x="487" y="98"/>
                  </a:lnTo>
                  <a:lnTo>
                    <a:pt x="479" y="106"/>
                  </a:lnTo>
                  <a:lnTo>
                    <a:pt x="468" y="106"/>
                  </a:lnTo>
                  <a:lnTo>
                    <a:pt x="460" y="114"/>
                  </a:lnTo>
                  <a:lnTo>
                    <a:pt x="451" y="116"/>
                  </a:lnTo>
                  <a:lnTo>
                    <a:pt x="442" y="117"/>
                  </a:lnTo>
                  <a:lnTo>
                    <a:pt x="435" y="125"/>
                  </a:lnTo>
                  <a:lnTo>
                    <a:pt x="428" y="128"/>
                  </a:lnTo>
                  <a:lnTo>
                    <a:pt x="418" y="132"/>
                  </a:lnTo>
                  <a:lnTo>
                    <a:pt x="407" y="139"/>
                  </a:lnTo>
                  <a:lnTo>
                    <a:pt x="394" y="148"/>
                  </a:lnTo>
                  <a:lnTo>
                    <a:pt x="382" y="157"/>
                  </a:lnTo>
                  <a:lnTo>
                    <a:pt x="372" y="165"/>
                  </a:lnTo>
                  <a:lnTo>
                    <a:pt x="368" y="169"/>
                  </a:lnTo>
                  <a:lnTo>
                    <a:pt x="365" y="173"/>
                  </a:lnTo>
                  <a:lnTo>
                    <a:pt x="363" y="176"/>
                  </a:lnTo>
                  <a:lnTo>
                    <a:pt x="362" y="178"/>
                  </a:lnTo>
                  <a:lnTo>
                    <a:pt x="359" y="180"/>
                  </a:lnTo>
                  <a:lnTo>
                    <a:pt x="355" y="182"/>
                  </a:lnTo>
                  <a:lnTo>
                    <a:pt x="352" y="187"/>
                  </a:lnTo>
                  <a:lnTo>
                    <a:pt x="351" y="190"/>
                  </a:lnTo>
                  <a:lnTo>
                    <a:pt x="344" y="196"/>
                  </a:lnTo>
                  <a:lnTo>
                    <a:pt x="336" y="201"/>
                  </a:lnTo>
                  <a:lnTo>
                    <a:pt x="328" y="201"/>
                  </a:lnTo>
                  <a:lnTo>
                    <a:pt x="328" y="209"/>
                  </a:lnTo>
                  <a:lnTo>
                    <a:pt x="321" y="209"/>
                  </a:lnTo>
                  <a:lnTo>
                    <a:pt x="321" y="211"/>
                  </a:lnTo>
                  <a:lnTo>
                    <a:pt x="318" y="212"/>
                  </a:lnTo>
                  <a:lnTo>
                    <a:pt x="316" y="212"/>
                  </a:lnTo>
                  <a:lnTo>
                    <a:pt x="313" y="212"/>
                  </a:lnTo>
                  <a:lnTo>
                    <a:pt x="310" y="216"/>
                  </a:lnTo>
                  <a:lnTo>
                    <a:pt x="307" y="220"/>
                  </a:lnTo>
                  <a:lnTo>
                    <a:pt x="306" y="223"/>
                  </a:lnTo>
                  <a:lnTo>
                    <a:pt x="295" y="2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2" name="Freeform 69"/>
            <p:cNvSpPr>
              <a:spLocks noChangeAspect="1"/>
            </p:cNvSpPr>
            <p:nvPr/>
          </p:nvSpPr>
          <p:spPr bwMode="gray">
            <a:xfrm rot="355651">
              <a:off x="7696526" y="4340225"/>
              <a:ext cx="87811" cy="57489"/>
            </a:xfrm>
            <a:custGeom>
              <a:avLst/>
              <a:gdLst/>
              <a:ahLst/>
              <a:cxnLst>
                <a:cxn ang="0">
                  <a:pos x="40" y="6"/>
                </a:cxn>
                <a:cxn ang="0">
                  <a:pos x="20" y="11"/>
                </a:cxn>
                <a:cxn ang="0">
                  <a:pos x="8" y="18"/>
                </a:cxn>
                <a:cxn ang="0">
                  <a:pos x="4" y="21"/>
                </a:cxn>
                <a:cxn ang="0">
                  <a:pos x="0" y="29"/>
                </a:cxn>
                <a:cxn ang="0">
                  <a:pos x="15" y="44"/>
                </a:cxn>
                <a:cxn ang="0">
                  <a:pos x="49" y="67"/>
                </a:cxn>
                <a:cxn ang="0">
                  <a:pos x="91" y="76"/>
                </a:cxn>
                <a:cxn ang="0">
                  <a:pos x="150" y="96"/>
                </a:cxn>
                <a:cxn ang="0">
                  <a:pos x="159" y="99"/>
                </a:cxn>
                <a:cxn ang="0">
                  <a:pos x="165" y="103"/>
                </a:cxn>
                <a:cxn ang="0">
                  <a:pos x="179" y="108"/>
                </a:cxn>
                <a:cxn ang="0">
                  <a:pos x="216" y="142"/>
                </a:cxn>
                <a:cxn ang="0">
                  <a:pos x="235" y="168"/>
                </a:cxn>
                <a:cxn ang="0">
                  <a:pos x="230" y="203"/>
                </a:cxn>
                <a:cxn ang="0">
                  <a:pos x="212" y="217"/>
                </a:cxn>
                <a:cxn ang="0">
                  <a:pos x="186" y="231"/>
                </a:cxn>
                <a:cxn ang="0">
                  <a:pos x="172" y="251"/>
                </a:cxn>
                <a:cxn ang="0">
                  <a:pos x="164" y="265"/>
                </a:cxn>
                <a:cxn ang="0">
                  <a:pos x="163" y="280"/>
                </a:cxn>
                <a:cxn ang="0">
                  <a:pos x="181" y="298"/>
                </a:cxn>
                <a:cxn ang="0">
                  <a:pos x="195" y="313"/>
                </a:cxn>
                <a:cxn ang="0">
                  <a:pos x="212" y="339"/>
                </a:cxn>
                <a:cxn ang="0">
                  <a:pos x="221" y="348"/>
                </a:cxn>
                <a:cxn ang="0">
                  <a:pos x="240" y="358"/>
                </a:cxn>
                <a:cxn ang="0">
                  <a:pos x="257" y="362"/>
                </a:cxn>
                <a:cxn ang="0">
                  <a:pos x="282" y="352"/>
                </a:cxn>
                <a:cxn ang="0">
                  <a:pos x="313" y="351"/>
                </a:cxn>
                <a:cxn ang="0">
                  <a:pos x="331" y="362"/>
                </a:cxn>
                <a:cxn ang="0">
                  <a:pos x="346" y="364"/>
                </a:cxn>
                <a:cxn ang="0">
                  <a:pos x="366" y="366"/>
                </a:cxn>
                <a:cxn ang="0">
                  <a:pos x="384" y="344"/>
                </a:cxn>
                <a:cxn ang="0">
                  <a:pos x="406" y="312"/>
                </a:cxn>
                <a:cxn ang="0">
                  <a:pos x="421" y="303"/>
                </a:cxn>
                <a:cxn ang="0">
                  <a:pos x="461" y="285"/>
                </a:cxn>
                <a:cxn ang="0">
                  <a:pos x="470" y="276"/>
                </a:cxn>
                <a:cxn ang="0">
                  <a:pos x="476" y="256"/>
                </a:cxn>
                <a:cxn ang="0">
                  <a:pos x="479" y="227"/>
                </a:cxn>
                <a:cxn ang="0">
                  <a:pos x="462" y="193"/>
                </a:cxn>
                <a:cxn ang="0">
                  <a:pos x="452" y="154"/>
                </a:cxn>
                <a:cxn ang="0">
                  <a:pos x="430" y="135"/>
                </a:cxn>
                <a:cxn ang="0">
                  <a:pos x="358" y="122"/>
                </a:cxn>
                <a:cxn ang="0">
                  <a:pos x="341" y="112"/>
                </a:cxn>
                <a:cxn ang="0">
                  <a:pos x="269" y="81"/>
                </a:cxn>
                <a:cxn ang="0">
                  <a:pos x="254" y="68"/>
                </a:cxn>
                <a:cxn ang="0">
                  <a:pos x="212" y="53"/>
                </a:cxn>
                <a:cxn ang="0">
                  <a:pos x="196" y="40"/>
                </a:cxn>
                <a:cxn ang="0">
                  <a:pos x="186" y="30"/>
                </a:cxn>
                <a:cxn ang="0">
                  <a:pos x="167" y="18"/>
                </a:cxn>
                <a:cxn ang="0">
                  <a:pos x="162" y="15"/>
                </a:cxn>
                <a:cxn ang="0">
                  <a:pos x="155" y="9"/>
                </a:cxn>
                <a:cxn ang="0">
                  <a:pos x="83" y="1"/>
                </a:cxn>
              </a:cxnLst>
              <a:rect l="0" t="0" r="r" b="b"/>
              <a:pathLst>
                <a:path w="479" h="366">
                  <a:moveTo>
                    <a:pt x="54" y="0"/>
                  </a:moveTo>
                  <a:lnTo>
                    <a:pt x="51" y="1"/>
                  </a:lnTo>
                  <a:lnTo>
                    <a:pt x="45" y="2"/>
                  </a:lnTo>
                  <a:lnTo>
                    <a:pt x="40" y="6"/>
                  </a:lnTo>
                  <a:lnTo>
                    <a:pt x="36" y="9"/>
                  </a:lnTo>
                  <a:lnTo>
                    <a:pt x="29" y="9"/>
                  </a:lnTo>
                  <a:lnTo>
                    <a:pt x="23" y="10"/>
                  </a:lnTo>
                  <a:lnTo>
                    <a:pt x="20" y="11"/>
                  </a:lnTo>
                  <a:lnTo>
                    <a:pt x="18" y="12"/>
                  </a:lnTo>
                  <a:lnTo>
                    <a:pt x="16" y="15"/>
                  </a:lnTo>
                  <a:lnTo>
                    <a:pt x="14" y="18"/>
                  </a:lnTo>
                  <a:lnTo>
                    <a:pt x="8" y="18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0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4" y="37"/>
                  </a:lnTo>
                  <a:lnTo>
                    <a:pt x="9" y="40"/>
                  </a:lnTo>
                  <a:lnTo>
                    <a:pt x="15" y="44"/>
                  </a:lnTo>
                  <a:lnTo>
                    <a:pt x="20" y="48"/>
                  </a:lnTo>
                  <a:lnTo>
                    <a:pt x="32" y="57"/>
                  </a:lnTo>
                  <a:lnTo>
                    <a:pt x="40" y="64"/>
                  </a:lnTo>
                  <a:lnTo>
                    <a:pt x="49" y="67"/>
                  </a:lnTo>
                  <a:lnTo>
                    <a:pt x="59" y="69"/>
                  </a:lnTo>
                  <a:lnTo>
                    <a:pt x="71" y="72"/>
                  </a:lnTo>
                  <a:lnTo>
                    <a:pt x="82" y="73"/>
                  </a:lnTo>
                  <a:lnTo>
                    <a:pt x="91" y="76"/>
                  </a:lnTo>
                  <a:lnTo>
                    <a:pt x="112" y="84"/>
                  </a:lnTo>
                  <a:lnTo>
                    <a:pt x="134" y="92"/>
                  </a:lnTo>
                  <a:lnTo>
                    <a:pt x="149" y="95"/>
                  </a:lnTo>
                  <a:lnTo>
                    <a:pt x="150" y="96"/>
                  </a:lnTo>
                  <a:lnTo>
                    <a:pt x="151" y="97"/>
                  </a:lnTo>
                  <a:lnTo>
                    <a:pt x="152" y="98"/>
                  </a:lnTo>
                  <a:lnTo>
                    <a:pt x="154" y="99"/>
                  </a:lnTo>
                  <a:lnTo>
                    <a:pt x="159" y="99"/>
                  </a:lnTo>
                  <a:lnTo>
                    <a:pt x="163" y="99"/>
                  </a:lnTo>
                  <a:lnTo>
                    <a:pt x="163" y="101"/>
                  </a:lnTo>
                  <a:lnTo>
                    <a:pt x="164" y="102"/>
                  </a:lnTo>
                  <a:lnTo>
                    <a:pt x="165" y="103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7" y="104"/>
                  </a:lnTo>
                  <a:lnTo>
                    <a:pt x="179" y="108"/>
                  </a:lnTo>
                  <a:lnTo>
                    <a:pt x="181" y="113"/>
                  </a:lnTo>
                  <a:lnTo>
                    <a:pt x="189" y="118"/>
                  </a:lnTo>
                  <a:lnTo>
                    <a:pt x="203" y="130"/>
                  </a:lnTo>
                  <a:lnTo>
                    <a:pt x="216" y="142"/>
                  </a:lnTo>
                  <a:lnTo>
                    <a:pt x="221" y="150"/>
                  </a:lnTo>
                  <a:lnTo>
                    <a:pt x="230" y="154"/>
                  </a:lnTo>
                  <a:lnTo>
                    <a:pt x="235" y="159"/>
                  </a:lnTo>
                  <a:lnTo>
                    <a:pt x="235" y="168"/>
                  </a:lnTo>
                  <a:lnTo>
                    <a:pt x="235" y="179"/>
                  </a:lnTo>
                  <a:lnTo>
                    <a:pt x="235" y="190"/>
                  </a:lnTo>
                  <a:lnTo>
                    <a:pt x="235" y="199"/>
                  </a:lnTo>
                  <a:lnTo>
                    <a:pt x="230" y="203"/>
                  </a:lnTo>
                  <a:lnTo>
                    <a:pt x="226" y="208"/>
                  </a:lnTo>
                  <a:lnTo>
                    <a:pt x="217" y="208"/>
                  </a:lnTo>
                  <a:lnTo>
                    <a:pt x="215" y="212"/>
                  </a:lnTo>
                  <a:lnTo>
                    <a:pt x="212" y="217"/>
                  </a:lnTo>
                  <a:lnTo>
                    <a:pt x="203" y="217"/>
                  </a:lnTo>
                  <a:lnTo>
                    <a:pt x="199" y="226"/>
                  </a:lnTo>
                  <a:lnTo>
                    <a:pt x="195" y="231"/>
                  </a:lnTo>
                  <a:lnTo>
                    <a:pt x="186" y="231"/>
                  </a:lnTo>
                  <a:lnTo>
                    <a:pt x="181" y="236"/>
                  </a:lnTo>
                  <a:lnTo>
                    <a:pt x="177" y="240"/>
                  </a:lnTo>
                  <a:lnTo>
                    <a:pt x="177" y="249"/>
                  </a:lnTo>
                  <a:lnTo>
                    <a:pt x="172" y="251"/>
                  </a:lnTo>
                  <a:lnTo>
                    <a:pt x="168" y="253"/>
                  </a:lnTo>
                  <a:lnTo>
                    <a:pt x="168" y="262"/>
                  </a:lnTo>
                  <a:lnTo>
                    <a:pt x="165" y="264"/>
                  </a:lnTo>
                  <a:lnTo>
                    <a:pt x="164" y="265"/>
                  </a:lnTo>
                  <a:lnTo>
                    <a:pt x="164" y="267"/>
                  </a:lnTo>
                  <a:lnTo>
                    <a:pt x="163" y="270"/>
                  </a:lnTo>
                  <a:lnTo>
                    <a:pt x="163" y="276"/>
                  </a:lnTo>
                  <a:lnTo>
                    <a:pt x="163" y="280"/>
                  </a:lnTo>
                  <a:lnTo>
                    <a:pt x="168" y="285"/>
                  </a:lnTo>
                  <a:lnTo>
                    <a:pt x="173" y="289"/>
                  </a:lnTo>
                  <a:lnTo>
                    <a:pt x="179" y="295"/>
                  </a:lnTo>
                  <a:lnTo>
                    <a:pt x="181" y="298"/>
                  </a:lnTo>
                  <a:lnTo>
                    <a:pt x="187" y="299"/>
                  </a:lnTo>
                  <a:lnTo>
                    <a:pt x="191" y="301"/>
                  </a:lnTo>
                  <a:lnTo>
                    <a:pt x="193" y="306"/>
                  </a:lnTo>
                  <a:lnTo>
                    <a:pt x="195" y="313"/>
                  </a:lnTo>
                  <a:lnTo>
                    <a:pt x="199" y="316"/>
                  </a:lnTo>
                  <a:lnTo>
                    <a:pt x="206" y="324"/>
                  </a:lnTo>
                  <a:lnTo>
                    <a:pt x="210" y="333"/>
                  </a:lnTo>
                  <a:lnTo>
                    <a:pt x="212" y="339"/>
                  </a:lnTo>
                  <a:lnTo>
                    <a:pt x="216" y="341"/>
                  </a:lnTo>
                  <a:lnTo>
                    <a:pt x="219" y="342"/>
                  </a:lnTo>
                  <a:lnTo>
                    <a:pt x="221" y="345"/>
                  </a:lnTo>
                  <a:lnTo>
                    <a:pt x="221" y="348"/>
                  </a:lnTo>
                  <a:lnTo>
                    <a:pt x="226" y="353"/>
                  </a:lnTo>
                  <a:lnTo>
                    <a:pt x="230" y="357"/>
                  </a:lnTo>
                  <a:lnTo>
                    <a:pt x="239" y="357"/>
                  </a:lnTo>
                  <a:lnTo>
                    <a:pt x="240" y="358"/>
                  </a:lnTo>
                  <a:lnTo>
                    <a:pt x="243" y="360"/>
                  </a:lnTo>
                  <a:lnTo>
                    <a:pt x="246" y="361"/>
                  </a:lnTo>
                  <a:lnTo>
                    <a:pt x="249" y="362"/>
                  </a:lnTo>
                  <a:lnTo>
                    <a:pt x="257" y="362"/>
                  </a:lnTo>
                  <a:lnTo>
                    <a:pt x="263" y="362"/>
                  </a:lnTo>
                  <a:lnTo>
                    <a:pt x="267" y="357"/>
                  </a:lnTo>
                  <a:lnTo>
                    <a:pt x="272" y="353"/>
                  </a:lnTo>
                  <a:lnTo>
                    <a:pt x="282" y="352"/>
                  </a:lnTo>
                  <a:lnTo>
                    <a:pt x="292" y="351"/>
                  </a:lnTo>
                  <a:lnTo>
                    <a:pt x="302" y="349"/>
                  </a:lnTo>
                  <a:lnTo>
                    <a:pt x="312" y="348"/>
                  </a:lnTo>
                  <a:lnTo>
                    <a:pt x="313" y="351"/>
                  </a:lnTo>
                  <a:lnTo>
                    <a:pt x="315" y="353"/>
                  </a:lnTo>
                  <a:lnTo>
                    <a:pt x="317" y="353"/>
                  </a:lnTo>
                  <a:lnTo>
                    <a:pt x="321" y="353"/>
                  </a:lnTo>
                  <a:lnTo>
                    <a:pt x="331" y="362"/>
                  </a:lnTo>
                  <a:lnTo>
                    <a:pt x="337" y="362"/>
                  </a:lnTo>
                  <a:lnTo>
                    <a:pt x="344" y="362"/>
                  </a:lnTo>
                  <a:lnTo>
                    <a:pt x="344" y="363"/>
                  </a:lnTo>
                  <a:lnTo>
                    <a:pt x="346" y="364"/>
                  </a:lnTo>
                  <a:lnTo>
                    <a:pt x="350" y="365"/>
                  </a:lnTo>
                  <a:lnTo>
                    <a:pt x="353" y="366"/>
                  </a:lnTo>
                  <a:lnTo>
                    <a:pt x="361" y="366"/>
                  </a:lnTo>
                  <a:lnTo>
                    <a:pt x="366" y="366"/>
                  </a:lnTo>
                  <a:lnTo>
                    <a:pt x="369" y="360"/>
                  </a:lnTo>
                  <a:lnTo>
                    <a:pt x="371" y="353"/>
                  </a:lnTo>
                  <a:lnTo>
                    <a:pt x="380" y="348"/>
                  </a:lnTo>
                  <a:lnTo>
                    <a:pt x="384" y="344"/>
                  </a:lnTo>
                  <a:lnTo>
                    <a:pt x="384" y="335"/>
                  </a:lnTo>
                  <a:lnTo>
                    <a:pt x="393" y="325"/>
                  </a:lnTo>
                  <a:lnTo>
                    <a:pt x="402" y="313"/>
                  </a:lnTo>
                  <a:lnTo>
                    <a:pt x="406" y="312"/>
                  </a:lnTo>
                  <a:lnTo>
                    <a:pt x="409" y="309"/>
                  </a:lnTo>
                  <a:lnTo>
                    <a:pt x="411" y="306"/>
                  </a:lnTo>
                  <a:lnTo>
                    <a:pt x="411" y="303"/>
                  </a:lnTo>
                  <a:lnTo>
                    <a:pt x="421" y="303"/>
                  </a:lnTo>
                  <a:lnTo>
                    <a:pt x="426" y="298"/>
                  </a:lnTo>
                  <a:lnTo>
                    <a:pt x="430" y="294"/>
                  </a:lnTo>
                  <a:lnTo>
                    <a:pt x="446" y="289"/>
                  </a:lnTo>
                  <a:lnTo>
                    <a:pt x="461" y="285"/>
                  </a:lnTo>
                  <a:lnTo>
                    <a:pt x="462" y="284"/>
                  </a:lnTo>
                  <a:lnTo>
                    <a:pt x="465" y="280"/>
                  </a:lnTo>
                  <a:lnTo>
                    <a:pt x="467" y="277"/>
                  </a:lnTo>
                  <a:lnTo>
                    <a:pt x="470" y="276"/>
                  </a:lnTo>
                  <a:lnTo>
                    <a:pt x="471" y="270"/>
                  </a:lnTo>
                  <a:lnTo>
                    <a:pt x="474" y="262"/>
                  </a:lnTo>
                  <a:lnTo>
                    <a:pt x="475" y="259"/>
                  </a:lnTo>
                  <a:lnTo>
                    <a:pt x="476" y="256"/>
                  </a:lnTo>
                  <a:lnTo>
                    <a:pt x="478" y="255"/>
                  </a:lnTo>
                  <a:lnTo>
                    <a:pt x="479" y="253"/>
                  </a:lnTo>
                  <a:lnTo>
                    <a:pt x="479" y="240"/>
                  </a:lnTo>
                  <a:lnTo>
                    <a:pt x="479" y="227"/>
                  </a:lnTo>
                  <a:lnTo>
                    <a:pt x="476" y="221"/>
                  </a:lnTo>
                  <a:lnTo>
                    <a:pt x="471" y="213"/>
                  </a:lnTo>
                  <a:lnTo>
                    <a:pt x="467" y="204"/>
                  </a:lnTo>
                  <a:lnTo>
                    <a:pt x="462" y="193"/>
                  </a:lnTo>
                  <a:lnTo>
                    <a:pt x="458" y="182"/>
                  </a:lnTo>
                  <a:lnTo>
                    <a:pt x="456" y="172"/>
                  </a:lnTo>
                  <a:lnTo>
                    <a:pt x="454" y="162"/>
                  </a:lnTo>
                  <a:lnTo>
                    <a:pt x="452" y="154"/>
                  </a:lnTo>
                  <a:lnTo>
                    <a:pt x="443" y="145"/>
                  </a:lnTo>
                  <a:lnTo>
                    <a:pt x="443" y="135"/>
                  </a:lnTo>
                  <a:lnTo>
                    <a:pt x="437" y="135"/>
                  </a:lnTo>
                  <a:lnTo>
                    <a:pt x="430" y="135"/>
                  </a:lnTo>
                  <a:lnTo>
                    <a:pt x="420" y="134"/>
                  </a:lnTo>
                  <a:lnTo>
                    <a:pt x="397" y="128"/>
                  </a:lnTo>
                  <a:lnTo>
                    <a:pt x="372" y="124"/>
                  </a:lnTo>
                  <a:lnTo>
                    <a:pt x="358" y="122"/>
                  </a:lnTo>
                  <a:lnTo>
                    <a:pt x="356" y="121"/>
                  </a:lnTo>
                  <a:lnTo>
                    <a:pt x="353" y="117"/>
                  </a:lnTo>
                  <a:lnTo>
                    <a:pt x="347" y="115"/>
                  </a:lnTo>
                  <a:lnTo>
                    <a:pt x="341" y="112"/>
                  </a:lnTo>
                  <a:lnTo>
                    <a:pt x="324" y="105"/>
                  </a:lnTo>
                  <a:lnTo>
                    <a:pt x="305" y="97"/>
                  </a:lnTo>
                  <a:lnTo>
                    <a:pt x="286" y="88"/>
                  </a:lnTo>
                  <a:lnTo>
                    <a:pt x="269" y="81"/>
                  </a:lnTo>
                  <a:lnTo>
                    <a:pt x="263" y="77"/>
                  </a:lnTo>
                  <a:lnTo>
                    <a:pt x="258" y="74"/>
                  </a:lnTo>
                  <a:lnTo>
                    <a:pt x="255" y="70"/>
                  </a:lnTo>
                  <a:lnTo>
                    <a:pt x="254" y="68"/>
                  </a:lnTo>
                  <a:lnTo>
                    <a:pt x="239" y="66"/>
                  </a:lnTo>
                  <a:lnTo>
                    <a:pt x="226" y="64"/>
                  </a:lnTo>
                  <a:lnTo>
                    <a:pt x="221" y="55"/>
                  </a:lnTo>
                  <a:lnTo>
                    <a:pt x="212" y="53"/>
                  </a:lnTo>
                  <a:lnTo>
                    <a:pt x="203" y="49"/>
                  </a:lnTo>
                  <a:lnTo>
                    <a:pt x="201" y="45"/>
                  </a:lnTo>
                  <a:lnTo>
                    <a:pt x="199" y="40"/>
                  </a:lnTo>
                  <a:lnTo>
                    <a:pt x="196" y="40"/>
                  </a:lnTo>
                  <a:lnTo>
                    <a:pt x="192" y="38"/>
                  </a:lnTo>
                  <a:lnTo>
                    <a:pt x="191" y="35"/>
                  </a:lnTo>
                  <a:lnTo>
                    <a:pt x="190" y="31"/>
                  </a:lnTo>
                  <a:lnTo>
                    <a:pt x="186" y="30"/>
                  </a:lnTo>
                  <a:lnTo>
                    <a:pt x="179" y="27"/>
                  </a:lnTo>
                  <a:lnTo>
                    <a:pt x="174" y="22"/>
                  </a:lnTo>
                  <a:lnTo>
                    <a:pt x="172" y="18"/>
                  </a:lnTo>
                  <a:lnTo>
                    <a:pt x="167" y="18"/>
                  </a:lnTo>
                  <a:lnTo>
                    <a:pt x="163" y="18"/>
                  </a:lnTo>
                  <a:lnTo>
                    <a:pt x="162" y="17"/>
                  </a:lnTo>
                  <a:lnTo>
                    <a:pt x="162" y="16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1" y="14"/>
                  </a:lnTo>
                  <a:lnTo>
                    <a:pt x="159" y="14"/>
                  </a:lnTo>
                  <a:lnTo>
                    <a:pt x="155" y="9"/>
                  </a:lnTo>
                  <a:lnTo>
                    <a:pt x="153" y="5"/>
                  </a:lnTo>
                  <a:lnTo>
                    <a:pt x="132" y="3"/>
                  </a:lnTo>
                  <a:lnTo>
                    <a:pt x="109" y="2"/>
                  </a:lnTo>
                  <a:lnTo>
                    <a:pt x="83" y="1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3" name="Freeform 70"/>
            <p:cNvSpPr>
              <a:spLocks noChangeAspect="1"/>
            </p:cNvSpPr>
            <p:nvPr/>
          </p:nvSpPr>
          <p:spPr bwMode="gray">
            <a:xfrm rot="355651">
              <a:off x="7666903" y="4279900"/>
              <a:ext cx="65593" cy="45779"/>
            </a:xfrm>
            <a:custGeom>
              <a:avLst/>
              <a:gdLst/>
              <a:ahLst/>
              <a:cxnLst>
                <a:cxn ang="0">
                  <a:pos x="109" y="59"/>
                </a:cxn>
                <a:cxn ang="0">
                  <a:pos x="90" y="77"/>
                </a:cxn>
                <a:cxn ang="0">
                  <a:pos x="81" y="84"/>
                </a:cxn>
                <a:cxn ang="0">
                  <a:pos x="59" y="90"/>
                </a:cxn>
                <a:cxn ang="0">
                  <a:pos x="32" y="99"/>
                </a:cxn>
                <a:cxn ang="0">
                  <a:pos x="13" y="113"/>
                </a:cxn>
                <a:cxn ang="0">
                  <a:pos x="6" y="117"/>
                </a:cxn>
                <a:cxn ang="0">
                  <a:pos x="72" y="117"/>
                </a:cxn>
                <a:cxn ang="0">
                  <a:pos x="87" y="130"/>
                </a:cxn>
                <a:cxn ang="0">
                  <a:pos x="118" y="154"/>
                </a:cxn>
                <a:cxn ang="0">
                  <a:pos x="125" y="176"/>
                </a:cxn>
                <a:cxn ang="0">
                  <a:pos x="131" y="185"/>
                </a:cxn>
                <a:cxn ang="0">
                  <a:pos x="139" y="220"/>
                </a:cxn>
                <a:cxn ang="0">
                  <a:pos x="145" y="249"/>
                </a:cxn>
                <a:cxn ang="0">
                  <a:pos x="151" y="268"/>
                </a:cxn>
                <a:cxn ang="0">
                  <a:pos x="154" y="276"/>
                </a:cxn>
                <a:cxn ang="0">
                  <a:pos x="164" y="277"/>
                </a:cxn>
                <a:cxn ang="0">
                  <a:pos x="167" y="280"/>
                </a:cxn>
                <a:cxn ang="0">
                  <a:pos x="194" y="283"/>
                </a:cxn>
                <a:cxn ang="0">
                  <a:pos x="253" y="284"/>
                </a:cxn>
                <a:cxn ang="0">
                  <a:pos x="314" y="282"/>
                </a:cxn>
                <a:cxn ang="0">
                  <a:pos x="358" y="278"/>
                </a:cxn>
                <a:cxn ang="0">
                  <a:pos x="367" y="276"/>
                </a:cxn>
                <a:cxn ang="0">
                  <a:pos x="371" y="244"/>
                </a:cxn>
                <a:cxn ang="0">
                  <a:pos x="352" y="231"/>
                </a:cxn>
                <a:cxn ang="0">
                  <a:pos x="333" y="211"/>
                </a:cxn>
                <a:cxn ang="0">
                  <a:pos x="321" y="203"/>
                </a:cxn>
                <a:cxn ang="0">
                  <a:pos x="309" y="186"/>
                </a:cxn>
                <a:cxn ang="0">
                  <a:pos x="299" y="167"/>
                </a:cxn>
                <a:cxn ang="0">
                  <a:pos x="285" y="158"/>
                </a:cxn>
                <a:cxn ang="0">
                  <a:pos x="275" y="132"/>
                </a:cxn>
                <a:cxn ang="0">
                  <a:pos x="264" y="88"/>
                </a:cxn>
                <a:cxn ang="0">
                  <a:pos x="259" y="59"/>
                </a:cxn>
                <a:cxn ang="0">
                  <a:pos x="248" y="46"/>
                </a:cxn>
                <a:cxn ang="0">
                  <a:pos x="247" y="31"/>
                </a:cxn>
                <a:cxn ang="0">
                  <a:pos x="245" y="24"/>
                </a:cxn>
                <a:cxn ang="0">
                  <a:pos x="237" y="7"/>
                </a:cxn>
                <a:cxn ang="0">
                  <a:pos x="214" y="3"/>
                </a:cxn>
                <a:cxn ang="0">
                  <a:pos x="192" y="12"/>
                </a:cxn>
                <a:cxn ang="0">
                  <a:pos x="167" y="18"/>
                </a:cxn>
                <a:cxn ang="0">
                  <a:pos x="156" y="27"/>
                </a:cxn>
                <a:cxn ang="0">
                  <a:pos x="145" y="30"/>
                </a:cxn>
                <a:cxn ang="0">
                  <a:pos x="128" y="33"/>
                </a:cxn>
                <a:cxn ang="0">
                  <a:pos x="118" y="40"/>
                </a:cxn>
              </a:cxnLst>
              <a:rect l="0" t="0" r="r" b="b"/>
              <a:pathLst>
                <a:path w="371" h="284">
                  <a:moveTo>
                    <a:pt x="118" y="40"/>
                  </a:moveTo>
                  <a:lnTo>
                    <a:pt x="115" y="47"/>
                  </a:lnTo>
                  <a:lnTo>
                    <a:pt x="109" y="59"/>
                  </a:lnTo>
                  <a:lnTo>
                    <a:pt x="102" y="71"/>
                  </a:lnTo>
                  <a:lnTo>
                    <a:pt x="99" y="77"/>
                  </a:lnTo>
                  <a:lnTo>
                    <a:pt x="90" y="77"/>
                  </a:lnTo>
                  <a:lnTo>
                    <a:pt x="89" y="79"/>
                  </a:lnTo>
                  <a:lnTo>
                    <a:pt x="85" y="81"/>
                  </a:lnTo>
                  <a:lnTo>
                    <a:pt x="81" y="84"/>
                  </a:lnTo>
                  <a:lnTo>
                    <a:pt x="77" y="85"/>
                  </a:lnTo>
                  <a:lnTo>
                    <a:pt x="65" y="89"/>
                  </a:lnTo>
                  <a:lnTo>
                    <a:pt x="59" y="90"/>
                  </a:lnTo>
                  <a:lnTo>
                    <a:pt x="52" y="95"/>
                  </a:lnTo>
                  <a:lnTo>
                    <a:pt x="45" y="99"/>
                  </a:lnTo>
                  <a:lnTo>
                    <a:pt x="32" y="99"/>
                  </a:lnTo>
                  <a:lnTo>
                    <a:pt x="23" y="104"/>
                  </a:lnTo>
                  <a:lnTo>
                    <a:pt x="20" y="108"/>
                  </a:lnTo>
                  <a:lnTo>
                    <a:pt x="13" y="113"/>
                  </a:lnTo>
                  <a:lnTo>
                    <a:pt x="5" y="116"/>
                  </a:lnTo>
                  <a:lnTo>
                    <a:pt x="0" y="117"/>
                  </a:lnTo>
                  <a:lnTo>
                    <a:pt x="6" y="117"/>
                  </a:lnTo>
                  <a:lnTo>
                    <a:pt x="27" y="117"/>
                  </a:lnTo>
                  <a:lnTo>
                    <a:pt x="53" y="117"/>
                  </a:lnTo>
                  <a:lnTo>
                    <a:pt x="72" y="117"/>
                  </a:lnTo>
                  <a:lnTo>
                    <a:pt x="77" y="122"/>
                  </a:lnTo>
                  <a:lnTo>
                    <a:pt x="81" y="126"/>
                  </a:lnTo>
                  <a:lnTo>
                    <a:pt x="87" y="130"/>
                  </a:lnTo>
                  <a:lnTo>
                    <a:pt x="98" y="140"/>
                  </a:lnTo>
                  <a:lnTo>
                    <a:pt x="110" y="149"/>
                  </a:lnTo>
                  <a:lnTo>
                    <a:pt x="118" y="154"/>
                  </a:lnTo>
                  <a:lnTo>
                    <a:pt x="119" y="161"/>
                  </a:lnTo>
                  <a:lnTo>
                    <a:pt x="122" y="171"/>
                  </a:lnTo>
                  <a:lnTo>
                    <a:pt x="125" y="176"/>
                  </a:lnTo>
                  <a:lnTo>
                    <a:pt x="127" y="181"/>
                  </a:lnTo>
                  <a:lnTo>
                    <a:pt x="129" y="184"/>
                  </a:lnTo>
                  <a:lnTo>
                    <a:pt x="131" y="185"/>
                  </a:lnTo>
                  <a:lnTo>
                    <a:pt x="132" y="196"/>
                  </a:lnTo>
                  <a:lnTo>
                    <a:pt x="136" y="207"/>
                  </a:lnTo>
                  <a:lnTo>
                    <a:pt x="139" y="220"/>
                  </a:lnTo>
                  <a:lnTo>
                    <a:pt x="140" y="231"/>
                  </a:lnTo>
                  <a:lnTo>
                    <a:pt x="141" y="240"/>
                  </a:lnTo>
                  <a:lnTo>
                    <a:pt x="145" y="249"/>
                  </a:lnTo>
                  <a:lnTo>
                    <a:pt x="148" y="258"/>
                  </a:lnTo>
                  <a:lnTo>
                    <a:pt x="149" y="267"/>
                  </a:lnTo>
                  <a:lnTo>
                    <a:pt x="151" y="268"/>
                  </a:lnTo>
                  <a:lnTo>
                    <a:pt x="154" y="270"/>
                  </a:lnTo>
                  <a:lnTo>
                    <a:pt x="154" y="272"/>
                  </a:lnTo>
                  <a:lnTo>
                    <a:pt x="154" y="276"/>
                  </a:lnTo>
                  <a:lnTo>
                    <a:pt x="158" y="276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6" y="278"/>
                  </a:lnTo>
                  <a:lnTo>
                    <a:pt x="167" y="279"/>
                  </a:lnTo>
                  <a:lnTo>
                    <a:pt x="167" y="280"/>
                  </a:lnTo>
                  <a:lnTo>
                    <a:pt x="180" y="280"/>
                  </a:lnTo>
                  <a:lnTo>
                    <a:pt x="185" y="282"/>
                  </a:lnTo>
                  <a:lnTo>
                    <a:pt x="194" y="283"/>
                  </a:lnTo>
                  <a:lnTo>
                    <a:pt x="207" y="283"/>
                  </a:lnTo>
                  <a:lnTo>
                    <a:pt x="223" y="284"/>
                  </a:lnTo>
                  <a:lnTo>
                    <a:pt x="253" y="284"/>
                  </a:lnTo>
                  <a:lnTo>
                    <a:pt x="271" y="284"/>
                  </a:lnTo>
                  <a:lnTo>
                    <a:pt x="292" y="284"/>
                  </a:lnTo>
                  <a:lnTo>
                    <a:pt x="314" y="282"/>
                  </a:lnTo>
                  <a:lnTo>
                    <a:pt x="337" y="281"/>
                  </a:lnTo>
                  <a:lnTo>
                    <a:pt x="357" y="280"/>
                  </a:lnTo>
                  <a:lnTo>
                    <a:pt x="358" y="278"/>
                  </a:lnTo>
                  <a:lnTo>
                    <a:pt x="360" y="277"/>
                  </a:lnTo>
                  <a:lnTo>
                    <a:pt x="363" y="276"/>
                  </a:lnTo>
                  <a:lnTo>
                    <a:pt x="367" y="276"/>
                  </a:lnTo>
                  <a:lnTo>
                    <a:pt x="371" y="271"/>
                  </a:lnTo>
                  <a:lnTo>
                    <a:pt x="371" y="258"/>
                  </a:lnTo>
                  <a:lnTo>
                    <a:pt x="371" y="244"/>
                  </a:lnTo>
                  <a:lnTo>
                    <a:pt x="367" y="235"/>
                  </a:lnTo>
                  <a:lnTo>
                    <a:pt x="359" y="233"/>
                  </a:lnTo>
                  <a:lnTo>
                    <a:pt x="352" y="231"/>
                  </a:lnTo>
                  <a:lnTo>
                    <a:pt x="347" y="224"/>
                  </a:lnTo>
                  <a:lnTo>
                    <a:pt x="339" y="215"/>
                  </a:lnTo>
                  <a:lnTo>
                    <a:pt x="333" y="211"/>
                  </a:lnTo>
                  <a:lnTo>
                    <a:pt x="329" y="207"/>
                  </a:lnTo>
                  <a:lnTo>
                    <a:pt x="324" y="204"/>
                  </a:lnTo>
                  <a:lnTo>
                    <a:pt x="321" y="203"/>
                  </a:lnTo>
                  <a:lnTo>
                    <a:pt x="317" y="199"/>
                  </a:lnTo>
                  <a:lnTo>
                    <a:pt x="314" y="193"/>
                  </a:lnTo>
                  <a:lnTo>
                    <a:pt x="309" y="186"/>
                  </a:lnTo>
                  <a:lnTo>
                    <a:pt x="303" y="180"/>
                  </a:lnTo>
                  <a:lnTo>
                    <a:pt x="299" y="176"/>
                  </a:lnTo>
                  <a:lnTo>
                    <a:pt x="299" y="167"/>
                  </a:lnTo>
                  <a:lnTo>
                    <a:pt x="294" y="163"/>
                  </a:lnTo>
                  <a:lnTo>
                    <a:pt x="290" y="161"/>
                  </a:lnTo>
                  <a:lnTo>
                    <a:pt x="285" y="158"/>
                  </a:lnTo>
                  <a:lnTo>
                    <a:pt x="283" y="151"/>
                  </a:lnTo>
                  <a:lnTo>
                    <a:pt x="280" y="140"/>
                  </a:lnTo>
                  <a:lnTo>
                    <a:pt x="275" y="132"/>
                  </a:lnTo>
                  <a:lnTo>
                    <a:pt x="271" y="126"/>
                  </a:lnTo>
                  <a:lnTo>
                    <a:pt x="270" y="108"/>
                  </a:lnTo>
                  <a:lnTo>
                    <a:pt x="264" y="88"/>
                  </a:lnTo>
                  <a:lnTo>
                    <a:pt x="262" y="78"/>
                  </a:lnTo>
                  <a:lnTo>
                    <a:pt x="260" y="68"/>
                  </a:lnTo>
                  <a:lnTo>
                    <a:pt x="259" y="59"/>
                  </a:lnTo>
                  <a:lnTo>
                    <a:pt x="257" y="50"/>
                  </a:lnTo>
                  <a:lnTo>
                    <a:pt x="253" y="48"/>
                  </a:lnTo>
                  <a:lnTo>
                    <a:pt x="248" y="46"/>
                  </a:lnTo>
                  <a:lnTo>
                    <a:pt x="248" y="38"/>
                  </a:lnTo>
                  <a:lnTo>
                    <a:pt x="248" y="31"/>
                  </a:lnTo>
                  <a:lnTo>
                    <a:pt x="247" y="31"/>
                  </a:lnTo>
                  <a:lnTo>
                    <a:pt x="246" y="29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4" y="18"/>
                  </a:lnTo>
                  <a:lnTo>
                    <a:pt x="244" y="13"/>
                  </a:lnTo>
                  <a:lnTo>
                    <a:pt x="237" y="7"/>
                  </a:lnTo>
                  <a:lnTo>
                    <a:pt x="231" y="0"/>
                  </a:lnTo>
                  <a:lnTo>
                    <a:pt x="222" y="1"/>
                  </a:lnTo>
                  <a:lnTo>
                    <a:pt x="214" y="3"/>
                  </a:lnTo>
                  <a:lnTo>
                    <a:pt x="206" y="5"/>
                  </a:lnTo>
                  <a:lnTo>
                    <a:pt x="199" y="9"/>
                  </a:lnTo>
                  <a:lnTo>
                    <a:pt x="192" y="12"/>
                  </a:lnTo>
                  <a:lnTo>
                    <a:pt x="184" y="15"/>
                  </a:lnTo>
                  <a:lnTo>
                    <a:pt x="176" y="18"/>
                  </a:lnTo>
                  <a:lnTo>
                    <a:pt x="167" y="18"/>
                  </a:lnTo>
                  <a:lnTo>
                    <a:pt x="165" y="22"/>
                  </a:lnTo>
                  <a:lnTo>
                    <a:pt x="163" y="27"/>
                  </a:lnTo>
                  <a:lnTo>
                    <a:pt x="156" y="27"/>
                  </a:lnTo>
                  <a:lnTo>
                    <a:pt x="149" y="27"/>
                  </a:lnTo>
                  <a:lnTo>
                    <a:pt x="148" y="29"/>
                  </a:lnTo>
                  <a:lnTo>
                    <a:pt x="145" y="30"/>
                  </a:lnTo>
                  <a:lnTo>
                    <a:pt x="139" y="31"/>
                  </a:lnTo>
                  <a:lnTo>
                    <a:pt x="133" y="32"/>
                  </a:lnTo>
                  <a:lnTo>
                    <a:pt x="128" y="33"/>
                  </a:lnTo>
                  <a:lnTo>
                    <a:pt x="122" y="36"/>
                  </a:lnTo>
                  <a:lnTo>
                    <a:pt x="119" y="38"/>
                  </a:lnTo>
                  <a:lnTo>
                    <a:pt x="118" y="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4" name="Freeform 71"/>
            <p:cNvSpPr>
              <a:spLocks noChangeAspect="1"/>
            </p:cNvSpPr>
            <p:nvPr/>
          </p:nvSpPr>
          <p:spPr bwMode="gray">
            <a:xfrm rot="355651">
              <a:off x="7647859" y="4232275"/>
              <a:ext cx="51839" cy="33003"/>
            </a:xfrm>
            <a:custGeom>
              <a:avLst/>
              <a:gdLst/>
              <a:ahLst/>
              <a:cxnLst>
                <a:cxn ang="0">
                  <a:pos x="9" y="29"/>
                </a:cxn>
                <a:cxn ang="0">
                  <a:pos x="0" y="33"/>
                </a:cxn>
                <a:cxn ang="0">
                  <a:pos x="9" y="40"/>
                </a:cxn>
                <a:cxn ang="0">
                  <a:pos x="13" y="48"/>
                </a:cxn>
                <a:cxn ang="0">
                  <a:pos x="33" y="57"/>
                </a:cxn>
                <a:cxn ang="0">
                  <a:pos x="48" y="63"/>
                </a:cxn>
                <a:cxn ang="0">
                  <a:pos x="59" y="79"/>
                </a:cxn>
                <a:cxn ang="0">
                  <a:pos x="72" y="88"/>
                </a:cxn>
                <a:cxn ang="0">
                  <a:pos x="97" y="110"/>
                </a:cxn>
                <a:cxn ang="0">
                  <a:pos x="104" y="121"/>
                </a:cxn>
                <a:cxn ang="0">
                  <a:pos x="116" y="133"/>
                </a:cxn>
                <a:cxn ang="0">
                  <a:pos x="124" y="137"/>
                </a:cxn>
                <a:cxn ang="0">
                  <a:pos x="129" y="144"/>
                </a:cxn>
                <a:cxn ang="0">
                  <a:pos x="144" y="152"/>
                </a:cxn>
                <a:cxn ang="0">
                  <a:pos x="154" y="165"/>
                </a:cxn>
                <a:cxn ang="0">
                  <a:pos x="172" y="174"/>
                </a:cxn>
                <a:cxn ang="0">
                  <a:pos x="184" y="185"/>
                </a:cxn>
                <a:cxn ang="0">
                  <a:pos x="203" y="187"/>
                </a:cxn>
                <a:cxn ang="0">
                  <a:pos x="203" y="178"/>
                </a:cxn>
                <a:cxn ang="0">
                  <a:pos x="212" y="156"/>
                </a:cxn>
                <a:cxn ang="0">
                  <a:pos x="222" y="138"/>
                </a:cxn>
                <a:cxn ang="0">
                  <a:pos x="244" y="124"/>
                </a:cxn>
                <a:cxn ang="0">
                  <a:pos x="252" y="116"/>
                </a:cxn>
                <a:cxn ang="0">
                  <a:pos x="262" y="110"/>
                </a:cxn>
                <a:cxn ang="0">
                  <a:pos x="267" y="101"/>
                </a:cxn>
                <a:cxn ang="0">
                  <a:pos x="274" y="89"/>
                </a:cxn>
                <a:cxn ang="0">
                  <a:pos x="280" y="75"/>
                </a:cxn>
                <a:cxn ang="0">
                  <a:pos x="262" y="61"/>
                </a:cxn>
                <a:cxn ang="0">
                  <a:pos x="253" y="52"/>
                </a:cxn>
                <a:cxn ang="0">
                  <a:pos x="244" y="47"/>
                </a:cxn>
                <a:cxn ang="0">
                  <a:pos x="236" y="40"/>
                </a:cxn>
                <a:cxn ang="0">
                  <a:pos x="231" y="33"/>
                </a:cxn>
                <a:cxn ang="0">
                  <a:pos x="222" y="29"/>
                </a:cxn>
                <a:cxn ang="0">
                  <a:pos x="212" y="29"/>
                </a:cxn>
                <a:cxn ang="0">
                  <a:pos x="198" y="20"/>
                </a:cxn>
                <a:cxn ang="0">
                  <a:pos x="176" y="20"/>
                </a:cxn>
                <a:cxn ang="0">
                  <a:pos x="156" y="20"/>
                </a:cxn>
                <a:cxn ang="0">
                  <a:pos x="136" y="20"/>
                </a:cxn>
                <a:cxn ang="0">
                  <a:pos x="126" y="20"/>
                </a:cxn>
                <a:cxn ang="0">
                  <a:pos x="104" y="20"/>
                </a:cxn>
                <a:cxn ang="0">
                  <a:pos x="86" y="24"/>
                </a:cxn>
                <a:cxn ang="0">
                  <a:pos x="79" y="18"/>
                </a:cxn>
                <a:cxn ang="0">
                  <a:pos x="68" y="11"/>
                </a:cxn>
                <a:cxn ang="0">
                  <a:pos x="54" y="7"/>
                </a:cxn>
                <a:cxn ang="0">
                  <a:pos x="42" y="0"/>
                </a:cxn>
                <a:cxn ang="0">
                  <a:pos x="33" y="1"/>
                </a:cxn>
              </a:cxnLst>
              <a:rect l="0" t="0" r="r" b="b"/>
              <a:pathLst>
                <a:path w="280" h="187">
                  <a:moveTo>
                    <a:pt x="31" y="2"/>
                  </a:moveTo>
                  <a:lnTo>
                    <a:pt x="20" y="14"/>
                  </a:lnTo>
                  <a:lnTo>
                    <a:pt x="9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7"/>
                  </a:lnTo>
                  <a:lnTo>
                    <a:pt x="6" y="39"/>
                  </a:lnTo>
                  <a:lnTo>
                    <a:pt x="9" y="40"/>
                  </a:lnTo>
                  <a:lnTo>
                    <a:pt x="11" y="42"/>
                  </a:lnTo>
                  <a:lnTo>
                    <a:pt x="13" y="44"/>
                  </a:lnTo>
                  <a:lnTo>
                    <a:pt x="13" y="48"/>
                  </a:lnTo>
                  <a:lnTo>
                    <a:pt x="22" y="50"/>
                  </a:lnTo>
                  <a:lnTo>
                    <a:pt x="27" y="52"/>
                  </a:lnTo>
                  <a:lnTo>
                    <a:pt x="33" y="57"/>
                  </a:lnTo>
                  <a:lnTo>
                    <a:pt x="40" y="61"/>
                  </a:lnTo>
                  <a:lnTo>
                    <a:pt x="42" y="61"/>
                  </a:lnTo>
                  <a:lnTo>
                    <a:pt x="48" y="63"/>
                  </a:lnTo>
                  <a:lnTo>
                    <a:pt x="52" y="67"/>
                  </a:lnTo>
                  <a:lnTo>
                    <a:pt x="54" y="70"/>
                  </a:lnTo>
                  <a:lnTo>
                    <a:pt x="59" y="79"/>
                  </a:lnTo>
                  <a:lnTo>
                    <a:pt x="61" y="79"/>
                  </a:lnTo>
                  <a:lnTo>
                    <a:pt x="63" y="79"/>
                  </a:lnTo>
                  <a:lnTo>
                    <a:pt x="72" y="88"/>
                  </a:lnTo>
                  <a:lnTo>
                    <a:pt x="85" y="99"/>
                  </a:lnTo>
                  <a:lnTo>
                    <a:pt x="95" y="106"/>
                  </a:lnTo>
                  <a:lnTo>
                    <a:pt x="97" y="110"/>
                  </a:lnTo>
                  <a:lnTo>
                    <a:pt x="99" y="115"/>
                  </a:lnTo>
                  <a:lnTo>
                    <a:pt x="99" y="119"/>
                  </a:lnTo>
                  <a:lnTo>
                    <a:pt x="104" y="121"/>
                  </a:lnTo>
                  <a:lnTo>
                    <a:pt x="108" y="124"/>
                  </a:lnTo>
                  <a:lnTo>
                    <a:pt x="111" y="128"/>
                  </a:lnTo>
                  <a:lnTo>
                    <a:pt x="116" y="133"/>
                  </a:lnTo>
                  <a:lnTo>
                    <a:pt x="118" y="135"/>
                  </a:lnTo>
                  <a:lnTo>
                    <a:pt x="120" y="136"/>
                  </a:lnTo>
                  <a:lnTo>
                    <a:pt x="124" y="137"/>
                  </a:lnTo>
                  <a:lnTo>
                    <a:pt x="126" y="138"/>
                  </a:lnTo>
                  <a:lnTo>
                    <a:pt x="127" y="142"/>
                  </a:lnTo>
                  <a:lnTo>
                    <a:pt x="129" y="144"/>
                  </a:lnTo>
                  <a:lnTo>
                    <a:pt x="133" y="146"/>
                  </a:lnTo>
                  <a:lnTo>
                    <a:pt x="136" y="147"/>
                  </a:lnTo>
                  <a:lnTo>
                    <a:pt x="144" y="152"/>
                  </a:lnTo>
                  <a:lnTo>
                    <a:pt x="149" y="156"/>
                  </a:lnTo>
                  <a:lnTo>
                    <a:pt x="152" y="161"/>
                  </a:lnTo>
                  <a:lnTo>
                    <a:pt x="154" y="165"/>
                  </a:lnTo>
                  <a:lnTo>
                    <a:pt x="163" y="169"/>
                  </a:lnTo>
                  <a:lnTo>
                    <a:pt x="167" y="172"/>
                  </a:lnTo>
                  <a:lnTo>
                    <a:pt x="172" y="174"/>
                  </a:lnTo>
                  <a:lnTo>
                    <a:pt x="176" y="176"/>
                  </a:lnTo>
                  <a:lnTo>
                    <a:pt x="181" y="181"/>
                  </a:lnTo>
                  <a:lnTo>
                    <a:pt x="184" y="185"/>
                  </a:lnTo>
                  <a:lnTo>
                    <a:pt x="185" y="187"/>
                  </a:lnTo>
                  <a:lnTo>
                    <a:pt x="194" y="187"/>
                  </a:lnTo>
                  <a:lnTo>
                    <a:pt x="203" y="187"/>
                  </a:lnTo>
                  <a:lnTo>
                    <a:pt x="203" y="183"/>
                  </a:lnTo>
                  <a:lnTo>
                    <a:pt x="203" y="181"/>
                  </a:lnTo>
                  <a:lnTo>
                    <a:pt x="203" y="178"/>
                  </a:lnTo>
                  <a:lnTo>
                    <a:pt x="203" y="174"/>
                  </a:lnTo>
                  <a:lnTo>
                    <a:pt x="207" y="165"/>
                  </a:lnTo>
                  <a:lnTo>
                    <a:pt x="212" y="156"/>
                  </a:lnTo>
                  <a:lnTo>
                    <a:pt x="216" y="156"/>
                  </a:lnTo>
                  <a:lnTo>
                    <a:pt x="219" y="148"/>
                  </a:lnTo>
                  <a:lnTo>
                    <a:pt x="222" y="138"/>
                  </a:lnTo>
                  <a:lnTo>
                    <a:pt x="226" y="138"/>
                  </a:lnTo>
                  <a:lnTo>
                    <a:pt x="233" y="130"/>
                  </a:lnTo>
                  <a:lnTo>
                    <a:pt x="244" y="124"/>
                  </a:lnTo>
                  <a:lnTo>
                    <a:pt x="245" y="120"/>
                  </a:lnTo>
                  <a:lnTo>
                    <a:pt x="249" y="118"/>
                  </a:lnTo>
                  <a:lnTo>
                    <a:pt x="252" y="116"/>
                  </a:lnTo>
                  <a:lnTo>
                    <a:pt x="253" y="115"/>
                  </a:lnTo>
                  <a:lnTo>
                    <a:pt x="258" y="113"/>
                  </a:lnTo>
                  <a:lnTo>
                    <a:pt x="262" y="110"/>
                  </a:lnTo>
                  <a:lnTo>
                    <a:pt x="262" y="106"/>
                  </a:lnTo>
                  <a:lnTo>
                    <a:pt x="264" y="104"/>
                  </a:lnTo>
                  <a:lnTo>
                    <a:pt x="267" y="101"/>
                  </a:lnTo>
                  <a:lnTo>
                    <a:pt x="271" y="97"/>
                  </a:lnTo>
                  <a:lnTo>
                    <a:pt x="272" y="94"/>
                  </a:lnTo>
                  <a:lnTo>
                    <a:pt x="274" y="89"/>
                  </a:lnTo>
                  <a:lnTo>
                    <a:pt x="277" y="85"/>
                  </a:lnTo>
                  <a:lnTo>
                    <a:pt x="280" y="84"/>
                  </a:lnTo>
                  <a:lnTo>
                    <a:pt x="280" y="75"/>
                  </a:lnTo>
                  <a:lnTo>
                    <a:pt x="280" y="66"/>
                  </a:lnTo>
                  <a:lnTo>
                    <a:pt x="271" y="66"/>
                  </a:lnTo>
                  <a:lnTo>
                    <a:pt x="262" y="61"/>
                  </a:lnTo>
                  <a:lnTo>
                    <a:pt x="260" y="57"/>
                  </a:lnTo>
                  <a:lnTo>
                    <a:pt x="258" y="52"/>
                  </a:lnTo>
                  <a:lnTo>
                    <a:pt x="253" y="52"/>
                  </a:lnTo>
                  <a:lnTo>
                    <a:pt x="251" y="50"/>
                  </a:lnTo>
                  <a:lnTo>
                    <a:pt x="249" y="48"/>
                  </a:lnTo>
                  <a:lnTo>
                    <a:pt x="244" y="47"/>
                  </a:lnTo>
                  <a:lnTo>
                    <a:pt x="240" y="43"/>
                  </a:lnTo>
                  <a:lnTo>
                    <a:pt x="238" y="42"/>
                  </a:lnTo>
                  <a:lnTo>
                    <a:pt x="236" y="40"/>
                  </a:lnTo>
                  <a:lnTo>
                    <a:pt x="235" y="37"/>
                  </a:lnTo>
                  <a:lnTo>
                    <a:pt x="235" y="33"/>
                  </a:lnTo>
                  <a:lnTo>
                    <a:pt x="231" y="33"/>
                  </a:lnTo>
                  <a:lnTo>
                    <a:pt x="229" y="33"/>
                  </a:lnTo>
                  <a:lnTo>
                    <a:pt x="226" y="33"/>
                  </a:lnTo>
                  <a:lnTo>
                    <a:pt x="222" y="29"/>
                  </a:lnTo>
                  <a:lnTo>
                    <a:pt x="219" y="29"/>
                  </a:lnTo>
                  <a:lnTo>
                    <a:pt x="216" y="29"/>
                  </a:lnTo>
                  <a:lnTo>
                    <a:pt x="212" y="29"/>
                  </a:lnTo>
                  <a:lnTo>
                    <a:pt x="207" y="24"/>
                  </a:lnTo>
                  <a:lnTo>
                    <a:pt x="203" y="20"/>
                  </a:lnTo>
                  <a:lnTo>
                    <a:pt x="198" y="20"/>
                  </a:lnTo>
                  <a:lnTo>
                    <a:pt x="194" y="20"/>
                  </a:lnTo>
                  <a:lnTo>
                    <a:pt x="185" y="20"/>
                  </a:lnTo>
                  <a:lnTo>
                    <a:pt x="176" y="20"/>
                  </a:lnTo>
                  <a:lnTo>
                    <a:pt x="169" y="20"/>
                  </a:lnTo>
                  <a:lnTo>
                    <a:pt x="163" y="20"/>
                  </a:lnTo>
                  <a:lnTo>
                    <a:pt x="156" y="20"/>
                  </a:lnTo>
                  <a:lnTo>
                    <a:pt x="149" y="20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0" y="20"/>
                  </a:lnTo>
                  <a:lnTo>
                    <a:pt x="128" y="20"/>
                  </a:lnTo>
                  <a:lnTo>
                    <a:pt x="126" y="20"/>
                  </a:lnTo>
                  <a:lnTo>
                    <a:pt x="121" y="20"/>
                  </a:lnTo>
                  <a:lnTo>
                    <a:pt x="113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95" y="24"/>
                  </a:lnTo>
                  <a:lnTo>
                    <a:pt x="86" y="24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79" y="18"/>
                  </a:lnTo>
                  <a:lnTo>
                    <a:pt x="75" y="14"/>
                  </a:lnTo>
                  <a:lnTo>
                    <a:pt x="72" y="11"/>
                  </a:lnTo>
                  <a:lnTo>
                    <a:pt x="68" y="11"/>
                  </a:lnTo>
                  <a:lnTo>
                    <a:pt x="63" y="11"/>
                  </a:lnTo>
                  <a:lnTo>
                    <a:pt x="59" y="11"/>
                  </a:lnTo>
                  <a:lnTo>
                    <a:pt x="54" y="7"/>
                  </a:lnTo>
                  <a:lnTo>
                    <a:pt x="50" y="2"/>
                  </a:lnTo>
                  <a:lnTo>
                    <a:pt x="48" y="1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3" y="1"/>
                  </a:lnTo>
                  <a:lnTo>
                    <a:pt x="31" y="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5" name="Freeform 72"/>
            <p:cNvSpPr>
              <a:spLocks noChangeAspect="1"/>
            </p:cNvSpPr>
            <p:nvPr/>
          </p:nvSpPr>
          <p:spPr bwMode="gray">
            <a:xfrm rot="355651">
              <a:off x="7594962" y="4195763"/>
              <a:ext cx="40203" cy="34067"/>
            </a:xfrm>
            <a:custGeom>
              <a:avLst/>
              <a:gdLst/>
              <a:ahLst/>
              <a:cxnLst>
                <a:cxn ang="0">
                  <a:pos x="11" y="29"/>
                </a:cxn>
                <a:cxn ang="0">
                  <a:pos x="24" y="49"/>
                </a:cxn>
                <a:cxn ang="0">
                  <a:pos x="24" y="63"/>
                </a:cxn>
                <a:cxn ang="0">
                  <a:pos x="24" y="73"/>
                </a:cxn>
                <a:cxn ang="0">
                  <a:pos x="9" y="109"/>
                </a:cxn>
                <a:cxn ang="0">
                  <a:pos x="5" y="122"/>
                </a:cxn>
                <a:cxn ang="0">
                  <a:pos x="5" y="131"/>
                </a:cxn>
                <a:cxn ang="0">
                  <a:pos x="5" y="153"/>
                </a:cxn>
                <a:cxn ang="0">
                  <a:pos x="14" y="163"/>
                </a:cxn>
                <a:cxn ang="0">
                  <a:pos x="23" y="170"/>
                </a:cxn>
                <a:cxn ang="0">
                  <a:pos x="37" y="177"/>
                </a:cxn>
                <a:cxn ang="0">
                  <a:pos x="43" y="190"/>
                </a:cxn>
                <a:cxn ang="0">
                  <a:pos x="49" y="200"/>
                </a:cxn>
                <a:cxn ang="0">
                  <a:pos x="64" y="212"/>
                </a:cxn>
                <a:cxn ang="0">
                  <a:pos x="77" y="212"/>
                </a:cxn>
                <a:cxn ang="0">
                  <a:pos x="86" y="212"/>
                </a:cxn>
                <a:cxn ang="0">
                  <a:pos x="112" y="210"/>
                </a:cxn>
                <a:cxn ang="0">
                  <a:pos x="123" y="208"/>
                </a:cxn>
                <a:cxn ang="0">
                  <a:pos x="132" y="204"/>
                </a:cxn>
                <a:cxn ang="0">
                  <a:pos x="143" y="201"/>
                </a:cxn>
                <a:cxn ang="0">
                  <a:pos x="150" y="195"/>
                </a:cxn>
                <a:cxn ang="0">
                  <a:pos x="159" y="190"/>
                </a:cxn>
                <a:cxn ang="0">
                  <a:pos x="177" y="172"/>
                </a:cxn>
                <a:cxn ang="0">
                  <a:pos x="187" y="162"/>
                </a:cxn>
                <a:cxn ang="0">
                  <a:pos x="205" y="159"/>
                </a:cxn>
                <a:cxn ang="0">
                  <a:pos x="214" y="144"/>
                </a:cxn>
                <a:cxn ang="0">
                  <a:pos x="205" y="140"/>
                </a:cxn>
                <a:cxn ang="0">
                  <a:pos x="190" y="135"/>
                </a:cxn>
                <a:cxn ang="0">
                  <a:pos x="172" y="127"/>
                </a:cxn>
                <a:cxn ang="0">
                  <a:pos x="163" y="118"/>
                </a:cxn>
                <a:cxn ang="0">
                  <a:pos x="151" y="112"/>
                </a:cxn>
                <a:cxn ang="0">
                  <a:pos x="136" y="100"/>
                </a:cxn>
                <a:cxn ang="0">
                  <a:pos x="126" y="90"/>
                </a:cxn>
                <a:cxn ang="0">
                  <a:pos x="123" y="73"/>
                </a:cxn>
                <a:cxn ang="0">
                  <a:pos x="119" y="63"/>
                </a:cxn>
                <a:cxn ang="0">
                  <a:pos x="119" y="52"/>
                </a:cxn>
                <a:cxn ang="0">
                  <a:pos x="114" y="36"/>
                </a:cxn>
                <a:cxn ang="0">
                  <a:pos x="102" y="18"/>
                </a:cxn>
                <a:cxn ang="0">
                  <a:pos x="100" y="5"/>
                </a:cxn>
                <a:cxn ang="0">
                  <a:pos x="80" y="3"/>
                </a:cxn>
                <a:cxn ang="0">
                  <a:pos x="71" y="0"/>
                </a:cxn>
                <a:cxn ang="0">
                  <a:pos x="55" y="0"/>
                </a:cxn>
                <a:cxn ang="0">
                  <a:pos x="44" y="3"/>
                </a:cxn>
                <a:cxn ang="0">
                  <a:pos x="36" y="5"/>
                </a:cxn>
                <a:cxn ang="0">
                  <a:pos x="28" y="9"/>
                </a:cxn>
                <a:cxn ang="0">
                  <a:pos x="0" y="9"/>
                </a:cxn>
              </a:cxnLst>
              <a:rect l="0" t="0" r="r" b="b"/>
              <a:pathLst>
                <a:path w="214" h="212">
                  <a:moveTo>
                    <a:pt x="0" y="9"/>
                  </a:moveTo>
                  <a:lnTo>
                    <a:pt x="9" y="27"/>
                  </a:lnTo>
                  <a:lnTo>
                    <a:pt x="11" y="29"/>
                  </a:lnTo>
                  <a:lnTo>
                    <a:pt x="14" y="32"/>
                  </a:lnTo>
                  <a:lnTo>
                    <a:pt x="18" y="43"/>
                  </a:lnTo>
                  <a:lnTo>
                    <a:pt x="24" y="49"/>
                  </a:lnTo>
                  <a:lnTo>
                    <a:pt x="24" y="54"/>
                  </a:lnTo>
                  <a:lnTo>
                    <a:pt x="24" y="58"/>
                  </a:lnTo>
                  <a:lnTo>
                    <a:pt x="24" y="63"/>
                  </a:lnTo>
                  <a:lnTo>
                    <a:pt x="24" y="65"/>
                  </a:lnTo>
                  <a:lnTo>
                    <a:pt x="24" y="67"/>
                  </a:lnTo>
                  <a:lnTo>
                    <a:pt x="24" y="73"/>
                  </a:lnTo>
                  <a:lnTo>
                    <a:pt x="20" y="86"/>
                  </a:lnTo>
                  <a:lnTo>
                    <a:pt x="18" y="100"/>
                  </a:lnTo>
                  <a:lnTo>
                    <a:pt x="9" y="109"/>
                  </a:lnTo>
                  <a:lnTo>
                    <a:pt x="9" y="118"/>
                  </a:lnTo>
                  <a:lnTo>
                    <a:pt x="7" y="120"/>
                  </a:lnTo>
                  <a:lnTo>
                    <a:pt x="5" y="122"/>
                  </a:lnTo>
                  <a:lnTo>
                    <a:pt x="5" y="127"/>
                  </a:lnTo>
                  <a:lnTo>
                    <a:pt x="5" y="129"/>
                  </a:lnTo>
                  <a:lnTo>
                    <a:pt x="5" y="131"/>
                  </a:lnTo>
                  <a:lnTo>
                    <a:pt x="5" y="135"/>
                  </a:lnTo>
                  <a:lnTo>
                    <a:pt x="5" y="144"/>
                  </a:lnTo>
                  <a:lnTo>
                    <a:pt x="5" y="153"/>
                  </a:lnTo>
                  <a:lnTo>
                    <a:pt x="8" y="156"/>
                  </a:lnTo>
                  <a:lnTo>
                    <a:pt x="11" y="159"/>
                  </a:lnTo>
                  <a:lnTo>
                    <a:pt x="14" y="163"/>
                  </a:lnTo>
                  <a:lnTo>
                    <a:pt x="14" y="168"/>
                  </a:lnTo>
                  <a:lnTo>
                    <a:pt x="18" y="168"/>
                  </a:lnTo>
                  <a:lnTo>
                    <a:pt x="23" y="170"/>
                  </a:lnTo>
                  <a:lnTo>
                    <a:pt x="26" y="173"/>
                  </a:lnTo>
                  <a:lnTo>
                    <a:pt x="28" y="177"/>
                  </a:lnTo>
                  <a:lnTo>
                    <a:pt x="37" y="177"/>
                  </a:lnTo>
                  <a:lnTo>
                    <a:pt x="37" y="186"/>
                  </a:lnTo>
                  <a:lnTo>
                    <a:pt x="40" y="187"/>
                  </a:lnTo>
                  <a:lnTo>
                    <a:pt x="43" y="190"/>
                  </a:lnTo>
                  <a:lnTo>
                    <a:pt x="45" y="195"/>
                  </a:lnTo>
                  <a:lnTo>
                    <a:pt x="46" y="199"/>
                  </a:lnTo>
                  <a:lnTo>
                    <a:pt x="49" y="200"/>
                  </a:lnTo>
                  <a:lnTo>
                    <a:pt x="55" y="205"/>
                  </a:lnTo>
                  <a:lnTo>
                    <a:pt x="59" y="209"/>
                  </a:lnTo>
                  <a:lnTo>
                    <a:pt x="64" y="212"/>
                  </a:lnTo>
                  <a:lnTo>
                    <a:pt x="68" y="212"/>
                  </a:lnTo>
                  <a:lnTo>
                    <a:pt x="73" y="212"/>
                  </a:lnTo>
                  <a:lnTo>
                    <a:pt x="77" y="212"/>
                  </a:lnTo>
                  <a:lnTo>
                    <a:pt x="80" y="212"/>
                  </a:lnTo>
                  <a:lnTo>
                    <a:pt x="82" y="212"/>
                  </a:lnTo>
                  <a:lnTo>
                    <a:pt x="86" y="212"/>
                  </a:lnTo>
                  <a:lnTo>
                    <a:pt x="97" y="212"/>
                  </a:lnTo>
                  <a:lnTo>
                    <a:pt x="110" y="212"/>
                  </a:lnTo>
                  <a:lnTo>
                    <a:pt x="112" y="210"/>
                  </a:lnTo>
                  <a:lnTo>
                    <a:pt x="114" y="208"/>
                  </a:lnTo>
                  <a:lnTo>
                    <a:pt x="119" y="208"/>
                  </a:lnTo>
                  <a:lnTo>
                    <a:pt x="123" y="208"/>
                  </a:lnTo>
                  <a:lnTo>
                    <a:pt x="128" y="208"/>
                  </a:lnTo>
                  <a:lnTo>
                    <a:pt x="130" y="206"/>
                  </a:lnTo>
                  <a:lnTo>
                    <a:pt x="132" y="204"/>
                  </a:lnTo>
                  <a:lnTo>
                    <a:pt x="135" y="204"/>
                  </a:lnTo>
                  <a:lnTo>
                    <a:pt x="141" y="202"/>
                  </a:lnTo>
                  <a:lnTo>
                    <a:pt x="143" y="201"/>
                  </a:lnTo>
                  <a:lnTo>
                    <a:pt x="145" y="200"/>
                  </a:lnTo>
                  <a:lnTo>
                    <a:pt x="148" y="198"/>
                  </a:lnTo>
                  <a:lnTo>
                    <a:pt x="150" y="195"/>
                  </a:lnTo>
                  <a:lnTo>
                    <a:pt x="154" y="195"/>
                  </a:lnTo>
                  <a:lnTo>
                    <a:pt x="157" y="192"/>
                  </a:lnTo>
                  <a:lnTo>
                    <a:pt x="159" y="190"/>
                  </a:lnTo>
                  <a:lnTo>
                    <a:pt x="163" y="190"/>
                  </a:lnTo>
                  <a:lnTo>
                    <a:pt x="170" y="182"/>
                  </a:lnTo>
                  <a:lnTo>
                    <a:pt x="177" y="172"/>
                  </a:lnTo>
                  <a:lnTo>
                    <a:pt x="180" y="170"/>
                  </a:lnTo>
                  <a:lnTo>
                    <a:pt x="183" y="167"/>
                  </a:lnTo>
                  <a:lnTo>
                    <a:pt x="187" y="162"/>
                  </a:lnTo>
                  <a:lnTo>
                    <a:pt x="190" y="159"/>
                  </a:lnTo>
                  <a:lnTo>
                    <a:pt x="198" y="159"/>
                  </a:lnTo>
                  <a:lnTo>
                    <a:pt x="205" y="159"/>
                  </a:lnTo>
                  <a:lnTo>
                    <a:pt x="209" y="153"/>
                  </a:lnTo>
                  <a:lnTo>
                    <a:pt x="211" y="149"/>
                  </a:lnTo>
                  <a:lnTo>
                    <a:pt x="214" y="144"/>
                  </a:lnTo>
                  <a:lnTo>
                    <a:pt x="209" y="144"/>
                  </a:lnTo>
                  <a:lnTo>
                    <a:pt x="207" y="142"/>
                  </a:lnTo>
                  <a:lnTo>
                    <a:pt x="205" y="140"/>
                  </a:lnTo>
                  <a:lnTo>
                    <a:pt x="200" y="140"/>
                  </a:lnTo>
                  <a:lnTo>
                    <a:pt x="196" y="139"/>
                  </a:lnTo>
                  <a:lnTo>
                    <a:pt x="190" y="135"/>
                  </a:lnTo>
                  <a:lnTo>
                    <a:pt x="186" y="131"/>
                  </a:lnTo>
                  <a:lnTo>
                    <a:pt x="181" y="127"/>
                  </a:lnTo>
                  <a:lnTo>
                    <a:pt x="172" y="127"/>
                  </a:lnTo>
                  <a:lnTo>
                    <a:pt x="170" y="124"/>
                  </a:lnTo>
                  <a:lnTo>
                    <a:pt x="168" y="122"/>
                  </a:lnTo>
                  <a:lnTo>
                    <a:pt x="163" y="118"/>
                  </a:lnTo>
                  <a:lnTo>
                    <a:pt x="160" y="116"/>
                  </a:lnTo>
                  <a:lnTo>
                    <a:pt x="155" y="115"/>
                  </a:lnTo>
                  <a:lnTo>
                    <a:pt x="151" y="112"/>
                  </a:lnTo>
                  <a:lnTo>
                    <a:pt x="150" y="109"/>
                  </a:lnTo>
                  <a:lnTo>
                    <a:pt x="141" y="109"/>
                  </a:lnTo>
                  <a:lnTo>
                    <a:pt x="136" y="100"/>
                  </a:lnTo>
                  <a:lnTo>
                    <a:pt x="133" y="99"/>
                  </a:lnTo>
                  <a:lnTo>
                    <a:pt x="130" y="94"/>
                  </a:lnTo>
                  <a:lnTo>
                    <a:pt x="126" y="90"/>
                  </a:lnTo>
                  <a:lnTo>
                    <a:pt x="123" y="86"/>
                  </a:lnTo>
                  <a:lnTo>
                    <a:pt x="123" y="80"/>
                  </a:lnTo>
                  <a:lnTo>
                    <a:pt x="123" y="73"/>
                  </a:lnTo>
                  <a:lnTo>
                    <a:pt x="121" y="71"/>
                  </a:lnTo>
                  <a:lnTo>
                    <a:pt x="119" y="67"/>
                  </a:lnTo>
                  <a:lnTo>
                    <a:pt x="119" y="63"/>
                  </a:lnTo>
                  <a:lnTo>
                    <a:pt x="119" y="58"/>
                  </a:lnTo>
                  <a:lnTo>
                    <a:pt x="119" y="54"/>
                  </a:lnTo>
                  <a:lnTo>
                    <a:pt x="119" y="52"/>
                  </a:lnTo>
                  <a:lnTo>
                    <a:pt x="119" y="49"/>
                  </a:lnTo>
                  <a:lnTo>
                    <a:pt x="119" y="45"/>
                  </a:lnTo>
                  <a:lnTo>
                    <a:pt x="114" y="36"/>
                  </a:lnTo>
                  <a:lnTo>
                    <a:pt x="110" y="23"/>
                  </a:lnTo>
                  <a:lnTo>
                    <a:pt x="104" y="23"/>
                  </a:lnTo>
                  <a:lnTo>
                    <a:pt x="102" y="18"/>
                  </a:lnTo>
                  <a:lnTo>
                    <a:pt x="101" y="12"/>
                  </a:lnTo>
                  <a:lnTo>
                    <a:pt x="100" y="7"/>
                  </a:lnTo>
                  <a:lnTo>
                    <a:pt x="100" y="5"/>
                  </a:lnTo>
                  <a:lnTo>
                    <a:pt x="91" y="5"/>
                  </a:lnTo>
                  <a:lnTo>
                    <a:pt x="82" y="5"/>
                  </a:lnTo>
                  <a:lnTo>
                    <a:pt x="80" y="3"/>
                  </a:lnTo>
                  <a:lnTo>
                    <a:pt x="77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55" y="0"/>
                  </a:lnTo>
                  <a:lnTo>
                    <a:pt x="46" y="0"/>
                  </a:lnTo>
                  <a:lnTo>
                    <a:pt x="45" y="2"/>
                  </a:lnTo>
                  <a:lnTo>
                    <a:pt x="44" y="3"/>
                  </a:lnTo>
                  <a:lnTo>
                    <a:pt x="43" y="4"/>
                  </a:lnTo>
                  <a:lnTo>
                    <a:pt x="40" y="4"/>
                  </a:lnTo>
                  <a:lnTo>
                    <a:pt x="36" y="5"/>
                  </a:lnTo>
                  <a:lnTo>
                    <a:pt x="33" y="5"/>
                  </a:lnTo>
                  <a:lnTo>
                    <a:pt x="33" y="9"/>
                  </a:lnTo>
                  <a:lnTo>
                    <a:pt x="28" y="9"/>
                  </a:lnTo>
                  <a:lnTo>
                    <a:pt x="24" y="9"/>
                  </a:lnTo>
                  <a:lnTo>
                    <a:pt x="15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6" name="Freeform 73"/>
            <p:cNvSpPr>
              <a:spLocks noChangeAspect="1"/>
            </p:cNvSpPr>
            <p:nvPr/>
          </p:nvSpPr>
          <p:spPr bwMode="gray">
            <a:xfrm rot="355651">
              <a:off x="7408762" y="4064000"/>
              <a:ext cx="148114" cy="84105"/>
            </a:xfrm>
            <a:custGeom>
              <a:avLst/>
              <a:gdLst/>
              <a:ahLst/>
              <a:cxnLst>
                <a:cxn ang="0">
                  <a:pos x="584" y="18"/>
                </a:cxn>
                <a:cxn ang="0">
                  <a:pos x="539" y="60"/>
                </a:cxn>
                <a:cxn ang="0">
                  <a:pos x="509" y="96"/>
                </a:cxn>
                <a:cxn ang="0">
                  <a:pos x="497" y="108"/>
                </a:cxn>
                <a:cxn ang="0">
                  <a:pos x="457" y="118"/>
                </a:cxn>
                <a:cxn ang="0">
                  <a:pos x="375" y="121"/>
                </a:cxn>
                <a:cxn ang="0">
                  <a:pos x="297" y="129"/>
                </a:cxn>
                <a:cxn ang="0">
                  <a:pos x="259" y="138"/>
                </a:cxn>
                <a:cxn ang="0">
                  <a:pos x="231" y="152"/>
                </a:cxn>
                <a:cxn ang="0">
                  <a:pos x="216" y="170"/>
                </a:cxn>
                <a:cxn ang="0">
                  <a:pos x="173" y="200"/>
                </a:cxn>
                <a:cxn ang="0">
                  <a:pos x="102" y="240"/>
                </a:cxn>
                <a:cxn ang="0">
                  <a:pos x="51" y="278"/>
                </a:cxn>
                <a:cxn ang="0">
                  <a:pos x="16" y="318"/>
                </a:cxn>
                <a:cxn ang="0">
                  <a:pos x="3" y="342"/>
                </a:cxn>
                <a:cxn ang="0">
                  <a:pos x="0" y="377"/>
                </a:cxn>
                <a:cxn ang="0">
                  <a:pos x="16" y="438"/>
                </a:cxn>
                <a:cxn ang="0">
                  <a:pos x="36" y="496"/>
                </a:cxn>
                <a:cxn ang="0">
                  <a:pos x="40" y="526"/>
                </a:cxn>
                <a:cxn ang="0">
                  <a:pos x="55" y="518"/>
                </a:cxn>
                <a:cxn ang="0">
                  <a:pos x="96" y="486"/>
                </a:cxn>
                <a:cxn ang="0">
                  <a:pos x="144" y="447"/>
                </a:cxn>
                <a:cxn ang="0">
                  <a:pos x="201" y="412"/>
                </a:cxn>
                <a:cxn ang="0">
                  <a:pos x="260" y="380"/>
                </a:cxn>
                <a:cxn ang="0">
                  <a:pos x="327" y="368"/>
                </a:cxn>
                <a:cxn ang="0">
                  <a:pos x="396" y="362"/>
                </a:cxn>
                <a:cxn ang="0">
                  <a:pos x="479" y="368"/>
                </a:cxn>
                <a:cxn ang="0">
                  <a:pos x="520" y="369"/>
                </a:cxn>
                <a:cxn ang="0">
                  <a:pos x="530" y="365"/>
                </a:cxn>
                <a:cxn ang="0">
                  <a:pos x="554" y="358"/>
                </a:cxn>
                <a:cxn ang="0">
                  <a:pos x="574" y="335"/>
                </a:cxn>
                <a:cxn ang="0">
                  <a:pos x="604" y="276"/>
                </a:cxn>
                <a:cxn ang="0">
                  <a:pos x="630" y="228"/>
                </a:cxn>
                <a:cxn ang="0">
                  <a:pos x="660" y="197"/>
                </a:cxn>
                <a:cxn ang="0">
                  <a:pos x="707" y="115"/>
                </a:cxn>
                <a:cxn ang="0">
                  <a:pos x="751" y="91"/>
                </a:cxn>
                <a:cxn ang="0">
                  <a:pos x="788" y="70"/>
                </a:cxn>
                <a:cxn ang="0">
                  <a:pos x="798" y="61"/>
                </a:cxn>
                <a:cxn ang="0">
                  <a:pos x="784" y="52"/>
                </a:cxn>
                <a:cxn ang="0">
                  <a:pos x="756" y="42"/>
                </a:cxn>
                <a:cxn ang="0">
                  <a:pos x="727" y="35"/>
                </a:cxn>
                <a:cxn ang="0">
                  <a:pos x="660" y="24"/>
                </a:cxn>
                <a:cxn ang="0">
                  <a:pos x="636" y="7"/>
                </a:cxn>
                <a:cxn ang="0">
                  <a:pos x="608" y="0"/>
                </a:cxn>
              </a:cxnLst>
              <a:rect l="0" t="0" r="r" b="b"/>
              <a:pathLst>
                <a:path w="798" h="526">
                  <a:moveTo>
                    <a:pt x="608" y="0"/>
                  </a:moveTo>
                  <a:lnTo>
                    <a:pt x="597" y="8"/>
                  </a:lnTo>
                  <a:lnTo>
                    <a:pt x="584" y="18"/>
                  </a:lnTo>
                  <a:lnTo>
                    <a:pt x="569" y="31"/>
                  </a:lnTo>
                  <a:lnTo>
                    <a:pt x="554" y="45"/>
                  </a:lnTo>
                  <a:lnTo>
                    <a:pt x="539" y="60"/>
                  </a:lnTo>
                  <a:lnTo>
                    <a:pt x="526" y="73"/>
                  </a:lnTo>
                  <a:lnTo>
                    <a:pt x="516" y="86"/>
                  </a:lnTo>
                  <a:lnTo>
                    <a:pt x="509" y="96"/>
                  </a:lnTo>
                  <a:lnTo>
                    <a:pt x="507" y="101"/>
                  </a:lnTo>
                  <a:lnTo>
                    <a:pt x="502" y="104"/>
                  </a:lnTo>
                  <a:lnTo>
                    <a:pt x="497" y="108"/>
                  </a:lnTo>
                  <a:lnTo>
                    <a:pt x="490" y="110"/>
                  </a:lnTo>
                  <a:lnTo>
                    <a:pt x="475" y="114"/>
                  </a:lnTo>
                  <a:lnTo>
                    <a:pt x="457" y="118"/>
                  </a:lnTo>
                  <a:lnTo>
                    <a:pt x="421" y="120"/>
                  </a:lnTo>
                  <a:lnTo>
                    <a:pt x="394" y="120"/>
                  </a:lnTo>
                  <a:lnTo>
                    <a:pt x="375" y="121"/>
                  </a:lnTo>
                  <a:lnTo>
                    <a:pt x="351" y="122"/>
                  </a:lnTo>
                  <a:lnTo>
                    <a:pt x="324" y="124"/>
                  </a:lnTo>
                  <a:lnTo>
                    <a:pt x="297" y="129"/>
                  </a:lnTo>
                  <a:lnTo>
                    <a:pt x="284" y="131"/>
                  </a:lnTo>
                  <a:lnTo>
                    <a:pt x="271" y="134"/>
                  </a:lnTo>
                  <a:lnTo>
                    <a:pt x="259" y="138"/>
                  </a:lnTo>
                  <a:lnTo>
                    <a:pt x="249" y="142"/>
                  </a:lnTo>
                  <a:lnTo>
                    <a:pt x="239" y="147"/>
                  </a:lnTo>
                  <a:lnTo>
                    <a:pt x="231" y="152"/>
                  </a:lnTo>
                  <a:lnTo>
                    <a:pt x="226" y="158"/>
                  </a:lnTo>
                  <a:lnTo>
                    <a:pt x="221" y="164"/>
                  </a:lnTo>
                  <a:lnTo>
                    <a:pt x="216" y="170"/>
                  </a:lnTo>
                  <a:lnTo>
                    <a:pt x="205" y="179"/>
                  </a:lnTo>
                  <a:lnTo>
                    <a:pt x="191" y="189"/>
                  </a:lnTo>
                  <a:lnTo>
                    <a:pt x="173" y="200"/>
                  </a:lnTo>
                  <a:lnTo>
                    <a:pt x="139" y="220"/>
                  </a:lnTo>
                  <a:lnTo>
                    <a:pt x="115" y="233"/>
                  </a:lnTo>
                  <a:lnTo>
                    <a:pt x="102" y="240"/>
                  </a:lnTo>
                  <a:lnTo>
                    <a:pt x="86" y="252"/>
                  </a:lnTo>
                  <a:lnTo>
                    <a:pt x="68" y="264"/>
                  </a:lnTo>
                  <a:lnTo>
                    <a:pt x="51" y="278"/>
                  </a:lnTo>
                  <a:lnTo>
                    <a:pt x="36" y="294"/>
                  </a:lnTo>
                  <a:lnTo>
                    <a:pt x="22" y="310"/>
                  </a:lnTo>
                  <a:lnTo>
                    <a:pt x="16" y="318"/>
                  </a:lnTo>
                  <a:lnTo>
                    <a:pt x="11" y="326"/>
                  </a:lnTo>
                  <a:lnTo>
                    <a:pt x="7" y="334"/>
                  </a:lnTo>
                  <a:lnTo>
                    <a:pt x="3" y="342"/>
                  </a:lnTo>
                  <a:lnTo>
                    <a:pt x="1" y="353"/>
                  </a:lnTo>
                  <a:lnTo>
                    <a:pt x="0" y="364"/>
                  </a:lnTo>
                  <a:lnTo>
                    <a:pt x="0" y="377"/>
                  </a:lnTo>
                  <a:lnTo>
                    <a:pt x="2" y="388"/>
                  </a:lnTo>
                  <a:lnTo>
                    <a:pt x="8" y="413"/>
                  </a:lnTo>
                  <a:lnTo>
                    <a:pt x="16" y="438"/>
                  </a:lnTo>
                  <a:lnTo>
                    <a:pt x="25" y="461"/>
                  </a:lnTo>
                  <a:lnTo>
                    <a:pt x="32" y="485"/>
                  </a:lnTo>
                  <a:lnTo>
                    <a:pt x="36" y="496"/>
                  </a:lnTo>
                  <a:lnTo>
                    <a:pt x="38" y="506"/>
                  </a:lnTo>
                  <a:lnTo>
                    <a:pt x="40" y="516"/>
                  </a:lnTo>
                  <a:lnTo>
                    <a:pt x="40" y="526"/>
                  </a:lnTo>
                  <a:lnTo>
                    <a:pt x="44" y="525"/>
                  </a:lnTo>
                  <a:lnTo>
                    <a:pt x="49" y="523"/>
                  </a:lnTo>
                  <a:lnTo>
                    <a:pt x="55" y="518"/>
                  </a:lnTo>
                  <a:lnTo>
                    <a:pt x="61" y="514"/>
                  </a:lnTo>
                  <a:lnTo>
                    <a:pt x="78" y="500"/>
                  </a:lnTo>
                  <a:lnTo>
                    <a:pt x="96" y="486"/>
                  </a:lnTo>
                  <a:lnTo>
                    <a:pt x="114" y="471"/>
                  </a:lnTo>
                  <a:lnTo>
                    <a:pt x="131" y="457"/>
                  </a:lnTo>
                  <a:lnTo>
                    <a:pt x="144" y="447"/>
                  </a:lnTo>
                  <a:lnTo>
                    <a:pt x="153" y="440"/>
                  </a:lnTo>
                  <a:lnTo>
                    <a:pt x="176" y="428"/>
                  </a:lnTo>
                  <a:lnTo>
                    <a:pt x="201" y="412"/>
                  </a:lnTo>
                  <a:lnTo>
                    <a:pt x="226" y="397"/>
                  </a:lnTo>
                  <a:lnTo>
                    <a:pt x="245" y="385"/>
                  </a:lnTo>
                  <a:lnTo>
                    <a:pt x="260" y="380"/>
                  </a:lnTo>
                  <a:lnTo>
                    <a:pt x="280" y="374"/>
                  </a:lnTo>
                  <a:lnTo>
                    <a:pt x="303" y="371"/>
                  </a:lnTo>
                  <a:lnTo>
                    <a:pt x="327" y="368"/>
                  </a:lnTo>
                  <a:lnTo>
                    <a:pt x="352" y="364"/>
                  </a:lnTo>
                  <a:lnTo>
                    <a:pt x="375" y="363"/>
                  </a:lnTo>
                  <a:lnTo>
                    <a:pt x="396" y="362"/>
                  </a:lnTo>
                  <a:lnTo>
                    <a:pt x="415" y="362"/>
                  </a:lnTo>
                  <a:lnTo>
                    <a:pt x="440" y="364"/>
                  </a:lnTo>
                  <a:lnTo>
                    <a:pt x="479" y="368"/>
                  </a:lnTo>
                  <a:lnTo>
                    <a:pt x="498" y="369"/>
                  </a:lnTo>
                  <a:lnTo>
                    <a:pt x="515" y="370"/>
                  </a:lnTo>
                  <a:lnTo>
                    <a:pt x="520" y="369"/>
                  </a:lnTo>
                  <a:lnTo>
                    <a:pt x="526" y="369"/>
                  </a:lnTo>
                  <a:lnTo>
                    <a:pt x="529" y="368"/>
                  </a:lnTo>
                  <a:lnTo>
                    <a:pt x="530" y="365"/>
                  </a:lnTo>
                  <a:lnTo>
                    <a:pt x="538" y="364"/>
                  </a:lnTo>
                  <a:lnTo>
                    <a:pt x="547" y="362"/>
                  </a:lnTo>
                  <a:lnTo>
                    <a:pt x="554" y="358"/>
                  </a:lnTo>
                  <a:lnTo>
                    <a:pt x="562" y="351"/>
                  </a:lnTo>
                  <a:lnTo>
                    <a:pt x="568" y="344"/>
                  </a:lnTo>
                  <a:lnTo>
                    <a:pt x="574" y="335"/>
                  </a:lnTo>
                  <a:lnTo>
                    <a:pt x="581" y="326"/>
                  </a:lnTo>
                  <a:lnTo>
                    <a:pt x="585" y="317"/>
                  </a:lnTo>
                  <a:lnTo>
                    <a:pt x="604" y="276"/>
                  </a:lnTo>
                  <a:lnTo>
                    <a:pt x="619" y="243"/>
                  </a:lnTo>
                  <a:lnTo>
                    <a:pt x="623" y="235"/>
                  </a:lnTo>
                  <a:lnTo>
                    <a:pt x="630" y="228"/>
                  </a:lnTo>
                  <a:lnTo>
                    <a:pt x="636" y="220"/>
                  </a:lnTo>
                  <a:lnTo>
                    <a:pt x="644" y="212"/>
                  </a:lnTo>
                  <a:lnTo>
                    <a:pt x="660" y="197"/>
                  </a:lnTo>
                  <a:lnTo>
                    <a:pt x="672" y="181"/>
                  </a:lnTo>
                  <a:lnTo>
                    <a:pt x="707" y="120"/>
                  </a:lnTo>
                  <a:lnTo>
                    <a:pt x="707" y="115"/>
                  </a:lnTo>
                  <a:lnTo>
                    <a:pt x="707" y="110"/>
                  </a:lnTo>
                  <a:lnTo>
                    <a:pt x="722" y="104"/>
                  </a:lnTo>
                  <a:lnTo>
                    <a:pt x="751" y="91"/>
                  </a:lnTo>
                  <a:lnTo>
                    <a:pt x="766" y="83"/>
                  </a:lnTo>
                  <a:lnTo>
                    <a:pt x="779" y="75"/>
                  </a:lnTo>
                  <a:lnTo>
                    <a:pt x="788" y="70"/>
                  </a:lnTo>
                  <a:lnTo>
                    <a:pt x="792" y="65"/>
                  </a:lnTo>
                  <a:lnTo>
                    <a:pt x="798" y="65"/>
                  </a:lnTo>
                  <a:lnTo>
                    <a:pt x="798" y="61"/>
                  </a:lnTo>
                  <a:lnTo>
                    <a:pt x="798" y="55"/>
                  </a:lnTo>
                  <a:lnTo>
                    <a:pt x="792" y="55"/>
                  </a:lnTo>
                  <a:lnTo>
                    <a:pt x="784" y="52"/>
                  </a:lnTo>
                  <a:lnTo>
                    <a:pt x="775" y="50"/>
                  </a:lnTo>
                  <a:lnTo>
                    <a:pt x="765" y="45"/>
                  </a:lnTo>
                  <a:lnTo>
                    <a:pt x="756" y="42"/>
                  </a:lnTo>
                  <a:lnTo>
                    <a:pt x="746" y="38"/>
                  </a:lnTo>
                  <a:lnTo>
                    <a:pt x="736" y="36"/>
                  </a:lnTo>
                  <a:lnTo>
                    <a:pt x="727" y="35"/>
                  </a:lnTo>
                  <a:lnTo>
                    <a:pt x="665" y="35"/>
                  </a:lnTo>
                  <a:lnTo>
                    <a:pt x="664" y="29"/>
                  </a:lnTo>
                  <a:lnTo>
                    <a:pt x="660" y="24"/>
                  </a:lnTo>
                  <a:lnTo>
                    <a:pt x="654" y="17"/>
                  </a:lnTo>
                  <a:lnTo>
                    <a:pt x="645" y="12"/>
                  </a:lnTo>
                  <a:lnTo>
                    <a:pt x="636" y="7"/>
                  </a:lnTo>
                  <a:lnTo>
                    <a:pt x="627" y="3"/>
                  </a:lnTo>
                  <a:lnTo>
                    <a:pt x="617" y="0"/>
                  </a:lnTo>
                  <a:lnTo>
                    <a:pt x="60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7" name="Freeform 74"/>
            <p:cNvSpPr>
              <a:spLocks noChangeAspect="1"/>
            </p:cNvSpPr>
            <p:nvPr/>
          </p:nvSpPr>
          <p:spPr bwMode="gray">
            <a:xfrm rot="355651">
              <a:off x="7580150" y="4097338"/>
              <a:ext cx="40203" cy="31938"/>
            </a:xfrm>
            <a:custGeom>
              <a:avLst/>
              <a:gdLst/>
              <a:ahLst/>
              <a:cxnLst>
                <a:cxn ang="0">
                  <a:pos x="85" y="18"/>
                </a:cxn>
                <a:cxn ang="0">
                  <a:pos x="65" y="31"/>
                </a:cxn>
                <a:cxn ang="0">
                  <a:pos x="50" y="45"/>
                </a:cxn>
                <a:cxn ang="0">
                  <a:pos x="40" y="55"/>
                </a:cxn>
                <a:cxn ang="0">
                  <a:pos x="30" y="68"/>
                </a:cxn>
                <a:cxn ang="0">
                  <a:pos x="30" y="76"/>
                </a:cxn>
                <a:cxn ang="0">
                  <a:pos x="27" y="93"/>
                </a:cxn>
                <a:cxn ang="0">
                  <a:pos x="18" y="100"/>
                </a:cxn>
                <a:cxn ang="0">
                  <a:pos x="13" y="106"/>
                </a:cxn>
                <a:cxn ang="0">
                  <a:pos x="7" y="116"/>
                </a:cxn>
                <a:cxn ang="0">
                  <a:pos x="1" y="126"/>
                </a:cxn>
                <a:cxn ang="0">
                  <a:pos x="5" y="137"/>
                </a:cxn>
                <a:cxn ang="0">
                  <a:pos x="11" y="139"/>
                </a:cxn>
                <a:cxn ang="0">
                  <a:pos x="20" y="141"/>
                </a:cxn>
                <a:cxn ang="0">
                  <a:pos x="35" y="143"/>
                </a:cxn>
                <a:cxn ang="0">
                  <a:pos x="47" y="149"/>
                </a:cxn>
                <a:cxn ang="0">
                  <a:pos x="54" y="151"/>
                </a:cxn>
                <a:cxn ang="0">
                  <a:pos x="72" y="168"/>
                </a:cxn>
                <a:cxn ang="0">
                  <a:pos x="79" y="174"/>
                </a:cxn>
                <a:cxn ang="0">
                  <a:pos x="89" y="190"/>
                </a:cxn>
                <a:cxn ang="0">
                  <a:pos x="99" y="200"/>
                </a:cxn>
                <a:cxn ang="0">
                  <a:pos x="108" y="202"/>
                </a:cxn>
                <a:cxn ang="0">
                  <a:pos x="122" y="198"/>
                </a:cxn>
                <a:cxn ang="0">
                  <a:pos x="134" y="184"/>
                </a:cxn>
                <a:cxn ang="0">
                  <a:pos x="150" y="164"/>
                </a:cxn>
                <a:cxn ang="0">
                  <a:pos x="151" y="152"/>
                </a:cxn>
                <a:cxn ang="0">
                  <a:pos x="157" y="145"/>
                </a:cxn>
                <a:cxn ang="0">
                  <a:pos x="164" y="139"/>
                </a:cxn>
                <a:cxn ang="0">
                  <a:pos x="174" y="135"/>
                </a:cxn>
                <a:cxn ang="0">
                  <a:pos x="190" y="132"/>
                </a:cxn>
                <a:cxn ang="0">
                  <a:pos x="203" y="120"/>
                </a:cxn>
                <a:cxn ang="0">
                  <a:pos x="213" y="110"/>
                </a:cxn>
                <a:cxn ang="0">
                  <a:pos x="217" y="106"/>
                </a:cxn>
                <a:cxn ang="0">
                  <a:pos x="217" y="89"/>
                </a:cxn>
                <a:cxn ang="0">
                  <a:pos x="220" y="85"/>
                </a:cxn>
                <a:cxn ang="0">
                  <a:pos x="216" y="77"/>
                </a:cxn>
                <a:cxn ang="0">
                  <a:pos x="203" y="68"/>
                </a:cxn>
                <a:cxn ang="0">
                  <a:pos x="189" y="58"/>
                </a:cxn>
                <a:cxn ang="0">
                  <a:pos x="182" y="54"/>
                </a:cxn>
                <a:cxn ang="0">
                  <a:pos x="166" y="48"/>
                </a:cxn>
                <a:cxn ang="0">
                  <a:pos x="162" y="43"/>
                </a:cxn>
                <a:cxn ang="0">
                  <a:pos x="157" y="38"/>
                </a:cxn>
                <a:cxn ang="0">
                  <a:pos x="150" y="25"/>
                </a:cxn>
                <a:cxn ang="0">
                  <a:pos x="139" y="18"/>
                </a:cxn>
                <a:cxn ang="0">
                  <a:pos x="136" y="7"/>
                </a:cxn>
                <a:cxn ang="0">
                  <a:pos x="132" y="0"/>
                </a:cxn>
                <a:cxn ang="0">
                  <a:pos x="125" y="0"/>
                </a:cxn>
                <a:cxn ang="0">
                  <a:pos x="114" y="4"/>
                </a:cxn>
              </a:cxnLst>
              <a:rect l="0" t="0" r="r" b="b"/>
              <a:pathLst>
                <a:path w="221" h="202">
                  <a:moveTo>
                    <a:pt x="108" y="7"/>
                  </a:moveTo>
                  <a:lnTo>
                    <a:pt x="95" y="12"/>
                  </a:lnTo>
                  <a:lnTo>
                    <a:pt x="85" y="18"/>
                  </a:lnTo>
                  <a:lnTo>
                    <a:pt x="78" y="23"/>
                  </a:lnTo>
                  <a:lnTo>
                    <a:pt x="72" y="28"/>
                  </a:lnTo>
                  <a:lnTo>
                    <a:pt x="65" y="31"/>
                  </a:lnTo>
                  <a:lnTo>
                    <a:pt x="57" y="38"/>
                  </a:lnTo>
                  <a:lnTo>
                    <a:pt x="54" y="41"/>
                  </a:lnTo>
                  <a:lnTo>
                    <a:pt x="50" y="45"/>
                  </a:lnTo>
                  <a:lnTo>
                    <a:pt x="44" y="48"/>
                  </a:lnTo>
                  <a:lnTo>
                    <a:pt x="43" y="52"/>
                  </a:lnTo>
                  <a:lnTo>
                    <a:pt x="40" y="55"/>
                  </a:lnTo>
                  <a:lnTo>
                    <a:pt x="40" y="58"/>
                  </a:lnTo>
                  <a:lnTo>
                    <a:pt x="36" y="65"/>
                  </a:lnTo>
                  <a:lnTo>
                    <a:pt x="30" y="68"/>
                  </a:lnTo>
                  <a:lnTo>
                    <a:pt x="30" y="73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30" y="79"/>
                  </a:lnTo>
                  <a:lnTo>
                    <a:pt x="29" y="86"/>
                  </a:lnTo>
                  <a:lnTo>
                    <a:pt x="27" y="93"/>
                  </a:lnTo>
                  <a:lnTo>
                    <a:pt x="24" y="94"/>
                  </a:lnTo>
                  <a:lnTo>
                    <a:pt x="20" y="96"/>
                  </a:lnTo>
                  <a:lnTo>
                    <a:pt x="18" y="100"/>
                  </a:lnTo>
                  <a:lnTo>
                    <a:pt x="17" y="103"/>
                  </a:lnTo>
                  <a:lnTo>
                    <a:pt x="15" y="105"/>
                  </a:lnTo>
                  <a:lnTo>
                    <a:pt x="13" y="106"/>
                  </a:lnTo>
                  <a:lnTo>
                    <a:pt x="10" y="110"/>
                  </a:lnTo>
                  <a:lnTo>
                    <a:pt x="7" y="113"/>
                  </a:lnTo>
                  <a:lnTo>
                    <a:pt x="7" y="116"/>
                  </a:lnTo>
                  <a:lnTo>
                    <a:pt x="5" y="118"/>
                  </a:lnTo>
                  <a:lnTo>
                    <a:pt x="3" y="120"/>
                  </a:lnTo>
                  <a:lnTo>
                    <a:pt x="1" y="126"/>
                  </a:lnTo>
                  <a:lnTo>
                    <a:pt x="0" y="133"/>
                  </a:lnTo>
                  <a:lnTo>
                    <a:pt x="3" y="137"/>
                  </a:lnTo>
                  <a:lnTo>
                    <a:pt x="5" y="137"/>
                  </a:lnTo>
                  <a:lnTo>
                    <a:pt x="7" y="137"/>
                  </a:lnTo>
                  <a:lnTo>
                    <a:pt x="10" y="137"/>
                  </a:lnTo>
                  <a:lnTo>
                    <a:pt x="11" y="139"/>
                  </a:lnTo>
                  <a:lnTo>
                    <a:pt x="13" y="141"/>
                  </a:lnTo>
                  <a:lnTo>
                    <a:pt x="17" y="141"/>
                  </a:lnTo>
                  <a:lnTo>
                    <a:pt x="20" y="141"/>
                  </a:lnTo>
                  <a:lnTo>
                    <a:pt x="24" y="141"/>
                  </a:lnTo>
                  <a:lnTo>
                    <a:pt x="30" y="141"/>
                  </a:lnTo>
                  <a:lnTo>
                    <a:pt x="35" y="143"/>
                  </a:lnTo>
                  <a:lnTo>
                    <a:pt x="39" y="144"/>
                  </a:lnTo>
                  <a:lnTo>
                    <a:pt x="44" y="148"/>
                  </a:lnTo>
                  <a:lnTo>
                    <a:pt x="47" y="149"/>
                  </a:lnTo>
                  <a:lnTo>
                    <a:pt x="49" y="148"/>
                  </a:lnTo>
                  <a:lnTo>
                    <a:pt x="50" y="148"/>
                  </a:lnTo>
                  <a:lnTo>
                    <a:pt x="54" y="151"/>
                  </a:lnTo>
                  <a:lnTo>
                    <a:pt x="59" y="158"/>
                  </a:lnTo>
                  <a:lnTo>
                    <a:pt x="68" y="164"/>
                  </a:lnTo>
                  <a:lnTo>
                    <a:pt x="72" y="168"/>
                  </a:lnTo>
                  <a:lnTo>
                    <a:pt x="75" y="171"/>
                  </a:lnTo>
                  <a:lnTo>
                    <a:pt x="78" y="171"/>
                  </a:lnTo>
                  <a:lnTo>
                    <a:pt x="79" y="174"/>
                  </a:lnTo>
                  <a:lnTo>
                    <a:pt x="82" y="178"/>
                  </a:lnTo>
                  <a:lnTo>
                    <a:pt x="82" y="181"/>
                  </a:lnTo>
                  <a:lnTo>
                    <a:pt x="89" y="190"/>
                  </a:lnTo>
                  <a:lnTo>
                    <a:pt x="95" y="198"/>
                  </a:lnTo>
                  <a:lnTo>
                    <a:pt x="98" y="198"/>
                  </a:lnTo>
                  <a:lnTo>
                    <a:pt x="99" y="200"/>
                  </a:lnTo>
                  <a:lnTo>
                    <a:pt x="102" y="202"/>
                  </a:lnTo>
                  <a:lnTo>
                    <a:pt x="105" y="202"/>
                  </a:lnTo>
                  <a:lnTo>
                    <a:pt x="108" y="202"/>
                  </a:lnTo>
                  <a:lnTo>
                    <a:pt x="114" y="202"/>
                  </a:lnTo>
                  <a:lnTo>
                    <a:pt x="118" y="202"/>
                  </a:lnTo>
                  <a:lnTo>
                    <a:pt x="122" y="198"/>
                  </a:lnTo>
                  <a:lnTo>
                    <a:pt x="125" y="194"/>
                  </a:lnTo>
                  <a:lnTo>
                    <a:pt x="132" y="188"/>
                  </a:lnTo>
                  <a:lnTo>
                    <a:pt x="134" y="184"/>
                  </a:lnTo>
                  <a:lnTo>
                    <a:pt x="135" y="181"/>
                  </a:lnTo>
                  <a:lnTo>
                    <a:pt x="143" y="171"/>
                  </a:lnTo>
                  <a:lnTo>
                    <a:pt x="150" y="164"/>
                  </a:lnTo>
                  <a:lnTo>
                    <a:pt x="150" y="161"/>
                  </a:lnTo>
                  <a:lnTo>
                    <a:pt x="150" y="158"/>
                  </a:lnTo>
                  <a:lnTo>
                    <a:pt x="151" y="152"/>
                  </a:lnTo>
                  <a:lnTo>
                    <a:pt x="153" y="148"/>
                  </a:lnTo>
                  <a:lnTo>
                    <a:pt x="155" y="146"/>
                  </a:lnTo>
                  <a:lnTo>
                    <a:pt x="157" y="145"/>
                  </a:lnTo>
                  <a:lnTo>
                    <a:pt x="159" y="143"/>
                  </a:lnTo>
                  <a:lnTo>
                    <a:pt x="160" y="141"/>
                  </a:lnTo>
                  <a:lnTo>
                    <a:pt x="164" y="139"/>
                  </a:lnTo>
                  <a:lnTo>
                    <a:pt x="170" y="137"/>
                  </a:lnTo>
                  <a:lnTo>
                    <a:pt x="173" y="137"/>
                  </a:lnTo>
                  <a:lnTo>
                    <a:pt x="174" y="135"/>
                  </a:lnTo>
                  <a:lnTo>
                    <a:pt x="176" y="133"/>
                  </a:lnTo>
                  <a:lnTo>
                    <a:pt x="183" y="133"/>
                  </a:lnTo>
                  <a:lnTo>
                    <a:pt x="190" y="132"/>
                  </a:lnTo>
                  <a:lnTo>
                    <a:pt x="197" y="130"/>
                  </a:lnTo>
                  <a:lnTo>
                    <a:pt x="200" y="123"/>
                  </a:lnTo>
                  <a:lnTo>
                    <a:pt x="203" y="120"/>
                  </a:lnTo>
                  <a:lnTo>
                    <a:pt x="209" y="118"/>
                  </a:lnTo>
                  <a:lnTo>
                    <a:pt x="213" y="116"/>
                  </a:lnTo>
                  <a:lnTo>
                    <a:pt x="213" y="110"/>
                  </a:lnTo>
                  <a:lnTo>
                    <a:pt x="216" y="110"/>
                  </a:lnTo>
                  <a:lnTo>
                    <a:pt x="217" y="110"/>
                  </a:lnTo>
                  <a:lnTo>
                    <a:pt x="217" y="106"/>
                  </a:lnTo>
                  <a:lnTo>
                    <a:pt x="217" y="103"/>
                  </a:lnTo>
                  <a:lnTo>
                    <a:pt x="217" y="96"/>
                  </a:lnTo>
                  <a:lnTo>
                    <a:pt x="217" y="89"/>
                  </a:lnTo>
                  <a:lnTo>
                    <a:pt x="219" y="88"/>
                  </a:lnTo>
                  <a:lnTo>
                    <a:pt x="220" y="87"/>
                  </a:lnTo>
                  <a:lnTo>
                    <a:pt x="220" y="85"/>
                  </a:lnTo>
                  <a:lnTo>
                    <a:pt x="221" y="83"/>
                  </a:lnTo>
                  <a:lnTo>
                    <a:pt x="217" y="79"/>
                  </a:lnTo>
                  <a:lnTo>
                    <a:pt x="216" y="77"/>
                  </a:lnTo>
                  <a:lnTo>
                    <a:pt x="213" y="76"/>
                  </a:lnTo>
                  <a:lnTo>
                    <a:pt x="210" y="73"/>
                  </a:lnTo>
                  <a:lnTo>
                    <a:pt x="203" y="68"/>
                  </a:lnTo>
                  <a:lnTo>
                    <a:pt x="197" y="62"/>
                  </a:lnTo>
                  <a:lnTo>
                    <a:pt x="190" y="62"/>
                  </a:lnTo>
                  <a:lnTo>
                    <a:pt x="189" y="58"/>
                  </a:lnTo>
                  <a:lnTo>
                    <a:pt x="187" y="55"/>
                  </a:lnTo>
                  <a:lnTo>
                    <a:pt x="183" y="55"/>
                  </a:lnTo>
                  <a:lnTo>
                    <a:pt x="182" y="54"/>
                  </a:lnTo>
                  <a:lnTo>
                    <a:pt x="180" y="52"/>
                  </a:lnTo>
                  <a:lnTo>
                    <a:pt x="173" y="50"/>
                  </a:lnTo>
                  <a:lnTo>
                    <a:pt x="166" y="48"/>
                  </a:lnTo>
                  <a:lnTo>
                    <a:pt x="165" y="46"/>
                  </a:lnTo>
                  <a:lnTo>
                    <a:pt x="164" y="44"/>
                  </a:lnTo>
                  <a:lnTo>
                    <a:pt x="162" y="43"/>
                  </a:lnTo>
                  <a:lnTo>
                    <a:pt x="160" y="41"/>
                  </a:lnTo>
                  <a:lnTo>
                    <a:pt x="160" y="38"/>
                  </a:lnTo>
                  <a:lnTo>
                    <a:pt x="157" y="38"/>
                  </a:lnTo>
                  <a:lnTo>
                    <a:pt x="156" y="38"/>
                  </a:lnTo>
                  <a:lnTo>
                    <a:pt x="153" y="31"/>
                  </a:lnTo>
                  <a:lnTo>
                    <a:pt x="150" y="25"/>
                  </a:lnTo>
                  <a:lnTo>
                    <a:pt x="146" y="21"/>
                  </a:lnTo>
                  <a:lnTo>
                    <a:pt x="143" y="19"/>
                  </a:lnTo>
                  <a:lnTo>
                    <a:pt x="139" y="18"/>
                  </a:lnTo>
                  <a:lnTo>
                    <a:pt x="139" y="11"/>
                  </a:lnTo>
                  <a:lnTo>
                    <a:pt x="137" y="10"/>
                  </a:lnTo>
                  <a:lnTo>
                    <a:pt x="136" y="7"/>
                  </a:lnTo>
                  <a:lnTo>
                    <a:pt x="135" y="4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31" y="0"/>
                  </a:lnTo>
                  <a:lnTo>
                    <a:pt x="128" y="0"/>
                  </a:lnTo>
                  <a:lnTo>
                    <a:pt x="125" y="0"/>
                  </a:lnTo>
                  <a:lnTo>
                    <a:pt x="124" y="0"/>
                  </a:lnTo>
                  <a:lnTo>
                    <a:pt x="120" y="1"/>
                  </a:lnTo>
                  <a:lnTo>
                    <a:pt x="114" y="4"/>
                  </a:lnTo>
                  <a:lnTo>
                    <a:pt x="108" y="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8" name="Freeform 75"/>
            <p:cNvSpPr>
              <a:spLocks noChangeAspect="1"/>
            </p:cNvSpPr>
            <p:nvPr/>
          </p:nvSpPr>
          <p:spPr bwMode="gray">
            <a:xfrm rot="355651">
              <a:off x="7627758" y="4033838"/>
              <a:ext cx="173506" cy="81974"/>
            </a:xfrm>
            <a:custGeom>
              <a:avLst/>
              <a:gdLst/>
              <a:ahLst/>
              <a:cxnLst>
                <a:cxn ang="0">
                  <a:pos x="189" y="32"/>
                </a:cxn>
                <a:cxn ang="0">
                  <a:pos x="131" y="62"/>
                </a:cxn>
                <a:cxn ang="0">
                  <a:pos x="78" y="97"/>
                </a:cxn>
                <a:cxn ang="0">
                  <a:pos x="35" y="138"/>
                </a:cxn>
                <a:cxn ang="0">
                  <a:pos x="3" y="185"/>
                </a:cxn>
                <a:cxn ang="0">
                  <a:pos x="0" y="225"/>
                </a:cxn>
                <a:cxn ang="0">
                  <a:pos x="6" y="303"/>
                </a:cxn>
                <a:cxn ang="0">
                  <a:pos x="11" y="330"/>
                </a:cxn>
                <a:cxn ang="0">
                  <a:pos x="19" y="338"/>
                </a:cxn>
                <a:cxn ang="0">
                  <a:pos x="42" y="341"/>
                </a:cxn>
                <a:cxn ang="0">
                  <a:pos x="127" y="311"/>
                </a:cxn>
                <a:cxn ang="0">
                  <a:pos x="218" y="298"/>
                </a:cxn>
                <a:cxn ang="0">
                  <a:pos x="267" y="294"/>
                </a:cxn>
                <a:cxn ang="0">
                  <a:pos x="311" y="300"/>
                </a:cxn>
                <a:cxn ang="0">
                  <a:pos x="355" y="319"/>
                </a:cxn>
                <a:cxn ang="0">
                  <a:pos x="400" y="360"/>
                </a:cxn>
                <a:cxn ang="0">
                  <a:pos x="452" y="422"/>
                </a:cxn>
                <a:cxn ang="0">
                  <a:pos x="518" y="496"/>
                </a:cxn>
                <a:cxn ang="0">
                  <a:pos x="529" y="499"/>
                </a:cxn>
                <a:cxn ang="0">
                  <a:pos x="551" y="486"/>
                </a:cxn>
                <a:cxn ang="0">
                  <a:pos x="568" y="465"/>
                </a:cxn>
                <a:cxn ang="0">
                  <a:pos x="599" y="403"/>
                </a:cxn>
                <a:cxn ang="0">
                  <a:pos x="627" y="360"/>
                </a:cxn>
                <a:cxn ang="0">
                  <a:pos x="652" y="337"/>
                </a:cxn>
                <a:cxn ang="0">
                  <a:pos x="680" y="328"/>
                </a:cxn>
                <a:cxn ang="0">
                  <a:pos x="742" y="326"/>
                </a:cxn>
                <a:cxn ang="0">
                  <a:pos x="808" y="321"/>
                </a:cxn>
                <a:cxn ang="0">
                  <a:pos x="861" y="319"/>
                </a:cxn>
                <a:cxn ang="0">
                  <a:pos x="890" y="306"/>
                </a:cxn>
                <a:cxn ang="0">
                  <a:pos x="918" y="282"/>
                </a:cxn>
                <a:cxn ang="0">
                  <a:pos x="938" y="252"/>
                </a:cxn>
                <a:cxn ang="0">
                  <a:pos x="948" y="221"/>
                </a:cxn>
                <a:cxn ang="0">
                  <a:pos x="946" y="202"/>
                </a:cxn>
                <a:cxn ang="0">
                  <a:pos x="930" y="179"/>
                </a:cxn>
                <a:cxn ang="0">
                  <a:pos x="909" y="156"/>
                </a:cxn>
                <a:cxn ang="0">
                  <a:pos x="904" y="110"/>
                </a:cxn>
                <a:cxn ang="0">
                  <a:pos x="898" y="81"/>
                </a:cxn>
                <a:cxn ang="0">
                  <a:pos x="885" y="72"/>
                </a:cxn>
                <a:cxn ang="0">
                  <a:pos x="864" y="69"/>
                </a:cxn>
                <a:cxn ang="0">
                  <a:pos x="799" y="69"/>
                </a:cxn>
                <a:cxn ang="0">
                  <a:pos x="748" y="58"/>
                </a:cxn>
                <a:cxn ang="0">
                  <a:pos x="666" y="28"/>
                </a:cxn>
                <a:cxn ang="0">
                  <a:pos x="616" y="14"/>
                </a:cxn>
                <a:cxn ang="0">
                  <a:pos x="560" y="11"/>
                </a:cxn>
                <a:cxn ang="0">
                  <a:pos x="499" y="18"/>
                </a:cxn>
                <a:cxn ang="0">
                  <a:pos x="431" y="18"/>
                </a:cxn>
                <a:cxn ang="0">
                  <a:pos x="366" y="16"/>
                </a:cxn>
                <a:cxn ang="0">
                  <a:pos x="332" y="11"/>
                </a:cxn>
                <a:cxn ang="0">
                  <a:pos x="296" y="2"/>
                </a:cxn>
              </a:cxnLst>
              <a:rect l="0" t="0" r="r" b="b"/>
              <a:pathLst>
                <a:path w="948" h="499">
                  <a:moveTo>
                    <a:pt x="270" y="0"/>
                  </a:moveTo>
                  <a:lnTo>
                    <a:pt x="229" y="15"/>
                  </a:lnTo>
                  <a:lnTo>
                    <a:pt x="189" y="32"/>
                  </a:lnTo>
                  <a:lnTo>
                    <a:pt x="169" y="42"/>
                  </a:lnTo>
                  <a:lnTo>
                    <a:pt x="150" y="52"/>
                  </a:lnTo>
                  <a:lnTo>
                    <a:pt x="131" y="62"/>
                  </a:lnTo>
                  <a:lnTo>
                    <a:pt x="113" y="73"/>
                  </a:lnTo>
                  <a:lnTo>
                    <a:pt x="95" y="85"/>
                  </a:lnTo>
                  <a:lnTo>
                    <a:pt x="78" y="97"/>
                  </a:lnTo>
                  <a:lnTo>
                    <a:pt x="63" y="110"/>
                  </a:lnTo>
                  <a:lnTo>
                    <a:pt x="48" y="124"/>
                  </a:lnTo>
                  <a:lnTo>
                    <a:pt x="35" y="138"/>
                  </a:lnTo>
                  <a:lnTo>
                    <a:pt x="23" y="153"/>
                  </a:lnTo>
                  <a:lnTo>
                    <a:pt x="12" y="168"/>
                  </a:lnTo>
                  <a:lnTo>
                    <a:pt x="3" y="185"/>
                  </a:lnTo>
                  <a:lnTo>
                    <a:pt x="1" y="195"/>
                  </a:lnTo>
                  <a:lnTo>
                    <a:pt x="0" y="208"/>
                  </a:lnTo>
                  <a:lnTo>
                    <a:pt x="0" y="225"/>
                  </a:lnTo>
                  <a:lnTo>
                    <a:pt x="1" y="243"/>
                  </a:lnTo>
                  <a:lnTo>
                    <a:pt x="5" y="278"/>
                  </a:lnTo>
                  <a:lnTo>
                    <a:pt x="6" y="303"/>
                  </a:lnTo>
                  <a:lnTo>
                    <a:pt x="7" y="316"/>
                  </a:lnTo>
                  <a:lnTo>
                    <a:pt x="10" y="326"/>
                  </a:lnTo>
                  <a:lnTo>
                    <a:pt x="11" y="330"/>
                  </a:lnTo>
                  <a:lnTo>
                    <a:pt x="13" y="333"/>
                  </a:lnTo>
                  <a:lnTo>
                    <a:pt x="17" y="336"/>
                  </a:lnTo>
                  <a:lnTo>
                    <a:pt x="19" y="338"/>
                  </a:lnTo>
                  <a:lnTo>
                    <a:pt x="26" y="341"/>
                  </a:lnTo>
                  <a:lnTo>
                    <a:pt x="34" y="341"/>
                  </a:lnTo>
                  <a:lnTo>
                    <a:pt x="42" y="341"/>
                  </a:lnTo>
                  <a:lnTo>
                    <a:pt x="51" y="339"/>
                  </a:lnTo>
                  <a:lnTo>
                    <a:pt x="92" y="323"/>
                  </a:lnTo>
                  <a:lnTo>
                    <a:pt x="127" y="311"/>
                  </a:lnTo>
                  <a:lnTo>
                    <a:pt x="165" y="306"/>
                  </a:lnTo>
                  <a:lnTo>
                    <a:pt x="200" y="300"/>
                  </a:lnTo>
                  <a:lnTo>
                    <a:pt x="218" y="298"/>
                  </a:lnTo>
                  <a:lnTo>
                    <a:pt x="234" y="295"/>
                  </a:lnTo>
                  <a:lnTo>
                    <a:pt x="250" y="294"/>
                  </a:lnTo>
                  <a:lnTo>
                    <a:pt x="267" y="294"/>
                  </a:lnTo>
                  <a:lnTo>
                    <a:pt x="281" y="294"/>
                  </a:lnTo>
                  <a:lnTo>
                    <a:pt x="297" y="297"/>
                  </a:lnTo>
                  <a:lnTo>
                    <a:pt x="311" y="300"/>
                  </a:lnTo>
                  <a:lnTo>
                    <a:pt x="326" y="304"/>
                  </a:lnTo>
                  <a:lnTo>
                    <a:pt x="341" y="311"/>
                  </a:lnTo>
                  <a:lnTo>
                    <a:pt x="355" y="319"/>
                  </a:lnTo>
                  <a:lnTo>
                    <a:pt x="368" y="330"/>
                  </a:lnTo>
                  <a:lnTo>
                    <a:pt x="383" y="342"/>
                  </a:lnTo>
                  <a:lnTo>
                    <a:pt x="400" y="360"/>
                  </a:lnTo>
                  <a:lnTo>
                    <a:pt x="418" y="379"/>
                  </a:lnTo>
                  <a:lnTo>
                    <a:pt x="434" y="400"/>
                  </a:lnTo>
                  <a:lnTo>
                    <a:pt x="452" y="422"/>
                  </a:lnTo>
                  <a:lnTo>
                    <a:pt x="485" y="461"/>
                  </a:lnTo>
                  <a:lnTo>
                    <a:pt x="515" y="494"/>
                  </a:lnTo>
                  <a:lnTo>
                    <a:pt x="518" y="496"/>
                  </a:lnTo>
                  <a:lnTo>
                    <a:pt x="521" y="499"/>
                  </a:lnTo>
                  <a:lnTo>
                    <a:pt x="525" y="499"/>
                  </a:lnTo>
                  <a:lnTo>
                    <a:pt x="529" y="499"/>
                  </a:lnTo>
                  <a:lnTo>
                    <a:pt x="537" y="496"/>
                  </a:lnTo>
                  <a:lnTo>
                    <a:pt x="545" y="492"/>
                  </a:lnTo>
                  <a:lnTo>
                    <a:pt x="551" y="486"/>
                  </a:lnTo>
                  <a:lnTo>
                    <a:pt x="558" y="480"/>
                  </a:lnTo>
                  <a:lnTo>
                    <a:pt x="564" y="473"/>
                  </a:lnTo>
                  <a:lnTo>
                    <a:pt x="568" y="465"/>
                  </a:lnTo>
                  <a:lnTo>
                    <a:pt x="577" y="447"/>
                  </a:lnTo>
                  <a:lnTo>
                    <a:pt x="587" y="425"/>
                  </a:lnTo>
                  <a:lnTo>
                    <a:pt x="599" y="403"/>
                  </a:lnTo>
                  <a:lnTo>
                    <a:pt x="613" y="380"/>
                  </a:lnTo>
                  <a:lnTo>
                    <a:pt x="620" y="369"/>
                  </a:lnTo>
                  <a:lnTo>
                    <a:pt x="627" y="360"/>
                  </a:lnTo>
                  <a:lnTo>
                    <a:pt x="635" y="351"/>
                  </a:lnTo>
                  <a:lnTo>
                    <a:pt x="643" y="343"/>
                  </a:lnTo>
                  <a:lnTo>
                    <a:pt x="652" y="337"/>
                  </a:lnTo>
                  <a:lnTo>
                    <a:pt x="661" y="332"/>
                  </a:lnTo>
                  <a:lnTo>
                    <a:pt x="671" y="329"/>
                  </a:lnTo>
                  <a:lnTo>
                    <a:pt x="680" y="328"/>
                  </a:lnTo>
                  <a:lnTo>
                    <a:pt x="700" y="328"/>
                  </a:lnTo>
                  <a:lnTo>
                    <a:pt x="720" y="327"/>
                  </a:lnTo>
                  <a:lnTo>
                    <a:pt x="742" y="326"/>
                  </a:lnTo>
                  <a:lnTo>
                    <a:pt x="764" y="323"/>
                  </a:lnTo>
                  <a:lnTo>
                    <a:pt x="786" y="322"/>
                  </a:lnTo>
                  <a:lnTo>
                    <a:pt x="808" y="321"/>
                  </a:lnTo>
                  <a:lnTo>
                    <a:pt x="831" y="320"/>
                  </a:lnTo>
                  <a:lnTo>
                    <a:pt x="852" y="320"/>
                  </a:lnTo>
                  <a:lnTo>
                    <a:pt x="861" y="319"/>
                  </a:lnTo>
                  <a:lnTo>
                    <a:pt x="871" y="316"/>
                  </a:lnTo>
                  <a:lnTo>
                    <a:pt x="880" y="311"/>
                  </a:lnTo>
                  <a:lnTo>
                    <a:pt x="890" y="306"/>
                  </a:lnTo>
                  <a:lnTo>
                    <a:pt x="900" y="299"/>
                  </a:lnTo>
                  <a:lnTo>
                    <a:pt x="909" y="291"/>
                  </a:lnTo>
                  <a:lnTo>
                    <a:pt x="918" y="282"/>
                  </a:lnTo>
                  <a:lnTo>
                    <a:pt x="925" y="272"/>
                  </a:lnTo>
                  <a:lnTo>
                    <a:pt x="932" y="262"/>
                  </a:lnTo>
                  <a:lnTo>
                    <a:pt x="938" y="252"/>
                  </a:lnTo>
                  <a:lnTo>
                    <a:pt x="943" y="241"/>
                  </a:lnTo>
                  <a:lnTo>
                    <a:pt x="947" y="231"/>
                  </a:lnTo>
                  <a:lnTo>
                    <a:pt x="948" y="221"/>
                  </a:lnTo>
                  <a:lnTo>
                    <a:pt x="948" y="211"/>
                  </a:lnTo>
                  <a:lnTo>
                    <a:pt x="947" y="206"/>
                  </a:lnTo>
                  <a:lnTo>
                    <a:pt x="946" y="202"/>
                  </a:lnTo>
                  <a:lnTo>
                    <a:pt x="944" y="197"/>
                  </a:lnTo>
                  <a:lnTo>
                    <a:pt x="941" y="193"/>
                  </a:lnTo>
                  <a:lnTo>
                    <a:pt x="930" y="179"/>
                  </a:lnTo>
                  <a:lnTo>
                    <a:pt x="918" y="169"/>
                  </a:lnTo>
                  <a:lnTo>
                    <a:pt x="913" y="163"/>
                  </a:lnTo>
                  <a:lnTo>
                    <a:pt x="909" y="156"/>
                  </a:lnTo>
                  <a:lnTo>
                    <a:pt x="906" y="146"/>
                  </a:lnTo>
                  <a:lnTo>
                    <a:pt x="905" y="135"/>
                  </a:lnTo>
                  <a:lnTo>
                    <a:pt x="904" y="110"/>
                  </a:lnTo>
                  <a:lnTo>
                    <a:pt x="902" y="93"/>
                  </a:lnTo>
                  <a:lnTo>
                    <a:pt x="900" y="87"/>
                  </a:lnTo>
                  <a:lnTo>
                    <a:pt x="898" y="81"/>
                  </a:lnTo>
                  <a:lnTo>
                    <a:pt x="894" y="78"/>
                  </a:lnTo>
                  <a:lnTo>
                    <a:pt x="890" y="74"/>
                  </a:lnTo>
                  <a:lnTo>
                    <a:pt x="885" y="72"/>
                  </a:lnTo>
                  <a:lnTo>
                    <a:pt x="879" y="71"/>
                  </a:lnTo>
                  <a:lnTo>
                    <a:pt x="872" y="70"/>
                  </a:lnTo>
                  <a:lnTo>
                    <a:pt x="864" y="69"/>
                  </a:lnTo>
                  <a:lnTo>
                    <a:pt x="844" y="69"/>
                  </a:lnTo>
                  <a:lnTo>
                    <a:pt x="818" y="70"/>
                  </a:lnTo>
                  <a:lnTo>
                    <a:pt x="799" y="69"/>
                  </a:lnTo>
                  <a:lnTo>
                    <a:pt x="783" y="67"/>
                  </a:lnTo>
                  <a:lnTo>
                    <a:pt x="765" y="62"/>
                  </a:lnTo>
                  <a:lnTo>
                    <a:pt x="748" y="58"/>
                  </a:lnTo>
                  <a:lnTo>
                    <a:pt x="716" y="47"/>
                  </a:lnTo>
                  <a:lnTo>
                    <a:pt x="683" y="34"/>
                  </a:lnTo>
                  <a:lnTo>
                    <a:pt x="666" y="28"/>
                  </a:lnTo>
                  <a:lnTo>
                    <a:pt x="650" y="22"/>
                  </a:lnTo>
                  <a:lnTo>
                    <a:pt x="633" y="18"/>
                  </a:lnTo>
                  <a:lnTo>
                    <a:pt x="616" y="14"/>
                  </a:lnTo>
                  <a:lnTo>
                    <a:pt x="597" y="11"/>
                  </a:lnTo>
                  <a:lnTo>
                    <a:pt x="579" y="10"/>
                  </a:lnTo>
                  <a:lnTo>
                    <a:pt x="560" y="11"/>
                  </a:lnTo>
                  <a:lnTo>
                    <a:pt x="540" y="13"/>
                  </a:lnTo>
                  <a:lnTo>
                    <a:pt x="520" y="16"/>
                  </a:lnTo>
                  <a:lnTo>
                    <a:pt x="499" y="18"/>
                  </a:lnTo>
                  <a:lnTo>
                    <a:pt x="477" y="18"/>
                  </a:lnTo>
                  <a:lnTo>
                    <a:pt x="454" y="18"/>
                  </a:lnTo>
                  <a:lnTo>
                    <a:pt x="431" y="18"/>
                  </a:lnTo>
                  <a:lnTo>
                    <a:pt x="409" y="16"/>
                  </a:lnTo>
                  <a:lnTo>
                    <a:pt x="386" y="16"/>
                  </a:lnTo>
                  <a:lnTo>
                    <a:pt x="366" y="16"/>
                  </a:lnTo>
                  <a:lnTo>
                    <a:pt x="354" y="15"/>
                  </a:lnTo>
                  <a:lnTo>
                    <a:pt x="343" y="13"/>
                  </a:lnTo>
                  <a:lnTo>
                    <a:pt x="332" y="11"/>
                  </a:lnTo>
                  <a:lnTo>
                    <a:pt x="320" y="8"/>
                  </a:lnTo>
                  <a:lnTo>
                    <a:pt x="308" y="5"/>
                  </a:lnTo>
                  <a:lnTo>
                    <a:pt x="296" y="2"/>
                  </a:lnTo>
                  <a:lnTo>
                    <a:pt x="284" y="0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9" name="Freeform 76"/>
            <p:cNvSpPr>
              <a:spLocks noChangeAspect="1"/>
            </p:cNvSpPr>
            <p:nvPr/>
          </p:nvSpPr>
          <p:spPr bwMode="gray">
            <a:xfrm rot="355651">
              <a:off x="7478713" y="4478338"/>
              <a:ext cx="82521" cy="75587"/>
            </a:xfrm>
            <a:custGeom>
              <a:avLst/>
              <a:gdLst/>
              <a:ahLst/>
              <a:cxnLst>
                <a:cxn ang="0">
                  <a:pos x="27" y="182"/>
                </a:cxn>
                <a:cxn ang="0">
                  <a:pos x="4" y="243"/>
                </a:cxn>
                <a:cxn ang="0">
                  <a:pos x="11" y="283"/>
                </a:cxn>
                <a:cxn ang="0">
                  <a:pos x="27" y="301"/>
                </a:cxn>
                <a:cxn ang="0">
                  <a:pos x="38" y="331"/>
                </a:cxn>
                <a:cxn ang="0">
                  <a:pos x="63" y="370"/>
                </a:cxn>
                <a:cxn ang="0">
                  <a:pos x="52" y="400"/>
                </a:cxn>
                <a:cxn ang="0">
                  <a:pos x="63" y="428"/>
                </a:cxn>
                <a:cxn ang="0">
                  <a:pos x="82" y="415"/>
                </a:cxn>
                <a:cxn ang="0">
                  <a:pos x="107" y="422"/>
                </a:cxn>
                <a:cxn ang="0">
                  <a:pos x="135" y="477"/>
                </a:cxn>
                <a:cxn ang="0">
                  <a:pos x="153" y="481"/>
                </a:cxn>
                <a:cxn ang="0">
                  <a:pos x="170" y="464"/>
                </a:cxn>
                <a:cxn ang="0">
                  <a:pos x="206" y="436"/>
                </a:cxn>
                <a:cxn ang="0">
                  <a:pos x="230" y="406"/>
                </a:cxn>
                <a:cxn ang="0">
                  <a:pos x="254" y="385"/>
                </a:cxn>
                <a:cxn ang="0">
                  <a:pos x="269" y="358"/>
                </a:cxn>
                <a:cxn ang="0">
                  <a:pos x="283" y="339"/>
                </a:cxn>
                <a:cxn ang="0">
                  <a:pos x="294" y="330"/>
                </a:cxn>
                <a:cxn ang="0">
                  <a:pos x="299" y="291"/>
                </a:cxn>
                <a:cxn ang="0">
                  <a:pos x="313" y="278"/>
                </a:cxn>
                <a:cxn ang="0">
                  <a:pos x="348" y="265"/>
                </a:cxn>
                <a:cxn ang="0">
                  <a:pos x="365" y="248"/>
                </a:cxn>
                <a:cxn ang="0">
                  <a:pos x="407" y="206"/>
                </a:cxn>
                <a:cxn ang="0">
                  <a:pos x="429" y="194"/>
                </a:cxn>
                <a:cxn ang="0">
                  <a:pos x="455" y="156"/>
                </a:cxn>
                <a:cxn ang="0">
                  <a:pos x="470" y="119"/>
                </a:cxn>
                <a:cxn ang="0">
                  <a:pos x="439" y="86"/>
                </a:cxn>
                <a:cxn ang="0">
                  <a:pos x="407" y="75"/>
                </a:cxn>
                <a:cxn ang="0">
                  <a:pos x="349" y="66"/>
                </a:cxn>
                <a:cxn ang="0">
                  <a:pos x="321" y="52"/>
                </a:cxn>
                <a:cxn ang="0">
                  <a:pos x="299" y="33"/>
                </a:cxn>
                <a:cxn ang="0">
                  <a:pos x="269" y="0"/>
                </a:cxn>
                <a:cxn ang="0">
                  <a:pos x="254" y="33"/>
                </a:cxn>
                <a:cxn ang="0">
                  <a:pos x="232" y="60"/>
                </a:cxn>
                <a:cxn ang="0">
                  <a:pos x="227" y="75"/>
                </a:cxn>
                <a:cxn ang="0">
                  <a:pos x="218" y="89"/>
                </a:cxn>
                <a:cxn ang="0">
                  <a:pos x="213" y="123"/>
                </a:cxn>
                <a:cxn ang="0">
                  <a:pos x="224" y="146"/>
                </a:cxn>
                <a:cxn ang="0">
                  <a:pos x="245" y="178"/>
                </a:cxn>
                <a:cxn ang="0">
                  <a:pos x="254" y="193"/>
                </a:cxn>
                <a:cxn ang="0">
                  <a:pos x="262" y="203"/>
                </a:cxn>
                <a:cxn ang="0">
                  <a:pos x="269" y="214"/>
                </a:cxn>
                <a:cxn ang="0">
                  <a:pos x="276" y="227"/>
                </a:cxn>
                <a:cxn ang="0">
                  <a:pos x="269" y="242"/>
                </a:cxn>
                <a:cxn ang="0">
                  <a:pos x="261" y="261"/>
                </a:cxn>
                <a:cxn ang="0">
                  <a:pos x="245" y="272"/>
                </a:cxn>
                <a:cxn ang="0">
                  <a:pos x="194" y="250"/>
                </a:cxn>
                <a:cxn ang="0">
                  <a:pos x="167" y="240"/>
                </a:cxn>
                <a:cxn ang="0">
                  <a:pos x="149" y="220"/>
                </a:cxn>
                <a:cxn ang="0">
                  <a:pos x="107" y="181"/>
                </a:cxn>
                <a:cxn ang="0">
                  <a:pos x="73" y="167"/>
                </a:cxn>
                <a:cxn ang="0">
                  <a:pos x="62" y="160"/>
                </a:cxn>
              </a:cxnLst>
              <a:rect l="0" t="0" r="r" b="b"/>
              <a:pathLst>
                <a:path w="470" h="481">
                  <a:moveTo>
                    <a:pt x="49" y="156"/>
                  </a:moveTo>
                  <a:lnTo>
                    <a:pt x="42" y="163"/>
                  </a:lnTo>
                  <a:lnTo>
                    <a:pt x="36" y="168"/>
                  </a:lnTo>
                  <a:lnTo>
                    <a:pt x="32" y="175"/>
                  </a:lnTo>
                  <a:lnTo>
                    <a:pt x="27" y="182"/>
                  </a:lnTo>
                  <a:lnTo>
                    <a:pt x="22" y="195"/>
                  </a:lnTo>
                  <a:lnTo>
                    <a:pt x="19" y="208"/>
                  </a:lnTo>
                  <a:lnTo>
                    <a:pt x="16" y="217"/>
                  </a:lnTo>
                  <a:lnTo>
                    <a:pt x="11" y="231"/>
                  </a:lnTo>
                  <a:lnTo>
                    <a:pt x="4" y="243"/>
                  </a:lnTo>
                  <a:lnTo>
                    <a:pt x="0" y="250"/>
                  </a:lnTo>
                  <a:lnTo>
                    <a:pt x="2" y="259"/>
                  </a:lnTo>
                  <a:lnTo>
                    <a:pt x="4" y="267"/>
                  </a:lnTo>
                  <a:lnTo>
                    <a:pt x="7" y="275"/>
                  </a:lnTo>
                  <a:lnTo>
                    <a:pt x="11" y="283"/>
                  </a:lnTo>
                  <a:lnTo>
                    <a:pt x="20" y="289"/>
                  </a:lnTo>
                  <a:lnTo>
                    <a:pt x="26" y="294"/>
                  </a:lnTo>
                  <a:lnTo>
                    <a:pt x="26" y="298"/>
                  </a:lnTo>
                  <a:lnTo>
                    <a:pt x="26" y="300"/>
                  </a:lnTo>
                  <a:lnTo>
                    <a:pt x="27" y="301"/>
                  </a:lnTo>
                  <a:lnTo>
                    <a:pt x="30" y="302"/>
                  </a:lnTo>
                  <a:lnTo>
                    <a:pt x="30" y="313"/>
                  </a:lnTo>
                  <a:lnTo>
                    <a:pt x="38" y="320"/>
                  </a:lnTo>
                  <a:lnTo>
                    <a:pt x="38" y="326"/>
                  </a:lnTo>
                  <a:lnTo>
                    <a:pt x="38" y="331"/>
                  </a:lnTo>
                  <a:lnTo>
                    <a:pt x="41" y="339"/>
                  </a:lnTo>
                  <a:lnTo>
                    <a:pt x="52" y="350"/>
                  </a:lnTo>
                  <a:lnTo>
                    <a:pt x="63" y="361"/>
                  </a:lnTo>
                  <a:lnTo>
                    <a:pt x="63" y="366"/>
                  </a:lnTo>
                  <a:lnTo>
                    <a:pt x="63" y="370"/>
                  </a:lnTo>
                  <a:lnTo>
                    <a:pt x="62" y="375"/>
                  </a:lnTo>
                  <a:lnTo>
                    <a:pt x="60" y="377"/>
                  </a:lnTo>
                  <a:lnTo>
                    <a:pt x="60" y="388"/>
                  </a:lnTo>
                  <a:lnTo>
                    <a:pt x="52" y="392"/>
                  </a:lnTo>
                  <a:lnTo>
                    <a:pt x="52" y="400"/>
                  </a:lnTo>
                  <a:lnTo>
                    <a:pt x="52" y="410"/>
                  </a:lnTo>
                  <a:lnTo>
                    <a:pt x="52" y="419"/>
                  </a:lnTo>
                  <a:lnTo>
                    <a:pt x="52" y="428"/>
                  </a:lnTo>
                  <a:lnTo>
                    <a:pt x="58" y="428"/>
                  </a:lnTo>
                  <a:lnTo>
                    <a:pt x="63" y="428"/>
                  </a:lnTo>
                  <a:lnTo>
                    <a:pt x="68" y="423"/>
                  </a:lnTo>
                  <a:lnTo>
                    <a:pt x="71" y="417"/>
                  </a:lnTo>
                  <a:lnTo>
                    <a:pt x="79" y="417"/>
                  </a:lnTo>
                  <a:lnTo>
                    <a:pt x="79" y="416"/>
                  </a:lnTo>
                  <a:lnTo>
                    <a:pt x="82" y="415"/>
                  </a:lnTo>
                  <a:lnTo>
                    <a:pt x="86" y="415"/>
                  </a:lnTo>
                  <a:lnTo>
                    <a:pt x="90" y="414"/>
                  </a:lnTo>
                  <a:lnTo>
                    <a:pt x="99" y="414"/>
                  </a:lnTo>
                  <a:lnTo>
                    <a:pt x="105" y="414"/>
                  </a:lnTo>
                  <a:lnTo>
                    <a:pt x="107" y="422"/>
                  </a:lnTo>
                  <a:lnTo>
                    <a:pt x="110" y="431"/>
                  </a:lnTo>
                  <a:lnTo>
                    <a:pt x="113" y="442"/>
                  </a:lnTo>
                  <a:lnTo>
                    <a:pt x="116" y="451"/>
                  </a:lnTo>
                  <a:lnTo>
                    <a:pt x="125" y="463"/>
                  </a:lnTo>
                  <a:lnTo>
                    <a:pt x="135" y="477"/>
                  </a:lnTo>
                  <a:lnTo>
                    <a:pt x="141" y="477"/>
                  </a:lnTo>
                  <a:lnTo>
                    <a:pt x="142" y="480"/>
                  </a:lnTo>
                  <a:lnTo>
                    <a:pt x="146" y="481"/>
                  </a:lnTo>
                  <a:lnTo>
                    <a:pt x="149" y="481"/>
                  </a:lnTo>
                  <a:lnTo>
                    <a:pt x="153" y="481"/>
                  </a:lnTo>
                  <a:lnTo>
                    <a:pt x="154" y="479"/>
                  </a:lnTo>
                  <a:lnTo>
                    <a:pt x="156" y="476"/>
                  </a:lnTo>
                  <a:lnTo>
                    <a:pt x="158" y="474"/>
                  </a:lnTo>
                  <a:lnTo>
                    <a:pt x="161" y="471"/>
                  </a:lnTo>
                  <a:lnTo>
                    <a:pt x="170" y="464"/>
                  </a:lnTo>
                  <a:lnTo>
                    <a:pt x="180" y="457"/>
                  </a:lnTo>
                  <a:lnTo>
                    <a:pt x="192" y="451"/>
                  </a:lnTo>
                  <a:lnTo>
                    <a:pt x="201" y="443"/>
                  </a:lnTo>
                  <a:lnTo>
                    <a:pt x="204" y="439"/>
                  </a:lnTo>
                  <a:lnTo>
                    <a:pt x="206" y="436"/>
                  </a:lnTo>
                  <a:lnTo>
                    <a:pt x="208" y="433"/>
                  </a:lnTo>
                  <a:lnTo>
                    <a:pt x="209" y="428"/>
                  </a:lnTo>
                  <a:lnTo>
                    <a:pt x="216" y="425"/>
                  </a:lnTo>
                  <a:lnTo>
                    <a:pt x="216" y="417"/>
                  </a:lnTo>
                  <a:lnTo>
                    <a:pt x="230" y="406"/>
                  </a:lnTo>
                  <a:lnTo>
                    <a:pt x="238" y="395"/>
                  </a:lnTo>
                  <a:lnTo>
                    <a:pt x="244" y="394"/>
                  </a:lnTo>
                  <a:lnTo>
                    <a:pt x="250" y="392"/>
                  </a:lnTo>
                  <a:lnTo>
                    <a:pt x="251" y="388"/>
                  </a:lnTo>
                  <a:lnTo>
                    <a:pt x="254" y="385"/>
                  </a:lnTo>
                  <a:lnTo>
                    <a:pt x="257" y="381"/>
                  </a:lnTo>
                  <a:lnTo>
                    <a:pt x="261" y="380"/>
                  </a:lnTo>
                  <a:lnTo>
                    <a:pt x="261" y="373"/>
                  </a:lnTo>
                  <a:lnTo>
                    <a:pt x="269" y="366"/>
                  </a:lnTo>
                  <a:lnTo>
                    <a:pt x="269" y="358"/>
                  </a:lnTo>
                  <a:lnTo>
                    <a:pt x="272" y="356"/>
                  </a:lnTo>
                  <a:lnTo>
                    <a:pt x="275" y="351"/>
                  </a:lnTo>
                  <a:lnTo>
                    <a:pt x="279" y="347"/>
                  </a:lnTo>
                  <a:lnTo>
                    <a:pt x="280" y="344"/>
                  </a:lnTo>
                  <a:lnTo>
                    <a:pt x="283" y="339"/>
                  </a:lnTo>
                  <a:lnTo>
                    <a:pt x="286" y="339"/>
                  </a:lnTo>
                  <a:lnTo>
                    <a:pt x="289" y="337"/>
                  </a:lnTo>
                  <a:lnTo>
                    <a:pt x="290" y="335"/>
                  </a:lnTo>
                  <a:lnTo>
                    <a:pt x="291" y="331"/>
                  </a:lnTo>
                  <a:lnTo>
                    <a:pt x="294" y="330"/>
                  </a:lnTo>
                  <a:lnTo>
                    <a:pt x="299" y="328"/>
                  </a:lnTo>
                  <a:lnTo>
                    <a:pt x="299" y="313"/>
                  </a:lnTo>
                  <a:lnTo>
                    <a:pt x="299" y="298"/>
                  </a:lnTo>
                  <a:lnTo>
                    <a:pt x="294" y="294"/>
                  </a:lnTo>
                  <a:lnTo>
                    <a:pt x="299" y="291"/>
                  </a:lnTo>
                  <a:lnTo>
                    <a:pt x="302" y="290"/>
                  </a:lnTo>
                  <a:lnTo>
                    <a:pt x="305" y="288"/>
                  </a:lnTo>
                  <a:lnTo>
                    <a:pt x="309" y="284"/>
                  </a:lnTo>
                  <a:lnTo>
                    <a:pt x="310" y="280"/>
                  </a:lnTo>
                  <a:lnTo>
                    <a:pt x="313" y="278"/>
                  </a:lnTo>
                  <a:lnTo>
                    <a:pt x="317" y="275"/>
                  </a:lnTo>
                  <a:lnTo>
                    <a:pt x="317" y="272"/>
                  </a:lnTo>
                  <a:lnTo>
                    <a:pt x="333" y="270"/>
                  </a:lnTo>
                  <a:lnTo>
                    <a:pt x="347" y="269"/>
                  </a:lnTo>
                  <a:lnTo>
                    <a:pt x="348" y="265"/>
                  </a:lnTo>
                  <a:lnTo>
                    <a:pt x="351" y="263"/>
                  </a:lnTo>
                  <a:lnTo>
                    <a:pt x="355" y="262"/>
                  </a:lnTo>
                  <a:lnTo>
                    <a:pt x="358" y="261"/>
                  </a:lnTo>
                  <a:lnTo>
                    <a:pt x="360" y="254"/>
                  </a:lnTo>
                  <a:lnTo>
                    <a:pt x="365" y="248"/>
                  </a:lnTo>
                  <a:lnTo>
                    <a:pt x="370" y="240"/>
                  </a:lnTo>
                  <a:lnTo>
                    <a:pt x="378" y="233"/>
                  </a:lnTo>
                  <a:lnTo>
                    <a:pt x="393" y="220"/>
                  </a:lnTo>
                  <a:lnTo>
                    <a:pt x="403" y="213"/>
                  </a:lnTo>
                  <a:lnTo>
                    <a:pt x="407" y="206"/>
                  </a:lnTo>
                  <a:lnTo>
                    <a:pt x="413" y="201"/>
                  </a:lnTo>
                  <a:lnTo>
                    <a:pt x="417" y="197"/>
                  </a:lnTo>
                  <a:lnTo>
                    <a:pt x="420" y="196"/>
                  </a:lnTo>
                  <a:lnTo>
                    <a:pt x="425" y="194"/>
                  </a:lnTo>
                  <a:lnTo>
                    <a:pt x="429" y="194"/>
                  </a:lnTo>
                  <a:lnTo>
                    <a:pt x="433" y="191"/>
                  </a:lnTo>
                  <a:lnTo>
                    <a:pt x="441" y="177"/>
                  </a:lnTo>
                  <a:lnTo>
                    <a:pt x="447" y="164"/>
                  </a:lnTo>
                  <a:lnTo>
                    <a:pt x="452" y="160"/>
                  </a:lnTo>
                  <a:lnTo>
                    <a:pt x="455" y="156"/>
                  </a:lnTo>
                  <a:lnTo>
                    <a:pt x="462" y="153"/>
                  </a:lnTo>
                  <a:lnTo>
                    <a:pt x="466" y="149"/>
                  </a:lnTo>
                  <a:lnTo>
                    <a:pt x="467" y="140"/>
                  </a:lnTo>
                  <a:lnTo>
                    <a:pt x="468" y="130"/>
                  </a:lnTo>
                  <a:lnTo>
                    <a:pt x="470" y="119"/>
                  </a:lnTo>
                  <a:lnTo>
                    <a:pt x="470" y="108"/>
                  </a:lnTo>
                  <a:lnTo>
                    <a:pt x="464" y="104"/>
                  </a:lnTo>
                  <a:lnTo>
                    <a:pt x="453" y="95"/>
                  </a:lnTo>
                  <a:lnTo>
                    <a:pt x="446" y="90"/>
                  </a:lnTo>
                  <a:lnTo>
                    <a:pt x="439" y="86"/>
                  </a:lnTo>
                  <a:lnTo>
                    <a:pt x="433" y="83"/>
                  </a:lnTo>
                  <a:lnTo>
                    <a:pt x="425" y="82"/>
                  </a:lnTo>
                  <a:lnTo>
                    <a:pt x="420" y="78"/>
                  </a:lnTo>
                  <a:lnTo>
                    <a:pt x="414" y="76"/>
                  </a:lnTo>
                  <a:lnTo>
                    <a:pt x="407" y="75"/>
                  </a:lnTo>
                  <a:lnTo>
                    <a:pt x="399" y="73"/>
                  </a:lnTo>
                  <a:lnTo>
                    <a:pt x="382" y="72"/>
                  </a:lnTo>
                  <a:lnTo>
                    <a:pt x="369" y="71"/>
                  </a:lnTo>
                  <a:lnTo>
                    <a:pt x="360" y="68"/>
                  </a:lnTo>
                  <a:lnTo>
                    <a:pt x="349" y="66"/>
                  </a:lnTo>
                  <a:lnTo>
                    <a:pt x="338" y="63"/>
                  </a:lnTo>
                  <a:lnTo>
                    <a:pt x="328" y="63"/>
                  </a:lnTo>
                  <a:lnTo>
                    <a:pt x="324" y="60"/>
                  </a:lnTo>
                  <a:lnTo>
                    <a:pt x="322" y="56"/>
                  </a:lnTo>
                  <a:lnTo>
                    <a:pt x="321" y="52"/>
                  </a:lnTo>
                  <a:lnTo>
                    <a:pt x="315" y="50"/>
                  </a:lnTo>
                  <a:lnTo>
                    <a:pt x="310" y="49"/>
                  </a:lnTo>
                  <a:lnTo>
                    <a:pt x="310" y="41"/>
                  </a:lnTo>
                  <a:lnTo>
                    <a:pt x="305" y="38"/>
                  </a:lnTo>
                  <a:lnTo>
                    <a:pt x="299" y="33"/>
                  </a:lnTo>
                  <a:lnTo>
                    <a:pt x="299" y="25"/>
                  </a:lnTo>
                  <a:lnTo>
                    <a:pt x="291" y="19"/>
                  </a:lnTo>
                  <a:lnTo>
                    <a:pt x="283" y="11"/>
                  </a:lnTo>
                  <a:lnTo>
                    <a:pt x="283" y="3"/>
                  </a:lnTo>
                  <a:lnTo>
                    <a:pt x="269" y="0"/>
                  </a:lnTo>
                  <a:lnTo>
                    <a:pt x="265" y="8"/>
                  </a:lnTo>
                  <a:lnTo>
                    <a:pt x="263" y="14"/>
                  </a:lnTo>
                  <a:lnTo>
                    <a:pt x="259" y="20"/>
                  </a:lnTo>
                  <a:lnTo>
                    <a:pt x="254" y="25"/>
                  </a:lnTo>
                  <a:lnTo>
                    <a:pt x="254" y="33"/>
                  </a:lnTo>
                  <a:lnTo>
                    <a:pt x="246" y="38"/>
                  </a:lnTo>
                  <a:lnTo>
                    <a:pt x="244" y="42"/>
                  </a:lnTo>
                  <a:lnTo>
                    <a:pt x="241" y="50"/>
                  </a:lnTo>
                  <a:lnTo>
                    <a:pt x="235" y="57"/>
                  </a:lnTo>
                  <a:lnTo>
                    <a:pt x="232" y="60"/>
                  </a:lnTo>
                  <a:lnTo>
                    <a:pt x="232" y="67"/>
                  </a:lnTo>
                  <a:lnTo>
                    <a:pt x="230" y="68"/>
                  </a:lnTo>
                  <a:lnTo>
                    <a:pt x="228" y="69"/>
                  </a:lnTo>
                  <a:lnTo>
                    <a:pt x="227" y="71"/>
                  </a:lnTo>
                  <a:lnTo>
                    <a:pt x="227" y="75"/>
                  </a:lnTo>
                  <a:lnTo>
                    <a:pt x="225" y="77"/>
                  </a:lnTo>
                  <a:lnTo>
                    <a:pt x="223" y="82"/>
                  </a:lnTo>
                  <a:lnTo>
                    <a:pt x="222" y="85"/>
                  </a:lnTo>
                  <a:lnTo>
                    <a:pt x="221" y="87"/>
                  </a:lnTo>
                  <a:lnTo>
                    <a:pt x="218" y="89"/>
                  </a:lnTo>
                  <a:lnTo>
                    <a:pt x="216" y="89"/>
                  </a:lnTo>
                  <a:lnTo>
                    <a:pt x="216" y="98"/>
                  </a:lnTo>
                  <a:lnTo>
                    <a:pt x="215" y="106"/>
                  </a:lnTo>
                  <a:lnTo>
                    <a:pt x="213" y="115"/>
                  </a:lnTo>
                  <a:lnTo>
                    <a:pt x="213" y="123"/>
                  </a:lnTo>
                  <a:lnTo>
                    <a:pt x="221" y="130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3" y="144"/>
                  </a:lnTo>
                  <a:lnTo>
                    <a:pt x="224" y="146"/>
                  </a:lnTo>
                  <a:lnTo>
                    <a:pt x="224" y="149"/>
                  </a:lnTo>
                  <a:lnTo>
                    <a:pt x="233" y="159"/>
                  </a:lnTo>
                  <a:lnTo>
                    <a:pt x="243" y="167"/>
                  </a:lnTo>
                  <a:lnTo>
                    <a:pt x="243" y="172"/>
                  </a:lnTo>
                  <a:lnTo>
                    <a:pt x="245" y="178"/>
                  </a:lnTo>
                  <a:lnTo>
                    <a:pt x="247" y="182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6"/>
                  </a:lnTo>
                  <a:lnTo>
                    <a:pt x="254" y="193"/>
                  </a:lnTo>
                  <a:lnTo>
                    <a:pt x="255" y="194"/>
                  </a:lnTo>
                  <a:lnTo>
                    <a:pt x="256" y="195"/>
                  </a:lnTo>
                  <a:lnTo>
                    <a:pt x="257" y="202"/>
                  </a:lnTo>
                  <a:lnTo>
                    <a:pt x="260" y="202"/>
                  </a:lnTo>
                  <a:lnTo>
                    <a:pt x="262" y="203"/>
                  </a:lnTo>
                  <a:lnTo>
                    <a:pt x="263" y="204"/>
                  </a:lnTo>
                  <a:lnTo>
                    <a:pt x="264" y="205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9" y="214"/>
                  </a:lnTo>
                  <a:lnTo>
                    <a:pt x="272" y="216"/>
                  </a:lnTo>
                  <a:lnTo>
                    <a:pt x="272" y="224"/>
                  </a:lnTo>
                  <a:lnTo>
                    <a:pt x="274" y="224"/>
                  </a:lnTo>
                  <a:lnTo>
                    <a:pt x="276" y="225"/>
                  </a:lnTo>
                  <a:lnTo>
                    <a:pt x="276" y="227"/>
                  </a:lnTo>
                  <a:lnTo>
                    <a:pt x="274" y="230"/>
                  </a:lnTo>
                  <a:lnTo>
                    <a:pt x="272" y="231"/>
                  </a:lnTo>
                  <a:lnTo>
                    <a:pt x="271" y="235"/>
                  </a:lnTo>
                  <a:lnTo>
                    <a:pt x="269" y="239"/>
                  </a:lnTo>
                  <a:lnTo>
                    <a:pt x="269" y="242"/>
                  </a:lnTo>
                  <a:lnTo>
                    <a:pt x="269" y="244"/>
                  </a:lnTo>
                  <a:lnTo>
                    <a:pt x="269" y="246"/>
                  </a:lnTo>
                  <a:lnTo>
                    <a:pt x="267" y="250"/>
                  </a:lnTo>
                  <a:lnTo>
                    <a:pt x="264" y="255"/>
                  </a:lnTo>
                  <a:lnTo>
                    <a:pt x="261" y="261"/>
                  </a:lnTo>
                  <a:lnTo>
                    <a:pt x="257" y="264"/>
                  </a:lnTo>
                  <a:lnTo>
                    <a:pt x="257" y="269"/>
                  </a:lnTo>
                  <a:lnTo>
                    <a:pt x="257" y="272"/>
                  </a:lnTo>
                  <a:lnTo>
                    <a:pt x="254" y="275"/>
                  </a:lnTo>
                  <a:lnTo>
                    <a:pt x="245" y="272"/>
                  </a:lnTo>
                  <a:lnTo>
                    <a:pt x="234" y="269"/>
                  </a:lnTo>
                  <a:lnTo>
                    <a:pt x="225" y="265"/>
                  </a:lnTo>
                  <a:lnTo>
                    <a:pt x="221" y="264"/>
                  </a:lnTo>
                  <a:lnTo>
                    <a:pt x="207" y="258"/>
                  </a:lnTo>
                  <a:lnTo>
                    <a:pt x="194" y="250"/>
                  </a:lnTo>
                  <a:lnTo>
                    <a:pt x="188" y="248"/>
                  </a:lnTo>
                  <a:lnTo>
                    <a:pt x="180" y="244"/>
                  </a:lnTo>
                  <a:lnTo>
                    <a:pt x="174" y="243"/>
                  </a:lnTo>
                  <a:lnTo>
                    <a:pt x="168" y="242"/>
                  </a:lnTo>
                  <a:lnTo>
                    <a:pt x="167" y="240"/>
                  </a:lnTo>
                  <a:lnTo>
                    <a:pt x="166" y="237"/>
                  </a:lnTo>
                  <a:lnTo>
                    <a:pt x="164" y="235"/>
                  </a:lnTo>
                  <a:lnTo>
                    <a:pt x="160" y="235"/>
                  </a:lnTo>
                  <a:lnTo>
                    <a:pt x="155" y="229"/>
                  </a:lnTo>
                  <a:lnTo>
                    <a:pt x="149" y="220"/>
                  </a:lnTo>
                  <a:lnTo>
                    <a:pt x="142" y="214"/>
                  </a:lnTo>
                  <a:lnTo>
                    <a:pt x="132" y="202"/>
                  </a:lnTo>
                  <a:lnTo>
                    <a:pt x="123" y="188"/>
                  </a:lnTo>
                  <a:lnTo>
                    <a:pt x="119" y="183"/>
                  </a:lnTo>
                  <a:lnTo>
                    <a:pt x="107" y="181"/>
                  </a:lnTo>
                  <a:lnTo>
                    <a:pt x="93" y="178"/>
                  </a:lnTo>
                  <a:lnTo>
                    <a:pt x="90" y="172"/>
                  </a:lnTo>
                  <a:lnTo>
                    <a:pt x="86" y="171"/>
                  </a:lnTo>
                  <a:lnTo>
                    <a:pt x="79" y="169"/>
                  </a:lnTo>
                  <a:lnTo>
                    <a:pt x="73" y="167"/>
                  </a:lnTo>
                  <a:lnTo>
                    <a:pt x="71" y="164"/>
                  </a:lnTo>
                  <a:lnTo>
                    <a:pt x="63" y="164"/>
                  </a:lnTo>
                  <a:lnTo>
                    <a:pt x="63" y="162"/>
                  </a:lnTo>
                  <a:lnTo>
                    <a:pt x="63" y="160"/>
                  </a:lnTo>
                  <a:lnTo>
                    <a:pt x="62" y="160"/>
                  </a:lnTo>
                  <a:lnTo>
                    <a:pt x="60" y="160"/>
                  </a:lnTo>
                  <a:lnTo>
                    <a:pt x="55" y="159"/>
                  </a:lnTo>
                  <a:lnTo>
                    <a:pt x="49" y="1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0" name="Freeform 77"/>
            <p:cNvSpPr>
              <a:spLocks noChangeAspect="1"/>
            </p:cNvSpPr>
            <p:nvPr/>
          </p:nvSpPr>
          <p:spPr bwMode="gray">
            <a:xfrm rot="355651">
              <a:off x="7478713" y="4478338"/>
              <a:ext cx="82521" cy="75587"/>
            </a:xfrm>
            <a:custGeom>
              <a:avLst/>
              <a:gdLst/>
              <a:ahLst/>
              <a:cxnLst>
                <a:cxn ang="0">
                  <a:pos x="27" y="182"/>
                </a:cxn>
                <a:cxn ang="0">
                  <a:pos x="4" y="243"/>
                </a:cxn>
                <a:cxn ang="0">
                  <a:pos x="11" y="283"/>
                </a:cxn>
                <a:cxn ang="0">
                  <a:pos x="27" y="301"/>
                </a:cxn>
                <a:cxn ang="0">
                  <a:pos x="38" y="331"/>
                </a:cxn>
                <a:cxn ang="0">
                  <a:pos x="63" y="370"/>
                </a:cxn>
                <a:cxn ang="0">
                  <a:pos x="52" y="400"/>
                </a:cxn>
                <a:cxn ang="0">
                  <a:pos x="63" y="428"/>
                </a:cxn>
                <a:cxn ang="0">
                  <a:pos x="82" y="415"/>
                </a:cxn>
                <a:cxn ang="0">
                  <a:pos x="107" y="422"/>
                </a:cxn>
                <a:cxn ang="0">
                  <a:pos x="135" y="477"/>
                </a:cxn>
                <a:cxn ang="0">
                  <a:pos x="153" y="481"/>
                </a:cxn>
                <a:cxn ang="0">
                  <a:pos x="170" y="464"/>
                </a:cxn>
                <a:cxn ang="0">
                  <a:pos x="206" y="436"/>
                </a:cxn>
                <a:cxn ang="0">
                  <a:pos x="230" y="406"/>
                </a:cxn>
                <a:cxn ang="0">
                  <a:pos x="254" y="385"/>
                </a:cxn>
                <a:cxn ang="0">
                  <a:pos x="269" y="358"/>
                </a:cxn>
                <a:cxn ang="0">
                  <a:pos x="283" y="339"/>
                </a:cxn>
                <a:cxn ang="0">
                  <a:pos x="294" y="330"/>
                </a:cxn>
                <a:cxn ang="0">
                  <a:pos x="299" y="291"/>
                </a:cxn>
                <a:cxn ang="0">
                  <a:pos x="313" y="278"/>
                </a:cxn>
                <a:cxn ang="0">
                  <a:pos x="348" y="265"/>
                </a:cxn>
                <a:cxn ang="0">
                  <a:pos x="365" y="248"/>
                </a:cxn>
                <a:cxn ang="0">
                  <a:pos x="407" y="206"/>
                </a:cxn>
                <a:cxn ang="0">
                  <a:pos x="429" y="194"/>
                </a:cxn>
                <a:cxn ang="0">
                  <a:pos x="455" y="156"/>
                </a:cxn>
                <a:cxn ang="0">
                  <a:pos x="470" y="119"/>
                </a:cxn>
                <a:cxn ang="0">
                  <a:pos x="439" y="86"/>
                </a:cxn>
                <a:cxn ang="0">
                  <a:pos x="407" y="75"/>
                </a:cxn>
                <a:cxn ang="0">
                  <a:pos x="349" y="66"/>
                </a:cxn>
                <a:cxn ang="0">
                  <a:pos x="321" y="52"/>
                </a:cxn>
                <a:cxn ang="0">
                  <a:pos x="299" y="33"/>
                </a:cxn>
                <a:cxn ang="0">
                  <a:pos x="269" y="0"/>
                </a:cxn>
                <a:cxn ang="0">
                  <a:pos x="254" y="33"/>
                </a:cxn>
                <a:cxn ang="0">
                  <a:pos x="232" y="60"/>
                </a:cxn>
                <a:cxn ang="0">
                  <a:pos x="227" y="75"/>
                </a:cxn>
                <a:cxn ang="0">
                  <a:pos x="218" y="89"/>
                </a:cxn>
                <a:cxn ang="0">
                  <a:pos x="213" y="123"/>
                </a:cxn>
                <a:cxn ang="0">
                  <a:pos x="224" y="146"/>
                </a:cxn>
                <a:cxn ang="0">
                  <a:pos x="245" y="178"/>
                </a:cxn>
                <a:cxn ang="0">
                  <a:pos x="254" y="193"/>
                </a:cxn>
                <a:cxn ang="0">
                  <a:pos x="262" y="203"/>
                </a:cxn>
                <a:cxn ang="0">
                  <a:pos x="269" y="214"/>
                </a:cxn>
                <a:cxn ang="0">
                  <a:pos x="276" y="227"/>
                </a:cxn>
                <a:cxn ang="0">
                  <a:pos x="269" y="242"/>
                </a:cxn>
                <a:cxn ang="0">
                  <a:pos x="261" y="261"/>
                </a:cxn>
                <a:cxn ang="0">
                  <a:pos x="245" y="272"/>
                </a:cxn>
                <a:cxn ang="0">
                  <a:pos x="194" y="250"/>
                </a:cxn>
                <a:cxn ang="0">
                  <a:pos x="167" y="240"/>
                </a:cxn>
                <a:cxn ang="0">
                  <a:pos x="149" y="220"/>
                </a:cxn>
                <a:cxn ang="0">
                  <a:pos x="107" y="181"/>
                </a:cxn>
                <a:cxn ang="0">
                  <a:pos x="73" y="167"/>
                </a:cxn>
                <a:cxn ang="0">
                  <a:pos x="62" y="160"/>
                </a:cxn>
              </a:cxnLst>
              <a:rect l="0" t="0" r="r" b="b"/>
              <a:pathLst>
                <a:path w="470" h="481">
                  <a:moveTo>
                    <a:pt x="49" y="156"/>
                  </a:moveTo>
                  <a:lnTo>
                    <a:pt x="42" y="163"/>
                  </a:lnTo>
                  <a:lnTo>
                    <a:pt x="36" y="168"/>
                  </a:lnTo>
                  <a:lnTo>
                    <a:pt x="32" y="175"/>
                  </a:lnTo>
                  <a:lnTo>
                    <a:pt x="27" y="182"/>
                  </a:lnTo>
                  <a:lnTo>
                    <a:pt x="22" y="195"/>
                  </a:lnTo>
                  <a:lnTo>
                    <a:pt x="19" y="208"/>
                  </a:lnTo>
                  <a:lnTo>
                    <a:pt x="16" y="217"/>
                  </a:lnTo>
                  <a:lnTo>
                    <a:pt x="11" y="231"/>
                  </a:lnTo>
                  <a:lnTo>
                    <a:pt x="4" y="243"/>
                  </a:lnTo>
                  <a:lnTo>
                    <a:pt x="0" y="250"/>
                  </a:lnTo>
                  <a:lnTo>
                    <a:pt x="2" y="259"/>
                  </a:lnTo>
                  <a:lnTo>
                    <a:pt x="4" y="267"/>
                  </a:lnTo>
                  <a:lnTo>
                    <a:pt x="7" y="275"/>
                  </a:lnTo>
                  <a:lnTo>
                    <a:pt x="11" y="283"/>
                  </a:lnTo>
                  <a:lnTo>
                    <a:pt x="20" y="289"/>
                  </a:lnTo>
                  <a:lnTo>
                    <a:pt x="26" y="294"/>
                  </a:lnTo>
                  <a:lnTo>
                    <a:pt x="26" y="298"/>
                  </a:lnTo>
                  <a:lnTo>
                    <a:pt x="26" y="300"/>
                  </a:lnTo>
                  <a:lnTo>
                    <a:pt x="27" y="301"/>
                  </a:lnTo>
                  <a:lnTo>
                    <a:pt x="30" y="302"/>
                  </a:lnTo>
                  <a:lnTo>
                    <a:pt x="30" y="313"/>
                  </a:lnTo>
                  <a:lnTo>
                    <a:pt x="38" y="320"/>
                  </a:lnTo>
                  <a:lnTo>
                    <a:pt x="38" y="326"/>
                  </a:lnTo>
                  <a:lnTo>
                    <a:pt x="38" y="331"/>
                  </a:lnTo>
                  <a:lnTo>
                    <a:pt x="41" y="339"/>
                  </a:lnTo>
                  <a:lnTo>
                    <a:pt x="52" y="350"/>
                  </a:lnTo>
                  <a:lnTo>
                    <a:pt x="63" y="361"/>
                  </a:lnTo>
                  <a:lnTo>
                    <a:pt x="63" y="366"/>
                  </a:lnTo>
                  <a:lnTo>
                    <a:pt x="63" y="370"/>
                  </a:lnTo>
                  <a:lnTo>
                    <a:pt x="62" y="375"/>
                  </a:lnTo>
                  <a:lnTo>
                    <a:pt x="60" y="377"/>
                  </a:lnTo>
                  <a:lnTo>
                    <a:pt x="60" y="388"/>
                  </a:lnTo>
                  <a:lnTo>
                    <a:pt x="52" y="392"/>
                  </a:lnTo>
                  <a:lnTo>
                    <a:pt x="52" y="400"/>
                  </a:lnTo>
                  <a:lnTo>
                    <a:pt x="52" y="410"/>
                  </a:lnTo>
                  <a:lnTo>
                    <a:pt x="52" y="419"/>
                  </a:lnTo>
                  <a:lnTo>
                    <a:pt x="52" y="428"/>
                  </a:lnTo>
                  <a:lnTo>
                    <a:pt x="58" y="428"/>
                  </a:lnTo>
                  <a:lnTo>
                    <a:pt x="63" y="428"/>
                  </a:lnTo>
                  <a:lnTo>
                    <a:pt x="68" y="423"/>
                  </a:lnTo>
                  <a:lnTo>
                    <a:pt x="71" y="417"/>
                  </a:lnTo>
                  <a:lnTo>
                    <a:pt x="79" y="417"/>
                  </a:lnTo>
                  <a:lnTo>
                    <a:pt x="79" y="416"/>
                  </a:lnTo>
                  <a:lnTo>
                    <a:pt x="82" y="415"/>
                  </a:lnTo>
                  <a:lnTo>
                    <a:pt x="86" y="415"/>
                  </a:lnTo>
                  <a:lnTo>
                    <a:pt x="90" y="414"/>
                  </a:lnTo>
                  <a:lnTo>
                    <a:pt x="99" y="414"/>
                  </a:lnTo>
                  <a:lnTo>
                    <a:pt x="105" y="414"/>
                  </a:lnTo>
                  <a:lnTo>
                    <a:pt x="107" y="422"/>
                  </a:lnTo>
                  <a:lnTo>
                    <a:pt x="110" y="431"/>
                  </a:lnTo>
                  <a:lnTo>
                    <a:pt x="113" y="442"/>
                  </a:lnTo>
                  <a:lnTo>
                    <a:pt x="116" y="451"/>
                  </a:lnTo>
                  <a:lnTo>
                    <a:pt x="125" y="463"/>
                  </a:lnTo>
                  <a:lnTo>
                    <a:pt x="135" y="477"/>
                  </a:lnTo>
                  <a:lnTo>
                    <a:pt x="141" y="477"/>
                  </a:lnTo>
                  <a:lnTo>
                    <a:pt x="142" y="480"/>
                  </a:lnTo>
                  <a:lnTo>
                    <a:pt x="146" y="481"/>
                  </a:lnTo>
                  <a:lnTo>
                    <a:pt x="149" y="481"/>
                  </a:lnTo>
                  <a:lnTo>
                    <a:pt x="153" y="481"/>
                  </a:lnTo>
                  <a:lnTo>
                    <a:pt x="154" y="479"/>
                  </a:lnTo>
                  <a:lnTo>
                    <a:pt x="156" y="476"/>
                  </a:lnTo>
                  <a:lnTo>
                    <a:pt x="158" y="474"/>
                  </a:lnTo>
                  <a:lnTo>
                    <a:pt x="161" y="471"/>
                  </a:lnTo>
                  <a:lnTo>
                    <a:pt x="170" y="464"/>
                  </a:lnTo>
                  <a:lnTo>
                    <a:pt x="180" y="457"/>
                  </a:lnTo>
                  <a:lnTo>
                    <a:pt x="192" y="451"/>
                  </a:lnTo>
                  <a:lnTo>
                    <a:pt x="201" y="443"/>
                  </a:lnTo>
                  <a:lnTo>
                    <a:pt x="204" y="439"/>
                  </a:lnTo>
                  <a:lnTo>
                    <a:pt x="206" y="436"/>
                  </a:lnTo>
                  <a:lnTo>
                    <a:pt x="208" y="433"/>
                  </a:lnTo>
                  <a:lnTo>
                    <a:pt x="209" y="428"/>
                  </a:lnTo>
                  <a:lnTo>
                    <a:pt x="216" y="425"/>
                  </a:lnTo>
                  <a:lnTo>
                    <a:pt x="216" y="417"/>
                  </a:lnTo>
                  <a:lnTo>
                    <a:pt x="230" y="406"/>
                  </a:lnTo>
                  <a:lnTo>
                    <a:pt x="238" y="395"/>
                  </a:lnTo>
                  <a:lnTo>
                    <a:pt x="244" y="394"/>
                  </a:lnTo>
                  <a:lnTo>
                    <a:pt x="250" y="392"/>
                  </a:lnTo>
                  <a:lnTo>
                    <a:pt x="251" y="388"/>
                  </a:lnTo>
                  <a:lnTo>
                    <a:pt x="254" y="385"/>
                  </a:lnTo>
                  <a:lnTo>
                    <a:pt x="257" y="381"/>
                  </a:lnTo>
                  <a:lnTo>
                    <a:pt x="261" y="380"/>
                  </a:lnTo>
                  <a:lnTo>
                    <a:pt x="261" y="373"/>
                  </a:lnTo>
                  <a:lnTo>
                    <a:pt x="269" y="366"/>
                  </a:lnTo>
                  <a:lnTo>
                    <a:pt x="269" y="358"/>
                  </a:lnTo>
                  <a:lnTo>
                    <a:pt x="272" y="356"/>
                  </a:lnTo>
                  <a:lnTo>
                    <a:pt x="275" y="351"/>
                  </a:lnTo>
                  <a:lnTo>
                    <a:pt x="279" y="347"/>
                  </a:lnTo>
                  <a:lnTo>
                    <a:pt x="280" y="344"/>
                  </a:lnTo>
                  <a:lnTo>
                    <a:pt x="283" y="339"/>
                  </a:lnTo>
                  <a:lnTo>
                    <a:pt x="286" y="339"/>
                  </a:lnTo>
                  <a:lnTo>
                    <a:pt x="289" y="337"/>
                  </a:lnTo>
                  <a:lnTo>
                    <a:pt x="290" y="335"/>
                  </a:lnTo>
                  <a:lnTo>
                    <a:pt x="291" y="331"/>
                  </a:lnTo>
                  <a:lnTo>
                    <a:pt x="294" y="330"/>
                  </a:lnTo>
                  <a:lnTo>
                    <a:pt x="299" y="328"/>
                  </a:lnTo>
                  <a:lnTo>
                    <a:pt x="299" y="313"/>
                  </a:lnTo>
                  <a:lnTo>
                    <a:pt x="299" y="298"/>
                  </a:lnTo>
                  <a:lnTo>
                    <a:pt x="294" y="294"/>
                  </a:lnTo>
                  <a:lnTo>
                    <a:pt x="299" y="291"/>
                  </a:lnTo>
                  <a:lnTo>
                    <a:pt x="302" y="290"/>
                  </a:lnTo>
                  <a:lnTo>
                    <a:pt x="305" y="288"/>
                  </a:lnTo>
                  <a:lnTo>
                    <a:pt x="309" y="284"/>
                  </a:lnTo>
                  <a:lnTo>
                    <a:pt x="310" y="280"/>
                  </a:lnTo>
                  <a:lnTo>
                    <a:pt x="313" y="278"/>
                  </a:lnTo>
                  <a:lnTo>
                    <a:pt x="317" y="275"/>
                  </a:lnTo>
                  <a:lnTo>
                    <a:pt x="317" y="272"/>
                  </a:lnTo>
                  <a:lnTo>
                    <a:pt x="333" y="270"/>
                  </a:lnTo>
                  <a:lnTo>
                    <a:pt x="347" y="269"/>
                  </a:lnTo>
                  <a:lnTo>
                    <a:pt x="348" y="265"/>
                  </a:lnTo>
                  <a:lnTo>
                    <a:pt x="351" y="263"/>
                  </a:lnTo>
                  <a:lnTo>
                    <a:pt x="355" y="262"/>
                  </a:lnTo>
                  <a:lnTo>
                    <a:pt x="358" y="261"/>
                  </a:lnTo>
                  <a:lnTo>
                    <a:pt x="360" y="254"/>
                  </a:lnTo>
                  <a:lnTo>
                    <a:pt x="365" y="248"/>
                  </a:lnTo>
                  <a:lnTo>
                    <a:pt x="370" y="240"/>
                  </a:lnTo>
                  <a:lnTo>
                    <a:pt x="378" y="233"/>
                  </a:lnTo>
                  <a:lnTo>
                    <a:pt x="393" y="220"/>
                  </a:lnTo>
                  <a:lnTo>
                    <a:pt x="403" y="213"/>
                  </a:lnTo>
                  <a:lnTo>
                    <a:pt x="407" y="206"/>
                  </a:lnTo>
                  <a:lnTo>
                    <a:pt x="413" y="201"/>
                  </a:lnTo>
                  <a:lnTo>
                    <a:pt x="417" y="197"/>
                  </a:lnTo>
                  <a:lnTo>
                    <a:pt x="420" y="196"/>
                  </a:lnTo>
                  <a:lnTo>
                    <a:pt x="425" y="194"/>
                  </a:lnTo>
                  <a:lnTo>
                    <a:pt x="429" y="194"/>
                  </a:lnTo>
                  <a:lnTo>
                    <a:pt x="433" y="191"/>
                  </a:lnTo>
                  <a:lnTo>
                    <a:pt x="441" y="177"/>
                  </a:lnTo>
                  <a:lnTo>
                    <a:pt x="447" y="164"/>
                  </a:lnTo>
                  <a:lnTo>
                    <a:pt x="452" y="160"/>
                  </a:lnTo>
                  <a:lnTo>
                    <a:pt x="455" y="156"/>
                  </a:lnTo>
                  <a:lnTo>
                    <a:pt x="462" y="153"/>
                  </a:lnTo>
                  <a:lnTo>
                    <a:pt x="466" y="149"/>
                  </a:lnTo>
                  <a:lnTo>
                    <a:pt x="467" y="140"/>
                  </a:lnTo>
                  <a:lnTo>
                    <a:pt x="468" y="130"/>
                  </a:lnTo>
                  <a:lnTo>
                    <a:pt x="470" y="119"/>
                  </a:lnTo>
                  <a:lnTo>
                    <a:pt x="470" y="108"/>
                  </a:lnTo>
                  <a:lnTo>
                    <a:pt x="464" y="104"/>
                  </a:lnTo>
                  <a:lnTo>
                    <a:pt x="453" y="95"/>
                  </a:lnTo>
                  <a:lnTo>
                    <a:pt x="446" y="90"/>
                  </a:lnTo>
                  <a:lnTo>
                    <a:pt x="439" y="86"/>
                  </a:lnTo>
                  <a:lnTo>
                    <a:pt x="433" y="83"/>
                  </a:lnTo>
                  <a:lnTo>
                    <a:pt x="425" y="82"/>
                  </a:lnTo>
                  <a:lnTo>
                    <a:pt x="420" y="78"/>
                  </a:lnTo>
                  <a:lnTo>
                    <a:pt x="414" y="76"/>
                  </a:lnTo>
                  <a:lnTo>
                    <a:pt x="407" y="75"/>
                  </a:lnTo>
                  <a:lnTo>
                    <a:pt x="399" y="73"/>
                  </a:lnTo>
                  <a:lnTo>
                    <a:pt x="382" y="72"/>
                  </a:lnTo>
                  <a:lnTo>
                    <a:pt x="369" y="71"/>
                  </a:lnTo>
                  <a:lnTo>
                    <a:pt x="360" y="68"/>
                  </a:lnTo>
                  <a:lnTo>
                    <a:pt x="349" y="66"/>
                  </a:lnTo>
                  <a:lnTo>
                    <a:pt x="338" y="63"/>
                  </a:lnTo>
                  <a:lnTo>
                    <a:pt x="328" y="63"/>
                  </a:lnTo>
                  <a:lnTo>
                    <a:pt x="324" y="60"/>
                  </a:lnTo>
                  <a:lnTo>
                    <a:pt x="322" y="56"/>
                  </a:lnTo>
                  <a:lnTo>
                    <a:pt x="321" y="52"/>
                  </a:lnTo>
                  <a:lnTo>
                    <a:pt x="315" y="50"/>
                  </a:lnTo>
                  <a:lnTo>
                    <a:pt x="310" y="49"/>
                  </a:lnTo>
                  <a:lnTo>
                    <a:pt x="310" y="41"/>
                  </a:lnTo>
                  <a:lnTo>
                    <a:pt x="305" y="38"/>
                  </a:lnTo>
                  <a:lnTo>
                    <a:pt x="299" y="33"/>
                  </a:lnTo>
                  <a:lnTo>
                    <a:pt x="299" y="25"/>
                  </a:lnTo>
                  <a:lnTo>
                    <a:pt x="291" y="19"/>
                  </a:lnTo>
                  <a:lnTo>
                    <a:pt x="283" y="11"/>
                  </a:lnTo>
                  <a:lnTo>
                    <a:pt x="283" y="3"/>
                  </a:lnTo>
                  <a:lnTo>
                    <a:pt x="269" y="0"/>
                  </a:lnTo>
                  <a:lnTo>
                    <a:pt x="265" y="8"/>
                  </a:lnTo>
                  <a:lnTo>
                    <a:pt x="263" y="14"/>
                  </a:lnTo>
                  <a:lnTo>
                    <a:pt x="259" y="20"/>
                  </a:lnTo>
                  <a:lnTo>
                    <a:pt x="254" y="25"/>
                  </a:lnTo>
                  <a:lnTo>
                    <a:pt x="254" y="33"/>
                  </a:lnTo>
                  <a:lnTo>
                    <a:pt x="246" y="38"/>
                  </a:lnTo>
                  <a:lnTo>
                    <a:pt x="244" y="42"/>
                  </a:lnTo>
                  <a:lnTo>
                    <a:pt x="241" y="50"/>
                  </a:lnTo>
                  <a:lnTo>
                    <a:pt x="235" y="57"/>
                  </a:lnTo>
                  <a:lnTo>
                    <a:pt x="232" y="60"/>
                  </a:lnTo>
                  <a:lnTo>
                    <a:pt x="232" y="67"/>
                  </a:lnTo>
                  <a:lnTo>
                    <a:pt x="230" y="68"/>
                  </a:lnTo>
                  <a:lnTo>
                    <a:pt x="228" y="69"/>
                  </a:lnTo>
                  <a:lnTo>
                    <a:pt x="227" y="71"/>
                  </a:lnTo>
                  <a:lnTo>
                    <a:pt x="227" y="75"/>
                  </a:lnTo>
                  <a:lnTo>
                    <a:pt x="225" y="77"/>
                  </a:lnTo>
                  <a:lnTo>
                    <a:pt x="223" y="82"/>
                  </a:lnTo>
                  <a:lnTo>
                    <a:pt x="222" y="85"/>
                  </a:lnTo>
                  <a:lnTo>
                    <a:pt x="221" y="87"/>
                  </a:lnTo>
                  <a:lnTo>
                    <a:pt x="218" y="89"/>
                  </a:lnTo>
                  <a:lnTo>
                    <a:pt x="216" y="89"/>
                  </a:lnTo>
                  <a:lnTo>
                    <a:pt x="216" y="98"/>
                  </a:lnTo>
                  <a:lnTo>
                    <a:pt x="215" y="106"/>
                  </a:lnTo>
                  <a:lnTo>
                    <a:pt x="213" y="115"/>
                  </a:lnTo>
                  <a:lnTo>
                    <a:pt x="213" y="123"/>
                  </a:lnTo>
                  <a:lnTo>
                    <a:pt x="221" y="130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3" y="144"/>
                  </a:lnTo>
                  <a:lnTo>
                    <a:pt x="224" y="146"/>
                  </a:lnTo>
                  <a:lnTo>
                    <a:pt x="224" y="149"/>
                  </a:lnTo>
                  <a:lnTo>
                    <a:pt x="233" y="159"/>
                  </a:lnTo>
                  <a:lnTo>
                    <a:pt x="243" y="167"/>
                  </a:lnTo>
                  <a:lnTo>
                    <a:pt x="243" y="172"/>
                  </a:lnTo>
                  <a:lnTo>
                    <a:pt x="245" y="178"/>
                  </a:lnTo>
                  <a:lnTo>
                    <a:pt x="247" y="182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6"/>
                  </a:lnTo>
                  <a:lnTo>
                    <a:pt x="254" y="193"/>
                  </a:lnTo>
                  <a:lnTo>
                    <a:pt x="255" y="194"/>
                  </a:lnTo>
                  <a:lnTo>
                    <a:pt x="256" y="195"/>
                  </a:lnTo>
                  <a:lnTo>
                    <a:pt x="257" y="202"/>
                  </a:lnTo>
                  <a:lnTo>
                    <a:pt x="260" y="202"/>
                  </a:lnTo>
                  <a:lnTo>
                    <a:pt x="262" y="203"/>
                  </a:lnTo>
                  <a:lnTo>
                    <a:pt x="263" y="204"/>
                  </a:lnTo>
                  <a:lnTo>
                    <a:pt x="264" y="205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9" y="214"/>
                  </a:lnTo>
                  <a:lnTo>
                    <a:pt x="272" y="216"/>
                  </a:lnTo>
                  <a:lnTo>
                    <a:pt x="272" y="224"/>
                  </a:lnTo>
                  <a:lnTo>
                    <a:pt x="274" y="224"/>
                  </a:lnTo>
                  <a:lnTo>
                    <a:pt x="276" y="225"/>
                  </a:lnTo>
                  <a:lnTo>
                    <a:pt x="276" y="227"/>
                  </a:lnTo>
                  <a:lnTo>
                    <a:pt x="274" y="230"/>
                  </a:lnTo>
                  <a:lnTo>
                    <a:pt x="272" y="231"/>
                  </a:lnTo>
                  <a:lnTo>
                    <a:pt x="271" y="235"/>
                  </a:lnTo>
                  <a:lnTo>
                    <a:pt x="269" y="239"/>
                  </a:lnTo>
                  <a:lnTo>
                    <a:pt x="269" y="242"/>
                  </a:lnTo>
                  <a:lnTo>
                    <a:pt x="269" y="244"/>
                  </a:lnTo>
                  <a:lnTo>
                    <a:pt x="269" y="246"/>
                  </a:lnTo>
                  <a:lnTo>
                    <a:pt x="267" y="250"/>
                  </a:lnTo>
                  <a:lnTo>
                    <a:pt x="264" y="255"/>
                  </a:lnTo>
                  <a:lnTo>
                    <a:pt x="261" y="261"/>
                  </a:lnTo>
                  <a:lnTo>
                    <a:pt x="257" y="264"/>
                  </a:lnTo>
                  <a:lnTo>
                    <a:pt x="257" y="269"/>
                  </a:lnTo>
                  <a:lnTo>
                    <a:pt x="257" y="272"/>
                  </a:lnTo>
                  <a:lnTo>
                    <a:pt x="254" y="275"/>
                  </a:lnTo>
                  <a:lnTo>
                    <a:pt x="245" y="272"/>
                  </a:lnTo>
                  <a:lnTo>
                    <a:pt x="234" y="269"/>
                  </a:lnTo>
                  <a:lnTo>
                    <a:pt x="225" y="265"/>
                  </a:lnTo>
                  <a:lnTo>
                    <a:pt x="221" y="264"/>
                  </a:lnTo>
                  <a:lnTo>
                    <a:pt x="207" y="258"/>
                  </a:lnTo>
                  <a:lnTo>
                    <a:pt x="194" y="250"/>
                  </a:lnTo>
                  <a:lnTo>
                    <a:pt x="188" y="248"/>
                  </a:lnTo>
                  <a:lnTo>
                    <a:pt x="180" y="244"/>
                  </a:lnTo>
                  <a:lnTo>
                    <a:pt x="174" y="243"/>
                  </a:lnTo>
                  <a:lnTo>
                    <a:pt x="168" y="242"/>
                  </a:lnTo>
                  <a:lnTo>
                    <a:pt x="167" y="240"/>
                  </a:lnTo>
                  <a:lnTo>
                    <a:pt x="166" y="237"/>
                  </a:lnTo>
                  <a:lnTo>
                    <a:pt x="164" y="235"/>
                  </a:lnTo>
                  <a:lnTo>
                    <a:pt x="160" y="235"/>
                  </a:lnTo>
                  <a:lnTo>
                    <a:pt x="155" y="229"/>
                  </a:lnTo>
                  <a:lnTo>
                    <a:pt x="149" y="220"/>
                  </a:lnTo>
                  <a:lnTo>
                    <a:pt x="142" y="214"/>
                  </a:lnTo>
                  <a:lnTo>
                    <a:pt x="132" y="202"/>
                  </a:lnTo>
                  <a:lnTo>
                    <a:pt x="123" y="188"/>
                  </a:lnTo>
                  <a:lnTo>
                    <a:pt x="119" y="183"/>
                  </a:lnTo>
                  <a:lnTo>
                    <a:pt x="107" y="181"/>
                  </a:lnTo>
                  <a:lnTo>
                    <a:pt x="93" y="178"/>
                  </a:lnTo>
                  <a:lnTo>
                    <a:pt x="90" y="172"/>
                  </a:lnTo>
                  <a:lnTo>
                    <a:pt x="86" y="171"/>
                  </a:lnTo>
                  <a:lnTo>
                    <a:pt x="79" y="169"/>
                  </a:lnTo>
                  <a:lnTo>
                    <a:pt x="73" y="167"/>
                  </a:lnTo>
                  <a:lnTo>
                    <a:pt x="71" y="164"/>
                  </a:lnTo>
                  <a:lnTo>
                    <a:pt x="63" y="164"/>
                  </a:lnTo>
                  <a:lnTo>
                    <a:pt x="63" y="162"/>
                  </a:lnTo>
                  <a:lnTo>
                    <a:pt x="63" y="160"/>
                  </a:lnTo>
                  <a:lnTo>
                    <a:pt x="62" y="160"/>
                  </a:lnTo>
                  <a:lnTo>
                    <a:pt x="60" y="160"/>
                  </a:lnTo>
                  <a:lnTo>
                    <a:pt x="55" y="159"/>
                  </a:lnTo>
                  <a:lnTo>
                    <a:pt x="49" y="15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1" name="Freeform 78"/>
            <p:cNvSpPr>
              <a:spLocks noChangeAspect="1"/>
            </p:cNvSpPr>
            <p:nvPr/>
          </p:nvSpPr>
          <p:spPr bwMode="gray">
            <a:xfrm rot="355651">
              <a:off x="7277575" y="4538663"/>
              <a:ext cx="49725" cy="51101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9" y="44"/>
                </a:cxn>
                <a:cxn ang="0">
                  <a:pos x="3" y="64"/>
                </a:cxn>
                <a:cxn ang="0">
                  <a:pos x="1" y="85"/>
                </a:cxn>
                <a:cxn ang="0">
                  <a:pos x="0" y="113"/>
                </a:cxn>
                <a:cxn ang="0">
                  <a:pos x="2" y="141"/>
                </a:cxn>
                <a:cxn ang="0">
                  <a:pos x="8" y="156"/>
                </a:cxn>
                <a:cxn ang="0">
                  <a:pos x="15" y="175"/>
                </a:cxn>
                <a:cxn ang="0">
                  <a:pos x="20" y="214"/>
                </a:cxn>
                <a:cxn ang="0">
                  <a:pos x="27" y="246"/>
                </a:cxn>
                <a:cxn ang="0">
                  <a:pos x="40" y="286"/>
                </a:cxn>
                <a:cxn ang="0">
                  <a:pos x="48" y="303"/>
                </a:cxn>
                <a:cxn ang="0">
                  <a:pos x="53" y="308"/>
                </a:cxn>
                <a:cxn ang="0">
                  <a:pos x="59" y="323"/>
                </a:cxn>
                <a:cxn ang="0">
                  <a:pos x="66" y="327"/>
                </a:cxn>
                <a:cxn ang="0">
                  <a:pos x="72" y="335"/>
                </a:cxn>
                <a:cxn ang="0">
                  <a:pos x="102" y="335"/>
                </a:cxn>
                <a:cxn ang="0">
                  <a:pos x="122" y="325"/>
                </a:cxn>
                <a:cxn ang="0">
                  <a:pos x="143" y="314"/>
                </a:cxn>
                <a:cxn ang="0">
                  <a:pos x="152" y="302"/>
                </a:cxn>
                <a:cxn ang="0">
                  <a:pos x="166" y="291"/>
                </a:cxn>
                <a:cxn ang="0">
                  <a:pos x="176" y="280"/>
                </a:cxn>
                <a:cxn ang="0">
                  <a:pos x="189" y="280"/>
                </a:cxn>
                <a:cxn ang="0">
                  <a:pos x="202" y="276"/>
                </a:cxn>
                <a:cxn ang="0">
                  <a:pos x="209" y="267"/>
                </a:cxn>
                <a:cxn ang="0">
                  <a:pos x="219" y="264"/>
                </a:cxn>
                <a:cxn ang="0">
                  <a:pos x="236" y="249"/>
                </a:cxn>
                <a:cxn ang="0">
                  <a:pos x="252" y="235"/>
                </a:cxn>
                <a:cxn ang="0">
                  <a:pos x="257" y="222"/>
                </a:cxn>
                <a:cxn ang="0">
                  <a:pos x="265" y="218"/>
                </a:cxn>
                <a:cxn ang="0">
                  <a:pos x="266" y="209"/>
                </a:cxn>
                <a:cxn ang="0">
                  <a:pos x="268" y="202"/>
                </a:cxn>
                <a:cxn ang="0">
                  <a:pos x="269" y="190"/>
                </a:cxn>
                <a:cxn ang="0">
                  <a:pos x="260" y="175"/>
                </a:cxn>
                <a:cxn ang="0">
                  <a:pos x="258" y="164"/>
                </a:cxn>
                <a:cxn ang="0">
                  <a:pos x="252" y="159"/>
                </a:cxn>
                <a:cxn ang="0">
                  <a:pos x="248" y="146"/>
                </a:cxn>
                <a:cxn ang="0">
                  <a:pos x="217" y="125"/>
                </a:cxn>
                <a:cxn ang="0">
                  <a:pos x="185" y="101"/>
                </a:cxn>
                <a:cxn ang="0">
                  <a:pos x="160" y="81"/>
                </a:cxn>
                <a:cxn ang="0">
                  <a:pos x="142" y="68"/>
                </a:cxn>
                <a:cxn ang="0">
                  <a:pos x="131" y="63"/>
                </a:cxn>
                <a:cxn ang="0">
                  <a:pos x="126" y="50"/>
                </a:cxn>
                <a:cxn ang="0">
                  <a:pos x="118" y="38"/>
                </a:cxn>
                <a:cxn ang="0">
                  <a:pos x="114" y="21"/>
                </a:cxn>
                <a:cxn ang="0">
                  <a:pos x="109" y="8"/>
                </a:cxn>
                <a:cxn ang="0">
                  <a:pos x="102" y="0"/>
                </a:cxn>
                <a:cxn ang="0">
                  <a:pos x="85" y="0"/>
                </a:cxn>
                <a:cxn ang="0">
                  <a:pos x="82" y="2"/>
                </a:cxn>
                <a:cxn ang="0">
                  <a:pos x="76" y="4"/>
                </a:cxn>
                <a:cxn ang="0">
                  <a:pos x="64" y="4"/>
                </a:cxn>
                <a:cxn ang="0">
                  <a:pos x="61" y="8"/>
                </a:cxn>
                <a:cxn ang="0">
                  <a:pos x="55" y="8"/>
                </a:cxn>
              </a:cxnLst>
              <a:rect l="0" t="0" r="r" b="b"/>
              <a:pathLst>
                <a:path w="269" h="335">
                  <a:moveTo>
                    <a:pt x="26" y="17"/>
                  </a:moveTo>
                  <a:lnTo>
                    <a:pt x="19" y="25"/>
                  </a:lnTo>
                  <a:lnTo>
                    <a:pt x="13" y="34"/>
                  </a:lnTo>
                  <a:lnTo>
                    <a:pt x="9" y="44"/>
                  </a:lnTo>
                  <a:lnTo>
                    <a:pt x="6" y="54"/>
                  </a:lnTo>
                  <a:lnTo>
                    <a:pt x="3" y="64"/>
                  </a:lnTo>
                  <a:lnTo>
                    <a:pt x="1" y="74"/>
                  </a:lnTo>
                  <a:lnTo>
                    <a:pt x="1" y="85"/>
                  </a:lnTo>
                  <a:lnTo>
                    <a:pt x="1" y="96"/>
                  </a:lnTo>
                  <a:lnTo>
                    <a:pt x="0" y="113"/>
                  </a:lnTo>
                  <a:lnTo>
                    <a:pt x="1" y="132"/>
                  </a:lnTo>
                  <a:lnTo>
                    <a:pt x="2" y="141"/>
                  </a:lnTo>
                  <a:lnTo>
                    <a:pt x="5" y="149"/>
                  </a:lnTo>
                  <a:lnTo>
                    <a:pt x="8" y="156"/>
                  </a:lnTo>
                  <a:lnTo>
                    <a:pt x="13" y="163"/>
                  </a:lnTo>
                  <a:lnTo>
                    <a:pt x="15" y="175"/>
                  </a:lnTo>
                  <a:lnTo>
                    <a:pt x="18" y="194"/>
                  </a:lnTo>
                  <a:lnTo>
                    <a:pt x="20" y="214"/>
                  </a:lnTo>
                  <a:lnTo>
                    <a:pt x="21" y="226"/>
                  </a:lnTo>
                  <a:lnTo>
                    <a:pt x="27" y="246"/>
                  </a:lnTo>
                  <a:lnTo>
                    <a:pt x="36" y="273"/>
                  </a:lnTo>
                  <a:lnTo>
                    <a:pt x="40" y="286"/>
                  </a:lnTo>
                  <a:lnTo>
                    <a:pt x="45" y="297"/>
                  </a:lnTo>
                  <a:lnTo>
                    <a:pt x="48" y="303"/>
                  </a:lnTo>
                  <a:lnTo>
                    <a:pt x="50" y="306"/>
                  </a:lnTo>
                  <a:lnTo>
                    <a:pt x="53" y="308"/>
                  </a:lnTo>
                  <a:lnTo>
                    <a:pt x="55" y="310"/>
                  </a:lnTo>
                  <a:lnTo>
                    <a:pt x="59" y="323"/>
                  </a:lnTo>
                  <a:lnTo>
                    <a:pt x="63" y="324"/>
                  </a:lnTo>
                  <a:lnTo>
                    <a:pt x="66" y="327"/>
                  </a:lnTo>
                  <a:lnTo>
                    <a:pt x="69" y="332"/>
                  </a:lnTo>
                  <a:lnTo>
                    <a:pt x="72" y="335"/>
                  </a:lnTo>
                  <a:lnTo>
                    <a:pt x="87" y="335"/>
                  </a:lnTo>
                  <a:lnTo>
                    <a:pt x="102" y="335"/>
                  </a:lnTo>
                  <a:lnTo>
                    <a:pt x="109" y="332"/>
                  </a:lnTo>
                  <a:lnTo>
                    <a:pt x="122" y="325"/>
                  </a:lnTo>
                  <a:lnTo>
                    <a:pt x="135" y="317"/>
                  </a:lnTo>
                  <a:lnTo>
                    <a:pt x="143" y="314"/>
                  </a:lnTo>
                  <a:lnTo>
                    <a:pt x="147" y="308"/>
                  </a:lnTo>
                  <a:lnTo>
                    <a:pt x="152" y="302"/>
                  </a:lnTo>
                  <a:lnTo>
                    <a:pt x="160" y="294"/>
                  </a:lnTo>
                  <a:lnTo>
                    <a:pt x="166" y="291"/>
                  </a:lnTo>
                  <a:lnTo>
                    <a:pt x="172" y="289"/>
                  </a:lnTo>
                  <a:lnTo>
                    <a:pt x="176" y="280"/>
                  </a:lnTo>
                  <a:lnTo>
                    <a:pt x="183" y="280"/>
                  </a:lnTo>
                  <a:lnTo>
                    <a:pt x="189" y="280"/>
                  </a:lnTo>
                  <a:lnTo>
                    <a:pt x="195" y="278"/>
                  </a:lnTo>
                  <a:lnTo>
                    <a:pt x="202" y="276"/>
                  </a:lnTo>
                  <a:lnTo>
                    <a:pt x="205" y="271"/>
                  </a:lnTo>
                  <a:lnTo>
                    <a:pt x="209" y="267"/>
                  </a:lnTo>
                  <a:lnTo>
                    <a:pt x="213" y="265"/>
                  </a:lnTo>
                  <a:lnTo>
                    <a:pt x="219" y="264"/>
                  </a:lnTo>
                  <a:lnTo>
                    <a:pt x="223" y="259"/>
                  </a:lnTo>
                  <a:lnTo>
                    <a:pt x="236" y="249"/>
                  </a:lnTo>
                  <a:lnTo>
                    <a:pt x="247" y="239"/>
                  </a:lnTo>
                  <a:lnTo>
                    <a:pt x="252" y="235"/>
                  </a:lnTo>
                  <a:lnTo>
                    <a:pt x="252" y="226"/>
                  </a:lnTo>
                  <a:lnTo>
                    <a:pt x="257" y="222"/>
                  </a:lnTo>
                  <a:lnTo>
                    <a:pt x="260" y="220"/>
                  </a:lnTo>
                  <a:lnTo>
                    <a:pt x="265" y="218"/>
                  </a:lnTo>
                  <a:lnTo>
                    <a:pt x="265" y="209"/>
                  </a:lnTo>
                  <a:lnTo>
                    <a:pt x="266" y="209"/>
                  </a:lnTo>
                  <a:lnTo>
                    <a:pt x="267" y="206"/>
                  </a:lnTo>
                  <a:lnTo>
                    <a:pt x="268" y="202"/>
                  </a:lnTo>
                  <a:lnTo>
                    <a:pt x="268" y="199"/>
                  </a:lnTo>
                  <a:lnTo>
                    <a:pt x="269" y="190"/>
                  </a:lnTo>
                  <a:lnTo>
                    <a:pt x="269" y="184"/>
                  </a:lnTo>
                  <a:lnTo>
                    <a:pt x="260" y="175"/>
                  </a:lnTo>
                  <a:lnTo>
                    <a:pt x="260" y="170"/>
                  </a:lnTo>
                  <a:lnTo>
                    <a:pt x="258" y="164"/>
                  </a:lnTo>
                  <a:lnTo>
                    <a:pt x="256" y="161"/>
                  </a:lnTo>
                  <a:lnTo>
                    <a:pt x="252" y="159"/>
                  </a:lnTo>
                  <a:lnTo>
                    <a:pt x="250" y="153"/>
                  </a:lnTo>
                  <a:lnTo>
                    <a:pt x="248" y="146"/>
                  </a:lnTo>
                  <a:lnTo>
                    <a:pt x="237" y="140"/>
                  </a:lnTo>
                  <a:lnTo>
                    <a:pt x="217" y="125"/>
                  </a:lnTo>
                  <a:lnTo>
                    <a:pt x="197" y="110"/>
                  </a:lnTo>
                  <a:lnTo>
                    <a:pt x="185" y="101"/>
                  </a:lnTo>
                  <a:lnTo>
                    <a:pt x="176" y="93"/>
                  </a:lnTo>
                  <a:lnTo>
                    <a:pt x="160" y="81"/>
                  </a:lnTo>
                  <a:lnTo>
                    <a:pt x="151" y="74"/>
                  </a:lnTo>
                  <a:lnTo>
                    <a:pt x="142" y="68"/>
                  </a:lnTo>
                  <a:lnTo>
                    <a:pt x="135" y="64"/>
                  </a:lnTo>
                  <a:lnTo>
                    <a:pt x="131" y="63"/>
                  </a:lnTo>
                  <a:lnTo>
                    <a:pt x="128" y="56"/>
                  </a:lnTo>
                  <a:lnTo>
                    <a:pt x="126" y="50"/>
                  </a:lnTo>
                  <a:lnTo>
                    <a:pt x="118" y="46"/>
                  </a:lnTo>
                  <a:lnTo>
                    <a:pt x="118" y="38"/>
                  </a:lnTo>
                  <a:lnTo>
                    <a:pt x="116" y="30"/>
                  </a:lnTo>
                  <a:lnTo>
                    <a:pt x="114" y="21"/>
                  </a:lnTo>
                  <a:lnTo>
                    <a:pt x="112" y="15"/>
                  </a:lnTo>
                  <a:lnTo>
                    <a:pt x="109" y="8"/>
                  </a:lnTo>
                  <a:lnTo>
                    <a:pt x="105" y="4"/>
                  </a:lnTo>
                  <a:lnTo>
                    <a:pt x="102" y="0"/>
                  </a:lnTo>
                  <a:lnTo>
                    <a:pt x="93" y="0"/>
                  </a:lnTo>
                  <a:lnTo>
                    <a:pt x="85" y="0"/>
                  </a:lnTo>
                  <a:lnTo>
                    <a:pt x="84" y="1"/>
                  </a:lnTo>
                  <a:lnTo>
                    <a:pt x="82" y="2"/>
                  </a:lnTo>
                  <a:lnTo>
                    <a:pt x="79" y="4"/>
                  </a:lnTo>
                  <a:lnTo>
                    <a:pt x="76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3" y="7"/>
                  </a:lnTo>
                  <a:lnTo>
                    <a:pt x="61" y="8"/>
                  </a:lnTo>
                  <a:lnTo>
                    <a:pt x="58" y="8"/>
                  </a:lnTo>
                  <a:lnTo>
                    <a:pt x="55" y="8"/>
                  </a:lnTo>
                  <a:lnTo>
                    <a:pt x="26" y="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2" name="Freeform 79"/>
            <p:cNvSpPr>
              <a:spLocks noChangeAspect="1"/>
            </p:cNvSpPr>
            <p:nvPr/>
          </p:nvSpPr>
          <p:spPr bwMode="gray">
            <a:xfrm rot="355651">
              <a:off x="7161200" y="4514850"/>
              <a:ext cx="51839" cy="77717"/>
            </a:xfrm>
            <a:custGeom>
              <a:avLst/>
              <a:gdLst/>
              <a:ahLst/>
              <a:cxnLst>
                <a:cxn ang="0">
                  <a:pos x="15" y="5"/>
                </a:cxn>
                <a:cxn ang="0">
                  <a:pos x="9" y="21"/>
                </a:cxn>
                <a:cxn ang="0">
                  <a:pos x="3" y="49"/>
                </a:cxn>
                <a:cxn ang="0">
                  <a:pos x="0" y="90"/>
                </a:cxn>
                <a:cxn ang="0">
                  <a:pos x="4" y="119"/>
                </a:cxn>
                <a:cxn ang="0">
                  <a:pos x="8" y="135"/>
                </a:cxn>
                <a:cxn ang="0">
                  <a:pos x="14" y="150"/>
                </a:cxn>
                <a:cxn ang="0">
                  <a:pos x="17" y="173"/>
                </a:cxn>
                <a:cxn ang="0">
                  <a:pos x="19" y="208"/>
                </a:cxn>
                <a:cxn ang="0">
                  <a:pos x="16" y="256"/>
                </a:cxn>
                <a:cxn ang="0">
                  <a:pos x="9" y="306"/>
                </a:cxn>
                <a:cxn ang="0">
                  <a:pos x="8" y="336"/>
                </a:cxn>
                <a:cxn ang="0">
                  <a:pos x="14" y="357"/>
                </a:cxn>
                <a:cxn ang="0">
                  <a:pos x="30" y="387"/>
                </a:cxn>
                <a:cxn ang="0">
                  <a:pos x="54" y="421"/>
                </a:cxn>
                <a:cxn ang="0">
                  <a:pos x="72" y="441"/>
                </a:cxn>
                <a:cxn ang="0">
                  <a:pos x="82" y="447"/>
                </a:cxn>
                <a:cxn ang="0">
                  <a:pos x="88" y="453"/>
                </a:cxn>
                <a:cxn ang="0">
                  <a:pos x="106" y="466"/>
                </a:cxn>
                <a:cxn ang="0">
                  <a:pos x="133" y="480"/>
                </a:cxn>
                <a:cxn ang="0">
                  <a:pos x="152" y="486"/>
                </a:cxn>
                <a:cxn ang="0">
                  <a:pos x="162" y="486"/>
                </a:cxn>
                <a:cxn ang="0">
                  <a:pos x="173" y="480"/>
                </a:cxn>
                <a:cxn ang="0">
                  <a:pos x="190" y="462"/>
                </a:cxn>
                <a:cxn ang="0">
                  <a:pos x="197" y="447"/>
                </a:cxn>
                <a:cxn ang="0">
                  <a:pos x="206" y="415"/>
                </a:cxn>
                <a:cxn ang="0">
                  <a:pos x="220" y="393"/>
                </a:cxn>
                <a:cxn ang="0">
                  <a:pos x="239" y="370"/>
                </a:cxn>
                <a:cxn ang="0">
                  <a:pos x="249" y="356"/>
                </a:cxn>
                <a:cxn ang="0">
                  <a:pos x="254" y="345"/>
                </a:cxn>
                <a:cxn ang="0">
                  <a:pos x="257" y="340"/>
                </a:cxn>
                <a:cxn ang="0">
                  <a:pos x="264" y="335"/>
                </a:cxn>
                <a:cxn ang="0">
                  <a:pos x="273" y="329"/>
                </a:cxn>
                <a:cxn ang="0">
                  <a:pos x="277" y="313"/>
                </a:cxn>
                <a:cxn ang="0">
                  <a:pos x="278" y="275"/>
                </a:cxn>
                <a:cxn ang="0">
                  <a:pos x="278" y="255"/>
                </a:cxn>
                <a:cxn ang="0">
                  <a:pos x="272" y="246"/>
                </a:cxn>
                <a:cxn ang="0">
                  <a:pos x="259" y="230"/>
                </a:cxn>
                <a:cxn ang="0">
                  <a:pos x="248" y="214"/>
                </a:cxn>
                <a:cxn ang="0">
                  <a:pos x="234" y="196"/>
                </a:cxn>
                <a:cxn ang="0">
                  <a:pos x="224" y="181"/>
                </a:cxn>
                <a:cxn ang="0">
                  <a:pos x="208" y="163"/>
                </a:cxn>
                <a:cxn ang="0">
                  <a:pos x="200" y="149"/>
                </a:cxn>
                <a:cxn ang="0">
                  <a:pos x="183" y="133"/>
                </a:cxn>
                <a:cxn ang="0">
                  <a:pos x="153" y="109"/>
                </a:cxn>
                <a:cxn ang="0">
                  <a:pos x="136" y="100"/>
                </a:cxn>
                <a:cxn ang="0">
                  <a:pos x="128" y="90"/>
                </a:cxn>
                <a:cxn ang="0">
                  <a:pos x="115" y="79"/>
                </a:cxn>
                <a:cxn ang="0">
                  <a:pos x="86" y="58"/>
                </a:cxn>
                <a:cxn ang="0">
                  <a:pos x="84" y="49"/>
                </a:cxn>
                <a:cxn ang="0">
                  <a:pos x="81" y="42"/>
                </a:cxn>
                <a:cxn ang="0">
                  <a:pos x="75" y="27"/>
                </a:cxn>
                <a:cxn ang="0">
                  <a:pos x="71" y="19"/>
                </a:cxn>
                <a:cxn ang="0">
                  <a:pos x="56" y="9"/>
                </a:cxn>
                <a:cxn ang="0">
                  <a:pos x="46" y="4"/>
                </a:cxn>
                <a:cxn ang="0">
                  <a:pos x="19" y="0"/>
                </a:cxn>
              </a:cxnLst>
              <a:rect l="0" t="0" r="r" b="b"/>
              <a:pathLst>
                <a:path w="278" h="486">
                  <a:moveTo>
                    <a:pt x="19" y="0"/>
                  </a:moveTo>
                  <a:lnTo>
                    <a:pt x="15" y="5"/>
                  </a:lnTo>
                  <a:lnTo>
                    <a:pt x="11" y="13"/>
                  </a:lnTo>
                  <a:lnTo>
                    <a:pt x="9" y="21"/>
                  </a:lnTo>
                  <a:lnTo>
                    <a:pt x="7" y="30"/>
                  </a:lnTo>
                  <a:lnTo>
                    <a:pt x="3" y="49"/>
                  </a:lnTo>
                  <a:lnTo>
                    <a:pt x="0" y="69"/>
                  </a:lnTo>
                  <a:lnTo>
                    <a:pt x="0" y="90"/>
                  </a:lnTo>
                  <a:lnTo>
                    <a:pt x="1" y="110"/>
                  </a:lnTo>
                  <a:lnTo>
                    <a:pt x="4" y="119"/>
                  </a:lnTo>
                  <a:lnTo>
                    <a:pt x="5" y="128"/>
                  </a:lnTo>
                  <a:lnTo>
                    <a:pt x="8" y="135"/>
                  </a:lnTo>
                  <a:lnTo>
                    <a:pt x="10" y="143"/>
                  </a:lnTo>
                  <a:lnTo>
                    <a:pt x="14" y="150"/>
                  </a:lnTo>
                  <a:lnTo>
                    <a:pt x="16" y="162"/>
                  </a:lnTo>
                  <a:lnTo>
                    <a:pt x="17" y="173"/>
                  </a:lnTo>
                  <a:lnTo>
                    <a:pt x="18" y="185"/>
                  </a:lnTo>
                  <a:lnTo>
                    <a:pt x="19" y="208"/>
                  </a:lnTo>
                  <a:lnTo>
                    <a:pt x="19" y="230"/>
                  </a:lnTo>
                  <a:lnTo>
                    <a:pt x="16" y="256"/>
                  </a:lnTo>
                  <a:lnTo>
                    <a:pt x="11" y="289"/>
                  </a:lnTo>
                  <a:lnTo>
                    <a:pt x="9" y="306"/>
                  </a:lnTo>
                  <a:lnTo>
                    <a:pt x="8" y="321"/>
                  </a:lnTo>
                  <a:lnTo>
                    <a:pt x="8" y="336"/>
                  </a:lnTo>
                  <a:lnTo>
                    <a:pt x="10" y="347"/>
                  </a:lnTo>
                  <a:lnTo>
                    <a:pt x="14" y="357"/>
                  </a:lnTo>
                  <a:lnTo>
                    <a:pt x="21" y="370"/>
                  </a:lnTo>
                  <a:lnTo>
                    <a:pt x="30" y="387"/>
                  </a:lnTo>
                  <a:lnTo>
                    <a:pt x="42" y="404"/>
                  </a:lnTo>
                  <a:lnTo>
                    <a:pt x="54" y="421"/>
                  </a:lnTo>
                  <a:lnTo>
                    <a:pt x="66" y="435"/>
                  </a:lnTo>
                  <a:lnTo>
                    <a:pt x="72" y="441"/>
                  </a:lnTo>
                  <a:lnTo>
                    <a:pt x="77" y="444"/>
                  </a:lnTo>
                  <a:lnTo>
                    <a:pt x="82" y="447"/>
                  </a:lnTo>
                  <a:lnTo>
                    <a:pt x="86" y="448"/>
                  </a:lnTo>
                  <a:lnTo>
                    <a:pt x="88" y="453"/>
                  </a:lnTo>
                  <a:lnTo>
                    <a:pt x="96" y="458"/>
                  </a:lnTo>
                  <a:lnTo>
                    <a:pt x="106" y="466"/>
                  </a:lnTo>
                  <a:lnTo>
                    <a:pt x="120" y="473"/>
                  </a:lnTo>
                  <a:lnTo>
                    <a:pt x="133" y="480"/>
                  </a:lnTo>
                  <a:lnTo>
                    <a:pt x="147" y="484"/>
                  </a:lnTo>
                  <a:lnTo>
                    <a:pt x="152" y="486"/>
                  </a:lnTo>
                  <a:lnTo>
                    <a:pt x="158" y="486"/>
                  </a:lnTo>
                  <a:lnTo>
                    <a:pt x="162" y="486"/>
                  </a:lnTo>
                  <a:lnTo>
                    <a:pt x="165" y="485"/>
                  </a:lnTo>
                  <a:lnTo>
                    <a:pt x="173" y="480"/>
                  </a:lnTo>
                  <a:lnTo>
                    <a:pt x="182" y="471"/>
                  </a:lnTo>
                  <a:lnTo>
                    <a:pt x="190" y="462"/>
                  </a:lnTo>
                  <a:lnTo>
                    <a:pt x="195" y="456"/>
                  </a:lnTo>
                  <a:lnTo>
                    <a:pt x="197" y="447"/>
                  </a:lnTo>
                  <a:lnTo>
                    <a:pt x="201" y="432"/>
                  </a:lnTo>
                  <a:lnTo>
                    <a:pt x="206" y="415"/>
                  </a:lnTo>
                  <a:lnTo>
                    <a:pt x="208" y="406"/>
                  </a:lnTo>
                  <a:lnTo>
                    <a:pt x="220" y="393"/>
                  </a:lnTo>
                  <a:lnTo>
                    <a:pt x="232" y="377"/>
                  </a:lnTo>
                  <a:lnTo>
                    <a:pt x="239" y="370"/>
                  </a:lnTo>
                  <a:lnTo>
                    <a:pt x="245" y="364"/>
                  </a:lnTo>
                  <a:lnTo>
                    <a:pt x="249" y="356"/>
                  </a:lnTo>
                  <a:lnTo>
                    <a:pt x="254" y="347"/>
                  </a:lnTo>
                  <a:lnTo>
                    <a:pt x="254" y="345"/>
                  </a:lnTo>
                  <a:lnTo>
                    <a:pt x="255" y="342"/>
                  </a:lnTo>
                  <a:lnTo>
                    <a:pt x="257" y="340"/>
                  </a:lnTo>
                  <a:lnTo>
                    <a:pt x="261" y="335"/>
                  </a:lnTo>
                  <a:lnTo>
                    <a:pt x="264" y="335"/>
                  </a:lnTo>
                  <a:lnTo>
                    <a:pt x="268" y="332"/>
                  </a:lnTo>
                  <a:lnTo>
                    <a:pt x="273" y="329"/>
                  </a:lnTo>
                  <a:lnTo>
                    <a:pt x="275" y="327"/>
                  </a:lnTo>
                  <a:lnTo>
                    <a:pt x="277" y="313"/>
                  </a:lnTo>
                  <a:lnTo>
                    <a:pt x="278" y="294"/>
                  </a:lnTo>
                  <a:lnTo>
                    <a:pt x="278" y="275"/>
                  </a:lnTo>
                  <a:lnTo>
                    <a:pt x="278" y="260"/>
                  </a:lnTo>
                  <a:lnTo>
                    <a:pt x="278" y="255"/>
                  </a:lnTo>
                  <a:lnTo>
                    <a:pt x="275" y="251"/>
                  </a:lnTo>
                  <a:lnTo>
                    <a:pt x="272" y="246"/>
                  </a:lnTo>
                  <a:lnTo>
                    <a:pt x="268" y="241"/>
                  </a:lnTo>
                  <a:lnTo>
                    <a:pt x="259" y="230"/>
                  </a:lnTo>
                  <a:lnTo>
                    <a:pt x="254" y="222"/>
                  </a:lnTo>
                  <a:lnTo>
                    <a:pt x="248" y="214"/>
                  </a:lnTo>
                  <a:lnTo>
                    <a:pt x="241" y="205"/>
                  </a:lnTo>
                  <a:lnTo>
                    <a:pt x="234" y="196"/>
                  </a:lnTo>
                  <a:lnTo>
                    <a:pt x="228" y="188"/>
                  </a:lnTo>
                  <a:lnTo>
                    <a:pt x="224" y="181"/>
                  </a:lnTo>
                  <a:lnTo>
                    <a:pt x="216" y="172"/>
                  </a:lnTo>
                  <a:lnTo>
                    <a:pt x="208" y="163"/>
                  </a:lnTo>
                  <a:lnTo>
                    <a:pt x="203" y="155"/>
                  </a:lnTo>
                  <a:lnTo>
                    <a:pt x="200" y="149"/>
                  </a:lnTo>
                  <a:lnTo>
                    <a:pt x="192" y="142"/>
                  </a:lnTo>
                  <a:lnTo>
                    <a:pt x="183" y="133"/>
                  </a:lnTo>
                  <a:lnTo>
                    <a:pt x="172" y="125"/>
                  </a:lnTo>
                  <a:lnTo>
                    <a:pt x="153" y="109"/>
                  </a:lnTo>
                  <a:lnTo>
                    <a:pt x="144" y="100"/>
                  </a:lnTo>
                  <a:lnTo>
                    <a:pt x="136" y="100"/>
                  </a:lnTo>
                  <a:lnTo>
                    <a:pt x="133" y="96"/>
                  </a:lnTo>
                  <a:lnTo>
                    <a:pt x="128" y="90"/>
                  </a:lnTo>
                  <a:lnTo>
                    <a:pt x="121" y="83"/>
                  </a:lnTo>
                  <a:lnTo>
                    <a:pt x="115" y="79"/>
                  </a:lnTo>
                  <a:lnTo>
                    <a:pt x="101" y="69"/>
                  </a:lnTo>
                  <a:lnTo>
                    <a:pt x="86" y="58"/>
                  </a:lnTo>
                  <a:lnTo>
                    <a:pt x="86" y="50"/>
                  </a:lnTo>
                  <a:lnTo>
                    <a:pt x="84" y="49"/>
                  </a:lnTo>
                  <a:lnTo>
                    <a:pt x="82" y="46"/>
                  </a:lnTo>
                  <a:lnTo>
                    <a:pt x="81" y="42"/>
                  </a:lnTo>
                  <a:lnTo>
                    <a:pt x="78" y="37"/>
                  </a:lnTo>
                  <a:lnTo>
                    <a:pt x="75" y="27"/>
                  </a:lnTo>
                  <a:lnTo>
                    <a:pt x="74" y="21"/>
                  </a:lnTo>
                  <a:lnTo>
                    <a:pt x="71" y="19"/>
                  </a:lnTo>
                  <a:lnTo>
                    <a:pt x="63" y="14"/>
                  </a:lnTo>
                  <a:lnTo>
                    <a:pt x="56" y="9"/>
                  </a:lnTo>
                  <a:lnTo>
                    <a:pt x="53" y="4"/>
                  </a:lnTo>
                  <a:lnTo>
                    <a:pt x="46" y="4"/>
                  </a:lnTo>
                  <a:lnTo>
                    <a:pt x="39" y="4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3" name="Freeform 80"/>
            <p:cNvSpPr>
              <a:spLocks noChangeAspect="1"/>
            </p:cNvSpPr>
            <p:nvPr/>
          </p:nvSpPr>
          <p:spPr bwMode="gray">
            <a:xfrm rot="355651">
              <a:off x="7293444" y="4352925"/>
              <a:ext cx="138592" cy="67070"/>
            </a:xfrm>
            <a:custGeom>
              <a:avLst/>
              <a:gdLst/>
              <a:ahLst/>
              <a:cxnLst>
                <a:cxn ang="0">
                  <a:pos x="464" y="86"/>
                </a:cxn>
                <a:cxn ang="0">
                  <a:pos x="435" y="118"/>
                </a:cxn>
                <a:cxn ang="0">
                  <a:pos x="405" y="140"/>
                </a:cxn>
                <a:cxn ang="0">
                  <a:pos x="371" y="167"/>
                </a:cxn>
                <a:cxn ang="0">
                  <a:pos x="339" y="189"/>
                </a:cxn>
                <a:cxn ang="0">
                  <a:pos x="324" y="204"/>
                </a:cxn>
                <a:cxn ang="0">
                  <a:pos x="290" y="230"/>
                </a:cxn>
                <a:cxn ang="0">
                  <a:pos x="265" y="241"/>
                </a:cxn>
                <a:cxn ang="0">
                  <a:pos x="235" y="251"/>
                </a:cxn>
                <a:cxn ang="0">
                  <a:pos x="211" y="266"/>
                </a:cxn>
                <a:cxn ang="0">
                  <a:pos x="130" y="289"/>
                </a:cxn>
                <a:cxn ang="0">
                  <a:pos x="45" y="326"/>
                </a:cxn>
                <a:cxn ang="0">
                  <a:pos x="13" y="337"/>
                </a:cxn>
                <a:cxn ang="0">
                  <a:pos x="0" y="351"/>
                </a:cxn>
                <a:cxn ang="0">
                  <a:pos x="34" y="360"/>
                </a:cxn>
                <a:cxn ang="0">
                  <a:pos x="75" y="377"/>
                </a:cxn>
                <a:cxn ang="0">
                  <a:pos x="115" y="396"/>
                </a:cxn>
                <a:cxn ang="0">
                  <a:pos x="138" y="408"/>
                </a:cxn>
                <a:cxn ang="0">
                  <a:pos x="188" y="412"/>
                </a:cxn>
                <a:cxn ang="0">
                  <a:pos x="229" y="398"/>
                </a:cxn>
                <a:cxn ang="0">
                  <a:pos x="275" y="380"/>
                </a:cxn>
                <a:cxn ang="0">
                  <a:pos x="310" y="364"/>
                </a:cxn>
                <a:cxn ang="0">
                  <a:pos x="352" y="360"/>
                </a:cxn>
                <a:cxn ang="0">
                  <a:pos x="364" y="368"/>
                </a:cxn>
                <a:cxn ang="0">
                  <a:pos x="395" y="388"/>
                </a:cxn>
                <a:cxn ang="0">
                  <a:pos x="415" y="393"/>
                </a:cxn>
                <a:cxn ang="0">
                  <a:pos x="447" y="383"/>
                </a:cxn>
                <a:cxn ang="0">
                  <a:pos x="446" y="342"/>
                </a:cxn>
                <a:cxn ang="0">
                  <a:pos x="436" y="327"/>
                </a:cxn>
                <a:cxn ang="0">
                  <a:pos x="434" y="312"/>
                </a:cxn>
                <a:cxn ang="0">
                  <a:pos x="432" y="297"/>
                </a:cxn>
                <a:cxn ang="0">
                  <a:pos x="457" y="263"/>
                </a:cxn>
                <a:cxn ang="0">
                  <a:pos x="461" y="252"/>
                </a:cxn>
                <a:cxn ang="0">
                  <a:pos x="477" y="233"/>
                </a:cxn>
                <a:cxn ang="0">
                  <a:pos x="496" y="216"/>
                </a:cxn>
                <a:cxn ang="0">
                  <a:pos x="517" y="204"/>
                </a:cxn>
                <a:cxn ang="0">
                  <a:pos x="544" y="185"/>
                </a:cxn>
                <a:cxn ang="0">
                  <a:pos x="563" y="173"/>
                </a:cxn>
                <a:cxn ang="0">
                  <a:pos x="587" y="160"/>
                </a:cxn>
                <a:cxn ang="0">
                  <a:pos x="639" y="148"/>
                </a:cxn>
                <a:cxn ang="0">
                  <a:pos x="716" y="126"/>
                </a:cxn>
                <a:cxn ang="0">
                  <a:pos x="763" y="100"/>
                </a:cxn>
                <a:cxn ang="0">
                  <a:pos x="733" y="82"/>
                </a:cxn>
                <a:cxn ang="0">
                  <a:pos x="681" y="72"/>
                </a:cxn>
                <a:cxn ang="0">
                  <a:pos x="642" y="63"/>
                </a:cxn>
                <a:cxn ang="0">
                  <a:pos x="611" y="48"/>
                </a:cxn>
                <a:cxn ang="0">
                  <a:pos x="594" y="34"/>
                </a:cxn>
                <a:cxn ang="0">
                  <a:pos x="579" y="16"/>
                </a:cxn>
                <a:cxn ang="0">
                  <a:pos x="570" y="5"/>
                </a:cxn>
                <a:cxn ang="0">
                  <a:pos x="532" y="1"/>
                </a:cxn>
                <a:cxn ang="0">
                  <a:pos x="524" y="21"/>
                </a:cxn>
              </a:cxnLst>
              <a:rect l="0" t="0" r="r" b="b"/>
              <a:pathLst>
                <a:path w="763" h="414">
                  <a:moveTo>
                    <a:pt x="515" y="33"/>
                  </a:moveTo>
                  <a:lnTo>
                    <a:pt x="496" y="50"/>
                  </a:lnTo>
                  <a:lnTo>
                    <a:pt x="475" y="73"/>
                  </a:lnTo>
                  <a:lnTo>
                    <a:pt x="464" y="86"/>
                  </a:lnTo>
                  <a:lnTo>
                    <a:pt x="454" y="97"/>
                  </a:lnTo>
                  <a:lnTo>
                    <a:pt x="446" y="108"/>
                  </a:lnTo>
                  <a:lnTo>
                    <a:pt x="440" y="117"/>
                  </a:lnTo>
                  <a:lnTo>
                    <a:pt x="435" y="118"/>
                  </a:lnTo>
                  <a:lnTo>
                    <a:pt x="429" y="121"/>
                  </a:lnTo>
                  <a:lnTo>
                    <a:pt x="424" y="125"/>
                  </a:lnTo>
                  <a:lnTo>
                    <a:pt x="417" y="130"/>
                  </a:lnTo>
                  <a:lnTo>
                    <a:pt x="405" y="140"/>
                  </a:lnTo>
                  <a:lnTo>
                    <a:pt x="393" y="146"/>
                  </a:lnTo>
                  <a:lnTo>
                    <a:pt x="388" y="154"/>
                  </a:lnTo>
                  <a:lnTo>
                    <a:pt x="380" y="160"/>
                  </a:lnTo>
                  <a:lnTo>
                    <a:pt x="371" y="167"/>
                  </a:lnTo>
                  <a:lnTo>
                    <a:pt x="361" y="174"/>
                  </a:lnTo>
                  <a:lnTo>
                    <a:pt x="351" y="179"/>
                  </a:lnTo>
                  <a:lnTo>
                    <a:pt x="342" y="186"/>
                  </a:lnTo>
                  <a:lnTo>
                    <a:pt x="339" y="189"/>
                  </a:lnTo>
                  <a:lnTo>
                    <a:pt x="335" y="193"/>
                  </a:lnTo>
                  <a:lnTo>
                    <a:pt x="333" y="197"/>
                  </a:lnTo>
                  <a:lnTo>
                    <a:pt x="331" y="201"/>
                  </a:lnTo>
                  <a:lnTo>
                    <a:pt x="324" y="204"/>
                  </a:lnTo>
                  <a:lnTo>
                    <a:pt x="313" y="212"/>
                  </a:lnTo>
                  <a:lnTo>
                    <a:pt x="302" y="221"/>
                  </a:lnTo>
                  <a:lnTo>
                    <a:pt x="297" y="226"/>
                  </a:lnTo>
                  <a:lnTo>
                    <a:pt x="290" y="230"/>
                  </a:lnTo>
                  <a:lnTo>
                    <a:pt x="282" y="232"/>
                  </a:lnTo>
                  <a:lnTo>
                    <a:pt x="274" y="236"/>
                  </a:lnTo>
                  <a:lnTo>
                    <a:pt x="269" y="239"/>
                  </a:lnTo>
                  <a:lnTo>
                    <a:pt x="265" y="241"/>
                  </a:lnTo>
                  <a:lnTo>
                    <a:pt x="261" y="242"/>
                  </a:lnTo>
                  <a:lnTo>
                    <a:pt x="256" y="243"/>
                  </a:lnTo>
                  <a:lnTo>
                    <a:pt x="247" y="251"/>
                  </a:lnTo>
                  <a:lnTo>
                    <a:pt x="235" y="251"/>
                  </a:lnTo>
                  <a:lnTo>
                    <a:pt x="229" y="255"/>
                  </a:lnTo>
                  <a:lnTo>
                    <a:pt x="224" y="260"/>
                  </a:lnTo>
                  <a:lnTo>
                    <a:pt x="218" y="263"/>
                  </a:lnTo>
                  <a:lnTo>
                    <a:pt x="211" y="266"/>
                  </a:lnTo>
                  <a:lnTo>
                    <a:pt x="198" y="272"/>
                  </a:lnTo>
                  <a:lnTo>
                    <a:pt x="184" y="277"/>
                  </a:lnTo>
                  <a:lnTo>
                    <a:pt x="155" y="283"/>
                  </a:lnTo>
                  <a:lnTo>
                    <a:pt x="130" y="289"/>
                  </a:lnTo>
                  <a:lnTo>
                    <a:pt x="105" y="299"/>
                  </a:lnTo>
                  <a:lnTo>
                    <a:pt x="75" y="313"/>
                  </a:lnTo>
                  <a:lnTo>
                    <a:pt x="60" y="320"/>
                  </a:lnTo>
                  <a:lnTo>
                    <a:pt x="45" y="326"/>
                  </a:lnTo>
                  <a:lnTo>
                    <a:pt x="32" y="329"/>
                  </a:lnTo>
                  <a:lnTo>
                    <a:pt x="21" y="330"/>
                  </a:lnTo>
                  <a:lnTo>
                    <a:pt x="17" y="333"/>
                  </a:lnTo>
                  <a:lnTo>
                    <a:pt x="13" y="337"/>
                  </a:lnTo>
                  <a:lnTo>
                    <a:pt x="9" y="340"/>
                  </a:lnTo>
                  <a:lnTo>
                    <a:pt x="8" y="343"/>
                  </a:lnTo>
                  <a:lnTo>
                    <a:pt x="0" y="343"/>
                  </a:lnTo>
                  <a:lnTo>
                    <a:pt x="0" y="351"/>
                  </a:lnTo>
                  <a:lnTo>
                    <a:pt x="7" y="355"/>
                  </a:lnTo>
                  <a:lnTo>
                    <a:pt x="15" y="357"/>
                  </a:lnTo>
                  <a:lnTo>
                    <a:pt x="24" y="359"/>
                  </a:lnTo>
                  <a:lnTo>
                    <a:pt x="34" y="360"/>
                  </a:lnTo>
                  <a:lnTo>
                    <a:pt x="42" y="366"/>
                  </a:lnTo>
                  <a:lnTo>
                    <a:pt x="53" y="371"/>
                  </a:lnTo>
                  <a:lnTo>
                    <a:pt x="65" y="375"/>
                  </a:lnTo>
                  <a:lnTo>
                    <a:pt x="75" y="377"/>
                  </a:lnTo>
                  <a:lnTo>
                    <a:pt x="80" y="385"/>
                  </a:lnTo>
                  <a:lnTo>
                    <a:pt x="90" y="387"/>
                  </a:lnTo>
                  <a:lnTo>
                    <a:pt x="103" y="391"/>
                  </a:lnTo>
                  <a:lnTo>
                    <a:pt x="115" y="396"/>
                  </a:lnTo>
                  <a:lnTo>
                    <a:pt x="125" y="398"/>
                  </a:lnTo>
                  <a:lnTo>
                    <a:pt x="129" y="402"/>
                  </a:lnTo>
                  <a:lnTo>
                    <a:pt x="133" y="405"/>
                  </a:lnTo>
                  <a:lnTo>
                    <a:pt x="138" y="408"/>
                  </a:lnTo>
                  <a:lnTo>
                    <a:pt x="142" y="410"/>
                  </a:lnTo>
                  <a:lnTo>
                    <a:pt x="153" y="413"/>
                  </a:lnTo>
                  <a:lnTo>
                    <a:pt x="165" y="414"/>
                  </a:lnTo>
                  <a:lnTo>
                    <a:pt x="188" y="412"/>
                  </a:lnTo>
                  <a:lnTo>
                    <a:pt x="209" y="410"/>
                  </a:lnTo>
                  <a:lnTo>
                    <a:pt x="214" y="402"/>
                  </a:lnTo>
                  <a:lnTo>
                    <a:pt x="220" y="400"/>
                  </a:lnTo>
                  <a:lnTo>
                    <a:pt x="229" y="398"/>
                  </a:lnTo>
                  <a:lnTo>
                    <a:pt x="240" y="395"/>
                  </a:lnTo>
                  <a:lnTo>
                    <a:pt x="253" y="390"/>
                  </a:lnTo>
                  <a:lnTo>
                    <a:pt x="265" y="386"/>
                  </a:lnTo>
                  <a:lnTo>
                    <a:pt x="275" y="380"/>
                  </a:lnTo>
                  <a:lnTo>
                    <a:pt x="284" y="376"/>
                  </a:lnTo>
                  <a:lnTo>
                    <a:pt x="290" y="373"/>
                  </a:lnTo>
                  <a:lnTo>
                    <a:pt x="302" y="373"/>
                  </a:lnTo>
                  <a:lnTo>
                    <a:pt x="310" y="364"/>
                  </a:lnTo>
                  <a:lnTo>
                    <a:pt x="319" y="364"/>
                  </a:lnTo>
                  <a:lnTo>
                    <a:pt x="330" y="362"/>
                  </a:lnTo>
                  <a:lnTo>
                    <a:pt x="341" y="360"/>
                  </a:lnTo>
                  <a:lnTo>
                    <a:pt x="352" y="360"/>
                  </a:lnTo>
                  <a:lnTo>
                    <a:pt x="353" y="362"/>
                  </a:lnTo>
                  <a:lnTo>
                    <a:pt x="357" y="366"/>
                  </a:lnTo>
                  <a:lnTo>
                    <a:pt x="361" y="368"/>
                  </a:lnTo>
                  <a:lnTo>
                    <a:pt x="364" y="368"/>
                  </a:lnTo>
                  <a:lnTo>
                    <a:pt x="369" y="377"/>
                  </a:lnTo>
                  <a:lnTo>
                    <a:pt x="377" y="380"/>
                  </a:lnTo>
                  <a:lnTo>
                    <a:pt x="386" y="385"/>
                  </a:lnTo>
                  <a:lnTo>
                    <a:pt x="395" y="388"/>
                  </a:lnTo>
                  <a:lnTo>
                    <a:pt x="402" y="389"/>
                  </a:lnTo>
                  <a:lnTo>
                    <a:pt x="403" y="390"/>
                  </a:lnTo>
                  <a:lnTo>
                    <a:pt x="408" y="391"/>
                  </a:lnTo>
                  <a:lnTo>
                    <a:pt x="415" y="393"/>
                  </a:lnTo>
                  <a:lnTo>
                    <a:pt x="421" y="393"/>
                  </a:lnTo>
                  <a:lnTo>
                    <a:pt x="436" y="394"/>
                  </a:lnTo>
                  <a:lnTo>
                    <a:pt x="444" y="394"/>
                  </a:lnTo>
                  <a:lnTo>
                    <a:pt x="447" y="383"/>
                  </a:lnTo>
                  <a:lnTo>
                    <a:pt x="448" y="368"/>
                  </a:lnTo>
                  <a:lnTo>
                    <a:pt x="448" y="355"/>
                  </a:lnTo>
                  <a:lnTo>
                    <a:pt x="448" y="343"/>
                  </a:lnTo>
                  <a:lnTo>
                    <a:pt x="446" y="342"/>
                  </a:lnTo>
                  <a:lnTo>
                    <a:pt x="445" y="340"/>
                  </a:lnTo>
                  <a:lnTo>
                    <a:pt x="444" y="338"/>
                  </a:lnTo>
                  <a:lnTo>
                    <a:pt x="444" y="335"/>
                  </a:lnTo>
                  <a:lnTo>
                    <a:pt x="436" y="327"/>
                  </a:lnTo>
                  <a:lnTo>
                    <a:pt x="436" y="320"/>
                  </a:lnTo>
                  <a:lnTo>
                    <a:pt x="436" y="313"/>
                  </a:lnTo>
                  <a:lnTo>
                    <a:pt x="435" y="313"/>
                  </a:lnTo>
                  <a:lnTo>
                    <a:pt x="434" y="312"/>
                  </a:lnTo>
                  <a:lnTo>
                    <a:pt x="432" y="311"/>
                  </a:lnTo>
                  <a:lnTo>
                    <a:pt x="432" y="309"/>
                  </a:lnTo>
                  <a:lnTo>
                    <a:pt x="432" y="303"/>
                  </a:lnTo>
                  <a:lnTo>
                    <a:pt x="432" y="297"/>
                  </a:lnTo>
                  <a:lnTo>
                    <a:pt x="435" y="285"/>
                  </a:lnTo>
                  <a:lnTo>
                    <a:pt x="436" y="280"/>
                  </a:lnTo>
                  <a:lnTo>
                    <a:pt x="445" y="272"/>
                  </a:lnTo>
                  <a:lnTo>
                    <a:pt x="457" y="263"/>
                  </a:lnTo>
                  <a:lnTo>
                    <a:pt x="457" y="261"/>
                  </a:lnTo>
                  <a:lnTo>
                    <a:pt x="458" y="258"/>
                  </a:lnTo>
                  <a:lnTo>
                    <a:pt x="459" y="254"/>
                  </a:lnTo>
                  <a:lnTo>
                    <a:pt x="461" y="252"/>
                  </a:lnTo>
                  <a:lnTo>
                    <a:pt x="467" y="246"/>
                  </a:lnTo>
                  <a:lnTo>
                    <a:pt x="474" y="243"/>
                  </a:lnTo>
                  <a:lnTo>
                    <a:pt x="475" y="237"/>
                  </a:lnTo>
                  <a:lnTo>
                    <a:pt x="477" y="233"/>
                  </a:lnTo>
                  <a:lnTo>
                    <a:pt x="480" y="227"/>
                  </a:lnTo>
                  <a:lnTo>
                    <a:pt x="486" y="223"/>
                  </a:lnTo>
                  <a:lnTo>
                    <a:pt x="491" y="220"/>
                  </a:lnTo>
                  <a:lnTo>
                    <a:pt x="496" y="216"/>
                  </a:lnTo>
                  <a:lnTo>
                    <a:pt x="502" y="214"/>
                  </a:lnTo>
                  <a:lnTo>
                    <a:pt x="507" y="213"/>
                  </a:lnTo>
                  <a:lnTo>
                    <a:pt x="511" y="205"/>
                  </a:lnTo>
                  <a:lnTo>
                    <a:pt x="517" y="204"/>
                  </a:lnTo>
                  <a:lnTo>
                    <a:pt x="524" y="201"/>
                  </a:lnTo>
                  <a:lnTo>
                    <a:pt x="531" y="196"/>
                  </a:lnTo>
                  <a:lnTo>
                    <a:pt x="537" y="191"/>
                  </a:lnTo>
                  <a:lnTo>
                    <a:pt x="544" y="185"/>
                  </a:lnTo>
                  <a:lnTo>
                    <a:pt x="551" y="181"/>
                  </a:lnTo>
                  <a:lnTo>
                    <a:pt x="556" y="177"/>
                  </a:lnTo>
                  <a:lnTo>
                    <a:pt x="562" y="176"/>
                  </a:lnTo>
                  <a:lnTo>
                    <a:pt x="563" y="173"/>
                  </a:lnTo>
                  <a:lnTo>
                    <a:pt x="565" y="169"/>
                  </a:lnTo>
                  <a:lnTo>
                    <a:pt x="570" y="167"/>
                  </a:lnTo>
                  <a:lnTo>
                    <a:pt x="575" y="164"/>
                  </a:lnTo>
                  <a:lnTo>
                    <a:pt x="587" y="160"/>
                  </a:lnTo>
                  <a:lnTo>
                    <a:pt x="595" y="159"/>
                  </a:lnTo>
                  <a:lnTo>
                    <a:pt x="603" y="150"/>
                  </a:lnTo>
                  <a:lnTo>
                    <a:pt x="621" y="149"/>
                  </a:lnTo>
                  <a:lnTo>
                    <a:pt x="639" y="148"/>
                  </a:lnTo>
                  <a:lnTo>
                    <a:pt x="655" y="145"/>
                  </a:lnTo>
                  <a:lnTo>
                    <a:pt x="670" y="143"/>
                  </a:lnTo>
                  <a:lnTo>
                    <a:pt x="689" y="136"/>
                  </a:lnTo>
                  <a:lnTo>
                    <a:pt x="716" y="126"/>
                  </a:lnTo>
                  <a:lnTo>
                    <a:pt x="742" y="117"/>
                  </a:lnTo>
                  <a:lnTo>
                    <a:pt x="758" y="112"/>
                  </a:lnTo>
                  <a:lnTo>
                    <a:pt x="763" y="109"/>
                  </a:lnTo>
                  <a:lnTo>
                    <a:pt x="763" y="100"/>
                  </a:lnTo>
                  <a:lnTo>
                    <a:pt x="763" y="91"/>
                  </a:lnTo>
                  <a:lnTo>
                    <a:pt x="754" y="91"/>
                  </a:lnTo>
                  <a:lnTo>
                    <a:pt x="746" y="83"/>
                  </a:lnTo>
                  <a:lnTo>
                    <a:pt x="733" y="82"/>
                  </a:lnTo>
                  <a:lnTo>
                    <a:pt x="720" y="81"/>
                  </a:lnTo>
                  <a:lnTo>
                    <a:pt x="707" y="78"/>
                  </a:lnTo>
                  <a:lnTo>
                    <a:pt x="694" y="75"/>
                  </a:lnTo>
                  <a:lnTo>
                    <a:pt x="681" y="72"/>
                  </a:lnTo>
                  <a:lnTo>
                    <a:pt x="669" y="69"/>
                  </a:lnTo>
                  <a:lnTo>
                    <a:pt x="657" y="68"/>
                  </a:lnTo>
                  <a:lnTo>
                    <a:pt x="646" y="67"/>
                  </a:lnTo>
                  <a:lnTo>
                    <a:pt x="642" y="63"/>
                  </a:lnTo>
                  <a:lnTo>
                    <a:pt x="635" y="59"/>
                  </a:lnTo>
                  <a:lnTo>
                    <a:pt x="626" y="56"/>
                  </a:lnTo>
                  <a:lnTo>
                    <a:pt x="620" y="54"/>
                  </a:lnTo>
                  <a:lnTo>
                    <a:pt x="611" y="48"/>
                  </a:lnTo>
                  <a:lnTo>
                    <a:pt x="599" y="41"/>
                  </a:lnTo>
                  <a:lnTo>
                    <a:pt x="599" y="40"/>
                  </a:lnTo>
                  <a:lnTo>
                    <a:pt x="597" y="38"/>
                  </a:lnTo>
                  <a:lnTo>
                    <a:pt x="594" y="34"/>
                  </a:lnTo>
                  <a:lnTo>
                    <a:pt x="591" y="33"/>
                  </a:lnTo>
                  <a:lnTo>
                    <a:pt x="591" y="24"/>
                  </a:lnTo>
                  <a:lnTo>
                    <a:pt x="587" y="21"/>
                  </a:lnTo>
                  <a:lnTo>
                    <a:pt x="579" y="16"/>
                  </a:lnTo>
                  <a:lnTo>
                    <a:pt x="578" y="13"/>
                  </a:lnTo>
                  <a:lnTo>
                    <a:pt x="575" y="10"/>
                  </a:lnTo>
                  <a:lnTo>
                    <a:pt x="573" y="8"/>
                  </a:lnTo>
                  <a:lnTo>
                    <a:pt x="570" y="5"/>
                  </a:lnTo>
                  <a:lnTo>
                    <a:pt x="564" y="1"/>
                  </a:lnTo>
                  <a:lnTo>
                    <a:pt x="562" y="0"/>
                  </a:lnTo>
                  <a:lnTo>
                    <a:pt x="532" y="0"/>
                  </a:lnTo>
                  <a:lnTo>
                    <a:pt x="532" y="1"/>
                  </a:lnTo>
                  <a:lnTo>
                    <a:pt x="530" y="4"/>
                  </a:lnTo>
                  <a:lnTo>
                    <a:pt x="527" y="6"/>
                  </a:lnTo>
                  <a:lnTo>
                    <a:pt x="524" y="8"/>
                  </a:lnTo>
                  <a:lnTo>
                    <a:pt x="524" y="21"/>
                  </a:lnTo>
                  <a:lnTo>
                    <a:pt x="520" y="25"/>
                  </a:lnTo>
                  <a:lnTo>
                    <a:pt x="515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4" name="Freeform 81"/>
            <p:cNvSpPr>
              <a:spLocks noChangeAspect="1"/>
            </p:cNvSpPr>
            <p:nvPr/>
          </p:nvSpPr>
          <p:spPr bwMode="gray">
            <a:xfrm rot="355651">
              <a:off x="7293444" y="4352925"/>
              <a:ext cx="138592" cy="67070"/>
            </a:xfrm>
            <a:custGeom>
              <a:avLst/>
              <a:gdLst/>
              <a:ahLst/>
              <a:cxnLst>
                <a:cxn ang="0">
                  <a:pos x="464" y="86"/>
                </a:cxn>
                <a:cxn ang="0">
                  <a:pos x="435" y="118"/>
                </a:cxn>
                <a:cxn ang="0">
                  <a:pos x="405" y="140"/>
                </a:cxn>
                <a:cxn ang="0">
                  <a:pos x="371" y="167"/>
                </a:cxn>
                <a:cxn ang="0">
                  <a:pos x="339" y="189"/>
                </a:cxn>
                <a:cxn ang="0">
                  <a:pos x="324" y="204"/>
                </a:cxn>
                <a:cxn ang="0">
                  <a:pos x="290" y="230"/>
                </a:cxn>
                <a:cxn ang="0">
                  <a:pos x="265" y="241"/>
                </a:cxn>
                <a:cxn ang="0">
                  <a:pos x="235" y="251"/>
                </a:cxn>
                <a:cxn ang="0">
                  <a:pos x="211" y="266"/>
                </a:cxn>
                <a:cxn ang="0">
                  <a:pos x="130" y="289"/>
                </a:cxn>
                <a:cxn ang="0">
                  <a:pos x="45" y="326"/>
                </a:cxn>
                <a:cxn ang="0">
                  <a:pos x="13" y="337"/>
                </a:cxn>
                <a:cxn ang="0">
                  <a:pos x="0" y="351"/>
                </a:cxn>
                <a:cxn ang="0">
                  <a:pos x="34" y="360"/>
                </a:cxn>
                <a:cxn ang="0">
                  <a:pos x="75" y="377"/>
                </a:cxn>
                <a:cxn ang="0">
                  <a:pos x="115" y="396"/>
                </a:cxn>
                <a:cxn ang="0">
                  <a:pos x="138" y="408"/>
                </a:cxn>
                <a:cxn ang="0">
                  <a:pos x="188" y="412"/>
                </a:cxn>
                <a:cxn ang="0">
                  <a:pos x="229" y="398"/>
                </a:cxn>
                <a:cxn ang="0">
                  <a:pos x="275" y="380"/>
                </a:cxn>
                <a:cxn ang="0">
                  <a:pos x="310" y="364"/>
                </a:cxn>
                <a:cxn ang="0">
                  <a:pos x="352" y="360"/>
                </a:cxn>
                <a:cxn ang="0">
                  <a:pos x="364" y="368"/>
                </a:cxn>
                <a:cxn ang="0">
                  <a:pos x="395" y="388"/>
                </a:cxn>
                <a:cxn ang="0">
                  <a:pos x="415" y="393"/>
                </a:cxn>
                <a:cxn ang="0">
                  <a:pos x="447" y="383"/>
                </a:cxn>
                <a:cxn ang="0">
                  <a:pos x="446" y="342"/>
                </a:cxn>
                <a:cxn ang="0">
                  <a:pos x="436" y="327"/>
                </a:cxn>
                <a:cxn ang="0">
                  <a:pos x="434" y="312"/>
                </a:cxn>
                <a:cxn ang="0">
                  <a:pos x="432" y="297"/>
                </a:cxn>
                <a:cxn ang="0">
                  <a:pos x="457" y="263"/>
                </a:cxn>
                <a:cxn ang="0">
                  <a:pos x="461" y="252"/>
                </a:cxn>
                <a:cxn ang="0">
                  <a:pos x="477" y="233"/>
                </a:cxn>
                <a:cxn ang="0">
                  <a:pos x="496" y="216"/>
                </a:cxn>
                <a:cxn ang="0">
                  <a:pos x="517" y="204"/>
                </a:cxn>
                <a:cxn ang="0">
                  <a:pos x="544" y="185"/>
                </a:cxn>
                <a:cxn ang="0">
                  <a:pos x="563" y="173"/>
                </a:cxn>
                <a:cxn ang="0">
                  <a:pos x="587" y="160"/>
                </a:cxn>
                <a:cxn ang="0">
                  <a:pos x="639" y="148"/>
                </a:cxn>
                <a:cxn ang="0">
                  <a:pos x="716" y="126"/>
                </a:cxn>
                <a:cxn ang="0">
                  <a:pos x="763" y="100"/>
                </a:cxn>
                <a:cxn ang="0">
                  <a:pos x="733" y="82"/>
                </a:cxn>
                <a:cxn ang="0">
                  <a:pos x="681" y="72"/>
                </a:cxn>
                <a:cxn ang="0">
                  <a:pos x="642" y="63"/>
                </a:cxn>
                <a:cxn ang="0">
                  <a:pos x="611" y="48"/>
                </a:cxn>
                <a:cxn ang="0">
                  <a:pos x="594" y="34"/>
                </a:cxn>
                <a:cxn ang="0">
                  <a:pos x="579" y="16"/>
                </a:cxn>
                <a:cxn ang="0">
                  <a:pos x="570" y="5"/>
                </a:cxn>
                <a:cxn ang="0">
                  <a:pos x="532" y="1"/>
                </a:cxn>
                <a:cxn ang="0">
                  <a:pos x="524" y="21"/>
                </a:cxn>
              </a:cxnLst>
              <a:rect l="0" t="0" r="r" b="b"/>
              <a:pathLst>
                <a:path w="763" h="414">
                  <a:moveTo>
                    <a:pt x="515" y="33"/>
                  </a:moveTo>
                  <a:lnTo>
                    <a:pt x="496" y="50"/>
                  </a:lnTo>
                  <a:lnTo>
                    <a:pt x="475" y="73"/>
                  </a:lnTo>
                  <a:lnTo>
                    <a:pt x="464" y="86"/>
                  </a:lnTo>
                  <a:lnTo>
                    <a:pt x="454" y="97"/>
                  </a:lnTo>
                  <a:lnTo>
                    <a:pt x="446" y="108"/>
                  </a:lnTo>
                  <a:lnTo>
                    <a:pt x="440" y="117"/>
                  </a:lnTo>
                  <a:lnTo>
                    <a:pt x="435" y="118"/>
                  </a:lnTo>
                  <a:lnTo>
                    <a:pt x="429" y="121"/>
                  </a:lnTo>
                  <a:lnTo>
                    <a:pt x="424" y="125"/>
                  </a:lnTo>
                  <a:lnTo>
                    <a:pt x="417" y="130"/>
                  </a:lnTo>
                  <a:lnTo>
                    <a:pt x="405" y="140"/>
                  </a:lnTo>
                  <a:lnTo>
                    <a:pt x="393" y="146"/>
                  </a:lnTo>
                  <a:lnTo>
                    <a:pt x="388" y="154"/>
                  </a:lnTo>
                  <a:lnTo>
                    <a:pt x="380" y="160"/>
                  </a:lnTo>
                  <a:lnTo>
                    <a:pt x="371" y="167"/>
                  </a:lnTo>
                  <a:lnTo>
                    <a:pt x="361" y="174"/>
                  </a:lnTo>
                  <a:lnTo>
                    <a:pt x="351" y="179"/>
                  </a:lnTo>
                  <a:lnTo>
                    <a:pt x="342" y="186"/>
                  </a:lnTo>
                  <a:lnTo>
                    <a:pt x="339" y="189"/>
                  </a:lnTo>
                  <a:lnTo>
                    <a:pt x="335" y="193"/>
                  </a:lnTo>
                  <a:lnTo>
                    <a:pt x="333" y="197"/>
                  </a:lnTo>
                  <a:lnTo>
                    <a:pt x="331" y="201"/>
                  </a:lnTo>
                  <a:lnTo>
                    <a:pt x="324" y="204"/>
                  </a:lnTo>
                  <a:lnTo>
                    <a:pt x="313" y="212"/>
                  </a:lnTo>
                  <a:lnTo>
                    <a:pt x="302" y="221"/>
                  </a:lnTo>
                  <a:lnTo>
                    <a:pt x="297" y="226"/>
                  </a:lnTo>
                  <a:lnTo>
                    <a:pt x="290" y="230"/>
                  </a:lnTo>
                  <a:lnTo>
                    <a:pt x="282" y="232"/>
                  </a:lnTo>
                  <a:lnTo>
                    <a:pt x="274" y="236"/>
                  </a:lnTo>
                  <a:lnTo>
                    <a:pt x="269" y="239"/>
                  </a:lnTo>
                  <a:lnTo>
                    <a:pt x="265" y="241"/>
                  </a:lnTo>
                  <a:lnTo>
                    <a:pt x="261" y="242"/>
                  </a:lnTo>
                  <a:lnTo>
                    <a:pt x="256" y="243"/>
                  </a:lnTo>
                  <a:lnTo>
                    <a:pt x="247" y="251"/>
                  </a:lnTo>
                  <a:lnTo>
                    <a:pt x="235" y="251"/>
                  </a:lnTo>
                  <a:lnTo>
                    <a:pt x="229" y="255"/>
                  </a:lnTo>
                  <a:lnTo>
                    <a:pt x="224" y="260"/>
                  </a:lnTo>
                  <a:lnTo>
                    <a:pt x="218" y="263"/>
                  </a:lnTo>
                  <a:lnTo>
                    <a:pt x="211" y="266"/>
                  </a:lnTo>
                  <a:lnTo>
                    <a:pt x="198" y="272"/>
                  </a:lnTo>
                  <a:lnTo>
                    <a:pt x="184" y="277"/>
                  </a:lnTo>
                  <a:lnTo>
                    <a:pt x="155" y="283"/>
                  </a:lnTo>
                  <a:lnTo>
                    <a:pt x="130" y="289"/>
                  </a:lnTo>
                  <a:lnTo>
                    <a:pt x="105" y="299"/>
                  </a:lnTo>
                  <a:lnTo>
                    <a:pt x="75" y="313"/>
                  </a:lnTo>
                  <a:lnTo>
                    <a:pt x="60" y="320"/>
                  </a:lnTo>
                  <a:lnTo>
                    <a:pt x="45" y="326"/>
                  </a:lnTo>
                  <a:lnTo>
                    <a:pt x="32" y="329"/>
                  </a:lnTo>
                  <a:lnTo>
                    <a:pt x="21" y="330"/>
                  </a:lnTo>
                  <a:lnTo>
                    <a:pt x="17" y="333"/>
                  </a:lnTo>
                  <a:lnTo>
                    <a:pt x="13" y="337"/>
                  </a:lnTo>
                  <a:lnTo>
                    <a:pt x="9" y="340"/>
                  </a:lnTo>
                  <a:lnTo>
                    <a:pt x="8" y="343"/>
                  </a:lnTo>
                  <a:lnTo>
                    <a:pt x="0" y="343"/>
                  </a:lnTo>
                  <a:lnTo>
                    <a:pt x="0" y="351"/>
                  </a:lnTo>
                  <a:lnTo>
                    <a:pt x="7" y="355"/>
                  </a:lnTo>
                  <a:lnTo>
                    <a:pt x="15" y="357"/>
                  </a:lnTo>
                  <a:lnTo>
                    <a:pt x="24" y="359"/>
                  </a:lnTo>
                  <a:lnTo>
                    <a:pt x="34" y="360"/>
                  </a:lnTo>
                  <a:lnTo>
                    <a:pt x="42" y="366"/>
                  </a:lnTo>
                  <a:lnTo>
                    <a:pt x="53" y="371"/>
                  </a:lnTo>
                  <a:lnTo>
                    <a:pt x="65" y="375"/>
                  </a:lnTo>
                  <a:lnTo>
                    <a:pt x="75" y="377"/>
                  </a:lnTo>
                  <a:lnTo>
                    <a:pt x="80" y="385"/>
                  </a:lnTo>
                  <a:lnTo>
                    <a:pt x="90" y="387"/>
                  </a:lnTo>
                  <a:lnTo>
                    <a:pt x="103" y="391"/>
                  </a:lnTo>
                  <a:lnTo>
                    <a:pt x="115" y="396"/>
                  </a:lnTo>
                  <a:lnTo>
                    <a:pt x="125" y="398"/>
                  </a:lnTo>
                  <a:lnTo>
                    <a:pt x="129" y="402"/>
                  </a:lnTo>
                  <a:lnTo>
                    <a:pt x="133" y="405"/>
                  </a:lnTo>
                  <a:lnTo>
                    <a:pt x="138" y="408"/>
                  </a:lnTo>
                  <a:lnTo>
                    <a:pt x="142" y="410"/>
                  </a:lnTo>
                  <a:lnTo>
                    <a:pt x="153" y="413"/>
                  </a:lnTo>
                  <a:lnTo>
                    <a:pt x="165" y="414"/>
                  </a:lnTo>
                  <a:lnTo>
                    <a:pt x="188" y="412"/>
                  </a:lnTo>
                  <a:lnTo>
                    <a:pt x="209" y="410"/>
                  </a:lnTo>
                  <a:lnTo>
                    <a:pt x="214" y="402"/>
                  </a:lnTo>
                  <a:lnTo>
                    <a:pt x="220" y="400"/>
                  </a:lnTo>
                  <a:lnTo>
                    <a:pt x="229" y="398"/>
                  </a:lnTo>
                  <a:lnTo>
                    <a:pt x="240" y="395"/>
                  </a:lnTo>
                  <a:lnTo>
                    <a:pt x="253" y="390"/>
                  </a:lnTo>
                  <a:lnTo>
                    <a:pt x="265" y="386"/>
                  </a:lnTo>
                  <a:lnTo>
                    <a:pt x="275" y="380"/>
                  </a:lnTo>
                  <a:lnTo>
                    <a:pt x="284" y="376"/>
                  </a:lnTo>
                  <a:lnTo>
                    <a:pt x="290" y="373"/>
                  </a:lnTo>
                  <a:lnTo>
                    <a:pt x="302" y="373"/>
                  </a:lnTo>
                  <a:lnTo>
                    <a:pt x="310" y="364"/>
                  </a:lnTo>
                  <a:lnTo>
                    <a:pt x="319" y="364"/>
                  </a:lnTo>
                  <a:lnTo>
                    <a:pt x="330" y="362"/>
                  </a:lnTo>
                  <a:lnTo>
                    <a:pt x="341" y="360"/>
                  </a:lnTo>
                  <a:lnTo>
                    <a:pt x="352" y="360"/>
                  </a:lnTo>
                  <a:lnTo>
                    <a:pt x="353" y="362"/>
                  </a:lnTo>
                  <a:lnTo>
                    <a:pt x="357" y="366"/>
                  </a:lnTo>
                  <a:lnTo>
                    <a:pt x="361" y="368"/>
                  </a:lnTo>
                  <a:lnTo>
                    <a:pt x="364" y="368"/>
                  </a:lnTo>
                  <a:lnTo>
                    <a:pt x="369" y="377"/>
                  </a:lnTo>
                  <a:lnTo>
                    <a:pt x="377" y="380"/>
                  </a:lnTo>
                  <a:lnTo>
                    <a:pt x="386" y="385"/>
                  </a:lnTo>
                  <a:lnTo>
                    <a:pt x="395" y="388"/>
                  </a:lnTo>
                  <a:lnTo>
                    <a:pt x="402" y="389"/>
                  </a:lnTo>
                  <a:lnTo>
                    <a:pt x="403" y="390"/>
                  </a:lnTo>
                  <a:lnTo>
                    <a:pt x="408" y="391"/>
                  </a:lnTo>
                  <a:lnTo>
                    <a:pt x="415" y="393"/>
                  </a:lnTo>
                  <a:lnTo>
                    <a:pt x="421" y="393"/>
                  </a:lnTo>
                  <a:lnTo>
                    <a:pt x="436" y="394"/>
                  </a:lnTo>
                  <a:lnTo>
                    <a:pt x="444" y="394"/>
                  </a:lnTo>
                  <a:lnTo>
                    <a:pt x="447" y="383"/>
                  </a:lnTo>
                  <a:lnTo>
                    <a:pt x="448" y="368"/>
                  </a:lnTo>
                  <a:lnTo>
                    <a:pt x="448" y="355"/>
                  </a:lnTo>
                  <a:lnTo>
                    <a:pt x="448" y="343"/>
                  </a:lnTo>
                  <a:lnTo>
                    <a:pt x="446" y="342"/>
                  </a:lnTo>
                  <a:lnTo>
                    <a:pt x="445" y="340"/>
                  </a:lnTo>
                  <a:lnTo>
                    <a:pt x="444" y="338"/>
                  </a:lnTo>
                  <a:lnTo>
                    <a:pt x="444" y="335"/>
                  </a:lnTo>
                  <a:lnTo>
                    <a:pt x="436" y="327"/>
                  </a:lnTo>
                  <a:lnTo>
                    <a:pt x="436" y="320"/>
                  </a:lnTo>
                  <a:lnTo>
                    <a:pt x="436" y="313"/>
                  </a:lnTo>
                  <a:lnTo>
                    <a:pt x="435" y="313"/>
                  </a:lnTo>
                  <a:lnTo>
                    <a:pt x="434" y="312"/>
                  </a:lnTo>
                  <a:lnTo>
                    <a:pt x="432" y="311"/>
                  </a:lnTo>
                  <a:lnTo>
                    <a:pt x="432" y="309"/>
                  </a:lnTo>
                  <a:lnTo>
                    <a:pt x="432" y="303"/>
                  </a:lnTo>
                  <a:lnTo>
                    <a:pt x="432" y="297"/>
                  </a:lnTo>
                  <a:lnTo>
                    <a:pt x="435" y="285"/>
                  </a:lnTo>
                  <a:lnTo>
                    <a:pt x="436" y="280"/>
                  </a:lnTo>
                  <a:lnTo>
                    <a:pt x="445" y="272"/>
                  </a:lnTo>
                  <a:lnTo>
                    <a:pt x="457" y="263"/>
                  </a:lnTo>
                  <a:lnTo>
                    <a:pt x="457" y="261"/>
                  </a:lnTo>
                  <a:lnTo>
                    <a:pt x="458" y="258"/>
                  </a:lnTo>
                  <a:lnTo>
                    <a:pt x="459" y="254"/>
                  </a:lnTo>
                  <a:lnTo>
                    <a:pt x="461" y="252"/>
                  </a:lnTo>
                  <a:lnTo>
                    <a:pt x="467" y="246"/>
                  </a:lnTo>
                  <a:lnTo>
                    <a:pt x="474" y="243"/>
                  </a:lnTo>
                  <a:lnTo>
                    <a:pt x="475" y="237"/>
                  </a:lnTo>
                  <a:lnTo>
                    <a:pt x="477" y="233"/>
                  </a:lnTo>
                  <a:lnTo>
                    <a:pt x="480" y="227"/>
                  </a:lnTo>
                  <a:lnTo>
                    <a:pt x="486" y="223"/>
                  </a:lnTo>
                  <a:lnTo>
                    <a:pt x="491" y="220"/>
                  </a:lnTo>
                  <a:lnTo>
                    <a:pt x="496" y="216"/>
                  </a:lnTo>
                  <a:lnTo>
                    <a:pt x="502" y="214"/>
                  </a:lnTo>
                  <a:lnTo>
                    <a:pt x="507" y="213"/>
                  </a:lnTo>
                  <a:lnTo>
                    <a:pt x="511" y="205"/>
                  </a:lnTo>
                  <a:lnTo>
                    <a:pt x="517" y="204"/>
                  </a:lnTo>
                  <a:lnTo>
                    <a:pt x="524" y="201"/>
                  </a:lnTo>
                  <a:lnTo>
                    <a:pt x="531" y="196"/>
                  </a:lnTo>
                  <a:lnTo>
                    <a:pt x="537" y="191"/>
                  </a:lnTo>
                  <a:lnTo>
                    <a:pt x="544" y="185"/>
                  </a:lnTo>
                  <a:lnTo>
                    <a:pt x="551" y="181"/>
                  </a:lnTo>
                  <a:lnTo>
                    <a:pt x="556" y="177"/>
                  </a:lnTo>
                  <a:lnTo>
                    <a:pt x="562" y="176"/>
                  </a:lnTo>
                  <a:lnTo>
                    <a:pt x="563" y="173"/>
                  </a:lnTo>
                  <a:lnTo>
                    <a:pt x="565" y="169"/>
                  </a:lnTo>
                  <a:lnTo>
                    <a:pt x="570" y="167"/>
                  </a:lnTo>
                  <a:lnTo>
                    <a:pt x="575" y="164"/>
                  </a:lnTo>
                  <a:lnTo>
                    <a:pt x="587" y="160"/>
                  </a:lnTo>
                  <a:lnTo>
                    <a:pt x="595" y="159"/>
                  </a:lnTo>
                  <a:lnTo>
                    <a:pt x="603" y="150"/>
                  </a:lnTo>
                  <a:lnTo>
                    <a:pt x="621" y="149"/>
                  </a:lnTo>
                  <a:lnTo>
                    <a:pt x="639" y="148"/>
                  </a:lnTo>
                  <a:lnTo>
                    <a:pt x="655" y="145"/>
                  </a:lnTo>
                  <a:lnTo>
                    <a:pt x="670" y="143"/>
                  </a:lnTo>
                  <a:lnTo>
                    <a:pt x="689" y="136"/>
                  </a:lnTo>
                  <a:lnTo>
                    <a:pt x="716" y="126"/>
                  </a:lnTo>
                  <a:lnTo>
                    <a:pt x="742" y="117"/>
                  </a:lnTo>
                  <a:lnTo>
                    <a:pt x="758" y="112"/>
                  </a:lnTo>
                  <a:lnTo>
                    <a:pt x="763" y="109"/>
                  </a:lnTo>
                  <a:lnTo>
                    <a:pt x="763" y="100"/>
                  </a:lnTo>
                  <a:lnTo>
                    <a:pt x="763" y="91"/>
                  </a:lnTo>
                  <a:lnTo>
                    <a:pt x="754" y="91"/>
                  </a:lnTo>
                  <a:lnTo>
                    <a:pt x="746" y="83"/>
                  </a:lnTo>
                  <a:lnTo>
                    <a:pt x="733" y="82"/>
                  </a:lnTo>
                  <a:lnTo>
                    <a:pt x="720" y="81"/>
                  </a:lnTo>
                  <a:lnTo>
                    <a:pt x="707" y="78"/>
                  </a:lnTo>
                  <a:lnTo>
                    <a:pt x="694" y="75"/>
                  </a:lnTo>
                  <a:lnTo>
                    <a:pt x="681" y="72"/>
                  </a:lnTo>
                  <a:lnTo>
                    <a:pt x="669" y="69"/>
                  </a:lnTo>
                  <a:lnTo>
                    <a:pt x="657" y="68"/>
                  </a:lnTo>
                  <a:lnTo>
                    <a:pt x="646" y="67"/>
                  </a:lnTo>
                  <a:lnTo>
                    <a:pt x="642" y="63"/>
                  </a:lnTo>
                  <a:lnTo>
                    <a:pt x="635" y="59"/>
                  </a:lnTo>
                  <a:lnTo>
                    <a:pt x="626" y="56"/>
                  </a:lnTo>
                  <a:lnTo>
                    <a:pt x="620" y="54"/>
                  </a:lnTo>
                  <a:lnTo>
                    <a:pt x="611" y="48"/>
                  </a:lnTo>
                  <a:lnTo>
                    <a:pt x="599" y="41"/>
                  </a:lnTo>
                  <a:lnTo>
                    <a:pt x="599" y="40"/>
                  </a:lnTo>
                  <a:lnTo>
                    <a:pt x="597" y="38"/>
                  </a:lnTo>
                  <a:lnTo>
                    <a:pt x="594" y="34"/>
                  </a:lnTo>
                  <a:lnTo>
                    <a:pt x="591" y="33"/>
                  </a:lnTo>
                  <a:lnTo>
                    <a:pt x="591" y="24"/>
                  </a:lnTo>
                  <a:lnTo>
                    <a:pt x="587" y="21"/>
                  </a:lnTo>
                  <a:lnTo>
                    <a:pt x="579" y="16"/>
                  </a:lnTo>
                  <a:lnTo>
                    <a:pt x="578" y="13"/>
                  </a:lnTo>
                  <a:lnTo>
                    <a:pt x="575" y="10"/>
                  </a:lnTo>
                  <a:lnTo>
                    <a:pt x="573" y="8"/>
                  </a:lnTo>
                  <a:lnTo>
                    <a:pt x="570" y="5"/>
                  </a:lnTo>
                  <a:lnTo>
                    <a:pt x="564" y="1"/>
                  </a:lnTo>
                  <a:lnTo>
                    <a:pt x="562" y="0"/>
                  </a:lnTo>
                  <a:lnTo>
                    <a:pt x="532" y="0"/>
                  </a:lnTo>
                  <a:lnTo>
                    <a:pt x="532" y="1"/>
                  </a:lnTo>
                  <a:lnTo>
                    <a:pt x="530" y="4"/>
                  </a:lnTo>
                  <a:lnTo>
                    <a:pt x="527" y="6"/>
                  </a:lnTo>
                  <a:lnTo>
                    <a:pt x="524" y="8"/>
                  </a:lnTo>
                  <a:lnTo>
                    <a:pt x="524" y="21"/>
                  </a:lnTo>
                  <a:lnTo>
                    <a:pt x="520" y="25"/>
                  </a:lnTo>
                  <a:lnTo>
                    <a:pt x="515" y="3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5" name="Freeform 82"/>
            <p:cNvSpPr>
              <a:spLocks noChangeAspect="1"/>
            </p:cNvSpPr>
            <p:nvPr/>
          </p:nvSpPr>
          <p:spPr bwMode="gray">
            <a:xfrm rot="355651">
              <a:off x="7125229" y="4394200"/>
              <a:ext cx="66652" cy="59618"/>
            </a:xfrm>
            <a:custGeom>
              <a:avLst/>
              <a:gdLst/>
              <a:ahLst/>
              <a:cxnLst>
                <a:cxn ang="0">
                  <a:pos x="66" y="36"/>
                </a:cxn>
                <a:cxn ang="0">
                  <a:pos x="48" y="55"/>
                </a:cxn>
                <a:cxn ang="0">
                  <a:pos x="38" y="59"/>
                </a:cxn>
                <a:cxn ang="0">
                  <a:pos x="24" y="75"/>
                </a:cxn>
                <a:cxn ang="0">
                  <a:pos x="12" y="84"/>
                </a:cxn>
                <a:cxn ang="0">
                  <a:pos x="4" y="102"/>
                </a:cxn>
                <a:cxn ang="0">
                  <a:pos x="1" y="123"/>
                </a:cxn>
                <a:cxn ang="0">
                  <a:pos x="7" y="146"/>
                </a:cxn>
                <a:cxn ang="0">
                  <a:pos x="26" y="163"/>
                </a:cxn>
                <a:cxn ang="0">
                  <a:pos x="59" y="188"/>
                </a:cxn>
                <a:cxn ang="0">
                  <a:pos x="99" y="218"/>
                </a:cxn>
                <a:cxn ang="0">
                  <a:pos x="114" y="226"/>
                </a:cxn>
                <a:cxn ang="0">
                  <a:pos x="139" y="256"/>
                </a:cxn>
                <a:cxn ang="0">
                  <a:pos x="171" y="300"/>
                </a:cxn>
                <a:cxn ang="0">
                  <a:pos x="192" y="335"/>
                </a:cxn>
                <a:cxn ang="0">
                  <a:pos x="200" y="348"/>
                </a:cxn>
                <a:cxn ang="0">
                  <a:pos x="209" y="355"/>
                </a:cxn>
                <a:cxn ang="0">
                  <a:pos x="222" y="365"/>
                </a:cxn>
                <a:cxn ang="0">
                  <a:pos x="231" y="369"/>
                </a:cxn>
                <a:cxn ang="0">
                  <a:pos x="240" y="362"/>
                </a:cxn>
                <a:cxn ang="0">
                  <a:pos x="246" y="351"/>
                </a:cxn>
                <a:cxn ang="0">
                  <a:pos x="256" y="329"/>
                </a:cxn>
                <a:cxn ang="0">
                  <a:pos x="263" y="314"/>
                </a:cxn>
                <a:cxn ang="0">
                  <a:pos x="277" y="308"/>
                </a:cxn>
                <a:cxn ang="0">
                  <a:pos x="302" y="286"/>
                </a:cxn>
                <a:cxn ang="0">
                  <a:pos x="319" y="275"/>
                </a:cxn>
                <a:cxn ang="0">
                  <a:pos x="328" y="269"/>
                </a:cxn>
                <a:cxn ang="0">
                  <a:pos x="336" y="261"/>
                </a:cxn>
                <a:cxn ang="0">
                  <a:pos x="350" y="249"/>
                </a:cxn>
                <a:cxn ang="0">
                  <a:pos x="361" y="239"/>
                </a:cxn>
                <a:cxn ang="0">
                  <a:pos x="369" y="230"/>
                </a:cxn>
                <a:cxn ang="0">
                  <a:pos x="347" y="212"/>
                </a:cxn>
                <a:cxn ang="0">
                  <a:pos x="301" y="184"/>
                </a:cxn>
                <a:cxn ang="0">
                  <a:pos x="270" y="178"/>
                </a:cxn>
                <a:cxn ang="0">
                  <a:pos x="258" y="172"/>
                </a:cxn>
                <a:cxn ang="0">
                  <a:pos x="246" y="163"/>
                </a:cxn>
                <a:cxn ang="0">
                  <a:pos x="231" y="152"/>
                </a:cxn>
                <a:cxn ang="0">
                  <a:pos x="217" y="141"/>
                </a:cxn>
                <a:cxn ang="0">
                  <a:pos x="210" y="126"/>
                </a:cxn>
                <a:cxn ang="0">
                  <a:pos x="198" y="101"/>
                </a:cxn>
                <a:cxn ang="0">
                  <a:pos x="172" y="59"/>
                </a:cxn>
                <a:cxn ang="0">
                  <a:pos x="153" y="32"/>
                </a:cxn>
                <a:cxn ang="0">
                  <a:pos x="144" y="20"/>
                </a:cxn>
                <a:cxn ang="0">
                  <a:pos x="138" y="13"/>
                </a:cxn>
                <a:cxn ang="0">
                  <a:pos x="122" y="10"/>
                </a:cxn>
                <a:cxn ang="0">
                  <a:pos x="99" y="5"/>
                </a:cxn>
              </a:cxnLst>
              <a:rect l="0" t="0" r="r" b="b"/>
              <a:pathLst>
                <a:path w="373" h="369">
                  <a:moveTo>
                    <a:pt x="88" y="0"/>
                  </a:moveTo>
                  <a:lnTo>
                    <a:pt x="79" y="17"/>
                  </a:lnTo>
                  <a:lnTo>
                    <a:pt x="66" y="36"/>
                  </a:lnTo>
                  <a:lnTo>
                    <a:pt x="59" y="45"/>
                  </a:lnTo>
                  <a:lnTo>
                    <a:pt x="51" y="52"/>
                  </a:lnTo>
                  <a:lnTo>
                    <a:pt x="48" y="55"/>
                  </a:lnTo>
                  <a:lnTo>
                    <a:pt x="45" y="57"/>
                  </a:lnTo>
                  <a:lnTo>
                    <a:pt x="41" y="58"/>
                  </a:lnTo>
                  <a:lnTo>
                    <a:pt x="38" y="59"/>
                  </a:lnTo>
                  <a:lnTo>
                    <a:pt x="33" y="67"/>
                  </a:lnTo>
                  <a:lnTo>
                    <a:pt x="26" y="72"/>
                  </a:lnTo>
                  <a:lnTo>
                    <a:pt x="24" y="75"/>
                  </a:lnTo>
                  <a:lnTo>
                    <a:pt x="21" y="79"/>
                  </a:lnTo>
                  <a:lnTo>
                    <a:pt x="17" y="83"/>
                  </a:lnTo>
                  <a:lnTo>
                    <a:pt x="12" y="84"/>
                  </a:lnTo>
                  <a:lnTo>
                    <a:pt x="11" y="90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0" y="105"/>
                  </a:lnTo>
                  <a:lnTo>
                    <a:pt x="0" y="114"/>
                  </a:lnTo>
                  <a:lnTo>
                    <a:pt x="1" y="123"/>
                  </a:lnTo>
                  <a:lnTo>
                    <a:pt x="1" y="131"/>
                  </a:lnTo>
                  <a:lnTo>
                    <a:pt x="3" y="139"/>
                  </a:lnTo>
                  <a:lnTo>
                    <a:pt x="7" y="146"/>
                  </a:lnTo>
                  <a:lnTo>
                    <a:pt x="11" y="153"/>
                  </a:lnTo>
                  <a:lnTo>
                    <a:pt x="17" y="159"/>
                  </a:lnTo>
                  <a:lnTo>
                    <a:pt x="26" y="163"/>
                  </a:lnTo>
                  <a:lnTo>
                    <a:pt x="35" y="169"/>
                  </a:lnTo>
                  <a:lnTo>
                    <a:pt x="46" y="177"/>
                  </a:lnTo>
                  <a:lnTo>
                    <a:pt x="59" y="188"/>
                  </a:lnTo>
                  <a:lnTo>
                    <a:pt x="73" y="198"/>
                  </a:lnTo>
                  <a:lnTo>
                    <a:pt x="87" y="209"/>
                  </a:lnTo>
                  <a:lnTo>
                    <a:pt x="99" y="218"/>
                  </a:lnTo>
                  <a:lnTo>
                    <a:pt x="105" y="221"/>
                  </a:lnTo>
                  <a:lnTo>
                    <a:pt x="109" y="225"/>
                  </a:lnTo>
                  <a:lnTo>
                    <a:pt x="114" y="226"/>
                  </a:lnTo>
                  <a:lnTo>
                    <a:pt x="117" y="227"/>
                  </a:lnTo>
                  <a:lnTo>
                    <a:pt x="124" y="237"/>
                  </a:lnTo>
                  <a:lnTo>
                    <a:pt x="139" y="256"/>
                  </a:lnTo>
                  <a:lnTo>
                    <a:pt x="155" y="277"/>
                  </a:lnTo>
                  <a:lnTo>
                    <a:pt x="164" y="289"/>
                  </a:lnTo>
                  <a:lnTo>
                    <a:pt x="171" y="300"/>
                  </a:lnTo>
                  <a:lnTo>
                    <a:pt x="182" y="317"/>
                  </a:lnTo>
                  <a:lnTo>
                    <a:pt x="187" y="326"/>
                  </a:lnTo>
                  <a:lnTo>
                    <a:pt x="192" y="335"/>
                  </a:lnTo>
                  <a:lnTo>
                    <a:pt x="196" y="342"/>
                  </a:lnTo>
                  <a:lnTo>
                    <a:pt x="198" y="348"/>
                  </a:lnTo>
                  <a:lnTo>
                    <a:pt x="200" y="348"/>
                  </a:lnTo>
                  <a:lnTo>
                    <a:pt x="203" y="350"/>
                  </a:lnTo>
                  <a:lnTo>
                    <a:pt x="206" y="352"/>
                  </a:lnTo>
                  <a:lnTo>
                    <a:pt x="209" y="355"/>
                  </a:lnTo>
                  <a:lnTo>
                    <a:pt x="212" y="361"/>
                  </a:lnTo>
                  <a:lnTo>
                    <a:pt x="214" y="365"/>
                  </a:lnTo>
                  <a:lnTo>
                    <a:pt x="222" y="365"/>
                  </a:lnTo>
                  <a:lnTo>
                    <a:pt x="223" y="367"/>
                  </a:lnTo>
                  <a:lnTo>
                    <a:pt x="227" y="369"/>
                  </a:lnTo>
                  <a:lnTo>
                    <a:pt x="231" y="369"/>
                  </a:lnTo>
                  <a:lnTo>
                    <a:pt x="234" y="369"/>
                  </a:lnTo>
                  <a:lnTo>
                    <a:pt x="239" y="365"/>
                  </a:lnTo>
                  <a:lnTo>
                    <a:pt x="240" y="362"/>
                  </a:lnTo>
                  <a:lnTo>
                    <a:pt x="241" y="357"/>
                  </a:lnTo>
                  <a:lnTo>
                    <a:pt x="243" y="354"/>
                  </a:lnTo>
                  <a:lnTo>
                    <a:pt x="246" y="351"/>
                  </a:lnTo>
                  <a:lnTo>
                    <a:pt x="251" y="344"/>
                  </a:lnTo>
                  <a:lnTo>
                    <a:pt x="256" y="340"/>
                  </a:lnTo>
                  <a:lnTo>
                    <a:pt x="256" y="329"/>
                  </a:lnTo>
                  <a:lnTo>
                    <a:pt x="256" y="318"/>
                  </a:lnTo>
                  <a:lnTo>
                    <a:pt x="260" y="315"/>
                  </a:lnTo>
                  <a:lnTo>
                    <a:pt x="263" y="314"/>
                  </a:lnTo>
                  <a:lnTo>
                    <a:pt x="268" y="313"/>
                  </a:lnTo>
                  <a:lnTo>
                    <a:pt x="272" y="311"/>
                  </a:lnTo>
                  <a:lnTo>
                    <a:pt x="277" y="308"/>
                  </a:lnTo>
                  <a:lnTo>
                    <a:pt x="285" y="302"/>
                  </a:lnTo>
                  <a:lnTo>
                    <a:pt x="294" y="294"/>
                  </a:lnTo>
                  <a:lnTo>
                    <a:pt x="302" y="286"/>
                  </a:lnTo>
                  <a:lnTo>
                    <a:pt x="310" y="279"/>
                  </a:lnTo>
                  <a:lnTo>
                    <a:pt x="315" y="276"/>
                  </a:lnTo>
                  <a:lnTo>
                    <a:pt x="319" y="275"/>
                  </a:lnTo>
                  <a:lnTo>
                    <a:pt x="323" y="273"/>
                  </a:lnTo>
                  <a:lnTo>
                    <a:pt x="327" y="273"/>
                  </a:lnTo>
                  <a:lnTo>
                    <a:pt x="328" y="269"/>
                  </a:lnTo>
                  <a:lnTo>
                    <a:pt x="329" y="267"/>
                  </a:lnTo>
                  <a:lnTo>
                    <a:pt x="333" y="264"/>
                  </a:lnTo>
                  <a:lnTo>
                    <a:pt x="336" y="261"/>
                  </a:lnTo>
                  <a:lnTo>
                    <a:pt x="343" y="257"/>
                  </a:lnTo>
                  <a:lnTo>
                    <a:pt x="348" y="256"/>
                  </a:lnTo>
                  <a:lnTo>
                    <a:pt x="350" y="249"/>
                  </a:lnTo>
                  <a:lnTo>
                    <a:pt x="353" y="247"/>
                  </a:lnTo>
                  <a:lnTo>
                    <a:pt x="356" y="245"/>
                  </a:lnTo>
                  <a:lnTo>
                    <a:pt x="361" y="239"/>
                  </a:lnTo>
                  <a:lnTo>
                    <a:pt x="369" y="239"/>
                  </a:lnTo>
                  <a:lnTo>
                    <a:pt x="373" y="235"/>
                  </a:lnTo>
                  <a:lnTo>
                    <a:pt x="369" y="230"/>
                  </a:lnTo>
                  <a:lnTo>
                    <a:pt x="364" y="225"/>
                  </a:lnTo>
                  <a:lnTo>
                    <a:pt x="357" y="218"/>
                  </a:lnTo>
                  <a:lnTo>
                    <a:pt x="347" y="212"/>
                  </a:lnTo>
                  <a:lnTo>
                    <a:pt x="337" y="206"/>
                  </a:lnTo>
                  <a:lnTo>
                    <a:pt x="317" y="194"/>
                  </a:lnTo>
                  <a:lnTo>
                    <a:pt x="301" y="184"/>
                  </a:lnTo>
                  <a:lnTo>
                    <a:pt x="291" y="183"/>
                  </a:lnTo>
                  <a:lnTo>
                    <a:pt x="281" y="180"/>
                  </a:lnTo>
                  <a:lnTo>
                    <a:pt x="270" y="178"/>
                  </a:lnTo>
                  <a:lnTo>
                    <a:pt x="260" y="177"/>
                  </a:lnTo>
                  <a:lnTo>
                    <a:pt x="259" y="174"/>
                  </a:lnTo>
                  <a:lnTo>
                    <a:pt x="258" y="172"/>
                  </a:lnTo>
                  <a:lnTo>
                    <a:pt x="254" y="172"/>
                  </a:lnTo>
                  <a:lnTo>
                    <a:pt x="251" y="172"/>
                  </a:lnTo>
                  <a:lnTo>
                    <a:pt x="246" y="163"/>
                  </a:lnTo>
                  <a:lnTo>
                    <a:pt x="239" y="155"/>
                  </a:lnTo>
                  <a:lnTo>
                    <a:pt x="235" y="154"/>
                  </a:lnTo>
                  <a:lnTo>
                    <a:pt x="231" y="152"/>
                  </a:lnTo>
                  <a:lnTo>
                    <a:pt x="227" y="150"/>
                  </a:lnTo>
                  <a:lnTo>
                    <a:pt x="221" y="145"/>
                  </a:lnTo>
                  <a:lnTo>
                    <a:pt x="217" y="141"/>
                  </a:lnTo>
                  <a:lnTo>
                    <a:pt x="213" y="136"/>
                  </a:lnTo>
                  <a:lnTo>
                    <a:pt x="211" y="131"/>
                  </a:lnTo>
                  <a:lnTo>
                    <a:pt x="210" y="126"/>
                  </a:lnTo>
                  <a:lnTo>
                    <a:pt x="201" y="122"/>
                  </a:lnTo>
                  <a:lnTo>
                    <a:pt x="198" y="113"/>
                  </a:lnTo>
                  <a:lnTo>
                    <a:pt x="198" y="101"/>
                  </a:lnTo>
                  <a:lnTo>
                    <a:pt x="183" y="85"/>
                  </a:lnTo>
                  <a:lnTo>
                    <a:pt x="172" y="72"/>
                  </a:lnTo>
                  <a:lnTo>
                    <a:pt x="172" y="59"/>
                  </a:lnTo>
                  <a:lnTo>
                    <a:pt x="165" y="50"/>
                  </a:lnTo>
                  <a:lnTo>
                    <a:pt x="158" y="40"/>
                  </a:lnTo>
                  <a:lnTo>
                    <a:pt x="153" y="32"/>
                  </a:lnTo>
                  <a:lnTo>
                    <a:pt x="151" y="26"/>
                  </a:lnTo>
                  <a:lnTo>
                    <a:pt x="147" y="21"/>
                  </a:lnTo>
                  <a:lnTo>
                    <a:pt x="144" y="20"/>
                  </a:lnTo>
                  <a:lnTo>
                    <a:pt x="141" y="18"/>
                  </a:lnTo>
                  <a:lnTo>
                    <a:pt x="139" y="16"/>
                  </a:lnTo>
                  <a:lnTo>
                    <a:pt x="138" y="13"/>
                  </a:lnTo>
                  <a:lnTo>
                    <a:pt x="132" y="13"/>
                  </a:lnTo>
                  <a:lnTo>
                    <a:pt x="126" y="13"/>
                  </a:lnTo>
                  <a:lnTo>
                    <a:pt x="122" y="10"/>
                  </a:lnTo>
                  <a:lnTo>
                    <a:pt x="112" y="8"/>
                  </a:lnTo>
                  <a:lnTo>
                    <a:pt x="106" y="7"/>
                  </a:lnTo>
                  <a:lnTo>
                    <a:pt x="99" y="5"/>
                  </a:lnTo>
                  <a:lnTo>
                    <a:pt x="94" y="4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6" name="Freeform 83"/>
            <p:cNvSpPr>
              <a:spLocks noChangeAspect="1"/>
            </p:cNvSpPr>
            <p:nvPr/>
          </p:nvSpPr>
          <p:spPr bwMode="gray">
            <a:xfrm rot="355651">
              <a:off x="7067042" y="4403725"/>
              <a:ext cx="34912" cy="30873"/>
            </a:xfrm>
            <a:custGeom>
              <a:avLst/>
              <a:gdLst/>
              <a:ahLst/>
              <a:cxnLst>
                <a:cxn ang="0">
                  <a:pos x="133" y="14"/>
                </a:cxn>
                <a:cxn ang="0">
                  <a:pos x="121" y="32"/>
                </a:cxn>
                <a:cxn ang="0">
                  <a:pos x="108" y="41"/>
                </a:cxn>
                <a:cxn ang="0">
                  <a:pos x="100" y="50"/>
                </a:cxn>
                <a:cxn ang="0">
                  <a:pos x="93" y="55"/>
                </a:cxn>
                <a:cxn ang="0">
                  <a:pos x="83" y="58"/>
                </a:cxn>
                <a:cxn ang="0">
                  <a:pos x="77" y="67"/>
                </a:cxn>
                <a:cxn ang="0">
                  <a:pos x="66" y="74"/>
                </a:cxn>
                <a:cxn ang="0">
                  <a:pos x="62" y="74"/>
                </a:cxn>
                <a:cxn ang="0">
                  <a:pos x="55" y="81"/>
                </a:cxn>
                <a:cxn ang="0">
                  <a:pos x="50" y="86"/>
                </a:cxn>
                <a:cxn ang="0">
                  <a:pos x="39" y="96"/>
                </a:cxn>
                <a:cxn ang="0">
                  <a:pos x="29" y="100"/>
                </a:cxn>
                <a:cxn ang="0">
                  <a:pos x="18" y="110"/>
                </a:cxn>
                <a:cxn ang="0">
                  <a:pos x="13" y="117"/>
                </a:cxn>
                <a:cxn ang="0">
                  <a:pos x="8" y="119"/>
                </a:cxn>
                <a:cxn ang="0">
                  <a:pos x="4" y="126"/>
                </a:cxn>
                <a:cxn ang="0">
                  <a:pos x="2" y="136"/>
                </a:cxn>
                <a:cxn ang="0">
                  <a:pos x="0" y="146"/>
                </a:cxn>
                <a:cxn ang="0">
                  <a:pos x="0" y="155"/>
                </a:cxn>
                <a:cxn ang="0">
                  <a:pos x="0" y="163"/>
                </a:cxn>
                <a:cxn ang="0">
                  <a:pos x="0" y="175"/>
                </a:cxn>
                <a:cxn ang="0">
                  <a:pos x="3" y="188"/>
                </a:cxn>
                <a:cxn ang="0">
                  <a:pos x="10" y="190"/>
                </a:cxn>
                <a:cxn ang="0">
                  <a:pos x="16" y="196"/>
                </a:cxn>
                <a:cxn ang="0">
                  <a:pos x="33" y="196"/>
                </a:cxn>
                <a:cxn ang="0">
                  <a:pos x="35" y="199"/>
                </a:cxn>
                <a:cxn ang="0">
                  <a:pos x="41" y="201"/>
                </a:cxn>
                <a:cxn ang="0">
                  <a:pos x="53" y="201"/>
                </a:cxn>
                <a:cxn ang="0">
                  <a:pos x="60" y="201"/>
                </a:cxn>
                <a:cxn ang="0">
                  <a:pos x="66" y="201"/>
                </a:cxn>
                <a:cxn ang="0">
                  <a:pos x="77" y="198"/>
                </a:cxn>
                <a:cxn ang="0">
                  <a:pos x="85" y="194"/>
                </a:cxn>
                <a:cxn ang="0">
                  <a:pos x="91" y="188"/>
                </a:cxn>
                <a:cxn ang="0">
                  <a:pos x="96" y="184"/>
                </a:cxn>
                <a:cxn ang="0">
                  <a:pos x="112" y="174"/>
                </a:cxn>
                <a:cxn ang="0">
                  <a:pos x="121" y="158"/>
                </a:cxn>
                <a:cxn ang="0">
                  <a:pos x="126" y="150"/>
                </a:cxn>
                <a:cxn ang="0">
                  <a:pos x="133" y="146"/>
                </a:cxn>
                <a:cxn ang="0">
                  <a:pos x="138" y="129"/>
                </a:cxn>
                <a:cxn ang="0">
                  <a:pos x="144" y="127"/>
                </a:cxn>
                <a:cxn ang="0">
                  <a:pos x="150" y="120"/>
                </a:cxn>
                <a:cxn ang="0">
                  <a:pos x="162" y="103"/>
                </a:cxn>
                <a:cxn ang="0">
                  <a:pos x="179" y="96"/>
                </a:cxn>
                <a:cxn ang="0">
                  <a:pos x="184" y="86"/>
                </a:cxn>
                <a:cxn ang="0">
                  <a:pos x="192" y="79"/>
                </a:cxn>
                <a:cxn ang="0">
                  <a:pos x="196" y="62"/>
                </a:cxn>
                <a:cxn ang="0">
                  <a:pos x="200" y="58"/>
                </a:cxn>
                <a:cxn ang="0">
                  <a:pos x="200" y="52"/>
                </a:cxn>
                <a:cxn ang="0">
                  <a:pos x="200" y="41"/>
                </a:cxn>
                <a:cxn ang="0">
                  <a:pos x="192" y="33"/>
                </a:cxn>
                <a:cxn ang="0">
                  <a:pos x="187" y="26"/>
                </a:cxn>
                <a:cxn ang="0">
                  <a:pos x="179" y="24"/>
                </a:cxn>
                <a:cxn ang="0">
                  <a:pos x="171" y="16"/>
                </a:cxn>
                <a:cxn ang="0">
                  <a:pos x="167" y="3"/>
                </a:cxn>
                <a:cxn ang="0">
                  <a:pos x="156" y="0"/>
                </a:cxn>
              </a:cxnLst>
              <a:rect l="0" t="0" r="r" b="b"/>
              <a:pathLst>
                <a:path w="200" h="201">
                  <a:moveTo>
                    <a:pt x="141" y="3"/>
                  </a:moveTo>
                  <a:lnTo>
                    <a:pt x="133" y="14"/>
                  </a:lnTo>
                  <a:lnTo>
                    <a:pt x="125" y="24"/>
                  </a:lnTo>
                  <a:lnTo>
                    <a:pt x="121" y="32"/>
                  </a:lnTo>
                  <a:lnTo>
                    <a:pt x="117" y="36"/>
                  </a:lnTo>
                  <a:lnTo>
                    <a:pt x="108" y="41"/>
                  </a:lnTo>
                  <a:lnTo>
                    <a:pt x="104" y="45"/>
                  </a:lnTo>
                  <a:lnTo>
                    <a:pt x="100" y="50"/>
                  </a:lnTo>
                  <a:lnTo>
                    <a:pt x="97" y="52"/>
                  </a:lnTo>
                  <a:lnTo>
                    <a:pt x="93" y="55"/>
                  </a:lnTo>
                  <a:lnTo>
                    <a:pt x="89" y="58"/>
                  </a:lnTo>
                  <a:lnTo>
                    <a:pt x="83" y="58"/>
                  </a:lnTo>
                  <a:lnTo>
                    <a:pt x="79" y="62"/>
                  </a:lnTo>
                  <a:lnTo>
                    <a:pt x="77" y="67"/>
                  </a:lnTo>
                  <a:lnTo>
                    <a:pt x="74" y="70"/>
                  </a:lnTo>
                  <a:lnTo>
                    <a:pt x="66" y="74"/>
                  </a:lnTo>
                  <a:lnTo>
                    <a:pt x="64" y="74"/>
                  </a:lnTo>
                  <a:lnTo>
                    <a:pt x="62" y="74"/>
                  </a:lnTo>
                  <a:lnTo>
                    <a:pt x="58" y="79"/>
                  </a:lnTo>
                  <a:lnTo>
                    <a:pt x="55" y="81"/>
                  </a:lnTo>
                  <a:lnTo>
                    <a:pt x="53" y="83"/>
                  </a:lnTo>
                  <a:lnTo>
                    <a:pt x="50" y="86"/>
                  </a:lnTo>
                  <a:lnTo>
                    <a:pt x="44" y="90"/>
                  </a:lnTo>
                  <a:lnTo>
                    <a:pt x="39" y="96"/>
                  </a:lnTo>
                  <a:lnTo>
                    <a:pt x="36" y="100"/>
                  </a:lnTo>
                  <a:lnTo>
                    <a:pt x="29" y="100"/>
                  </a:lnTo>
                  <a:lnTo>
                    <a:pt x="20" y="103"/>
                  </a:lnTo>
                  <a:lnTo>
                    <a:pt x="18" y="110"/>
                  </a:lnTo>
                  <a:lnTo>
                    <a:pt x="16" y="117"/>
                  </a:lnTo>
                  <a:lnTo>
                    <a:pt x="13" y="117"/>
                  </a:lnTo>
                  <a:lnTo>
                    <a:pt x="11" y="118"/>
                  </a:lnTo>
                  <a:lnTo>
                    <a:pt x="8" y="119"/>
                  </a:lnTo>
                  <a:lnTo>
                    <a:pt x="6" y="121"/>
                  </a:lnTo>
                  <a:lnTo>
                    <a:pt x="4" y="126"/>
                  </a:lnTo>
                  <a:lnTo>
                    <a:pt x="3" y="129"/>
                  </a:lnTo>
                  <a:lnTo>
                    <a:pt x="2" y="136"/>
                  </a:lnTo>
                  <a:lnTo>
                    <a:pt x="0" y="141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55"/>
                  </a:lnTo>
                  <a:lnTo>
                    <a:pt x="0" y="158"/>
                  </a:lnTo>
                  <a:lnTo>
                    <a:pt x="0" y="163"/>
                  </a:lnTo>
                  <a:lnTo>
                    <a:pt x="0" y="167"/>
                  </a:lnTo>
                  <a:lnTo>
                    <a:pt x="0" y="175"/>
                  </a:lnTo>
                  <a:lnTo>
                    <a:pt x="0" y="184"/>
                  </a:lnTo>
                  <a:lnTo>
                    <a:pt x="3" y="188"/>
                  </a:lnTo>
                  <a:lnTo>
                    <a:pt x="6" y="188"/>
                  </a:lnTo>
                  <a:lnTo>
                    <a:pt x="10" y="190"/>
                  </a:lnTo>
                  <a:lnTo>
                    <a:pt x="13" y="193"/>
                  </a:lnTo>
                  <a:lnTo>
                    <a:pt x="16" y="196"/>
                  </a:lnTo>
                  <a:lnTo>
                    <a:pt x="24" y="196"/>
                  </a:lnTo>
                  <a:lnTo>
                    <a:pt x="33" y="196"/>
                  </a:lnTo>
                  <a:lnTo>
                    <a:pt x="33" y="198"/>
                  </a:lnTo>
                  <a:lnTo>
                    <a:pt x="35" y="199"/>
                  </a:lnTo>
                  <a:lnTo>
                    <a:pt x="37" y="201"/>
                  </a:lnTo>
                  <a:lnTo>
                    <a:pt x="41" y="201"/>
                  </a:lnTo>
                  <a:lnTo>
                    <a:pt x="48" y="201"/>
                  </a:lnTo>
                  <a:lnTo>
                    <a:pt x="53" y="201"/>
                  </a:lnTo>
                  <a:lnTo>
                    <a:pt x="58" y="201"/>
                  </a:lnTo>
                  <a:lnTo>
                    <a:pt x="60" y="201"/>
                  </a:lnTo>
                  <a:lnTo>
                    <a:pt x="62" y="201"/>
                  </a:lnTo>
                  <a:lnTo>
                    <a:pt x="66" y="201"/>
                  </a:lnTo>
                  <a:lnTo>
                    <a:pt x="70" y="201"/>
                  </a:lnTo>
                  <a:lnTo>
                    <a:pt x="77" y="198"/>
                  </a:lnTo>
                  <a:lnTo>
                    <a:pt x="83" y="196"/>
                  </a:lnTo>
                  <a:lnTo>
                    <a:pt x="85" y="194"/>
                  </a:lnTo>
                  <a:lnTo>
                    <a:pt x="88" y="192"/>
                  </a:lnTo>
                  <a:lnTo>
                    <a:pt x="91" y="188"/>
                  </a:lnTo>
                  <a:lnTo>
                    <a:pt x="93" y="186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12" y="174"/>
                  </a:lnTo>
                  <a:lnTo>
                    <a:pt x="121" y="167"/>
                  </a:lnTo>
                  <a:lnTo>
                    <a:pt x="121" y="158"/>
                  </a:lnTo>
                  <a:lnTo>
                    <a:pt x="122" y="155"/>
                  </a:lnTo>
                  <a:lnTo>
                    <a:pt x="126" y="150"/>
                  </a:lnTo>
                  <a:lnTo>
                    <a:pt x="129" y="147"/>
                  </a:lnTo>
                  <a:lnTo>
                    <a:pt x="133" y="146"/>
                  </a:lnTo>
                  <a:lnTo>
                    <a:pt x="136" y="137"/>
                  </a:lnTo>
                  <a:lnTo>
                    <a:pt x="138" y="129"/>
                  </a:lnTo>
                  <a:lnTo>
                    <a:pt x="141" y="129"/>
                  </a:lnTo>
                  <a:lnTo>
                    <a:pt x="144" y="127"/>
                  </a:lnTo>
                  <a:lnTo>
                    <a:pt x="146" y="125"/>
                  </a:lnTo>
                  <a:lnTo>
                    <a:pt x="150" y="120"/>
                  </a:lnTo>
                  <a:lnTo>
                    <a:pt x="156" y="112"/>
                  </a:lnTo>
                  <a:lnTo>
                    <a:pt x="162" y="103"/>
                  </a:lnTo>
                  <a:lnTo>
                    <a:pt x="173" y="100"/>
                  </a:lnTo>
                  <a:lnTo>
                    <a:pt x="179" y="96"/>
                  </a:lnTo>
                  <a:lnTo>
                    <a:pt x="180" y="91"/>
                  </a:lnTo>
                  <a:lnTo>
                    <a:pt x="184" y="86"/>
                  </a:lnTo>
                  <a:lnTo>
                    <a:pt x="188" y="81"/>
                  </a:lnTo>
                  <a:lnTo>
                    <a:pt x="192" y="79"/>
                  </a:lnTo>
                  <a:lnTo>
                    <a:pt x="194" y="70"/>
                  </a:lnTo>
                  <a:lnTo>
                    <a:pt x="196" y="6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0" y="53"/>
                  </a:lnTo>
                  <a:lnTo>
                    <a:pt x="200" y="52"/>
                  </a:lnTo>
                  <a:lnTo>
                    <a:pt x="200" y="50"/>
                  </a:lnTo>
                  <a:lnTo>
                    <a:pt x="200" y="41"/>
                  </a:lnTo>
                  <a:lnTo>
                    <a:pt x="200" y="33"/>
                  </a:lnTo>
                  <a:lnTo>
                    <a:pt x="192" y="33"/>
                  </a:lnTo>
                  <a:lnTo>
                    <a:pt x="190" y="30"/>
                  </a:lnTo>
                  <a:lnTo>
                    <a:pt x="187" y="26"/>
                  </a:lnTo>
                  <a:lnTo>
                    <a:pt x="183" y="25"/>
                  </a:lnTo>
                  <a:lnTo>
                    <a:pt x="179" y="24"/>
                  </a:lnTo>
                  <a:lnTo>
                    <a:pt x="175" y="20"/>
                  </a:lnTo>
                  <a:lnTo>
                    <a:pt x="171" y="16"/>
                  </a:lnTo>
                  <a:lnTo>
                    <a:pt x="171" y="7"/>
                  </a:lnTo>
                  <a:lnTo>
                    <a:pt x="167" y="3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41" y="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7" name="Freeform 84"/>
            <p:cNvSpPr>
              <a:spLocks noChangeAspect="1"/>
            </p:cNvSpPr>
            <p:nvPr/>
          </p:nvSpPr>
          <p:spPr bwMode="gray">
            <a:xfrm rot="355651">
              <a:off x="6971825" y="4425950"/>
              <a:ext cx="46550" cy="34067"/>
            </a:xfrm>
            <a:custGeom>
              <a:avLst/>
              <a:gdLst/>
              <a:ahLst/>
              <a:cxnLst>
                <a:cxn ang="0">
                  <a:pos x="26" y="40"/>
                </a:cxn>
                <a:cxn ang="0">
                  <a:pos x="48" y="50"/>
                </a:cxn>
                <a:cxn ang="0">
                  <a:pos x="69" y="70"/>
                </a:cxn>
                <a:cxn ang="0">
                  <a:pos x="80" y="93"/>
                </a:cxn>
                <a:cxn ang="0">
                  <a:pos x="80" y="105"/>
                </a:cxn>
                <a:cxn ang="0">
                  <a:pos x="80" y="113"/>
                </a:cxn>
                <a:cxn ang="0">
                  <a:pos x="72" y="138"/>
                </a:cxn>
                <a:cxn ang="0">
                  <a:pos x="69" y="152"/>
                </a:cxn>
                <a:cxn ang="0">
                  <a:pos x="67" y="163"/>
                </a:cxn>
                <a:cxn ang="0">
                  <a:pos x="64" y="172"/>
                </a:cxn>
                <a:cxn ang="0">
                  <a:pos x="64" y="180"/>
                </a:cxn>
                <a:cxn ang="0">
                  <a:pos x="66" y="199"/>
                </a:cxn>
                <a:cxn ang="0">
                  <a:pos x="72" y="210"/>
                </a:cxn>
                <a:cxn ang="0">
                  <a:pos x="80" y="213"/>
                </a:cxn>
                <a:cxn ang="0">
                  <a:pos x="88" y="213"/>
                </a:cxn>
                <a:cxn ang="0">
                  <a:pos x="106" y="211"/>
                </a:cxn>
                <a:cxn ang="0">
                  <a:pos x="114" y="210"/>
                </a:cxn>
                <a:cxn ang="0">
                  <a:pos x="116" y="203"/>
                </a:cxn>
                <a:cxn ang="0">
                  <a:pos x="126" y="201"/>
                </a:cxn>
                <a:cxn ang="0">
                  <a:pos x="134" y="193"/>
                </a:cxn>
                <a:cxn ang="0">
                  <a:pos x="138" y="184"/>
                </a:cxn>
                <a:cxn ang="0">
                  <a:pos x="144" y="180"/>
                </a:cxn>
                <a:cxn ang="0">
                  <a:pos x="160" y="176"/>
                </a:cxn>
                <a:cxn ang="0">
                  <a:pos x="163" y="169"/>
                </a:cxn>
                <a:cxn ang="0">
                  <a:pos x="172" y="163"/>
                </a:cxn>
                <a:cxn ang="0">
                  <a:pos x="186" y="162"/>
                </a:cxn>
                <a:cxn ang="0">
                  <a:pos x="205" y="151"/>
                </a:cxn>
                <a:cxn ang="0">
                  <a:pos x="218" y="143"/>
                </a:cxn>
                <a:cxn ang="0">
                  <a:pos x="231" y="130"/>
                </a:cxn>
                <a:cxn ang="0">
                  <a:pos x="251" y="109"/>
                </a:cxn>
                <a:cxn ang="0">
                  <a:pos x="245" y="104"/>
                </a:cxn>
                <a:cxn ang="0">
                  <a:pos x="234" y="98"/>
                </a:cxn>
                <a:cxn ang="0">
                  <a:pos x="227" y="90"/>
                </a:cxn>
                <a:cxn ang="0">
                  <a:pos x="214" y="79"/>
                </a:cxn>
                <a:cxn ang="0">
                  <a:pos x="194" y="77"/>
                </a:cxn>
                <a:cxn ang="0">
                  <a:pos x="184" y="71"/>
                </a:cxn>
                <a:cxn ang="0">
                  <a:pos x="172" y="67"/>
                </a:cxn>
                <a:cxn ang="0">
                  <a:pos x="162" y="63"/>
                </a:cxn>
                <a:cxn ang="0">
                  <a:pos x="151" y="58"/>
                </a:cxn>
                <a:cxn ang="0">
                  <a:pos x="138" y="50"/>
                </a:cxn>
                <a:cxn ang="0">
                  <a:pos x="121" y="44"/>
                </a:cxn>
                <a:cxn ang="0">
                  <a:pos x="114" y="42"/>
                </a:cxn>
                <a:cxn ang="0">
                  <a:pos x="104" y="30"/>
                </a:cxn>
                <a:cxn ang="0">
                  <a:pos x="97" y="26"/>
                </a:cxn>
                <a:cxn ang="0">
                  <a:pos x="80" y="9"/>
                </a:cxn>
                <a:cxn ang="0">
                  <a:pos x="72" y="5"/>
                </a:cxn>
                <a:cxn ang="0">
                  <a:pos x="55" y="0"/>
                </a:cxn>
                <a:cxn ang="0">
                  <a:pos x="42" y="0"/>
                </a:cxn>
                <a:cxn ang="0">
                  <a:pos x="31" y="0"/>
                </a:cxn>
                <a:cxn ang="0">
                  <a:pos x="17" y="0"/>
                </a:cxn>
                <a:cxn ang="0">
                  <a:pos x="0" y="17"/>
                </a:cxn>
              </a:cxnLst>
              <a:rect l="0" t="0" r="r" b="b"/>
              <a:pathLst>
                <a:path w="251" h="213">
                  <a:moveTo>
                    <a:pt x="0" y="17"/>
                  </a:moveTo>
                  <a:lnTo>
                    <a:pt x="21" y="38"/>
                  </a:lnTo>
                  <a:lnTo>
                    <a:pt x="26" y="40"/>
                  </a:lnTo>
                  <a:lnTo>
                    <a:pt x="29" y="42"/>
                  </a:lnTo>
                  <a:lnTo>
                    <a:pt x="38" y="46"/>
                  </a:lnTo>
                  <a:lnTo>
                    <a:pt x="48" y="50"/>
                  </a:lnTo>
                  <a:lnTo>
                    <a:pt x="59" y="55"/>
                  </a:lnTo>
                  <a:lnTo>
                    <a:pt x="64" y="59"/>
                  </a:lnTo>
                  <a:lnTo>
                    <a:pt x="69" y="70"/>
                  </a:lnTo>
                  <a:lnTo>
                    <a:pt x="76" y="79"/>
                  </a:lnTo>
                  <a:lnTo>
                    <a:pt x="78" y="86"/>
                  </a:lnTo>
                  <a:lnTo>
                    <a:pt x="80" y="93"/>
                  </a:lnTo>
                  <a:lnTo>
                    <a:pt x="80" y="96"/>
                  </a:lnTo>
                  <a:lnTo>
                    <a:pt x="80" y="101"/>
                  </a:lnTo>
                  <a:lnTo>
                    <a:pt x="80" y="105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3"/>
                  </a:lnTo>
                  <a:lnTo>
                    <a:pt x="80" y="122"/>
                  </a:lnTo>
                  <a:lnTo>
                    <a:pt x="80" y="130"/>
                  </a:lnTo>
                  <a:lnTo>
                    <a:pt x="72" y="138"/>
                  </a:lnTo>
                  <a:lnTo>
                    <a:pt x="72" y="145"/>
                  </a:lnTo>
                  <a:lnTo>
                    <a:pt x="72" y="151"/>
                  </a:lnTo>
                  <a:lnTo>
                    <a:pt x="69" y="152"/>
                  </a:lnTo>
                  <a:lnTo>
                    <a:pt x="68" y="155"/>
                  </a:lnTo>
                  <a:lnTo>
                    <a:pt x="67" y="160"/>
                  </a:lnTo>
                  <a:lnTo>
                    <a:pt x="67" y="163"/>
                  </a:lnTo>
                  <a:lnTo>
                    <a:pt x="65" y="165"/>
                  </a:lnTo>
                  <a:lnTo>
                    <a:pt x="64" y="167"/>
                  </a:lnTo>
                  <a:lnTo>
                    <a:pt x="64" y="172"/>
                  </a:lnTo>
                  <a:lnTo>
                    <a:pt x="64" y="174"/>
                  </a:lnTo>
                  <a:lnTo>
                    <a:pt x="64" y="176"/>
                  </a:lnTo>
                  <a:lnTo>
                    <a:pt x="64" y="180"/>
                  </a:lnTo>
                  <a:lnTo>
                    <a:pt x="64" y="189"/>
                  </a:lnTo>
                  <a:lnTo>
                    <a:pt x="64" y="196"/>
                  </a:lnTo>
                  <a:lnTo>
                    <a:pt x="66" y="199"/>
                  </a:lnTo>
                  <a:lnTo>
                    <a:pt x="69" y="202"/>
                  </a:lnTo>
                  <a:lnTo>
                    <a:pt x="70" y="205"/>
                  </a:lnTo>
                  <a:lnTo>
                    <a:pt x="72" y="210"/>
                  </a:lnTo>
                  <a:lnTo>
                    <a:pt x="76" y="213"/>
                  </a:lnTo>
                  <a:lnTo>
                    <a:pt x="78" y="213"/>
                  </a:lnTo>
                  <a:lnTo>
                    <a:pt x="80" y="213"/>
                  </a:lnTo>
                  <a:lnTo>
                    <a:pt x="84" y="213"/>
                  </a:lnTo>
                  <a:lnTo>
                    <a:pt x="86" y="213"/>
                  </a:lnTo>
                  <a:lnTo>
                    <a:pt x="88" y="213"/>
                  </a:lnTo>
                  <a:lnTo>
                    <a:pt x="97" y="213"/>
                  </a:lnTo>
                  <a:lnTo>
                    <a:pt x="105" y="213"/>
                  </a:lnTo>
                  <a:lnTo>
                    <a:pt x="106" y="211"/>
                  </a:lnTo>
                  <a:lnTo>
                    <a:pt x="107" y="210"/>
                  </a:lnTo>
                  <a:lnTo>
                    <a:pt x="111" y="210"/>
                  </a:lnTo>
                  <a:lnTo>
                    <a:pt x="114" y="210"/>
                  </a:lnTo>
                  <a:lnTo>
                    <a:pt x="114" y="207"/>
                  </a:lnTo>
                  <a:lnTo>
                    <a:pt x="115" y="204"/>
                  </a:lnTo>
                  <a:lnTo>
                    <a:pt x="116" y="203"/>
                  </a:lnTo>
                  <a:lnTo>
                    <a:pt x="118" y="202"/>
                  </a:lnTo>
                  <a:lnTo>
                    <a:pt x="122" y="201"/>
                  </a:lnTo>
                  <a:lnTo>
                    <a:pt x="126" y="201"/>
                  </a:lnTo>
                  <a:lnTo>
                    <a:pt x="128" y="199"/>
                  </a:lnTo>
                  <a:lnTo>
                    <a:pt x="131" y="196"/>
                  </a:lnTo>
                  <a:lnTo>
                    <a:pt x="134" y="193"/>
                  </a:lnTo>
                  <a:lnTo>
                    <a:pt x="136" y="191"/>
                  </a:lnTo>
                  <a:lnTo>
                    <a:pt x="138" y="189"/>
                  </a:lnTo>
                  <a:lnTo>
                    <a:pt x="138" y="184"/>
                  </a:lnTo>
                  <a:lnTo>
                    <a:pt x="140" y="183"/>
                  </a:lnTo>
                  <a:lnTo>
                    <a:pt x="142" y="181"/>
                  </a:lnTo>
                  <a:lnTo>
                    <a:pt x="144" y="180"/>
                  </a:lnTo>
                  <a:lnTo>
                    <a:pt x="147" y="179"/>
                  </a:lnTo>
                  <a:lnTo>
                    <a:pt x="154" y="176"/>
                  </a:lnTo>
                  <a:lnTo>
                    <a:pt x="160" y="176"/>
                  </a:lnTo>
                  <a:lnTo>
                    <a:pt x="160" y="173"/>
                  </a:lnTo>
                  <a:lnTo>
                    <a:pt x="162" y="171"/>
                  </a:lnTo>
                  <a:lnTo>
                    <a:pt x="163" y="169"/>
                  </a:lnTo>
                  <a:lnTo>
                    <a:pt x="165" y="166"/>
                  </a:lnTo>
                  <a:lnTo>
                    <a:pt x="170" y="164"/>
                  </a:lnTo>
                  <a:lnTo>
                    <a:pt x="172" y="163"/>
                  </a:lnTo>
                  <a:lnTo>
                    <a:pt x="176" y="163"/>
                  </a:lnTo>
                  <a:lnTo>
                    <a:pt x="181" y="163"/>
                  </a:lnTo>
                  <a:lnTo>
                    <a:pt x="186" y="162"/>
                  </a:lnTo>
                  <a:lnTo>
                    <a:pt x="193" y="160"/>
                  </a:lnTo>
                  <a:lnTo>
                    <a:pt x="198" y="155"/>
                  </a:lnTo>
                  <a:lnTo>
                    <a:pt x="205" y="151"/>
                  </a:lnTo>
                  <a:lnTo>
                    <a:pt x="210" y="146"/>
                  </a:lnTo>
                  <a:lnTo>
                    <a:pt x="214" y="143"/>
                  </a:lnTo>
                  <a:lnTo>
                    <a:pt x="218" y="143"/>
                  </a:lnTo>
                  <a:lnTo>
                    <a:pt x="222" y="138"/>
                  </a:lnTo>
                  <a:lnTo>
                    <a:pt x="227" y="134"/>
                  </a:lnTo>
                  <a:lnTo>
                    <a:pt x="231" y="130"/>
                  </a:lnTo>
                  <a:lnTo>
                    <a:pt x="240" y="124"/>
                  </a:lnTo>
                  <a:lnTo>
                    <a:pt x="251" y="117"/>
                  </a:lnTo>
                  <a:lnTo>
                    <a:pt x="251" y="109"/>
                  </a:lnTo>
                  <a:lnTo>
                    <a:pt x="249" y="108"/>
                  </a:lnTo>
                  <a:lnTo>
                    <a:pt x="246" y="106"/>
                  </a:lnTo>
                  <a:lnTo>
                    <a:pt x="245" y="104"/>
                  </a:lnTo>
                  <a:lnTo>
                    <a:pt x="243" y="101"/>
                  </a:lnTo>
                  <a:lnTo>
                    <a:pt x="234" y="101"/>
                  </a:lnTo>
                  <a:lnTo>
                    <a:pt x="234" y="98"/>
                  </a:lnTo>
                  <a:lnTo>
                    <a:pt x="234" y="96"/>
                  </a:lnTo>
                  <a:lnTo>
                    <a:pt x="231" y="93"/>
                  </a:lnTo>
                  <a:lnTo>
                    <a:pt x="227" y="90"/>
                  </a:lnTo>
                  <a:lnTo>
                    <a:pt x="221" y="87"/>
                  </a:lnTo>
                  <a:lnTo>
                    <a:pt x="216" y="84"/>
                  </a:lnTo>
                  <a:lnTo>
                    <a:pt x="214" y="79"/>
                  </a:lnTo>
                  <a:lnTo>
                    <a:pt x="205" y="79"/>
                  </a:lnTo>
                  <a:lnTo>
                    <a:pt x="198" y="79"/>
                  </a:lnTo>
                  <a:lnTo>
                    <a:pt x="194" y="77"/>
                  </a:lnTo>
                  <a:lnTo>
                    <a:pt x="191" y="74"/>
                  </a:lnTo>
                  <a:lnTo>
                    <a:pt x="188" y="73"/>
                  </a:lnTo>
                  <a:lnTo>
                    <a:pt x="184" y="71"/>
                  </a:lnTo>
                  <a:lnTo>
                    <a:pt x="181" y="69"/>
                  </a:lnTo>
                  <a:lnTo>
                    <a:pt x="176" y="67"/>
                  </a:lnTo>
                  <a:lnTo>
                    <a:pt x="172" y="67"/>
                  </a:lnTo>
                  <a:lnTo>
                    <a:pt x="168" y="67"/>
                  </a:lnTo>
                  <a:lnTo>
                    <a:pt x="164" y="63"/>
                  </a:lnTo>
                  <a:lnTo>
                    <a:pt x="162" y="63"/>
                  </a:lnTo>
                  <a:lnTo>
                    <a:pt x="160" y="63"/>
                  </a:lnTo>
                  <a:lnTo>
                    <a:pt x="155" y="59"/>
                  </a:lnTo>
                  <a:lnTo>
                    <a:pt x="151" y="58"/>
                  </a:lnTo>
                  <a:lnTo>
                    <a:pt x="145" y="56"/>
                  </a:lnTo>
                  <a:lnTo>
                    <a:pt x="141" y="54"/>
                  </a:lnTo>
                  <a:lnTo>
                    <a:pt x="138" y="50"/>
                  </a:lnTo>
                  <a:lnTo>
                    <a:pt x="131" y="46"/>
                  </a:lnTo>
                  <a:lnTo>
                    <a:pt x="122" y="46"/>
                  </a:lnTo>
                  <a:lnTo>
                    <a:pt x="121" y="44"/>
                  </a:lnTo>
                  <a:lnTo>
                    <a:pt x="120" y="42"/>
                  </a:lnTo>
                  <a:lnTo>
                    <a:pt x="116" y="42"/>
                  </a:lnTo>
                  <a:lnTo>
                    <a:pt x="114" y="42"/>
                  </a:lnTo>
                  <a:lnTo>
                    <a:pt x="109" y="38"/>
                  </a:lnTo>
                  <a:lnTo>
                    <a:pt x="105" y="34"/>
                  </a:lnTo>
                  <a:lnTo>
                    <a:pt x="104" y="30"/>
                  </a:lnTo>
                  <a:lnTo>
                    <a:pt x="103" y="28"/>
                  </a:lnTo>
                  <a:lnTo>
                    <a:pt x="99" y="26"/>
                  </a:lnTo>
                  <a:lnTo>
                    <a:pt x="97" y="26"/>
                  </a:lnTo>
                  <a:lnTo>
                    <a:pt x="93" y="17"/>
                  </a:lnTo>
                  <a:lnTo>
                    <a:pt x="88" y="9"/>
                  </a:lnTo>
                  <a:lnTo>
                    <a:pt x="80" y="9"/>
                  </a:lnTo>
                  <a:lnTo>
                    <a:pt x="78" y="6"/>
                  </a:lnTo>
                  <a:lnTo>
                    <a:pt x="75" y="5"/>
                  </a:lnTo>
                  <a:lnTo>
                    <a:pt x="72" y="5"/>
                  </a:lnTo>
                  <a:lnTo>
                    <a:pt x="67" y="5"/>
                  </a:lnTo>
                  <a:lnTo>
                    <a:pt x="61" y="2"/>
                  </a:lnTo>
                  <a:lnTo>
                    <a:pt x="55" y="0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9" y="0"/>
                  </a:lnTo>
                  <a:lnTo>
                    <a:pt x="9" y="9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8" name="Freeform 85"/>
            <p:cNvSpPr>
              <a:spLocks noChangeAspect="1"/>
            </p:cNvSpPr>
            <p:nvPr/>
          </p:nvSpPr>
          <p:spPr bwMode="gray">
            <a:xfrm rot="355651">
              <a:off x="7178127" y="4241800"/>
              <a:ext cx="93100" cy="104333"/>
            </a:xfrm>
            <a:custGeom>
              <a:avLst/>
              <a:gdLst/>
              <a:ahLst/>
              <a:cxnLst>
                <a:cxn ang="0">
                  <a:pos x="223" y="14"/>
                </a:cxn>
                <a:cxn ang="0">
                  <a:pos x="202" y="53"/>
                </a:cxn>
                <a:cxn ang="0">
                  <a:pos x="194" y="116"/>
                </a:cxn>
                <a:cxn ang="0">
                  <a:pos x="174" y="132"/>
                </a:cxn>
                <a:cxn ang="0">
                  <a:pos x="137" y="150"/>
                </a:cxn>
                <a:cxn ang="0">
                  <a:pos x="101" y="173"/>
                </a:cxn>
                <a:cxn ang="0">
                  <a:pos x="85" y="186"/>
                </a:cxn>
                <a:cxn ang="0">
                  <a:pos x="58" y="201"/>
                </a:cxn>
                <a:cxn ang="0">
                  <a:pos x="39" y="212"/>
                </a:cxn>
                <a:cxn ang="0">
                  <a:pos x="37" y="215"/>
                </a:cxn>
                <a:cxn ang="0">
                  <a:pos x="13" y="249"/>
                </a:cxn>
                <a:cxn ang="0">
                  <a:pos x="4" y="272"/>
                </a:cxn>
                <a:cxn ang="0">
                  <a:pos x="0" y="317"/>
                </a:cxn>
                <a:cxn ang="0">
                  <a:pos x="8" y="408"/>
                </a:cxn>
                <a:cxn ang="0">
                  <a:pos x="32" y="480"/>
                </a:cxn>
                <a:cxn ang="0">
                  <a:pos x="49" y="505"/>
                </a:cxn>
                <a:cxn ang="0">
                  <a:pos x="60" y="529"/>
                </a:cxn>
                <a:cxn ang="0">
                  <a:pos x="70" y="554"/>
                </a:cxn>
                <a:cxn ang="0">
                  <a:pos x="109" y="606"/>
                </a:cxn>
                <a:cxn ang="0">
                  <a:pos x="131" y="626"/>
                </a:cxn>
                <a:cxn ang="0">
                  <a:pos x="158" y="641"/>
                </a:cxn>
                <a:cxn ang="0">
                  <a:pos x="251" y="630"/>
                </a:cxn>
                <a:cxn ang="0">
                  <a:pos x="289" y="602"/>
                </a:cxn>
                <a:cxn ang="0">
                  <a:pos x="303" y="584"/>
                </a:cxn>
                <a:cxn ang="0">
                  <a:pos x="317" y="575"/>
                </a:cxn>
                <a:cxn ang="0">
                  <a:pos x="337" y="565"/>
                </a:cxn>
                <a:cxn ang="0">
                  <a:pos x="352" y="553"/>
                </a:cxn>
                <a:cxn ang="0">
                  <a:pos x="400" y="527"/>
                </a:cxn>
                <a:cxn ang="0">
                  <a:pos x="425" y="517"/>
                </a:cxn>
                <a:cxn ang="0">
                  <a:pos x="448" y="500"/>
                </a:cxn>
                <a:cxn ang="0">
                  <a:pos x="466" y="488"/>
                </a:cxn>
                <a:cxn ang="0">
                  <a:pos x="481" y="469"/>
                </a:cxn>
                <a:cxn ang="0">
                  <a:pos x="497" y="442"/>
                </a:cxn>
                <a:cxn ang="0">
                  <a:pos x="504" y="427"/>
                </a:cxn>
                <a:cxn ang="0">
                  <a:pos x="509" y="383"/>
                </a:cxn>
                <a:cxn ang="0">
                  <a:pos x="497" y="345"/>
                </a:cxn>
                <a:cxn ang="0">
                  <a:pos x="481" y="306"/>
                </a:cxn>
                <a:cxn ang="0">
                  <a:pos x="466" y="270"/>
                </a:cxn>
                <a:cxn ang="0">
                  <a:pos x="450" y="238"/>
                </a:cxn>
                <a:cxn ang="0">
                  <a:pos x="430" y="201"/>
                </a:cxn>
                <a:cxn ang="0">
                  <a:pos x="425" y="125"/>
                </a:cxn>
                <a:cxn ang="0">
                  <a:pos x="423" y="63"/>
                </a:cxn>
                <a:cxn ang="0">
                  <a:pos x="400" y="52"/>
                </a:cxn>
                <a:cxn ang="0">
                  <a:pos x="382" y="39"/>
                </a:cxn>
                <a:cxn ang="0">
                  <a:pos x="356" y="33"/>
                </a:cxn>
                <a:cxn ang="0">
                  <a:pos x="282" y="22"/>
                </a:cxn>
                <a:cxn ang="0">
                  <a:pos x="269" y="4"/>
                </a:cxn>
                <a:cxn ang="0">
                  <a:pos x="257" y="0"/>
                </a:cxn>
              </a:cxnLst>
              <a:rect l="0" t="0" r="r" b="b"/>
              <a:pathLst>
                <a:path w="509" h="641">
                  <a:moveTo>
                    <a:pt x="237" y="4"/>
                  </a:moveTo>
                  <a:lnTo>
                    <a:pt x="233" y="6"/>
                  </a:lnTo>
                  <a:lnTo>
                    <a:pt x="227" y="9"/>
                  </a:lnTo>
                  <a:lnTo>
                    <a:pt x="223" y="14"/>
                  </a:lnTo>
                  <a:lnTo>
                    <a:pt x="218" y="18"/>
                  </a:lnTo>
                  <a:lnTo>
                    <a:pt x="209" y="27"/>
                  </a:lnTo>
                  <a:lnTo>
                    <a:pt x="203" y="35"/>
                  </a:lnTo>
                  <a:lnTo>
                    <a:pt x="202" y="53"/>
                  </a:lnTo>
                  <a:lnTo>
                    <a:pt x="200" y="73"/>
                  </a:lnTo>
                  <a:lnTo>
                    <a:pt x="198" y="93"/>
                  </a:lnTo>
                  <a:lnTo>
                    <a:pt x="198" y="114"/>
                  </a:lnTo>
                  <a:lnTo>
                    <a:pt x="194" y="116"/>
                  </a:lnTo>
                  <a:lnTo>
                    <a:pt x="189" y="119"/>
                  </a:lnTo>
                  <a:lnTo>
                    <a:pt x="185" y="128"/>
                  </a:lnTo>
                  <a:lnTo>
                    <a:pt x="180" y="129"/>
                  </a:lnTo>
                  <a:lnTo>
                    <a:pt x="174" y="132"/>
                  </a:lnTo>
                  <a:lnTo>
                    <a:pt x="167" y="136"/>
                  </a:lnTo>
                  <a:lnTo>
                    <a:pt x="162" y="140"/>
                  </a:lnTo>
                  <a:lnTo>
                    <a:pt x="149" y="140"/>
                  </a:lnTo>
                  <a:lnTo>
                    <a:pt x="137" y="150"/>
                  </a:lnTo>
                  <a:lnTo>
                    <a:pt x="121" y="159"/>
                  </a:lnTo>
                  <a:lnTo>
                    <a:pt x="113" y="163"/>
                  </a:lnTo>
                  <a:lnTo>
                    <a:pt x="107" y="168"/>
                  </a:lnTo>
                  <a:lnTo>
                    <a:pt x="101" y="173"/>
                  </a:lnTo>
                  <a:lnTo>
                    <a:pt x="97" y="180"/>
                  </a:lnTo>
                  <a:lnTo>
                    <a:pt x="93" y="180"/>
                  </a:lnTo>
                  <a:lnTo>
                    <a:pt x="89" y="182"/>
                  </a:lnTo>
                  <a:lnTo>
                    <a:pt x="85" y="186"/>
                  </a:lnTo>
                  <a:lnTo>
                    <a:pt x="83" y="189"/>
                  </a:lnTo>
                  <a:lnTo>
                    <a:pt x="74" y="191"/>
                  </a:lnTo>
                  <a:lnTo>
                    <a:pt x="66" y="193"/>
                  </a:lnTo>
                  <a:lnTo>
                    <a:pt x="58" y="201"/>
                  </a:lnTo>
                  <a:lnTo>
                    <a:pt x="49" y="210"/>
                  </a:lnTo>
                  <a:lnTo>
                    <a:pt x="43" y="211"/>
                  </a:lnTo>
                  <a:lnTo>
                    <a:pt x="40" y="211"/>
                  </a:lnTo>
                  <a:lnTo>
                    <a:pt x="39" y="212"/>
                  </a:lnTo>
                  <a:lnTo>
                    <a:pt x="39" y="212"/>
                  </a:lnTo>
                  <a:lnTo>
                    <a:pt x="39" y="213"/>
                  </a:lnTo>
                  <a:lnTo>
                    <a:pt x="39" y="215"/>
                  </a:lnTo>
                  <a:lnTo>
                    <a:pt x="37" y="215"/>
                  </a:lnTo>
                  <a:lnTo>
                    <a:pt x="35" y="215"/>
                  </a:lnTo>
                  <a:lnTo>
                    <a:pt x="31" y="224"/>
                  </a:lnTo>
                  <a:lnTo>
                    <a:pt x="22" y="236"/>
                  </a:lnTo>
                  <a:lnTo>
                    <a:pt x="13" y="249"/>
                  </a:lnTo>
                  <a:lnTo>
                    <a:pt x="8" y="255"/>
                  </a:lnTo>
                  <a:lnTo>
                    <a:pt x="8" y="268"/>
                  </a:lnTo>
                  <a:lnTo>
                    <a:pt x="6" y="269"/>
                  </a:lnTo>
                  <a:lnTo>
                    <a:pt x="4" y="272"/>
                  </a:lnTo>
                  <a:lnTo>
                    <a:pt x="2" y="277"/>
                  </a:lnTo>
                  <a:lnTo>
                    <a:pt x="1" y="283"/>
                  </a:lnTo>
                  <a:lnTo>
                    <a:pt x="0" y="299"/>
                  </a:lnTo>
                  <a:lnTo>
                    <a:pt x="0" y="317"/>
                  </a:lnTo>
                  <a:lnTo>
                    <a:pt x="3" y="355"/>
                  </a:lnTo>
                  <a:lnTo>
                    <a:pt x="4" y="378"/>
                  </a:lnTo>
                  <a:lnTo>
                    <a:pt x="5" y="391"/>
                  </a:lnTo>
                  <a:lnTo>
                    <a:pt x="8" y="408"/>
                  </a:lnTo>
                  <a:lnTo>
                    <a:pt x="13" y="426"/>
                  </a:lnTo>
                  <a:lnTo>
                    <a:pt x="18" y="445"/>
                  </a:lnTo>
                  <a:lnTo>
                    <a:pt x="25" y="463"/>
                  </a:lnTo>
                  <a:lnTo>
                    <a:pt x="32" y="480"/>
                  </a:lnTo>
                  <a:lnTo>
                    <a:pt x="36" y="488"/>
                  </a:lnTo>
                  <a:lnTo>
                    <a:pt x="40" y="495"/>
                  </a:lnTo>
                  <a:lnTo>
                    <a:pt x="44" y="500"/>
                  </a:lnTo>
                  <a:lnTo>
                    <a:pt x="49" y="505"/>
                  </a:lnTo>
                  <a:lnTo>
                    <a:pt x="50" y="511"/>
                  </a:lnTo>
                  <a:lnTo>
                    <a:pt x="52" y="517"/>
                  </a:lnTo>
                  <a:lnTo>
                    <a:pt x="55" y="524"/>
                  </a:lnTo>
                  <a:lnTo>
                    <a:pt x="60" y="529"/>
                  </a:lnTo>
                  <a:lnTo>
                    <a:pt x="63" y="535"/>
                  </a:lnTo>
                  <a:lnTo>
                    <a:pt x="66" y="540"/>
                  </a:lnTo>
                  <a:lnTo>
                    <a:pt x="70" y="547"/>
                  </a:lnTo>
                  <a:lnTo>
                    <a:pt x="70" y="554"/>
                  </a:lnTo>
                  <a:lnTo>
                    <a:pt x="81" y="566"/>
                  </a:lnTo>
                  <a:lnTo>
                    <a:pt x="96" y="586"/>
                  </a:lnTo>
                  <a:lnTo>
                    <a:pt x="102" y="597"/>
                  </a:lnTo>
                  <a:lnTo>
                    <a:pt x="109" y="606"/>
                  </a:lnTo>
                  <a:lnTo>
                    <a:pt x="112" y="614"/>
                  </a:lnTo>
                  <a:lnTo>
                    <a:pt x="114" y="620"/>
                  </a:lnTo>
                  <a:lnTo>
                    <a:pt x="122" y="622"/>
                  </a:lnTo>
                  <a:lnTo>
                    <a:pt x="131" y="626"/>
                  </a:lnTo>
                  <a:lnTo>
                    <a:pt x="140" y="632"/>
                  </a:lnTo>
                  <a:lnTo>
                    <a:pt x="145" y="636"/>
                  </a:lnTo>
                  <a:lnTo>
                    <a:pt x="151" y="639"/>
                  </a:lnTo>
                  <a:lnTo>
                    <a:pt x="158" y="641"/>
                  </a:lnTo>
                  <a:lnTo>
                    <a:pt x="224" y="641"/>
                  </a:lnTo>
                  <a:lnTo>
                    <a:pt x="229" y="640"/>
                  </a:lnTo>
                  <a:lnTo>
                    <a:pt x="238" y="635"/>
                  </a:lnTo>
                  <a:lnTo>
                    <a:pt x="251" y="630"/>
                  </a:lnTo>
                  <a:lnTo>
                    <a:pt x="263" y="622"/>
                  </a:lnTo>
                  <a:lnTo>
                    <a:pt x="274" y="614"/>
                  </a:lnTo>
                  <a:lnTo>
                    <a:pt x="285" y="606"/>
                  </a:lnTo>
                  <a:lnTo>
                    <a:pt x="289" y="602"/>
                  </a:lnTo>
                  <a:lnTo>
                    <a:pt x="292" y="599"/>
                  </a:lnTo>
                  <a:lnTo>
                    <a:pt x="294" y="595"/>
                  </a:lnTo>
                  <a:lnTo>
                    <a:pt x="294" y="593"/>
                  </a:lnTo>
                  <a:lnTo>
                    <a:pt x="303" y="584"/>
                  </a:lnTo>
                  <a:lnTo>
                    <a:pt x="308" y="583"/>
                  </a:lnTo>
                  <a:lnTo>
                    <a:pt x="312" y="582"/>
                  </a:lnTo>
                  <a:lnTo>
                    <a:pt x="315" y="578"/>
                  </a:lnTo>
                  <a:lnTo>
                    <a:pt x="317" y="575"/>
                  </a:lnTo>
                  <a:lnTo>
                    <a:pt x="327" y="573"/>
                  </a:lnTo>
                  <a:lnTo>
                    <a:pt x="334" y="571"/>
                  </a:lnTo>
                  <a:lnTo>
                    <a:pt x="334" y="567"/>
                  </a:lnTo>
                  <a:lnTo>
                    <a:pt x="337" y="565"/>
                  </a:lnTo>
                  <a:lnTo>
                    <a:pt x="340" y="563"/>
                  </a:lnTo>
                  <a:lnTo>
                    <a:pt x="343" y="562"/>
                  </a:lnTo>
                  <a:lnTo>
                    <a:pt x="346" y="558"/>
                  </a:lnTo>
                  <a:lnTo>
                    <a:pt x="352" y="553"/>
                  </a:lnTo>
                  <a:lnTo>
                    <a:pt x="363" y="546"/>
                  </a:lnTo>
                  <a:lnTo>
                    <a:pt x="376" y="539"/>
                  </a:lnTo>
                  <a:lnTo>
                    <a:pt x="388" y="533"/>
                  </a:lnTo>
                  <a:lnTo>
                    <a:pt x="400" y="527"/>
                  </a:lnTo>
                  <a:lnTo>
                    <a:pt x="410" y="524"/>
                  </a:lnTo>
                  <a:lnTo>
                    <a:pt x="418" y="523"/>
                  </a:lnTo>
                  <a:lnTo>
                    <a:pt x="421" y="519"/>
                  </a:lnTo>
                  <a:lnTo>
                    <a:pt x="425" y="517"/>
                  </a:lnTo>
                  <a:lnTo>
                    <a:pt x="429" y="515"/>
                  </a:lnTo>
                  <a:lnTo>
                    <a:pt x="435" y="514"/>
                  </a:lnTo>
                  <a:lnTo>
                    <a:pt x="444" y="500"/>
                  </a:lnTo>
                  <a:lnTo>
                    <a:pt x="448" y="500"/>
                  </a:lnTo>
                  <a:lnTo>
                    <a:pt x="453" y="498"/>
                  </a:lnTo>
                  <a:lnTo>
                    <a:pt x="456" y="496"/>
                  </a:lnTo>
                  <a:lnTo>
                    <a:pt x="459" y="494"/>
                  </a:lnTo>
                  <a:lnTo>
                    <a:pt x="466" y="488"/>
                  </a:lnTo>
                  <a:lnTo>
                    <a:pt x="475" y="484"/>
                  </a:lnTo>
                  <a:lnTo>
                    <a:pt x="475" y="479"/>
                  </a:lnTo>
                  <a:lnTo>
                    <a:pt x="477" y="475"/>
                  </a:lnTo>
                  <a:lnTo>
                    <a:pt x="481" y="469"/>
                  </a:lnTo>
                  <a:lnTo>
                    <a:pt x="484" y="463"/>
                  </a:lnTo>
                  <a:lnTo>
                    <a:pt x="492" y="455"/>
                  </a:lnTo>
                  <a:lnTo>
                    <a:pt x="497" y="448"/>
                  </a:lnTo>
                  <a:lnTo>
                    <a:pt x="497" y="442"/>
                  </a:lnTo>
                  <a:lnTo>
                    <a:pt x="500" y="436"/>
                  </a:lnTo>
                  <a:lnTo>
                    <a:pt x="501" y="432"/>
                  </a:lnTo>
                  <a:lnTo>
                    <a:pt x="502" y="429"/>
                  </a:lnTo>
                  <a:lnTo>
                    <a:pt x="504" y="427"/>
                  </a:lnTo>
                  <a:lnTo>
                    <a:pt x="505" y="426"/>
                  </a:lnTo>
                  <a:lnTo>
                    <a:pt x="505" y="400"/>
                  </a:lnTo>
                  <a:lnTo>
                    <a:pt x="507" y="392"/>
                  </a:lnTo>
                  <a:lnTo>
                    <a:pt x="509" y="383"/>
                  </a:lnTo>
                  <a:lnTo>
                    <a:pt x="507" y="373"/>
                  </a:lnTo>
                  <a:lnTo>
                    <a:pt x="505" y="363"/>
                  </a:lnTo>
                  <a:lnTo>
                    <a:pt x="502" y="354"/>
                  </a:lnTo>
                  <a:lnTo>
                    <a:pt x="497" y="345"/>
                  </a:lnTo>
                  <a:lnTo>
                    <a:pt x="493" y="338"/>
                  </a:lnTo>
                  <a:lnTo>
                    <a:pt x="488" y="334"/>
                  </a:lnTo>
                  <a:lnTo>
                    <a:pt x="488" y="316"/>
                  </a:lnTo>
                  <a:lnTo>
                    <a:pt x="481" y="306"/>
                  </a:lnTo>
                  <a:lnTo>
                    <a:pt x="474" y="293"/>
                  </a:lnTo>
                  <a:lnTo>
                    <a:pt x="471" y="285"/>
                  </a:lnTo>
                  <a:lnTo>
                    <a:pt x="468" y="278"/>
                  </a:lnTo>
                  <a:lnTo>
                    <a:pt x="466" y="270"/>
                  </a:lnTo>
                  <a:lnTo>
                    <a:pt x="466" y="264"/>
                  </a:lnTo>
                  <a:lnTo>
                    <a:pt x="457" y="255"/>
                  </a:lnTo>
                  <a:lnTo>
                    <a:pt x="457" y="246"/>
                  </a:lnTo>
                  <a:lnTo>
                    <a:pt x="450" y="238"/>
                  </a:lnTo>
                  <a:lnTo>
                    <a:pt x="443" y="230"/>
                  </a:lnTo>
                  <a:lnTo>
                    <a:pt x="436" y="222"/>
                  </a:lnTo>
                  <a:lnTo>
                    <a:pt x="430" y="215"/>
                  </a:lnTo>
                  <a:lnTo>
                    <a:pt x="430" y="201"/>
                  </a:lnTo>
                  <a:lnTo>
                    <a:pt x="427" y="193"/>
                  </a:lnTo>
                  <a:lnTo>
                    <a:pt x="423" y="184"/>
                  </a:lnTo>
                  <a:lnTo>
                    <a:pt x="423" y="154"/>
                  </a:lnTo>
                  <a:lnTo>
                    <a:pt x="425" y="125"/>
                  </a:lnTo>
                  <a:lnTo>
                    <a:pt x="426" y="95"/>
                  </a:lnTo>
                  <a:lnTo>
                    <a:pt x="427" y="65"/>
                  </a:lnTo>
                  <a:lnTo>
                    <a:pt x="424" y="65"/>
                  </a:lnTo>
                  <a:lnTo>
                    <a:pt x="423" y="63"/>
                  </a:lnTo>
                  <a:lnTo>
                    <a:pt x="423" y="59"/>
                  </a:lnTo>
                  <a:lnTo>
                    <a:pt x="423" y="56"/>
                  </a:lnTo>
                  <a:lnTo>
                    <a:pt x="413" y="55"/>
                  </a:lnTo>
                  <a:lnTo>
                    <a:pt x="400" y="52"/>
                  </a:lnTo>
                  <a:lnTo>
                    <a:pt x="395" y="48"/>
                  </a:lnTo>
                  <a:lnTo>
                    <a:pt x="389" y="46"/>
                  </a:lnTo>
                  <a:lnTo>
                    <a:pt x="385" y="43"/>
                  </a:lnTo>
                  <a:lnTo>
                    <a:pt x="382" y="39"/>
                  </a:lnTo>
                  <a:lnTo>
                    <a:pt x="369" y="39"/>
                  </a:lnTo>
                  <a:lnTo>
                    <a:pt x="362" y="37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3" y="30"/>
                  </a:lnTo>
                  <a:lnTo>
                    <a:pt x="350" y="30"/>
                  </a:lnTo>
                  <a:lnTo>
                    <a:pt x="348" y="30"/>
                  </a:lnTo>
                  <a:lnTo>
                    <a:pt x="282" y="22"/>
                  </a:lnTo>
                  <a:lnTo>
                    <a:pt x="277" y="17"/>
                  </a:lnTo>
                  <a:lnTo>
                    <a:pt x="273" y="13"/>
                  </a:lnTo>
                  <a:lnTo>
                    <a:pt x="271" y="8"/>
                  </a:lnTo>
                  <a:lnTo>
                    <a:pt x="269" y="4"/>
                  </a:lnTo>
                  <a:lnTo>
                    <a:pt x="260" y="4"/>
                  </a:lnTo>
                  <a:lnTo>
                    <a:pt x="260" y="3"/>
                  </a:lnTo>
                  <a:lnTo>
                    <a:pt x="258" y="1"/>
                  </a:lnTo>
                  <a:lnTo>
                    <a:pt x="257" y="0"/>
                  </a:lnTo>
                  <a:lnTo>
                    <a:pt x="255" y="0"/>
                  </a:lnTo>
                  <a:lnTo>
                    <a:pt x="248" y="1"/>
                  </a:lnTo>
                  <a:lnTo>
                    <a:pt x="237" y="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9" name="Freeform 86"/>
            <p:cNvSpPr>
              <a:spLocks noChangeAspect="1"/>
            </p:cNvSpPr>
            <p:nvPr/>
          </p:nvSpPr>
          <p:spPr bwMode="gray">
            <a:xfrm rot="355651">
              <a:off x="7178127" y="4241800"/>
              <a:ext cx="93100" cy="104333"/>
            </a:xfrm>
            <a:custGeom>
              <a:avLst/>
              <a:gdLst/>
              <a:ahLst/>
              <a:cxnLst>
                <a:cxn ang="0">
                  <a:pos x="223" y="14"/>
                </a:cxn>
                <a:cxn ang="0">
                  <a:pos x="202" y="53"/>
                </a:cxn>
                <a:cxn ang="0">
                  <a:pos x="194" y="116"/>
                </a:cxn>
                <a:cxn ang="0">
                  <a:pos x="174" y="132"/>
                </a:cxn>
                <a:cxn ang="0">
                  <a:pos x="137" y="150"/>
                </a:cxn>
                <a:cxn ang="0">
                  <a:pos x="101" y="173"/>
                </a:cxn>
                <a:cxn ang="0">
                  <a:pos x="85" y="186"/>
                </a:cxn>
                <a:cxn ang="0">
                  <a:pos x="58" y="201"/>
                </a:cxn>
                <a:cxn ang="0">
                  <a:pos x="39" y="212"/>
                </a:cxn>
                <a:cxn ang="0">
                  <a:pos x="37" y="215"/>
                </a:cxn>
                <a:cxn ang="0">
                  <a:pos x="13" y="249"/>
                </a:cxn>
                <a:cxn ang="0">
                  <a:pos x="4" y="272"/>
                </a:cxn>
                <a:cxn ang="0">
                  <a:pos x="0" y="317"/>
                </a:cxn>
                <a:cxn ang="0">
                  <a:pos x="8" y="408"/>
                </a:cxn>
                <a:cxn ang="0">
                  <a:pos x="32" y="480"/>
                </a:cxn>
                <a:cxn ang="0">
                  <a:pos x="49" y="505"/>
                </a:cxn>
                <a:cxn ang="0">
                  <a:pos x="60" y="529"/>
                </a:cxn>
                <a:cxn ang="0">
                  <a:pos x="70" y="554"/>
                </a:cxn>
                <a:cxn ang="0">
                  <a:pos x="109" y="606"/>
                </a:cxn>
                <a:cxn ang="0">
                  <a:pos x="131" y="626"/>
                </a:cxn>
                <a:cxn ang="0">
                  <a:pos x="158" y="641"/>
                </a:cxn>
                <a:cxn ang="0">
                  <a:pos x="251" y="630"/>
                </a:cxn>
                <a:cxn ang="0">
                  <a:pos x="289" y="602"/>
                </a:cxn>
                <a:cxn ang="0">
                  <a:pos x="303" y="584"/>
                </a:cxn>
                <a:cxn ang="0">
                  <a:pos x="317" y="575"/>
                </a:cxn>
                <a:cxn ang="0">
                  <a:pos x="337" y="565"/>
                </a:cxn>
                <a:cxn ang="0">
                  <a:pos x="352" y="553"/>
                </a:cxn>
                <a:cxn ang="0">
                  <a:pos x="400" y="527"/>
                </a:cxn>
                <a:cxn ang="0">
                  <a:pos x="425" y="517"/>
                </a:cxn>
                <a:cxn ang="0">
                  <a:pos x="448" y="500"/>
                </a:cxn>
                <a:cxn ang="0">
                  <a:pos x="466" y="488"/>
                </a:cxn>
                <a:cxn ang="0">
                  <a:pos x="481" y="469"/>
                </a:cxn>
                <a:cxn ang="0">
                  <a:pos x="497" y="442"/>
                </a:cxn>
                <a:cxn ang="0">
                  <a:pos x="504" y="427"/>
                </a:cxn>
                <a:cxn ang="0">
                  <a:pos x="509" y="383"/>
                </a:cxn>
                <a:cxn ang="0">
                  <a:pos x="497" y="345"/>
                </a:cxn>
                <a:cxn ang="0">
                  <a:pos x="481" y="306"/>
                </a:cxn>
                <a:cxn ang="0">
                  <a:pos x="466" y="270"/>
                </a:cxn>
                <a:cxn ang="0">
                  <a:pos x="450" y="238"/>
                </a:cxn>
                <a:cxn ang="0">
                  <a:pos x="430" y="201"/>
                </a:cxn>
                <a:cxn ang="0">
                  <a:pos x="425" y="125"/>
                </a:cxn>
                <a:cxn ang="0">
                  <a:pos x="423" y="63"/>
                </a:cxn>
                <a:cxn ang="0">
                  <a:pos x="400" y="52"/>
                </a:cxn>
                <a:cxn ang="0">
                  <a:pos x="382" y="39"/>
                </a:cxn>
                <a:cxn ang="0">
                  <a:pos x="356" y="33"/>
                </a:cxn>
                <a:cxn ang="0">
                  <a:pos x="282" y="22"/>
                </a:cxn>
                <a:cxn ang="0">
                  <a:pos x="269" y="4"/>
                </a:cxn>
                <a:cxn ang="0">
                  <a:pos x="257" y="0"/>
                </a:cxn>
              </a:cxnLst>
              <a:rect l="0" t="0" r="r" b="b"/>
              <a:pathLst>
                <a:path w="509" h="641">
                  <a:moveTo>
                    <a:pt x="237" y="4"/>
                  </a:moveTo>
                  <a:lnTo>
                    <a:pt x="233" y="6"/>
                  </a:lnTo>
                  <a:lnTo>
                    <a:pt x="227" y="9"/>
                  </a:lnTo>
                  <a:lnTo>
                    <a:pt x="223" y="14"/>
                  </a:lnTo>
                  <a:lnTo>
                    <a:pt x="218" y="18"/>
                  </a:lnTo>
                  <a:lnTo>
                    <a:pt x="209" y="27"/>
                  </a:lnTo>
                  <a:lnTo>
                    <a:pt x="203" y="35"/>
                  </a:lnTo>
                  <a:lnTo>
                    <a:pt x="202" y="53"/>
                  </a:lnTo>
                  <a:lnTo>
                    <a:pt x="200" y="73"/>
                  </a:lnTo>
                  <a:lnTo>
                    <a:pt x="198" y="93"/>
                  </a:lnTo>
                  <a:lnTo>
                    <a:pt x="198" y="114"/>
                  </a:lnTo>
                  <a:lnTo>
                    <a:pt x="194" y="116"/>
                  </a:lnTo>
                  <a:lnTo>
                    <a:pt x="189" y="119"/>
                  </a:lnTo>
                  <a:lnTo>
                    <a:pt x="185" y="128"/>
                  </a:lnTo>
                  <a:lnTo>
                    <a:pt x="180" y="129"/>
                  </a:lnTo>
                  <a:lnTo>
                    <a:pt x="174" y="132"/>
                  </a:lnTo>
                  <a:lnTo>
                    <a:pt x="167" y="136"/>
                  </a:lnTo>
                  <a:lnTo>
                    <a:pt x="162" y="140"/>
                  </a:lnTo>
                  <a:lnTo>
                    <a:pt x="149" y="140"/>
                  </a:lnTo>
                  <a:lnTo>
                    <a:pt x="137" y="150"/>
                  </a:lnTo>
                  <a:lnTo>
                    <a:pt x="121" y="159"/>
                  </a:lnTo>
                  <a:lnTo>
                    <a:pt x="113" y="163"/>
                  </a:lnTo>
                  <a:lnTo>
                    <a:pt x="107" y="168"/>
                  </a:lnTo>
                  <a:lnTo>
                    <a:pt x="101" y="173"/>
                  </a:lnTo>
                  <a:lnTo>
                    <a:pt x="97" y="180"/>
                  </a:lnTo>
                  <a:lnTo>
                    <a:pt x="93" y="180"/>
                  </a:lnTo>
                  <a:lnTo>
                    <a:pt x="89" y="182"/>
                  </a:lnTo>
                  <a:lnTo>
                    <a:pt x="85" y="186"/>
                  </a:lnTo>
                  <a:lnTo>
                    <a:pt x="83" y="189"/>
                  </a:lnTo>
                  <a:lnTo>
                    <a:pt x="74" y="191"/>
                  </a:lnTo>
                  <a:lnTo>
                    <a:pt x="66" y="193"/>
                  </a:lnTo>
                  <a:lnTo>
                    <a:pt x="58" y="201"/>
                  </a:lnTo>
                  <a:lnTo>
                    <a:pt x="49" y="210"/>
                  </a:lnTo>
                  <a:lnTo>
                    <a:pt x="43" y="211"/>
                  </a:lnTo>
                  <a:lnTo>
                    <a:pt x="40" y="211"/>
                  </a:lnTo>
                  <a:lnTo>
                    <a:pt x="39" y="212"/>
                  </a:lnTo>
                  <a:lnTo>
                    <a:pt x="39" y="212"/>
                  </a:lnTo>
                  <a:lnTo>
                    <a:pt x="39" y="213"/>
                  </a:lnTo>
                  <a:lnTo>
                    <a:pt x="39" y="215"/>
                  </a:lnTo>
                  <a:lnTo>
                    <a:pt x="37" y="215"/>
                  </a:lnTo>
                  <a:lnTo>
                    <a:pt x="35" y="215"/>
                  </a:lnTo>
                  <a:lnTo>
                    <a:pt x="31" y="224"/>
                  </a:lnTo>
                  <a:lnTo>
                    <a:pt x="22" y="236"/>
                  </a:lnTo>
                  <a:lnTo>
                    <a:pt x="13" y="249"/>
                  </a:lnTo>
                  <a:lnTo>
                    <a:pt x="8" y="255"/>
                  </a:lnTo>
                  <a:lnTo>
                    <a:pt x="8" y="268"/>
                  </a:lnTo>
                  <a:lnTo>
                    <a:pt x="6" y="269"/>
                  </a:lnTo>
                  <a:lnTo>
                    <a:pt x="4" y="272"/>
                  </a:lnTo>
                  <a:lnTo>
                    <a:pt x="2" y="277"/>
                  </a:lnTo>
                  <a:lnTo>
                    <a:pt x="1" y="283"/>
                  </a:lnTo>
                  <a:lnTo>
                    <a:pt x="0" y="299"/>
                  </a:lnTo>
                  <a:lnTo>
                    <a:pt x="0" y="317"/>
                  </a:lnTo>
                  <a:lnTo>
                    <a:pt x="3" y="355"/>
                  </a:lnTo>
                  <a:lnTo>
                    <a:pt x="4" y="378"/>
                  </a:lnTo>
                  <a:lnTo>
                    <a:pt x="5" y="391"/>
                  </a:lnTo>
                  <a:lnTo>
                    <a:pt x="8" y="408"/>
                  </a:lnTo>
                  <a:lnTo>
                    <a:pt x="13" y="426"/>
                  </a:lnTo>
                  <a:lnTo>
                    <a:pt x="18" y="445"/>
                  </a:lnTo>
                  <a:lnTo>
                    <a:pt x="25" y="463"/>
                  </a:lnTo>
                  <a:lnTo>
                    <a:pt x="32" y="480"/>
                  </a:lnTo>
                  <a:lnTo>
                    <a:pt x="36" y="488"/>
                  </a:lnTo>
                  <a:lnTo>
                    <a:pt x="40" y="495"/>
                  </a:lnTo>
                  <a:lnTo>
                    <a:pt x="44" y="500"/>
                  </a:lnTo>
                  <a:lnTo>
                    <a:pt x="49" y="505"/>
                  </a:lnTo>
                  <a:lnTo>
                    <a:pt x="50" y="511"/>
                  </a:lnTo>
                  <a:lnTo>
                    <a:pt x="52" y="517"/>
                  </a:lnTo>
                  <a:lnTo>
                    <a:pt x="55" y="524"/>
                  </a:lnTo>
                  <a:lnTo>
                    <a:pt x="60" y="529"/>
                  </a:lnTo>
                  <a:lnTo>
                    <a:pt x="63" y="535"/>
                  </a:lnTo>
                  <a:lnTo>
                    <a:pt x="66" y="540"/>
                  </a:lnTo>
                  <a:lnTo>
                    <a:pt x="70" y="547"/>
                  </a:lnTo>
                  <a:lnTo>
                    <a:pt x="70" y="554"/>
                  </a:lnTo>
                  <a:lnTo>
                    <a:pt x="81" y="566"/>
                  </a:lnTo>
                  <a:lnTo>
                    <a:pt x="96" y="586"/>
                  </a:lnTo>
                  <a:lnTo>
                    <a:pt x="102" y="597"/>
                  </a:lnTo>
                  <a:lnTo>
                    <a:pt x="109" y="606"/>
                  </a:lnTo>
                  <a:lnTo>
                    <a:pt x="112" y="614"/>
                  </a:lnTo>
                  <a:lnTo>
                    <a:pt x="114" y="620"/>
                  </a:lnTo>
                  <a:lnTo>
                    <a:pt x="122" y="622"/>
                  </a:lnTo>
                  <a:lnTo>
                    <a:pt x="131" y="626"/>
                  </a:lnTo>
                  <a:lnTo>
                    <a:pt x="140" y="632"/>
                  </a:lnTo>
                  <a:lnTo>
                    <a:pt x="145" y="636"/>
                  </a:lnTo>
                  <a:lnTo>
                    <a:pt x="151" y="639"/>
                  </a:lnTo>
                  <a:lnTo>
                    <a:pt x="158" y="641"/>
                  </a:lnTo>
                  <a:lnTo>
                    <a:pt x="224" y="641"/>
                  </a:lnTo>
                  <a:lnTo>
                    <a:pt x="229" y="640"/>
                  </a:lnTo>
                  <a:lnTo>
                    <a:pt x="238" y="635"/>
                  </a:lnTo>
                  <a:lnTo>
                    <a:pt x="251" y="630"/>
                  </a:lnTo>
                  <a:lnTo>
                    <a:pt x="263" y="622"/>
                  </a:lnTo>
                  <a:lnTo>
                    <a:pt x="274" y="614"/>
                  </a:lnTo>
                  <a:lnTo>
                    <a:pt x="285" y="606"/>
                  </a:lnTo>
                  <a:lnTo>
                    <a:pt x="289" y="602"/>
                  </a:lnTo>
                  <a:lnTo>
                    <a:pt x="292" y="599"/>
                  </a:lnTo>
                  <a:lnTo>
                    <a:pt x="294" y="595"/>
                  </a:lnTo>
                  <a:lnTo>
                    <a:pt x="294" y="593"/>
                  </a:lnTo>
                  <a:lnTo>
                    <a:pt x="303" y="584"/>
                  </a:lnTo>
                  <a:lnTo>
                    <a:pt x="308" y="583"/>
                  </a:lnTo>
                  <a:lnTo>
                    <a:pt x="312" y="582"/>
                  </a:lnTo>
                  <a:lnTo>
                    <a:pt x="315" y="578"/>
                  </a:lnTo>
                  <a:lnTo>
                    <a:pt x="317" y="575"/>
                  </a:lnTo>
                  <a:lnTo>
                    <a:pt x="327" y="573"/>
                  </a:lnTo>
                  <a:lnTo>
                    <a:pt x="334" y="571"/>
                  </a:lnTo>
                  <a:lnTo>
                    <a:pt x="334" y="567"/>
                  </a:lnTo>
                  <a:lnTo>
                    <a:pt x="337" y="565"/>
                  </a:lnTo>
                  <a:lnTo>
                    <a:pt x="340" y="563"/>
                  </a:lnTo>
                  <a:lnTo>
                    <a:pt x="343" y="562"/>
                  </a:lnTo>
                  <a:lnTo>
                    <a:pt x="346" y="558"/>
                  </a:lnTo>
                  <a:lnTo>
                    <a:pt x="352" y="553"/>
                  </a:lnTo>
                  <a:lnTo>
                    <a:pt x="363" y="546"/>
                  </a:lnTo>
                  <a:lnTo>
                    <a:pt x="376" y="539"/>
                  </a:lnTo>
                  <a:lnTo>
                    <a:pt x="388" y="533"/>
                  </a:lnTo>
                  <a:lnTo>
                    <a:pt x="400" y="527"/>
                  </a:lnTo>
                  <a:lnTo>
                    <a:pt x="410" y="524"/>
                  </a:lnTo>
                  <a:lnTo>
                    <a:pt x="418" y="523"/>
                  </a:lnTo>
                  <a:lnTo>
                    <a:pt x="421" y="519"/>
                  </a:lnTo>
                  <a:lnTo>
                    <a:pt x="425" y="517"/>
                  </a:lnTo>
                  <a:lnTo>
                    <a:pt x="429" y="515"/>
                  </a:lnTo>
                  <a:lnTo>
                    <a:pt x="435" y="514"/>
                  </a:lnTo>
                  <a:lnTo>
                    <a:pt x="444" y="500"/>
                  </a:lnTo>
                  <a:lnTo>
                    <a:pt x="448" y="500"/>
                  </a:lnTo>
                  <a:lnTo>
                    <a:pt x="453" y="498"/>
                  </a:lnTo>
                  <a:lnTo>
                    <a:pt x="456" y="496"/>
                  </a:lnTo>
                  <a:lnTo>
                    <a:pt x="459" y="494"/>
                  </a:lnTo>
                  <a:lnTo>
                    <a:pt x="466" y="488"/>
                  </a:lnTo>
                  <a:lnTo>
                    <a:pt x="475" y="484"/>
                  </a:lnTo>
                  <a:lnTo>
                    <a:pt x="475" y="479"/>
                  </a:lnTo>
                  <a:lnTo>
                    <a:pt x="477" y="475"/>
                  </a:lnTo>
                  <a:lnTo>
                    <a:pt x="481" y="469"/>
                  </a:lnTo>
                  <a:lnTo>
                    <a:pt x="484" y="463"/>
                  </a:lnTo>
                  <a:lnTo>
                    <a:pt x="492" y="455"/>
                  </a:lnTo>
                  <a:lnTo>
                    <a:pt x="497" y="448"/>
                  </a:lnTo>
                  <a:lnTo>
                    <a:pt x="497" y="442"/>
                  </a:lnTo>
                  <a:lnTo>
                    <a:pt x="500" y="436"/>
                  </a:lnTo>
                  <a:lnTo>
                    <a:pt x="501" y="432"/>
                  </a:lnTo>
                  <a:lnTo>
                    <a:pt x="502" y="429"/>
                  </a:lnTo>
                  <a:lnTo>
                    <a:pt x="504" y="427"/>
                  </a:lnTo>
                  <a:lnTo>
                    <a:pt x="505" y="426"/>
                  </a:lnTo>
                  <a:lnTo>
                    <a:pt x="505" y="400"/>
                  </a:lnTo>
                  <a:lnTo>
                    <a:pt x="507" y="392"/>
                  </a:lnTo>
                  <a:lnTo>
                    <a:pt x="509" y="383"/>
                  </a:lnTo>
                  <a:lnTo>
                    <a:pt x="507" y="373"/>
                  </a:lnTo>
                  <a:lnTo>
                    <a:pt x="505" y="363"/>
                  </a:lnTo>
                  <a:lnTo>
                    <a:pt x="502" y="354"/>
                  </a:lnTo>
                  <a:lnTo>
                    <a:pt x="497" y="345"/>
                  </a:lnTo>
                  <a:lnTo>
                    <a:pt x="493" y="338"/>
                  </a:lnTo>
                  <a:lnTo>
                    <a:pt x="488" y="334"/>
                  </a:lnTo>
                  <a:lnTo>
                    <a:pt x="488" y="316"/>
                  </a:lnTo>
                  <a:lnTo>
                    <a:pt x="481" y="306"/>
                  </a:lnTo>
                  <a:lnTo>
                    <a:pt x="474" y="293"/>
                  </a:lnTo>
                  <a:lnTo>
                    <a:pt x="471" y="285"/>
                  </a:lnTo>
                  <a:lnTo>
                    <a:pt x="468" y="278"/>
                  </a:lnTo>
                  <a:lnTo>
                    <a:pt x="466" y="270"/>
                  </a:lnTo>
                  <a:lnTo>
                    <a:pt x="466" y="264"/>
                  </a:lnTo>
                  <a:lnTo>
                    <a:pt x="457" y="255"/>
                  </a:lnTo>
                  <a:lnTo>
                    <a:pt x="457" y="246"/>
                  </a:lnTo>
                  <a:lnTo>
                    <a:pt x="450" y="238"/>
                  </a:lnTo>
                  <a:lnTo>
                    <a:pt x="443" y="230"/>
                  </a:lnTo>
                  <a:lnTo>
                    <a:pt x="436" y="222"/>
                  </a:lnTo>
                  <a:lnTo>
                    <a:pt x="430" y="215"/>
                  </a:lnTo>
                  <a:lnTo>
                    <a:pt x="430" y="201"/>
                  </a:lnTo>
                  <a:lnTo>
                    <a:pt x="427" y="193"/>
                  </a:lnTo>
                  <a:lnTo>
                    <a:pt x="423" y="184"/>
                  </a:lnTo>
                  <a:lnTo>
                    <a:pt x="423" y="154"/>
                  </a:lnTo>
                  <a:lnTo>
                    <a:pt x="425" y="125"/>
                  </a:lnTo>
                  <a:lnTo>
                    <a:pt x="426" y="95"/>
                  </a:lnTo>
                  <a:lnTo>
                    <a:pt x="427" y="65"/>
                  </a:lnTo>
                  <a:lnTo>
                    <a:pt x="424" y="65"/>
                  </a:lnTo>
                  <a:lnTo>
                    <a:pt x="423" y="63"/>
                  </a:lnTo>
                  <a:lnTo>
                    <a:pt x="423" y="59"/>
                  </a:lnTo>
                  <a:lnTo>
                    <a:pt x="423" y="56"/>
                  </a:lnTo>
                  <a:lnTo>
                    <a:pt x="413" y="55"/>
                  </a:lnTo>
                  <a:lnTo>
                    <a:pt x="400" y="52"/>
                  </a:lnTo>
                  <a:lnTo>
                    <a:pt x="395" y="48"/>
                  </a:lnTo>
                  <a:lnTo>
                    <a:pt x="389" y="46"/>
                  </a:lnTo>
                  <a:lnTo>
                    <a:pt x="385" y="43"/>
                  </a:lnTo>
                  <a:lnTo>
                    <a:pt x="382" y="39"/>
                  </a:lnTo>
                  <a:lnTo>
                    <a:pt x="369" y="39"/>
                  </a:lnTo>
                  <a:lnTo>
                    <a:pt x="362" y="37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3" y="30"/>
                  </a:lnTo>
                  <a:lnTo>
                    <a:pt x="350" y="30"/>
                  </a:lnTo>
                  <a:lnTo>
                    <a:pt x="348" y="30"/>
                  </a:lnTo>
                  <a:lnTo>
                    <a:pt x="282" y="22"/>
                  </a:lnTo>
                  <a:lnTo>
                    <a:pt x="277" y="17"/>
                  </a:lnTo>
                  <a:lnTo>
                    <a:pt x="273" y="13"/>
                  </a:lnTo>
                  <a:lnTo>
                    <a:pt x="271" y="8"/>
                  </a:lnTo>
                  <a:lnTo>
                    <a:pt x="269" y="4"/>
                  </a:lnTo>
                  <a:lnTo>
                    <a:pt x="260" y="4"/>
                  </a:lnTo>
                  <a:lnTo>
                    <a:pt x="260" y="3"/>
                  </a:lnTo>
                  <a:lnTo>
                    <a:pt x="258" y="1"/>
                  </a:lnTo>
                  <a:lnTo>
                    <a:pt x="257" y="0"/>
                  </a:lnTo>
                  <a:lnTo>
                    <a:pt x="255" y="0"/>
                  </a:lnTo>
                  <a:lnTo>
                    <a:pt x="248" y="1"/>
                  </a:lnTo>
                  <a:lnTo>
                    <a:pt x="237" y="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0" name="Freeform 87"/>
            <p:cNvSpPr>
              <a:spLocks noChangeAspect="1"/>
            </p:cNvSpPr>
            <p:nvPr/>
          </p:nvSpPr>
          <p:spPr bwMode="gray">
            <a:xfrm rot="355651">
              <a:off x="7032129" y="4260850"/>
              <a:ext cx="118492" cy="54295"/>
            </a:xfrm>
            <a:custGeom>
              <a:avLst/>
              <a:gdLst/>
              <a:ahLst/>
              <a:cxnLst>
                <a:cxn ang="0">
                  <a:pos x="269" y="21"/>
                </a:cxn>
                <a:cxn ang="0">
                  <a:pos x="252" y="35"/>
                </a:cxn>
                <a:cxn ang="0">
                  <a:pos x="248" y="80"/>
                </a:cxn>
                <a:cxn ang="0">
                  <a:pos x="254" y="106"/>
                </a:cxn>
                <a:cxn ang="0">
                  <a:pos x="260" y="112"/>
                </a:cxn>
                <a:cxn ang="0">
                  <a:pos x="264" y="167"/>
                </a:cxn>
                <a:cxn ang="0">
                  <a:pos x="241" y="192"/>
                </a:cxn>
                <a:cxn ang="0">
                  <a:pos x="175" y="199"/>
                </a:cxn>
                <a:cxn ang="0">
                  <a:pos x="115" y="206"/>
                </a:cxn>
                <a:cxn ang="0">
                  <a:pos x="95" y="213"/>
                </a:cxn>
                <a:cxn ang="0">
                  <a:pos x="86" y="218"/>
                </a:cxn>
                <a:cxn ang="0">
                  <a:pos x="68" y="224"/>
                </a:cxn>
                <a:cxn ang="0">
                  <a:pos x="55" y="228"/>
                </a:cxn>
                <a:cxn ang="0">
                  <a:pos x="34" y="244"/>
                </a:cxn>
                <a:cxn ang="0">
                  <a:pos x="24" y="251"/>
                </a:cxn>
                <a:cxn ang="0">
                  <a:pos x="13" y="265"/>
                </a:cxn>
                <a:cxn ang="0">
                  <a:pos x="3" y="274"/>
                </a:cxn>
                <a:cxn ang="0">
                  <a:pos x="9" y="304"/>
                </a:cxn>
                <a:cxn ang="0">
                  <a:pos x="33" y="323"/>
                </a:cxn>
                <a:cxn ang="0">
                  <a:pos x="120" y="328"/>
                </a:cxn>
                <a:cxn ang="0">
                  <a:pos x="152" y="323"/>
                </a:cxn>
                <a:cxn ang="0">
                  <a:pos x="175" y="312"/>
                </a:cxn>
                <a:cxn ang="0">
                  <a:pos x="187" y="298"/>
                </a:cxn>
                <a:cxn ang="0">
                  <a:pos x="204" y="287"/>
                </a:cxn>
                <a:cxn ang="0">
                  <a:pos x="216" y="270"/>
                </a:cxn>
                <a:cxn ang="0">
                  <a:pos x="229" y="255"/>
                </a:cxn>
                <a:cxn ang="0">
                  <a:pos x="238" y="242"/>
                </a:cxn>
                <a:cxn ang="0">
                  <a:pos x="248" y="235"/>
                </a:cxn>
                <a:cxn ang="0">
                  <a:pos x="288" y="241"/>
                </a:cxn>
                <a:cxn ang="0">
                  <a:pos x="308" y="253"/>
                </a:cxn>
                <a:cxn ang="0">
                  <a:pos x="320" y="274"/>
                </a:cxn>
                <a:cxn ang="0">
                  <a:pos x="346" y="307"/>
                </a:cxn>
                <a:cxn ang="0">
                  <a:pos x="372" y="325"/>
                </a:cxn>
                <a:cxn ang="0">
                  <a:pos x="414" y="325"/>
                </a:cxn>
                <a:cxn ang="0">
                  <a:pos x="437" y="322"/>
                </a:cxn>
                <a:cxn ang="0">
                  <a:pos x="457" y="311"/>
                </a:cxn>
                <a:cxn ang="0">
                  <a:pos x="479" y="304"/>
                </a:cxn>
                <a:cxn ang="0">
                  <a:pos x="501" y="292"/>
                </a:cxn>
                <a:cxn ang="0">
                  <a:pos x="548" y="277"/>
                </a:cxn>
                <a:cxn ang="0">
                  <a:pos x="578" y="267"/>
                </a:cxn>
                <a:cxn ang="0">
                  <a:pos x="598" y="260"/>
                </a:cxn>
                <a:cxn ang="0">
                  <a:pos x="603" y="251"/>
                </a:cxn>
                <a:cxn ang="0">
                  <a:pos x="610" y="248"/>
                </a:cxn>
                <a:cxn ang="0">
                  <a:pos x="617" y="221"/>
                </a:cxn>
                <a:cxn ang="0">
                  <a:pos x="620" y="211"/>
                </a:cxn>
                <a:cxn ang="0">
                  <a:pos x="623" y="173"/>
                </a:cxn>
                <a:cxn ang="0">
                  <a:pos x="625" y="153"/>
                </a:cxn>
                <a:cxn ang="0">
                  <a:pos x="629" y="142"/>
                </a:cxn>
                <a:cxn ang="0">
                  <a:pos x="634" y="123"/>
                </a:cxn>
                <a:cxn ang="0">
                  <a:pos x="639" y="115"/>
                </a:cxn>
                <a:cxn ang="0">
                  <a:pos x="645" y="81"/>
                </a:cxn>
                <a:cxn ang="0">
                  <a:pos x="618" y="40"/>
                </a:cxn>
                <a:cxn ang="0">
                  <a:pos x="594" y="32"/>
                </a:cxn>
                <a:cxn ang="0">
                  <a:pos x="519" y="33"/>
                </a:cxn>
                <a:cxn ang="0">
                  <a:pos x="472" y="37"/>
                </a:cxn>
                <a:cxn ang="0">
                  <a:pos x="436" y="26"/>
                </a:cxn>
                <a:cxn ang="0">
                  <a:pos x="394" y="8"/>
                </a:cxn>
                <a:cxn ang="0">
                  <a:pos x="375" y="4"/>
                </a:cxn>
                <a:cxn ang="0">
                  <a:pos x="363" y="1"/>
                </a:cxn>
                <a:cxn ang="0">
                  <a:pos x="343" y="4"/>
                </a:cxn>
                <a:cxn ang="0">
                  <a:pos x="337" y="14"/>
                </a:cxn>
                <a:cxn ang="0">
                  <a:pos x="327" y="17"/>
                </a:cxn>
                <a:cxn ang="0">
                  <a:pos x="312" y="15"/>
                </a:cxn>
              </a:cxnLst>
              <a:rect l="0" t="0" r="r" b="b"/>
              <a:pathLst>
                <a:path w="645" h="330">
                  <a:moveTo>
                    <a:pt x="299" y="14"/>
                  </a:moveTo>
                  <a:lnTo>
                    <a:pt x="273" y="14"/>
                  </a:lnTo>
                  <a:lnTo>
                    <a:pt x="269" y="21"/>
                  </a:lnTo>
                  <a:lnTo>
                    <a:pt x="262" y="24"/>
                  </a:lnTo>
                  <a:lnTo>
                    <a:pt x="257" y="26"/>
                  </a:lnTo>
                  <a:lnTo>
                    <a:pt x="252" y="35"/>
                  </a:lnTo>
                  <a:lnTo>
                    <a:pt x="243" y="38"/>
                  </a:lnTo>
                  <a:lnTo>
                    <a:pt x="244" y="55"/>
                  </a:lnTo>
                  <a:lnTo>
                    <a:pt x="248" y="80"/>
                  </a:lnTo>
                  <a:lnTo>
                    <a:pt x="250" y="92"/>
                  </a:lnTo>
                  <a:lnTo>
                    <a:pt x="252" y="102"/>
                  </a:lnTo>
                  <a:lnTo>
                    <a:pt x="254" y="106"/>
                  </a:lnTo>
                  <a:lnTo>
                    <a:pt x="257" y="109"/>
                  </a:lnTo>
                  <a:lnTo>
                    <a:pt x="258" y="111"/>
                  </a:lnTo>
                  <a:lnTo>
                    <a:pt x="260" y="112"/>
                  </a:lnTo>
                  <a:lnTo>
                    <a:pt x="261" y="129"/>
                  </a:lnTo>
                  <a:lnTo>
                    <a:pt x="262" y="148"/>
                  </a:lnTo>
                  <a:lnTo>
                    <a:pt x="264" y="167"/>
                  </a:lnTo>
                  <a:lnTo>
                    <a:pt x="264" y="184"/>
                  </a:lnTo>
                  <a:lnTo>
                    <a:pt x="257" y="184"/>
                  </a:lnTo>
                  <a:lnTo>
                    <a:pt x="241" y="192"/>
                  </a:lnTo>
                  <a:lnTo>
                    <a:pt x="226" y="201"/>
                  </a:lnTo>
                  <a:lnTo>
                    <a:pt x="201" y="200"/>
                  </a:lnTo>
                  <a:lnTo>
                    <a:pt x="175" y="199"/>
                  </a:lnTo>
                  <a:lnTo>
                    <a:pt x="149" y="198"/>
                  </a:lnTo>
                  <a:lnTo>
                    <a:pt x="124" y="197"/>
                  </a:lnTo>
                  <a:lnTo>
                    <a:pt x="115" y="206"/>
                  </a:lnTo>
                  <a:lnTo>
                    <a:pt x="103" y="206"/>
                  </a:lnTo>
                  <a:lnTo>
                    <a:pt x="98" y="213"/>
                  </a:lnTo>
                  <a:lnTo>
                    <a:pt x="95" y="213"/>
                  </a:lnTo>
                  <a:lnTo>
                    <a:pt x="90" y="215"/>
                  </a:lnTo>
                  <a:lnTo>
                    <a:pt x="87" y="216"/>
                  </a:lnTo>
                  <a:lnTo>
                    <a:pt x="86" y="218"/>
                  </a:lnTo>
                  <a:lnTo>
                    <a:pt x="72" y="218"/>
                  </a:lnTo>
                  <a:lnTo>
                    <a:pt x="70" y="221"/>
                  </a:lnTo>
                  <a:lnTo>
                    <a:pt x="68" y="224"/>
                  </a:lnTo>
                  <a:lnTo>
                    <a:pt x="65" y="225"/>
                  </a:lnTo>
                  <a:lnTo>
                    <a:pt x="61" y="226"/>
                  </a:lnTo>
                  <a:lnTo>
                    <a:pt x="55" y="228"/>
                  </a:lnTo>
                  <a:lnTo>
                    <a:pt x="47" y="231"/>
                  </a:lnTo>
                  <a:lnTo>
                    <a:pt x="40" y="236"/>
                  </a:lnTo>
                  <a:lnTo>
                    <a:pt x="34" y="244"/>
                  </a:lnTo>
                  <a:lnTo>
                    <a:pt x="31" y="247"/>
                  </a:lnTo>
                  <a:lnTo>
                    <a:pt x="28" y="249"/>
                  </a:lnTo>
                  <a:lnTo>
                    <a:pt x="24" y="251"/>
                  </a:lnTo>
                  <a:lnTo>
                    <a:pt x="21" y="253"/>
                  </a:lnTo>
                  <a:lnTo>
                    <a:pt x="17" y="257"/>
                  </a:lnTo>
                  <a:lnTo>
                    <a:pt x="13" y="265"/>
                  </a:lnTo>
                  <a:lnTo>
                    <a:pt x="10" y="266"/>
                  </a:lnTo>
                  <a:lnTo>
                    <a:pt x="7" y="270"/>
                  </a:lnTo>
                  <a:lnTo>
                    <a:pt x="3" y="274"/>
                  </a:lnTo>
                  <a:lnTo>
                    <a:pt x="0" y="278"/>
                  </a:lnTo>
                  <a:lnTo>
                    <a:pt x="0" y="295"/>
                  </a:lnTo>
                  <a:lnTo>
                    <a:pt x="9" y="304"/>
                  </a:lnTo>
                  <a:lnTo>
                    <a:pt x="13" y="307"/>
                  </a:lnTo>
                  <a:lnTo>
                    <a:pt x="23" y="315"/>
                  </a:lnTo>
                  <a:lnTo>
                    <a:pt x="33" y="323"/>
                  </a:lnTo>
                  <a:lnTo>
                    <a:pt x="39" y="330"/>
                  </a:lnTo>
                  <a:lnTo>
                    <a:pt x="76" y="330"/>
                  </a:lnTo>
                  <a:lnTo>
                    <a:pt x="120" y="328"/>
                  </a:lnTo>
                  <a:lnTo>
                    <a:pt x="132" y="327"/>
                  </a:lnTo>
                  <a:lnTo>
                    <a:pt x="143" y="325"/>
                  </a:lnTo>
                  <a:lnTo>
                    <a:pt x="152" y="323"/>
                  </a:lnTo>
                  <a:lnTo>
                    <a:pt x="161" y="321"/>
                  </a:lnTo>
                  <a:lnTo>
                    <a:pt x="168" y="316"/>
                  </a:lnTo>
                  <a:lnTo>
                    <a:pt x="175" y="312"/>
                  </a:lnTo>
                  <a:lnTo>
                    <a:pt x="181" y="306"/>
                  </a:lnTo>
                  <a:lnTo>
                    <a:pt x="184" y="299"/>
                  </a:lnTo>
                  <a:lnTo>
                    <a:pt x="187" y="298"/>
                  </a:lnTo>
                  <a:lnTo>
                    <a:pt x="193" y="296"/>
                  </a:lnTo>
                  <a:lnTo>
                    <a:pt x="199" y="292"/>
                  </a:lnTo>
                  <a:lnTo>
                    <a:pt x="204" y="287"/>
                  </a:lnTo>
                  <a:lnTo>
                    <a:pt x="210" y="282"/>
                  </a:lnTo>
                  <a:lnTo>
                    <a:pt x="214" y="276"/>
                  </a:lnTo>
                  <a:lnTo>
                    <a:pt x="216" y="270"/>
                  </a:lnTo>
                  <a:lnTo>
                    <a:pt x="217" y="265"/>
                  </a:lnTo>
                  <a:lnTo>
                    <a:pt x="226" y="260"/>
                  </a:lnTo>
                  <a:lnTo>
                    <a:pt x="229" y="255"/>
                  </a:lnTo>
                  <a:lnTo>
                    <a:pt x="231" y="248"/>
                  </a:lnTo>
                  <a:lnTo>
                    <a:pt x="235" y="244"/>
                  </a:lnTo>
                  <a:lnTo>
                    <a:pt x="238" y="242"/>
                  </a:lnTo>
                  <a:lnTo>
                    <a:pt x="241" y="241"/>
                  </a:lnTo>
                  <a:lnTo>
                    <a:pt x="244" y="238"/>
                  </a:lnTo>
                  <a:lnTo>
                    <a:pt x="248" y="235"/>
                  </a:lnTo>
                  <a:lnTo>
                    <a:pt x="269" y="235"/>
                  </a:lnTo>
                  <a:lnTo>
                    <a:pt x="277" y="237"/>
                  </a:lnTo>
                  <a:lnTo>
                    <a:pt x="288" y="241"/>
                  </a:lnTo>
                  <a:lnTo>
                    <a:pt x="298" y="246"/>
                  </a:lnTo>
                  <a:lnTo>
                    <a:pt x="303" y="248"/>
                  </a:lnTo>
                  <a:lnTo>
                    <a:pt x="308" y="253"/>
                  </a:lnTo>
                  <a:lnTo>
                    <a:pt x="311" y="260"/>
                  </a:lnTo>
                  <a:lnTo>
                    <a:pt x="320" y="265"/>
                  </a:lnTo>
                  <a:lnTo>
                    <a:pt x="320" y="274"/>
                  </a:lnTo>
                  <a:lnTo>
                    <a:pt x="327" y="285"/>
                  </a:lnTo>
                  <a:lnTo>
                    <a:pt x="334" y="299"/>
                  </a:lnTo>
                  <a:lnTo>
                    <a:pt x="346" y="307"/>
                  </a:lnTo>
                  <a:lnTo>
                    <a:pt x="355" y="316"/>
                  </a:lnTo>
                  <a:lnTo>
                    <a:pt x="363" y="316"/>
                  </a:lnTo>
                  <a:lnTo>
                    <a:pt x="372" y="325"/>
                  </a:lnTo>
                  <a:lnTo>
                    <a:pt x="385" y="325"/>
                  </a:lnTo>
                  <a:lnTo>
                    <a:pt x="399" y="325"/>
                  </a:lnTo>
                  <a:lnTo>
                    <a:pt x="414" y="325"/>
                  </a:lnTo>
                  <a:lnTo>
                    <a:pt x="427" y="325"/>
                  </a:lnTo>
                  <a:lnTo>
                    <a:pt x="432" y="324"/>
                  </a:lnTo>
                  <a:lnTo>
                    <a:pt x="437" y="322"/>
                  </a:lnTo>
                  <a:lnTo>
                    <a:pt x="444" y="318"/>
                  </a:lnTo>
                  <a:lnTo>
                    <a:pt x="451" y="314"/>
                  </a:lnTo>
                  <a:lnTo>
                    <a:pt x="457" y="311"/>
                  </a:lnTo>
                  <a:lnTo>
                    <a:pt x="465" y="307"/>
                  </a:lnTo>
                  <a:lnTo>
                    <a:pt x="472" y="304"/>
                  </a:lnTo>
                  <a:lnTo>
                    <a:pt x="479" y="304"/>
                  </a:lnTo>
                  <a:lnTo>
                    <a:pt x="485" y="301"/>
                  </a:lnTo>
                  <a:lnTo>
                    <a:pt x="493" y="296"/>
                  </a:lnTo>
                  <a:lnTo>
                    <a:pt x="501" y="292"/>
                  </a:lnTo>
                  <a:lnTo>
                    <a:pt x="508" y="286"/>
                  </a:lnTo>
                  <a:lnTo>
                    <a:pt x="523" y="284"/>
                  </a:lnTo>
                  <a:lnTo>
                    <a:pt x="548" y="277"/>
                  </a:lnTo>
                  <a:lnTo>
                    <a:pt x="560" y="274"/>
                  </a:lnTo>
                  <a:lnTo>
                    <a:pt x="570" y="270"/>
                  </a:lnTo>
                  <a:lnTo>
                    <a:pt x="578" y="267"/>
                  </a:lnTo>
                  <a:lnTo>
                    <a:pt x="580" y="265"/>
                  </a:lnTo>
                  <a:lnTo>
                    <a:pt x="589" y="263"/>
                  </a:lnTo>
                  <a:lnTo>
                    <a:pt x="598" y="260"/>
                  </a:lnTo>
                  <a:lnTo>
                    <a:pt x="598" y="257"/>
                  </a:lnTo>
                  <a:lnTo>
                    <a:pt x="601" y="253"/>
                  </a:lnTo>
                  <a:lnTo>
                    <a:pt x="603" y="251"/>
                  </a:lnTo>
                  <a:lnTo>
                    <a:pt x="605" y="249"/>
                  </a:lnTo>
                  <a:lnTo>
                    <a:pt x="607" y="248"/>
                  </a:lnTo>
                  <a:lnTo>
                    <a:pt x="610" y="248"/>
                  </a:lnTo>
                  <a:lnTo>
                    <a:pt x="613" y="235"/>
                  </a:lnTo>
                  <a:lnTo>
                    <a:pt x="615" y="222"/>
                  </a:lnTo>
                  <a:lnTo>
                    <a:pt x="617" y="221"/>
                  </a:lnTo>
                  <a:lnTo>
                    <a:pt x="618" y="219"/>
                  </a:lnTo>
                  <a:lnTo>
                    <a:pt x="620" y="216"/>
                  </a:lnTo>
                  <a:lnTo>
                    <a:pt x="620" y="211"/>
                  </a:lnTo>
                  <a:lnTo>
                    <a:pt x="623" y="199"/>
                  </a:lnTo>
                  <a:lnTo>
                    <a:pt x="623" y="186"/>
                  </a:lnTo>
                  <a:lnTo>
                    <a:pt x="623" y="173"/>
                  </a:lnTo>
                  <a:lnTo>
                    <a:pt x="624" y="161"/>
                  </a:lnTo>
                  <a:lnTo>
                    <a:pt x="624" y="157"/>
                  </a:lnTo>
                  <a:lnTo>
                    <a:pt x="625" y="153"/>
                  </a:lnTo>
                  <a:lnTo>
                    <a:pt x="626" y="151"/>
                  </a:lnTo>
                  <a:lnTo>
                    <a:pt x="627" y="150"/>
                  </a:lnTo>
                  <a:lnTo>
                    <a:pt x="629" y="142"/>
                  </a:lnTo>
                  <a:lnTo>
                    <a:pt x="632" y="136"/>
                  </a:lnTo>
                  <a:lnTo>
                    <a:pt x="632" y="124"/>
                  </a:lnTo>
                  <a:lnTo>
                    <a:pt x="634" y="123"/>
                  </a:lnTo>
                  <a:lnTo>
                    <a:pt x="636" y="121"/>
                  </a:lnTo>
                  <a:lnTo>
                    <a:pt x="638" y="119"/>
                  </a:lnTo>
                  <a:lnTo>
                    <a:pt x="639" y="115"/>
                  </a:lnTo>
                  <a:lnTo>
                    <a:pt x="642" y="107"/>
                  </a:lnTo>
                  <a:lnTo>
                    <a:pt x="643" y="100"/>
                  </a:lnTo>
                  <a:lnTo>
                    <a:pt x="645" y="81"/>
                  </a:lnTo>
                  <a:lnTo>
                    <a:pt x="645" y="64"/>
                  </a:lnTo>
                  <a:lnTo>
                    <a:pt x="632" y="52"/>
                  </a:lnTo>
                  <a:lnTo>
                    <a:pt x="618" y="40"/>
                  </a:lnTo>
                  <a:lnTo>
                    <a:pt x="610" y="36"/>
                  </a:lnTo>
                  <a:lnTo>
                    <a:pt x="603" y="33"/>
                  </a:lnTo>
                  <a:lnTo>
                    <a:pt x="594" y="32"/>
                  </a:lnTo>
                  <a:lnTo>
                    <a:pt x="585" y="30"/>
                  </a:lnTo>
                  <a:lnTo>
                    <a:pt x="538" y="30"/>
                  </a:lnTo>
                  <a:lnTo>
                    <a:pt x="519" y="33"/>
                  </a:lnTo>
                  <a:lnTo>
                    <a:pt x="495" y="36"/>
                  </a:lnTo>
                  <a:lnTo>
                    <a:pt x="483" y="37"/>
                  </a:lnTo>
                  <a:lnTo>
                    <a:pt x="472" y="37"/>
                  </a:lnTo>
                  <a:lnTo>
                    <a:pt x="462" y="37"/>
                  </a:lnTo>
                  <a:lnTo>
                    <a:pt x="453" y="35"/>
                  </a:lnTo>
                  <a:lnTo>
                    <a:pt x="436" y="26"/>
                  </a:lnTo>
                  <a:lnTo>
                    <a:pt x="416" y="16"/>
                  </a:lnTo>
                  <a:lnTo>
                    <a:pt x="405" y="11"/>
                  </a:lnTo>
                  <a:lnTo>
                    <a:pt x="394" y="8"/>
                  </a:lnTo>
                  <a:lnTo>
                    <a:pt x="385" y="6"/>
                  </a:lnTo>
                  <a:lnTo>
                    <a:pt x="376" y="5"/>
                  </a:lnTo>
                  <a:lnTo>
                    <a:pt x="375" y="4"/>
                  </a:lnTo>
                  <a:lnTo>
                    <a:pt x="372" y="3"/>
                  </a:lnTo>
                  <a:lnTo>
                    <a:pt x="367" y="1"/>
                  </a:lnTo>
                  <a:lnTo>
                    <a:pt x="363" y="1"/>
                  </a:lnTo>
                  <a:lnTo>
                    <a:pt x="353" y="0"/>
                  </a:lnTo>
                  <a:lnTo>
                    <a:pt x="346" y="0"/>
                  </a:lnTo>
                  <a:lnTo>
                    <a:pt x="343" y="4"/>
                  </a:lnTo>
                  <a:lnTo>
                    <a:pt x="340" y="7"/>
                  </a:lnTo>
                  <a:lnTo>
                    <a:pt x="338" y="10"/>
                  </a:lnTo>
                  <a:lnTo>
                    <a:pt x="337" y="14"/>
                  </a:lnTo>
                  <a:lnTo>
                    <a:pt x="329" y="14"/>
                  </a:lnTo>
                  <a:lnTo>
                    <a:pt x="328" y="16"/>
                  </a:lnTo>
                  <a:lnTo>
                    <a:pt x="327" y="17"/>
                  </a:lnTo>
                  <a:lnTo>
                    <a:pt x="325" y="17"/>
                  </a:lnTo>
                  <a:lnTo>
                    <a:pt x="321" y="16"/>
                  </a:lnTo>
                  <a:lnTo>
                    <a:pt x="312" y="15"/>
                  </a:lnTo>
                  <a:lnTo>
                    <a:pt x="299" y="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1" name="Freeform 88"/>
            <p:cNvSpPr>
              <a:spLocks noChangeAspect="1"/>
            </p:cNvSpPr>
            <p:nvPr/>
          </p:nvSpPr>
          <p:spPr bwMode="gray">
            <a:xfrm rot="355651">
              <a:off x="6780213" y="4322763"/>
              <a:ext cx="139650" cy="111784"/>
            </a:xfrm>
            <a:custGeom>
              <a:avLst/>
              <a:gdLst/>
              <a:ahLst/>
              <a:cxnLst>
                <a:cxn ang="0">
                  <a:pos x="346" y="317"/>
                </a:cxn>
                <a:cxn ang="0">
                  <a:pos x="313" y="345"/>
                </a:cxn>
                <a:cxn ang="0">
                  <a:pos x="250" y="370"/>
                </a:cxn>
                <a:cxn ang="0">
                  <a:pos x="172" y="378"/>
                </a:cxn>
                <a:cxn ang="0">
                  <a:pos x="59" y="383"/>
                </a:cxn>
                <a:cxn ang="0">
                  <a:pos x="26" y="423"/>
                </a:cxn>
                <a:cxn ang="0">
                  <a:pos x="14" y="438"/>
                </a:cxn>
                <a:cxn ang="0">
                  <a:pos x="1" y="526"/>
                </a:cxn>
                <a:cxn ang="0">
                  <a:pos x="3" y="648"/>
                </a:cxn>
                <a:cxn ang="0">
                  <a:pos x="12" y="682"/>
                </a:cxn>
                <a:cxn ang="0">
                  <a:pos x="17" y="690"/>
                </a:cxn>
                <a:cxn ang="0">
                  <a:pos x="25" y="692"/>
                </a:cxn>
                <a:cxn ang="0">
                  <a:pos x="28" y="696"/>
                </a:cxn>
                <a:cxn ang="0">
                  <a:pos x="50" y="688"/>
                </a:cxn>
                <a:cxn ang="0">
                  <a:pos x="103" y="649"/>
                </a:cxn>
                <a:cxn ang="0">
                  <a:pos x="126" y="620"/>
                </a:cxn>
                <a:cxn ang="0">
                  <a:pos x="164" y="591"/>
                </a:cxn>
                <a:cxn ang="0">
                  <a:pos x="209" y="569"/>
                </a:cxn>
                <a:cxn ang="0">
                  <a:pos x="252" y="557"/>
                </a:cxn>
                <a:cxn ang="0">
                  <a:pos x="303" y="551"/>
                </a:cxn>
                <a:cxn ang="0">
                  <a:pos x="363" y="528"/>
                </a:cxn>
                <a:cxn ang="0">
                  <a:pos x="420" y="493"/>
                </a:cxn>
                <a:cxn ang="0">
                  <a:pos x="460" y="454"/>
                </a:cxn>
                <a:cxn ang="0">
                  <a:pos x="472" y="422"/>
                </a:cxn>
                <a:cxn ang="0">
                  <a:pos x="473" y="328"/>
                </a:cxn>
                <a:cxn ang="0">
                  <a:pos x="477" y="283"/>
                </a:cxn>
                <a:cxn ang="0">
                  <a:pos x="481" y="272"/>
                </a:cxn>
                <a:cxn ang="0">
                  <a:pos x="487" y="265"/>
                </a:cxn>
                <a:cxn ang="0">
                  <a:pos x="507" y="253"/>
                </a:cxn>
                <a:cxn ang="0">
                  <a:pos x="518" y="247"/>
                </a:cxn>
                <a:cxn ang="0">
                  <a:pos x="534" y="242"/>
                </a:cxn>
                <a:cxn ang="0">
                  <a:pos x="586" y="241"/>
                </a:cxn>
                <a:cxn ang="0">
                  <a:pos x="624" y="291"/>
                </a:cxn>
                <a:cxn ang="0">
                  <a:pos x="678" y="341"/>
                </a:cxn>
                <a:cxn ang="0">
                  <a:pos x="710" y="356"/>
                </a:cxn>
                <a:cxn ang="0">
                  <a:pos x="732" y="351"/>
                </a:cxn>
                <a:cxn ang="0">
                  <a:pos x="749" y="326"/>
                </a:cxn>
                <a:cxn ang="0">
                  <a:pos x="754" y="277"/>
                </a:cxn>
                <a:cxn ang="0">
                  <a:pos x="732" y="233"/>
                </a:cxn>
                <a:cxn ang="0">
                  <a:pos x="693" y="203"/>
                </a:cxn>
                <a:cxn ang="0">
                  <a:pos x="645" y="188"/>
                </a:cxn>
                <a:cxn ang="0">
                  <a:pos x="616" y="164"/>
                </a:cxn>
                <a:cxn ang="0">
                  <a:pos x="606" y="127"/>
                </a:cxn>
                <a:cxn ang="0">
                  <a:pos x="584" y="66"/>
                </a:cxn>
                <a:cxn ang="0">
                  <a:pos x="540" y="17"/>
                </a:cxn>
                <a:cxn ang="0">
                  <a:pos x="507" y="1"/>
                </a:cxn>
                <a:cxn ang="0">
                  <a:pos x="479" y="1"/>
                </a:cxn>
                <a:cxn ang="0">
                  <a:pos x="451" y="17"/>
                </a:cxn>
                <a:cxn ang="0">
                  <a:pos x="420" y="58"/>
                </a:cxn>
                <a:cxn ang="0">
                  <a:pos x="408" y="114"/>
                </a:cxn>
                <a:cxn ang="0">
                  <a:pos x="393" y="196"/>
                </a:cxn>
                <a:cxn ang="0">
                  <a:pos x="383" y="222"/>
                </a:cxn>
                <a:cxn ang="0">
                  <a:pos x="379" y="233"/>
                </a:cxn>
                <a:cxn ang="0">
                  <a:pos x="374" y="245"/>
                </a:cxn>
                <a:cxn ang="0">
                  <a:pos x="379" y="279"/>
                </a:cxn>
              </a:cxnLst>
              <a:rect l="0" t="0" r="r" b="b"/>
              <a:pathLst>
                <a:path w="755" h="696">
                  <a:moveTo>
                    <a:pt x="370" y="288"/>
                  </a:moveTo>
                  <a:lnTo>
                    <a:pt x="362" y="299"/>
                  </a:lnTo>
                  <a:lnTo>
                    <a:pt x="354" y="308"/>
                  </a:lnTo>
                  <a:lnTo>
                    <a:pt x="346" y="317"/>
                  </a:lnTo>
                  <a:lnTo>
                    <a:pt x="338" y="325"/>
                  </a:lnTo>
                  <a:lnTo>
                    <a:pt x="329" y="332"/>
                  </a:lnTo>
                  <a:lnTo>
                    <a:pt x="322" y="339"/>
                  </a:lnTo>
                  <a:lnTo>
                    <a:pt x="313" y="345"/>
                  </a:lnTo>
                  <a:lnTo>
                    <a:pt x="304" y="350"/>
                  </a:lnTo>
                  <a:lnTo>
                    <a:pt x="287" y="359"/>
                  </a:lnTo>
                  <a:lnTo>
                    <a:pt x="268" y="366"/>
                  </a:lnTo>
                  <a:lnTo>
                    <a:pt x="250" y="370"/>
                  </a:lnTo>
                  <a:lnTo>
                    <a:pt x="231" y="375"/>
                  </a:lnTo>
                  <a:lnTo>
                    <a:pt x="212" y="376"/>
                  </a:lnTo>
                  <a:lnTo>
                    <a:pt x="192" y="377"/>
                  </a:lnTo>
                  <a:lnTo>
                    <a:pt x="172" y="378"/>
                  </a:lnTo>
                  <a:lnTo>
                    <a:pt x="152" y="377"/>
                  </a:lnTo>
                  <a:lnTo>
                    <a:pt x="110" y="376"/>
                  </a:lnTo>
                  <a:lnTo>
                    <a:pt x="66" y="375"/>
                  </a:lnTo>
                  <a:lnTo>
                    <a:pt x="59" y="383"/>
                  </a:lnTo>
                  <a:lnTo>
                    <a:pt x="46" y="398"/>
                  </a:lnTo>
                  <a:lnTo>
                    <a:pt x="38" y="407"/>
                  </a:lnTo>
                  <a:lnTo>
                    <a:pt x="31" y="415"/>
                  </a:lnTo>
                  <a:lnTo>
                    <a:pt x="26" y="423"/>
                  </a:lnTo>
                  <a:lnTo>
                    <a:pt x="25" y="428"/>
                  </a:lnTo>
                  <a:lnTo>
                    <a:pt x="20" y="430"/>
                  </a:lnTo>
                  <a:lnTo>
                    <a:pt x="17" y="433"/>
                  </a:lnTo>
                  <a:lnTo>
                    <a:pt x="14" y="438"/>
                  </a:lnTo>
                  <a:lnTo>
                    <a:pt x="11" y="445"/>
                  </a:lnTo>
                  <a:lnTo>
                    <a:pt x="7" y="463"/>
                  </a:lnTo>
                  <a:lnTo>
                    <a:pt x="3" y="483"/>
                  </a:lnTo>
                  <a:lnTo>
                    <a:pt x="1" y="526"/>
                  </a:lnTo>
                  <a:lnTo>
                    <a:pt x="1" y="555"/>
                  </a:lnTo>
                  <a:lnTo>
                    <a:pt x="0" y="581"/>
                  </a:lnTo>
                  <a:lnTo>
                    <a:pt x="1" y="626"/>
                  </a:lnTo>
                  <a:lnTo>
                    <a:pt x="3" y="648"/>
                  </a:lnTo>
                  <a:lnTo>
                    <a:pt x="6" y="667"/>
                  </a:lnTo>
                  <a:lnTo>
                    <a:pt x="8" y="674"/>
                  </a:lnTo>
                  <a:lnTo>
                    <a:pt x="10" y="680"/>
                  </a:lnTo>
                  <a:lnTo>
                    <a:pt x="12" y="682"/>
                  </a:lnTo>
                  <a:lnTo>
                    <a:pt x="14" y="684"/>
                  </a:lnTo>
                  <a:lnTo>
                    <a:pt x="16" y="685"/>
                  </a:lnTo>
                  <a:lnTo>
                    <a:pt x="17" y="685"/>
                  </a:lnTo>
                  <a:lnTo>
                    <a:pt x="17" y="690"/>
                  </a:lnTo>
                  <a:lnTo>
                    <a:pt x="22" y="690"/>
                  </a:lnTo>
                  <a:lnTo>
                    <a:pt x="22" y="691"/>
                  </a:lnTo>
                  <a:lnTo>
                    <a:pt x="24" y="692"/>
                  </a:lnTo>
                  <a:lnTo>
                    <a:pt x="25" y="692"/>
                  </a:lnTo>
                  <a:lnTo>
                    <a:pt x="27" y="692"/>
                  </a:lnTo>
                  <a:lnTo>
                    <a:pt x="27" y="694"/>
                  </a:lnTo>
                  <a:lnTo>
                    <a:pt x="28" y="695"/>
                  </a:lnTo>
                  <a:lnTo>
                    <a:pt x="28" y="696"/>
                  </a:lnTo>
                  <a:lnTo>
                    <a:pt x="30" y="696"/>
                  </a:lnTo>
                  <a:lnTo>
                    <a:pt x="34" y="696"/>
                  </a:lnTo>
                  <a:lnTo>
                    <a:pt x="38" y="695"/>
                  </a:lnTo>
                  <a:lnTo>
                    <a:pt x="50" y="688"/>
                  </a:lnTo>
                  <a:lnTo>
                    <a:pt x="65" y="680"/>
                  </a:lnTo>
                  <a:lnTo>
                    <a:pt x="79" y="669"/>
                  </a:lnTo>
                  <a:lnTo>
                    <a:pt x="93" y="658"/>
                  </a:lnTo>
                  <a:lnTo>
                    <a:pt x="103" y="649"/>
                  </a:lnTo>
                  <a:lnTo>
                    <a:pt x="108" y="643"/>
                  </a:lnTo>
                  <a:lnTo>
                    <a:pt x="113" y="635"/>
                  </a:lnTo>
                  <a:lnTo>
                    <a:pt x="120" y="628"/>
                  </a:lnTo>
                  <a:lnTo>
                    <a:pt x="126" y="620"/>
                  </a:lnTo>
                  <a:lnTo>
                    <a:pt x="135" y="613"/>
                  </a:lnTo>
                  <a:lnTo>
                    <a:pt x="144" y="606"/>
                  </a:lnTo>
                  <a:lnTo>
                    <a:pt x="154" y="598"/>
                  </a:lnTo>
                  <a:lnTo>
                    <a:pt x="164" y="591"/>
                  </a:lnTo>
                  <a:lnTo>
                    <a:pt x="175" y="585"/>
                  </a:lnTo>
                  <a:lnTo>
                    <a:pt x="185" y="579"/>
                  </a:lnTo>
                  <a:lnTo>
                    <a:pt x="198" y="574"/>
                  </a:lnTo>
                  <a:lnTo>
                    <a:pt x="209" y="569"/>
                  </a:lnTo>
                  <a:lnTo>
                    <a:pt x="220" y="565"/>
                  </a:lnTo>
                  <a:lnTo>
                    <a:pt x="231" y="561"/>
                  </a:lnTo>
                  <a:lnTo>
                    <a:pt x="242" y="559"/>
                  </a:lnTo>
                  <a:lnTo>
                    <a:pt x="252" y="557"/>
                  </a:lnTo>
                  <a:lnTo>
                    <a:pt x="262" y="557"/>
                  </a:lnTo>
                  <a:lnTo>
                    <a:pt x="275" y="556"/>
                  </a:lnTo>
                  <a:lnTo>
                    <a:pt x="288" y="553"/>
                  </a:lnTo>
                  <a:lnTo>
                    <a:pt x="303" y="551"/>
                  </a:lnTo>
                  <a:lnTo>
                    <a:pt x="317" y="547"/>
                  </a:lnTo>
                  <a:lnTo>
                    <a:pt x="332" y="541"/>
                  </a:lnTo>
                  <a:lnTo>
                    <a:pt x="347" y="534"/>
                  </a:lnTo>
                  <a:lnTo>
                    <a:pt x="363" y="528"/>
                  </a:lnTo>
                  <a:lnTo>
                    <a:pt x="377" y="520"/>
                  </a:lnTo>
                  <a:lnTo>
                    <a:pt x="392" y="511"/>
                  </a:lnTo>
                  <a:lnTo>
                    <a:pt x="406" y="502"/>
                  </a:lnTo>
                  <a:lnTo>
                    <a:pt x="420" y="493"/>
                  </a:lnTo>
                  <a:lnTo>
                    <a:pt x="432" y="484"/>
                  </a:lnTo>
                  <a:lnTo>
                    <a:pt x="442" y="474"/>
                  </a:lnTo>
                  <a:lnTo>
                    <a:pt x="452" y="464"/>
                  </a:lnTo>
                  <a:lnTo>
                    <a:pt x="460" y="454"/>
                  </a:lnTo>
                  <a:lnTo>
                    <a:pt x="466" y="444"/>
                  </a:lnTo>
                  <a:lnTo>
                    <a:pt x="468" y="438"/>
                  </a:lnTo>
                  <a:lnTo>
                    <a:pt x="470" y="431"/>
                  </a:lnTo>
                  <a:lnTo>
                    <a:pt x="472" y="422"/>
                  </a:lnTo>
                  <a:lnTo>
                    <a:pt x="473" y="413"/>
                  </a:lnTo>
                  <a:lnTo>
                    <a:pt x="475" y="392"/>
                  </a:lnTo>
                  <a:lnTo>
                    <a:pt x="475" y="370"/>
                  </a:lnTo>
                  <a:lnTo>
                    <a:pt x="473" y="328"/>
                  </a:lnTo>
                  <a:lnTo>
                    <a:pt x="472" y="293"/>
                  </a:lnTo>
                  <a:lnTo>
                    <a:pt x="475" y="292"/>
                  </a:lnTo>
                  <a:lnTo>
                    <a:pt x="477" y="291"/>
                  </a:lnTo>
                  <a:lnTo>
                    <a:pt x="477" y="283"/>
                  </a:lnTo>
                  <a:lnTo>
                    <a:pt x="479" y="282"/>
                  </a:lnTo>
                  <a:lnTo>
                    <a:pt x="480" y="279"/>
                  </a:lnTo>
                  <a:lnTo>
                    <a:pt x="481" y="274"/>
                  </a:lnTo>
                  <a:lnTo>
                    <a:pt x="481" y="272"/>
                  </a:lnTo>
                  <a:lnTo>
                    <a:pt x="485" y="271"/>
                  </a:lnTo>
                  <a:lnTo>
                    <a:pt x="486" y="269"/>
                  </a:lnTo>
                  <a:lnTo>
                    <a:pt x="486" y="267"/>
                  </a:lnTo>
                  <a:lnTo>
                    <a:pt x="487" y="265"/>
                  </a:lnTo>
                  <a:lnTo>
                    <a:pt x="492" y="264"/>
                  </a:lnTo>
                  <a:lnTo>
                    <a:pt x="498" y="262"/>
                  </a:lnTo>
                  <a:lnTo>
                    <a:pt x="502" y="258"/>
                  </a:lnTo>
                  <a:lnTo>
                    <a:pt x="507" y="253"/>
                  </a:lnTo>
                  <a:lnTo>
                    <a:pt x="513" y="253"/>
                  </a:lnTo>
                  <a:lnTo>
                    <a:pt x="515" y="250"/>
                  </a:lnTo>
                  <a:lnTo>
                    <a:pt x="517" y="247"/>
                  </a:lnTo>
                  <a:lnTo>
                    <a:pt x="518" y="247"/>
                  </a:lnTo>
                  <a:lnTo>
                    <a:pt x="520" y="247"/>
                  </a:lnTo>
                  <a:lnTo>
                    <a:pt x="521" y="245"/>
                  </a:lnTo>
                  <a:lnTo>
                    <a:pt x="521" y="244"/>
                  </a:lnTo>
                  <a:lnTo>
                    <a:pt x="534" y="242"/>
                  </a:lnTo>
                  <a:lnTo>
                    <a:pt x="550" y="239"/>
                  </a:lnTo>
                  <a:lnTo>
                    <a:pt x="566" y="234"/>
                  </a:lnTo>
                  <a:lnTo>
                    <a:pt x="582" y="232"/>
                  </a:lnTo>
                  <a:lnTo>
                    <a:pt x="586" y="241"/>
                  </a:lnTo>
                  <a:lnTo>
                    <a:pt x="594" y="251"/>
                  </a:lnTo>
                  <a:lnTo>
                    <a:pt x="602" y="263"/>
                  </a:lnTo>
                  <a:lnTo>
                    <a:pt x="613" y="278"/>
                  </a:lnTo>
                  <a:lnTo>
                    <a:pt x="624" y="291"/>
                  </a:lnTo>
                  <a:lnTo>
                    <a:pt x="636" y="306"/>
                  </a:lnTo>
                  <a:lnTo>
                    <a:pt x="650" y="319"/>
                  </a:lnTo>
                  <a:lnTo>
                    <a:pt x="663" y="331"/>
                  </a:lnTo>
                  <a:lnTo>
                    <a:pt x="678" y="341"/>
                  </a:lnTo>
                  <a:lnTo>
                    <a:pt x="691" y="350"/>
                  </a:lnTo>
                  <a:lnTo>
                    <a:pt x="698" y="353"/>
                  </a:lnTo>
                  <a:lnTo>
                    <a:pt x="705" y="355"/>
                  </a:lnTo>
                  <a:lnTo>
                    <a:pt x="710" y="356"/>
                  </a:lnTo>
                  <a:lnTo>
                    <a:pt x="717" y="357"/>
                  </a:lnTo>
                  <a:lnTo>
                    <a:pt x="722" y="356"/>
                  </a:lnTo>
                  <a:lnTo>
                    <a:pt x="728" y="355"/>
                  </a:lnTo>
                  <a:lnTo>
                    <a:pt x="732" y="351"/>
                  </a:lnTo>
                  <a:lnTo>
                    <a:pt x="738" y="347"/>
                  </a:lnTo>
                  <a:lnTo>
                    <a:pt x="742" y="341"/>
                  </a:lnTo>
                  <a:lnTo>
                    <a:pt x="746" y="335"/>
                  </a:lnTo>
                  <a:lnTo>
                    <a:pt x="749" y="326"/>
                  </a:lnTo>
                  <a:lnTo>
                    <a:pt x="753" y="317"/>
                  </a:lnTo>
                  <a:lnTo>
                    <a:pt x="755" y="302"/>
                  </a:lnTo>
                  <a:lnTo>
                    <a:pt x="755" y="289"/>
                  </a:lnTo>
                  <a:lnTo>
                    <a:pt x="754" y="277"/>
                  </a:lnTo>
                  <a:lnTo>
                    <a:pt x="750" y="264"/>
                  </a:lnTo>
                  <a:lnTo>
                    <a:pt x="746" y="253"/>
                  </a:lnTo>
                  <a:lnTo>
                    <a:pt x="740" y="243"/>
                  </a:lnTo>
                  <a:lnTo>
                    <a:pt x="732" y="233"/>
                  </a:lnTo>
                  <a:lnTo>
                    <a:pt x="725" y="224"/>
                  </a:lnTo>
                  <a:lnTo>
                    <a:pt x="715" y="216"/>
                  </a:lnTo>
                  <a:lnTo>
                    <a:pt x="705" y="209"/>
                  </a:lnTo>
                  <a:lnTo>
                    <a:pt x="693" y="203"/>
                  </a:lnTo>
                  <a:lnTo>
                    <a:pt x="682" y="197"/>
                  </a:lnTo>
                  <a:lnTo>
                    <a:pt x="670" y="193"/>
                  </a:lnTo>
                  <a:lnTo>
                    <a:pt x="658" y="191"/>
                  </a:lnTo>
                  <a:lnTo>
                    <a:pt x="645" y="188"/>
                  </a:lnTo>
                  <a:lnTo>
                    <a:pt x="633" y="188"/>
                  </a:lnTo>
                  <a:lnTo>
                    <a:pt x="630" y="182"/>
                  </a:lnTo>
                  <a:lnTo>
                    <a:pt x="621" y="171"/>
                  </a:lnTo>
                  <a:lnTo>
                    <a:pt x="616" y="164"/>
                  </a:lnTo>
                  <a:lnTo>
                    <a:pt x="612" y="157"/>
                  </a:lnTo>
                  <a:lnTo>
                    <a:pt x="609" y="149"/>
                  </a:lnTo>
                  <a:lnTo>
                    <a:pt x="607" y="142"/>
                  </a:lnTo>
                  <a:lnTo>
                    <a:pt x="606" y="127"/>
                  </a:lnTo>
                  <a:lnTo>
                    <a:pt x="604" y="111"/>
                  </a:lnTo>
                  <a:lnTo>
                    <a:pt x="598" y="97"/>
                  </a:lnTo>
                  <a:lnTo>
                    <a:pt x="592" y="81"/>
                  </a:lnTo>
                  <a:lnTo>
                    <a:pt x="584" y="66"/>
                  </a:lnTo>
                  <a:lnTo>
                    <a:pt x="575" y="52"/>
                  </a:lnTo>
                  <a:lnTo>
                    <a:pt x="565" y="39"/>
                  </a:lnTo>
                  <a:lnTo>
                    <a:pt x="553" y="27"/>
                  </a:lnTo>
                  <a:lnTo>
                    <a:pt x="540" y="17"/>
                  </a:lnTo>
                  <a:lnTo>
                    <a:pt x="528" y="9"/>
                  </a:lnTo>
                  <a:lnTo>
                    <a:pt x="521" y="5"/>
                  </a:lnTo>
                  <a:lnTo>
                    <a:pt x="515" y="3"/>
                  </a:lnTo>
                  <a:lnTo>
                    <a:pt x="507" y="1"/>
                  </a:lnTo>
                  <a:lnTo>
                    <a:pt x="500" y="0"/>
                  </a:lnTo>
                  <a:lnTo>
                    <a:pt x="494" y="0"/>
                  </a:lnTo>
                  <a:lnTo>
                    <a:pt x="486" y="0"/>
                  </a:lnTo>
                  <a:lnTo>
                    <a:pt x="479" y="1"/>
                  </a:lnTo>
                  <a:lnTo>
                    <a:pt x="472" y="3"/>
                  </a:lnTo>
                  <a:lnTo>
                    <a:pt x="465" y="7"/>
                  </a:lnTo>
                  <a:lnTo>
                    <a:pt x="458" y="11"/>
                  </a:lnTo>
                  <a:lnTo>
                    <a:pt x="451" y="17"/>
                  </a:lnTo>
                  <a:lnTo>
                    <a:pt x="444" y="22"/>
                  </a:lnTo>
                  <a:lnTo>
                    <a:pt x="434" y="33"/>
                  </a:lnTo>
                  <a:lnTo>
                    <a:pt x="427" y="44"/>
                  </a:lnTo>
                  <a:lnTo>
                    <a:pt x="420" y="58"/>
                  </a:lnTo>
                  <a:lnTo>
                    <a:pt x="415" y="71"/>
                  </a:lnTo>
                  <a:lnTo>
                    <a:pt x="411" y="85"/>
                  </a:lnTo>
                  <a:lnTo>
                    <a:pt x="409" y="99"/>
                  </a:lnTo>
                  <a:lnTo>
                    <a:pt x="408" y="114"/>
                  </a:lnTo>
                  <a:lnTo>
                    <a:pt x="406" y="129"/>
                  </a:lnTo>
                  <a:lnTo>
                    <a:pt x="404" y="149"/>
                  </a:lnTo>
                  <a:lnTo>
                    <a:pt x="398" y="181"/>
                  </a:lnTo>
                  <a:lnTo>
                    <a:pt x="393" y="196"/>
                  </a:lnTo>
                  <a:lnTo>
                    <a:pt x="390" y="210"/>
                  </a:lnTo>
                  <a:lnTo>
                    <a:pt x="388" y="215"/>
                  </a:lnTo>
                  <a:lnTo>
                    <a:pt x="385" y="220"/>
                  </a:lnTo>
                  <a:lnTo>
                    <a:pt x="383" y="222"/>
                  </a:lnTo>
                  <a:lnTo>
                    <a:pt x="382" y="223"/>
                  </a:lnTo>
                  <a:lnTo>
                    <a:pt x="382" y="228"/>
                  </a:lnTo>
                  <a:lnTo>
                    <a:pt x="380" y="229"/>
                  </a:lnTo>
                  <a:lnTo>
                    <a:pt x="379" y="233"/>
                  </a:lnTo>
                  <a:lnTo>
                    <a:pt x="377" y="236"/>
                  </a:lnTo>
                  <a:lnTo>
                    <a:pt x="376" y="240"/>
                  </a:lnTo>
                  <a:lnTo>
                    <a:pt x="375" y="241"/>
                  </a:lnTo>
                  <a:lnTo>
                    <a:pt x="374" y="245"/>
                  </a:lnTo>
                  <a:lnTo>
                    <a:pt x="374" y="251"/>
                  </a:lnTo>
                  <a:lnTo>
                    <a:pt x="375" y="258"/>
                  </a:lnTo>
                  <a:lnTo>
                    <a:pt x="377" y="271"/>
                  </a:lnTo>
                  <a:lnTo>
                    <a:pt x="379" y="279"/>
                  </a:lnTo>
                  <a:lnTo>
                    <a:pt x="370" y="2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2" name="Freeform 89"/>
            <p:cNvSpPr>
              <a:spLocks noChangeAspect="1"/>
            </p:cNvSpPr>
            <p:nvPr/>
          </p:nvSpPr>
          <p:spPr bwMode="gray">
            <a:xfrm rot="355651">
              <a:off x="6913638" y="4265613"/>
              <a:ext cx="51839" cy="63875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1" y="51"/>
                </a:cxn>
                <a:cxn ang="0">
                  <a:pos x="11" y="72"/>
                </a:cxn>
                <a:cxn ang="0">
                  <a:pos x="2" y="104"/>
                </a:cxn>
                <a:cxn ang="0">
                  <a:pos x="1" y="125"/>
                </a:cxn>
                <a:cxn ang="0">
                  <a:pos x="6" y="144"/>
                </a:cxn>
                <a:cxn ang="0">
                  <a:pos x="12" y="153"/>
                </a:cxn>
                <a:cxn ang="0">
                  <a:pos x="13" y="157"/>
                </a:cxn>
                <a:cxn ang="0">
                  <a:pos x="23" y="168"/>
                </a:cxn>
                <a:cxn ang="0">
                  <a:pos x="61" y="209"/>
                </a:cxn>
                <a:cxn ang="0">
                  <a:pos x="75" y="225"/>
                </a:cxn>
                <a:cxn ang="0">
                  <a:pos x="82" y="234"/>
                </a:cxn>
                <a:cxn ang="0">
                  <a:pos x="86" y="245"/>
                </a:cxn>
                <a:cxn ang="0">
                  <a:pos x="88" y="257"/>
                </a:cxn>
                <a:cxn ang="0">
                  <a:pos x="88" y="280"/>
                </a:cxn>
                <a:cxn ang="0">
                  <a:pos x="86" y="297"/>
                </a:cxn>
                <a:cxn ang="0">
                  <a:pos x="83" y="315"/>
                </a:cxn>
                <a:cxn ang="0">
                  <a:pos x="71" y="348"/>
                </a:cxn>
                <a:cxn ang="0">
                  <a:pos x="67" y="364"/>
                </a:cxn>
                <a:cxn ang="0">
                  <a:pos x="64" y="382"/>
                </a:cxn>
                <a:cxn ang="0">
                  <a:pos x="65" y="389"/>
                </a:cxn>
                <a:cxn ang="0">
                  <a:pos x="69" y="393"/>
                </a:cxn>
                <a:cxn ang="0">
                  <a:pos x="80" y="396"/>
                </a:cxn>
                <a:cxn ang="0">
                  <a:pos x="91" y="392"/>
                </a:cxn>
                <a:cxn ang="0">
                  <a:pos x="97" y="388"/>
                </a:cxn>
                <a:cxn ang="0">
                  <a:pos x="111" y="383"/>
                </a:cxn>
                <a:cxn ang="0">
                  <a:pos x="128" y="372"/>
                </a:cxn>
                <a:cxn ang="0">
                  <a:pos x="156" y="353"/>
                </a:cxn>
                <a:cxn ang="0">
                  <a:pos x="177" y="334"/>
                </a:cxn>
                <a:cxn ang="0">
                  <a:pos x="201" y="317"/>
                </a:cxn>
                <a:cxn ang="0">
                  <a:pos x="233" y="288"/>
                </a:cxn>
                <a:cxn ang="0">
                  <a:pos x="251" y="276"/>
                </a:cxn>
                <a:cxn ang="0">
                  <a:pos x="265" y="263"/>
                </a:cxn>
                <a:cxn ang="0">
                  <a:pos x="276" y="247"/>
                </a:cxn>
                <a:cxn ang="0">
                  <a:pos x="284" y="229"/>
                </a:cxn>
                <a:cxn ang="0">
                  <a:pos x="286" y="206"/>
                </a:cxn>
                <a:cxn ang="0">
                  <a:pos x="283" y="194"/>
                </a:cxn>
                <a:cxn ang="0">
                  <a:pos x="276" y="186"/>
                </a:cxn>
                <a:cxn ang="0">
                  <a:pos x="236" y="156"/>
                </a:cxn>
                <a:cxn ang="0">
                  <a:pos x="196" y="124"/>
                </a:cxn>
                <a:cxn ang="0">
                  <a:pos x="170" y="107"/>
                </a:cxn>
                <a:cxn ang="0">
                  <a:pos x="147" y="86"/>
                </a:cxn>
                <a:cxn ang="0">
                  <a:pos x="126" y="54"/>
                </a:cxn>
                <a:cxn ang="0">
                  <a:pos x="116" y="41"/>
                </a:cxn>
                <a:cxn ang="0">
                  <a:pos x="107" y="22"/>
                </a:cxn>
                <a:cxn ang="0">
                  <a:pos x="105" y="18"/>
                </a:cxn>
                <a:cxn ang="0">
                  <a:pos x="105" y="14"/>
                </a:cxn>
                <a:cxn ang="0">
                  <a:pos x="93" y="8"/>
                </a:cxn>
                <a:cxn ang="0">
                  <a:pos x="91" y="3"/>
                </a:cxn>
                <a:cxn ang="0">
                  <a:pos x="59" y="0"/>
                </a:cxn>
                <a:cxn ang="0">
                  <a:pos x="55" y="3"/>
                </a:cxn>
                <a:cxn ang="0">
                  <a:pos x="51" y="3"/>
                </a:cxn>
                <a:cxn ang="0">
                  <a:pos x="48" y="8"/>
                </a:cxn>
              </a:cxnLst>
              <a:rect l="0" t="0" r="r" b="b"/>
              <a:pathLst>
                <a:path w="286" h="396">
                  <a:moveTo>
                    <a:pt x="38" y="11"/>
                  </a:moveTo>
                  <a:lnTo>
                    <a:pt x="32" y="22"/>
                  </a:lnTo>
                  <a:lnTo>
                    <a:pt x="26" y="36"/>
                  </a:lnTo>
                  <a:lnTo>
                    <a:pt x="21" y="51"/>
                  </a:lnTo>
                  <a:lnTo>
                    <a:pt x="15" y="62"/>
                  </a:lnTo>
                  <a:lnTo>
                    <a:pt x="11" y="72"/>
                  </a:lnTo>
                  <a:lnTo>
                    <a:pt x="5" y="88"/>
                  </a:lnTo>
                  <a:lnTo>
                    <a:pt x="2" y="104"/>
                  </a:lnTo>
                  <a:lnTo>
                    <a:pt x="0" y="115"/>
                  </a:lnTo>
                  <a:lnTo>
                    <a:pt x="1" y="125"/>
                  </a:lnTo>
                  <a:lnTo>
                    <a:pt x="2" y="134"/>
                  </a:lnTo>
                  <a:lnTo>
                    <a:pt x="6" y="144"/>
                  </a:lnTo>
                  <a:lnTo>
                    <a:pt x="11" y="153"/>
                  </a:lnTo>
                  <a:lnTo>
                    <a:pt x="12" y="153"/>
                  </a:lnTo>
                  <a:lnTo>
                    <a:pt x="13" y="156"/>
                  </a:lnTo>
                  <a:lnTo>
                    <a:pt x="13" y="157"/>
                  </a:lnTo>
                  <a:lnTo>
                    <a:pt x="13" y="159"/>
                  </a:lnTo>
                  <a:lnTo>
                    <a:pt x="23" y="168"/>
                  </a:lnTo>
                  <a:lnTo>
                    <a:pt x="42" y="188"/>
                  </a:lnTo>
                  <a:lnTo>
                    <a:pt x="61" y="209"/>
                  </a:lnTo>
                  <a:lnTo>
                    <a:pt x="72" y="220"/>
                  </a:lnTo>
                  <a:lnTo>
                    <a:pt x="75" y="225"/>
                  </a:lnTo>
                  <a:lnTo>
                    <a:pt x="79" y="229"/>
                  </a:lnTo>
                  <a:lnTo>
                    <a:pt x="82" y="234"/>
                  </a:lnTo>
                  <a:lnTo>
                    <a:pt x="84" y="239"/>
                  </a:lnTo>
                  <a:lnTo>
                    <a:pt x="86" y="245"/>
                  </a:lnTo>
                  <a:lnTo>
                    <a:pt x="88" y="250"/>
                  </a:lnTo>
                  <a:lnTo>
                    <a:pt x="88" y="257"/>
                  </a:lnTo>
                  <a:lnTo>
                    <a:pt x="88" y="264"/>
                  </a:lnTo>
                  <a:lnTo>
                    <a:pt x="88" y="280"/>
                  </a:lnTo>
                  <a:lnTo>
                    <a:pt x="88" y="287"/>
                  </a:lnTo>
                  <a:lnTo>
                    <a:pt x="86" y="297"/>
                  </a:lnTo>
                  <a:lnTo>
                    <a:pt x="83" y="309"/>
                  </a:lnTo>
                  <a:lnTo>
                    <a:pt x="83" y="315"/>
                  </a:lnTo>
                  <a:lnTo>
                    <a:pt x="78" y="331"/>
                  </a:lnTo>
                  <a:lnTo>
                    <a:pt x="71" y="348"/>
                  </a:lnTo>
                  <a:lnTo>
                    <a:pt x="69" y="357"/>
                  </a:lnTo>
                  <a:lnTo>
                    <a:pt x="67" y="364"/>
                  </a:lnTo>
                  <a:lnTo>
                    <a:pt x="64" y="373"/>
                  </a:lnTo>
                  <a:lnTo>
                    <a:pt x="64" y="382"/>
                  </a:lnTo>
                  <a:lnTo>
                    <a:pt x="64" y="386"/>
                  </a:lnTo>
                  <a:lnTo>
                    <a:pt x="65" y="389"/>
                  </a:lnTo>
                  <a:lnTo>
                    <a:pt x="67" y="391"/>
                  </a:lnTo>
                  <a:lnTo>
                    <a:pt x="69" y="393"/>
                  </a:lnTo>
                  <a:lnTo>
                    <a:pt x="74" y="394"/>
                  </a:lnTo>
                  <a:lnTo>
                    <a:pt x="80" y="396"/>
                  </a:lnTo>
                  <a:lnTo>
                    <a:pt x="87" y="394"/>
                  </a:lnTo>
                  <a:lnTo>
                    <a:pt x="91" y="392"/>
                  </a:lnTo>
                  <a:lnTo>
                    <a:pt x="94" y="390"/>
                  </a:lnTo>
                  <a:lnTo>
                    <a:pt x="97" y="388"/>
                  </a:lnTo>
                  <a:lnTo>
                    <a:pt x="103" y="387"/>
                  </a:lnTo>
                  <a:lnTo>
                    <a:pt x="111" y="383"/>
                  </a:lnTo>
                  <a:lnTo>
                    <a:pt x="119" y="378"/>
                  </a:lnTo>
                  <a:lnTo>
                    <a:pt x="128" y="372"/>
                  </a:lnTo>
                  <a:lnTo>
                    <a:pt x="144" y="361"/>
                  </a:lnTo>
                  <a:lnTo>
                    <a:pt x="156" y="353"/>
                  </a:lnTo>
                  <a:lnTo>
                    <a:pt x="166" y="343"/>
                  </a:lnTo>
                  <a:lnTo>
                    <a:pt x="177" y="334"/>
                  </a:lnTo>
                  <a:lnTo>
                    <a:pt x="189" y="326"/>
                  </a:lnTo>
                  <a:lnTo>
                    <a:pt x="201" y="317"/>
                  </a:lnTo>
                  <a:lnTo>
                    <a:pt x="217" y="303"/>
                  </a:lnTo>
                  <a:lnTo>
                    <a:pt x="233" y="288"/>
                  </a:lnTo>
                  <a:lnTo>
                    <a:pt x="242" y="282"/>
                  </a:lnTo>
                  <a:lnTo>
                    <a:pt x="251" y="276"/>
                  </a:lnTo>
                  <a:lnTo>
                    <a:pt x="257" y="269"/>
                  </a:lnTo>
                  <a:lnTo>
                    <a:pt x="265" y="263"/>
                  </a:lnTo>
                  <a:lnTo>
                    <a:pt x="271" y="255"/>
                  </a:lnTo>
                  <a:lnTo>
                    <a:pt x="276" y="247"/>
                  </a:lnTo>
                  <a:lnTo>
                    <a:pt x="281" y="238"/>
                  </a:lnTo>
                  <a:lnTo>
                    <a:pt x="284" y="229"/>
                  </a:lnTo>
                  <a:lnTo>
                    <a:pt x="286" y="218"/>
                  </a:lnTo>
                  <a:lnTo>
                    <a:pt x="286" y="206"/>
                  </a:lnTo>
                  <a:lnTo>
                    <a:pt x="285" y="199"/>
                  </a:lnTo>
                  <a:lnTo>
                    <a:pt x="283" y="194"/>
                  </a:lnTo>
                  <a:lnTo>
                    <a:pt x="281" y="189"/>
                  </a:lnTo>
                  <a:lnTo>
                    <a:pt x="276" y="186"/>
                  </a:lnTo>
                  <a:lnTo>
                    <a:pt x="256" y="172"/>
                  </a:lnTo>
                  <a:lnTo>
                    <a:pt x="236" y="156"/>
                  </a:lnTo>
                  <a:lnTo>
                    <a:pt x="215" y="139"/>
                  </a:lnTo>
                  <a:lnTo>
                    <a:pt x="196" y="124"/>
                  </a:lnTo>
                  <a:lnTo>
                    <a:pt x="183" y="115"/>
                  </a:lnTo>
                  <a:lnTo>
                    <a:pt x="170" y="107"/>
                  </a:lnTo>
                  <a:lnTo>
                    <a:pt x="158" y="96"/>
                  </a:lnTo>
                  <a:lnTo>
                    <a:pt x="147" y="86"/>
                  </a:lnTo>
                  <a:lnTo>
                    <a:pt x="137" y="71"/>
                  </a:lnTo>
                  <a:lnTo>
                    <a:pt x="126" y="54"/>
                  </a:lnTo>
                  <a:lnTo>
                    <a:pt x="121" y="50"/>
                  </a:lnTo>
                  <a:lnTo>
                    <a:pt x="116" y="41"/>
                  </a:lnTo>
                  <a:lnTo>
                    <a:pt x="110" y="30"/>
                  </a:lnTo>
                  <a:lnTo>
                    <a:pt x="107" y="22"/>
                  </a:lnTo>
                  <a:lnTo>
                    <a:pt x="106" y="21"/>
                  </a:lnTo>
                  <a:lnTo>
                    <a:pt x="105" y="18"/>
                  </a:lnTo>
                  <a:lnTo>
                    <a:pt x="105" y="16"/>
                  </a:lnTo>
                  <a:lnTo>
                    <a:pt x="105" y="14"/>
                  </a:lnTo>
                  <a:lnTo>
                    <a:pt x="99" y="11"/>
                  </a:lnTo>
                  <a:lnTo>
                    <a:pt x="93" y="8"/>
                  </a:lnTo>
                  <a:lnTo>
                    <a:pt x="92" y="5"/>
                  </a:lnTo>
                  <a:lnTo>
                    <a:pt x="91" y="3"/>
                  </a:lnTo>
                  <a:lnTo>
                    <a:pt x="74" y="2"/>
                  </a:lnTo>
                  <a:lnTo>
                    <a:pt x="59" y="0"/>
                  </a:lnTo>
                  <a:lnTo>
                    <a:pt x="58" y="2"/>
                  </a:lnTo>
                  <a:lnTo>
                    <a:pt x="55" y="3"/>
                  </a:lnTo>
                  <a:lnTo>
                    <a:pt x="53" y="3"/>
                  </a:lnTo>
                  <a:lnTo>
                    <a:pt x="51" y="3"/>
                  </a:lnTo>
                  <a:lnTo>
                    <a:pt x="50" y="5"/>
                  </a:lnTo>
                  <a:lnTo>
                    <a:pt x="48" y="8"/>
                  </a:lnTo>
                  <a:lnTo>
                    <a:pt x="38" y="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3" name="Freeform 90"/>
            <p:cNvSpPr>
              <a:spLocks noChangeAspect="1"/>
            </p:cNvSpPr>
            <p:nvPr/>
          </p:nvSpPr>
          <p:spPr bwMode="gray">
            <a:xfrm rot="355651">
              <a:off x="6822653" y="4184650"/>
              <a:ext cx="68769" cy="56424"/>
            </a:xfrm>
            <a:custGeom>
              <a:avLst/>
              <a:gdLst/>
              <a:ahLst/>
              <a:cxnLst>
                <a:cxn ang="0">
                  <a:pos x="188" y="65"/>
                </a:cxn>
                <a:cxn ang="0">
                  <a:pos x="179" y="83"/>
                </a:cxn>
                <a:cxn ang="0">
                  <a:pos x="167" y="102"/>
                </a:cxn>
                <a:cxn ang="0">
                  <a:pos x="153" y="113"/>
                </a:cxn>
                <a:cxn ang="0">
                  <a:pos x="134" y="118"/>
                </a:cxn>
                <a:cxn ang="0">
                  <a:pos x="93" y="128"/>
                </a:cxn>
                <a:cxn ang="0">
                  <a:pos x="65" y="133"/>
                </a:cxn>
                <a:cxn ang="0">
                  <a:pos x="43" y="147"/>
                </a:cxn>
                <a:cxn ang="0">
                  <a:pos x="20" y="166"/>
                </a:cxn>
                <a:cxn ang="0">
                  <a:pos x="8" y="180"/>
                </a:cxn>
                <a:cxn ang="0">
                  <a:pos x="2" y="190"/>
                </a:cxn>
                <a:cxn ang="0">
                  <a:pos x="0" y="204"/>
                </a:cxn>
                <a:cxn ang="0">
                  <a:pos x="2" y="222"/>
                </a:cxn>
                <a:cxn ang="0">
                  <a:pos x="7" y="234"/>
                </a:cxn>
                <a:cxn ang="0">
                  <a:pos x="11" y="241"/>
                </a:cxn>
                <a:cxn ang="0">
                  <a:pos x="19" y="246"/>
                </a:cxn>
                <a:cxn ang="0">
                  <a:pos x="28" y="248"/>
                </a:cxn>
                <a:cxn ang="0">
                  <a:pos x="45" y="250"/>
                </a:cxn>
                <a:cxn ang="0">
                  <a:pos x="72" y="253"/>
                </a:cxn>
                <a:cxn ang="0">
                  <a:pos x="115" y="262"/>
                </a:cxn>
                <a:cxn ang="0">
                  <a:pos x="150" y="271"/>
                </a:cxn>
                <a:cxn ang="0">
                  <a:pos x="170" y="280"/>
                </a:cxn>
                <a:cxn ang="0">
                  <a:pos x="197" y="296"/>
                </a:cxn>
                <a:cxn ang="0">
                  <a:pos x="231" y="323"/>
                </a:cxn>
                <a:cxn ang="0">
                  <a:pos x="258" y="341"/>
                </a:cxn>
                <a:cxn ang="0">
                  <a:pos x="277" y="351"/>
                </a:cxn>
                <a:cxn ang="0">
                  <a:pos x="296" y="357"/>
                </a:cxn>
                <a:cxn ang="0">
                  <a:pos x="313" y="360"/>
                </a:cxn>
                <a:cxn ang="0">
                  <a:pos x="326" y="360"/>
                </a:cxn>
                <a:cxn ang="0">
                  <a:pos x="337" y="357"/>
                </a:cxn>
                <a:cxn ang="0">
                  <a:pos x="347" y="351"/>
                </a:cxn>
                <a:cxn ang="0">
                  <a:pos x="355" y="344"/>
                </a:cxn>
                <a:cxn ang="0">
                  <a:pos x="364" y="330"/>
                </a:cxn>
                <a:cxn ang="0">
                  <a:pos x="371" y="305"/>
                </a:cxn>
                <a:cxn ang="0">
                  <a:pos x="373" y="277"/>
                </a:cxn>
                <a:cxn ang="0">
                  <a:pos x="373" y="235"/>
                </a:cxn>
                <a:cxn ang="0">
                  <a:pos x="374" y="179"/>
                </a:cxn>
                <a:cxn ang="0">
                  <a:pos x="381" y="118"/>
                </a:cxn>
                <a:cxn ang="0">
                  <a:pos x="386" y="80"/>
                </a:cxn>
                <a:cxn ang="0">
                  <a:pos x="383" y="53"/>
                </a:cxn>
                <a:cxn ang="0">
                  <a:pos x="375" y="26"/>
                </a:cxn>
                <a:cxn ang="0">
                  <a:pos x="365" y="11"/>
                </a:cxn>
                <a:cxn ang="0">
                  <a:pos x="356" y="5"/>
                </a:cxn>
                <a:cxn ang="0">
                  <a:pos x="350" y="3"/>
                </a:cxn>
                <a:cxn ang="0">
                  <a:pos x="344" y="1"/>
                </a:cxn>
                <a:cxn ang="0">
                  <a:pos x="332" y="0"/>
                </a:cxn>
                <a:cxn ang="0">
                  <a:pos x="308" y="1"/>
                </a:cxn>
                <a:cxn ang="0">
                  <a:pos x="287" y="10"/>
                </a:cxn>
                <a:cxn ang="0">
                  <a:pos x="264" y="25"/>
                </a:cxn>
                <a:cxn ang="0">
                  <a:pos x="253" y="36"/>
                </a:cxn>
                <a:cxn ang="0">
                  <a:pos x="244" y="43"/>
                </a:cxn>
                <a:cxn ang="0">
                  <a:pos x="227" y="46"/>
                </a:cxn>
                <a:cxn ang="0">
                  <a:pos x="205" y="53"/>
                </a:cxn>
              </a:cxnLst>
              <a:rect l="0" t="0" r="r" b="b"/>
              <a:pathLst>
                <a:path w="386" h="360">
                  <a:moveTo>
                    <a:pt x="192" y="58"/>
                  </a:moveTo>
                  <a:lnTo>
                    <a:pt x="188" y="65"/>
                  </a:lnTo>
                  <a:lnTo>
                    <a:pt x="183" y="74"/>
                  </a:lnTo>
                  <a:lnTo>
                    <a:pt x="179" y="83"/>
                  </a:lnTo>
                  <a:lnTo>
                    <a:pt x="176" y="91"/>
                  </a:lnTo>
                  <a:lnTo>
                    <a:pt x="167" y="102"/>
                  </a:lnTo>
                  <a:lnTo>
                    <a:pt x="157" y="112"/>
                  </a:lnTo>
                  <a:lnTo>
                    <a:pt x="153" y="113"/>
                  </a:lnTo>
                  <a:lnTo>
                    <a:pt x="151" y="117"/>
                  </a:lnTo>
                  <a:lnTo>
                    <a:pt x="134" y="118"/>
                  </a:lnTo>
                  <a:lnTo>
                    <a:pt x="114" y="123"/>
                  </a:lnTo>
                  <a:lnTo>
                    <a:pt x="93" y="128"/>
                  </a:lnTo>
                  <a:lnTo>
                    <a:pt x="75" y="131"/>
                  </a:lnTo>
                  <a:lnTo>
                    <a:pt x="65" y="133"/>
                  </a:lnTo>
                  <a:lnTo>
                    <a:pt x="55" y="139"/>
                  </a:lnTo>
                  <a:lnTo>
                    <a:pt x="43" y="147"/>
                  </a:lnTo>
                  <a:lnTo>
                    <a:pt x="31" y="156"/>
                  </a:lnTo>
                  <a:lnTo>
                    <a:pt x="20" y="166"/>
                  </a:lnTo>
                  <a:lnTo>
                    <a:pt x="11" y="176"/>
                  </a:lnTo>
                  <a:lnTo>
                    <a:pt x="8" y="180"/>
                  </a:lnTo>
                  <a:lnTo>
                    <a:pt x="5" y="186"/>
                  </a:lnTo>
                  <a:lnTo>
                    <a:pt x="2" y="190"/>
                  </a:lnTo>
                  <a:lnTo>
                    <a:pt x="1" y="194"/>
                  </a:lnTo>
                  <a:lnTo>
                    <a:pt x="0" y="204"/>
                  </a:lnTo>
                  <a:lnTo>
                    <a:pt x="0" y="213"/>
                  </a:lnTo>
                  <a:lnTo>
                    <a:pt x="2" y="222"/>
                  </a:lnTo>
                  <a:lnTo>
                    <a:pt x="5" y="231"/>
                  </a:lnTo>
                  <a:lnTo>
                    <a:pt x="7" y="234"/>
                  </a:lnTo>
                  <a:lnTo>
                    <a:pt x="9" y="237"/>
                  </a:lnTo>
                  <a:lnTo>
                    <a:pt x="11" y="241"/>
                  </a:lnTo>
                  <a:lnTo>
                    <a:pt x="15" y="244"/>
                  </a:lnTo>
                  <a:lnTo>
                    <a:pt x="19" y="246"/>
                  </a:lnTo>
                  <a:lnTo>
                    <a:pt x="23" y="247"/>
                  </a:lnTo>
                  <a:lnTo>
                    <a:pt x="28" y="248"/>
                  </a:lnTo>
                  <a:lnTo>
                    <a:pt x="33" y="248"/>
                  </a:lnTo>
                  <a:lnTo>
                    <a:pt x="45" y="250"/>
                  </a:lnTo>
                  <a:lnTo>
                    <a:pt x="58" y="251"/>
                  </a:lnTo>
                  <a:lnTo>
                    <a:pt x="72" y="253"/>
                  </a:lnTo>
                  <a:lnTo>
                    <a:pt x="86" y="256"/>
                  </a:lnTo>
                  <a:lnTo>
                    <a:pt x="115" y="262"/>
                  </a:lnTo>
                  <a:lnTo>
                    <a:pt x="140" y="267"/>
                  </a:lnTo>
                  <a:lnTo>
                    <a:pt x="150" y="271"/>
                  </a:lnTo>
                  <a:lnTo>
                    <a:pt x="160" y="274"/>
                  </a:lnTo>
                  <a:lnTo>
                    <a:pt x="170" y="280"/>
                  </a:lnTo>
                  <a:lnTo>
                    <a:pt x="179" y="284"/>
                  </a:lnTo>
                  <a:lnTo>
                    <a:pt x="197" y="296"/>
                  </a:lnTo>
                  <a:lnTo>
                    <a:pt x="215" y="310"/>
                  </a:lnTo>
                  <a:lnTo>
                    <a:pt x="231" y="323"/>
                  </a:lnTo>
                  <a:lnTo>
                    <a:pt x="249" y="335"/>
                  </a:lnTo>
                  <a:lnTo>
                    <a:pt x="258" y="341"/>
                  </a:lnTo>
                  <a:lnTo>
                    <a:pt x="268" y="347"/>
                  </a:lnTo>
                  <a:lnTo>
                    <a:pt x="277" y="351"/>
                  </a:lnTo>
                  <a:lnTo>
                    <a:pt x="287" y="354"/>
                  </a:lnTo>
                  <a:lnTo>
                    <a:pt x="296" y="357"/>
                  </a:lnTo>
                  <a:lnTo>
                    <a:pt x="305" y="359"/>
                  </a:lnTo>
                  <a:lnTo>
                    <a:pt x="313" y="360"/>
                  </a:lnTo>
                  <a:lnTo>
                    <a:pt x="320" y="360"/>
                  </a:lnTo>
                  <a:lnTo>
                    <a:pt x="326" y="360"/>
                  </a:lnTo>
                  <a:lnTo>
                    <a:pt x="332" y="359"/>
                  </a:lnTo>
                  <a:lnTo>
                    <a:pt x="337" y="357"/>
                  </a:lnTo>
                  <a:lnTo>
                    <a:pt x="343" y="354"/>
                  </a:lnTo>
                  <a:lnTo>
                    <a:pt x="347" y="351"/>
                  </a:lnTo>
                  <a:lnTo>
                    <a:pt x="352" y="348"/>
                  </a:lnTo>
                  <a:lnTo>
                    <a:pt x="355" y="344"/>
                  </a:lnTo>
                  <a:lnTo>
                    <a:pt x="359" y="340"/>
                  </a:lnTo>
                  <a:lnTo>
                    <a:pt x="364" y="330"/>
                  </a:lnTo>
                  <a:lnTo>
                    <a:pt x="368" y="318"/>
                  </a:lnTo>
                  <a:lnTo>
                    <a:pt x="371" y="305"/>
                  </a:lnTo>
                  <a:lnTo>
                    <a:pt x="372" y="292"/>
                  </a:lnTo>
                  <a:lnTo>
                    <a:pt x="373" y="277"/>
                  </a:lnTo>
                  <a:lnTo>
                    <a:pt x="374" y="263"/>
                  </a:lnTo>
                  <a:lnTo>
                    <a:pt x="373" y="235"/>
                  </a:lnTo>
                  <a:lnTo>
                    <a:pt x="373" y="209"/>
                  </a:lnTo>
                  <a:lnTo>
                    <a:pt x="374" y="179"/>
                  </a:lnTo>
                  <a:lnTo>
                    <a:pt x="376" y="148"/>
                  </a:lnTo>
                  <a:lnTo>
                    <a:pt x="381" y="118"/>
                  </a:lnTo>
                  <a:lnTo>
                    <a:pt x="385" y="89"/>
                  </a:lnTo>
                  <a:lnTo>
                    <a:pt x="386" y="80"/>
                  </a:lnTo>
                  <a:lnTo>
                    <a:pt x="385" y="67"/>
                  </a:lnTo>
                  <a:lnTo>
                    <a:pt x="383" y="53"/>
                  </a:lnTo>
                  <a:lnTo>
                    <a:pt x="380" y="39"/>
                  </a:lnTo>
                  <a:lnTo>
                    <a:pt x="375" y="26"/>
                  </a:lnTo>
                  <a:lnTo>
                    <a:pt x="369" y="15"/>
                  </a:lnTo>
                  <a:lnTo>
                    <a:pt x="365" y="11"/>
                  </a:lnTo>
                  <a:lnTo>
                    <a:pt x="361" y="7"/>
                  </a:lnTo>
                  <a:lnTo>
                    <a:pt x="356" y="5"/>
                  </a:lnTo>
                  <a:lnTo>
                    <a:pt x="352" y="5"/>
                  </a:lnTo>
                  <a:lnTo>
                    <a:pt x="350" y="3"/>
                  </a:lnTo>
                  <a:lnTo>
                    <a:pt x="345" y="3"/>
                  </a:lnTo>
                  <a:lnTo>
                    <a:pt x="344" y="1"/>
                  </a:lnTo>
                  <a:lnTo>
                    <a:pt x="340" y="0"/>
                  </a:lnTo>
                  <a:lnTo>
                    <a:pt x="332" y="0"/>
                  </a:lnTo>
                  <a:lnTo>
                    <a:pt x="324" y="0"/>
                  </a:lnTo>
                  <a:lnTo>
                    <a:pt x="308" y="1"/>
                  </a:lnTo>
                  <a:lnTo>
                    <a:pt x="299" y="3"/>
                  </a:lnTo>
                  <a:lnTo>
                    <a:pt x="287" y="10"/>
                  </a:lnTo>
                  <a:lnTo>
                    <a:pt x="272" y="20"/>
                  </a:lnTo>
                  <a:lnTo>
                    <a:pt x="264" y="25"/>
                  </a:lnTo>
                  <a:lnTo>
                    <a:pt x="257" y="31"/>
                  </a:lnTo>
                  <a:lnTo>
                    <a:pt x="253" y="36"/>
                  </a:lnTo>
                  <a:lnTo>
                    <a:pt x="249" y="41"/>
                  </a:lnTo>
                  <a:lnTo>
                    <a:pt x="244" y="43"/>
                  </a:lnTo>
                  <a:lnTo>
                    <a:pt x="237" y="45"/>
                  </a:lnTo>
                  <a:lnTo>
                    <a:pt x="227" y="46"/>
                  </a:lnTo>
                  <a:lnTo>
                    <a:pt x="216" y="46"/>
                  </a:lnTo>
                  <a:lnTo>
                    <a:pt x="205" y="53"/>
                  </a:lnTo>
                  <a:lnTo>
                    <a:pt x="192" y="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4" name="Freeform 91"/>
            <p:cNvSpPr>
              <a:spLocks noChangeAspect="1"/>
            </p:cNvSpPr>
            <p:nvPr/>
          </p:nvSpPr>
          <p:spPr bwMode="gray">
            <a:xfrm rot="355651">
              <a:off x="7013085" y="4095750"/>
              <a:ext cx="49725" cy="41520"/>
            </a:xfrm>
            <a:custGeom>
              <a:avLst/>
              <a:gdLst/>
              <a:ahLst/>
              <a:cxnLst>
                <a:cxn ang="0">
                  <a:pos x="236" y="18"/>
                </a:cxn>
                <a:cxn ang="0">
                  <a:pos x="222" y="24"/>
                </a:cxn>
                <a:cxn ang="0">
                  <a:pos x="205" y="27"/>
                </a:cxn>
                <a:cxn ang="0">
                  <a:pos x="186" y="27"/>
                </a:cxn>
                <a:cxn ang="0">
                  <a:pos x="138" y="20"/>
                </a:cxn>
                <a:cxn ang="0">
                  <a:pos x="90" y="12"/>
                </a:cxn>
                <a:cxn ang="0">
                  <a:pos x="71" y="12"/>
                </a:cxn>
                <a:cxn ang="0">
                  <a:pos x="61" y="17"/>
                </a:cxn>
                <a:cxn ang="0">
                  <a:pos x="44" y="26"/>
                </a:cxn>
                <a:cxn ang="0">
                  <a:pos x="29" y="37"/>
                </a:cxn>
                <a:cxn ang="0">
                  <a:pos x="15" y="52"/>
                </a:cxn>
                <a:cxn ang="0">
                  <a:pos x="6" y="66"/>
                </a:cxn>
                <a:cxn ang="0">
                  <a:pos x="1" y="76"/>
                </a:cxn>
                <a:cxn ang="0">
                  <a:pos x="1" y="87"/>
                </a:cxn>
                <a:cxn ang="0">
                  <a:pos x="8" y="99"/>
                </a:cxn>
                <a:cxn ang="0">
                  <a:pos x="29" y="116"/>
                </a:cxn>
                <a:cxn ang="0">
                  <a:pos x="44" y="132"/>
                </a:cxn>
                <a:cxn ang="0">
                  <a:pos x="51" y="144"/>
                </a:cxn>
                <a:cxn ang="0">
                  <a:pos x="60" y="151"/>
                </a:cxn>
                <a:cxn ang="0">
                  <a:pos x="71" y="162"/>
                </a:cxn>
                <a:cxn ang="0">
                  <a:pos x="80" y="174"/>
                </a:cxn>
                <a:cxn ang="0">
                  <a:pos x="100" y="201"/>
                </a:cxn>
                <a:cxn ang="0">
                  <a:pos x="111" y="212"/>
                </a:cxn>
                <a:cxn ang="0">
                  <a:pos x="125" y="222"/>
                </a:cxn>
                <a:cxn ang="0">
                  <a:pos x="156" y="242"/>
                </a:cxn>
                <a:cxn ang="0">
                  <a:pos x="171" y="251"/>
                </a:cxn>
                <a:cxn ang="0">
                  <a:pos x="188" y="257"/>
                </a:cxn>
                <a:cxn ang="0">
                  <a:pos x="200" y="261"/>
                </a:cxn>
                <a:cxn ang="0">
                  <a:pos x="233" y="259"/>
                </a:cxn>
                <a:cxn ang="0">
                  <a:pos x="243" y="253"/>
                </a:cxn>
                <a:cxn ang="0">
                  <a:pos x="253" y="244"/>
                </a:cxn>
                <a:cxn ang="0">
                  <a:pos x="267" y="231"/>
                </a:cxn>
                <a:cxn ang="0">
                  <a:pos x="271" y="213"/>
                </a:cxn>
                <a:cxn ang="0">
                  <a:pos x="269" y="183"/>
                </a:cxn>
                <a:cxn ang="0">
                  <a:pos x="267" y="162"/>
                </a:cxn>
                <a:cxn ang="0">
                  <a:pos x="262" y="144"/>
                </a:cxn>
                <a:cxn ang="0">
                  <a:pos x="259" y="125"/>
                </a:cxn>
                <a:cxn ang="0">
                  <a:pos x="259" y="99"/>
                </a:cxn>
                <a:cxn ang="0">
                  <a:pos x="264" y="79"/>
                </a:cxn>
                <a:cxn ang="0">
                  <a:pos x="272" y="60"/>
                </a:cxn>
                <a:cxn ang="0">
                  <a:pos x="276" y="49"/>
                </a:cxn>
                <a:cxn ang="0">
                  <a:pos x="280" y="37"/>
                </a:cxn>
                <a:cxn ang="0">
                  <a:pos x="283" y="9"/>
                </a:cxn>
                <a:cxn ang="0">
                  <a:pos x="276" y="7"/>
                </a:cxn>
                <a:cxn ang="0">
                  <a:pos x="273" y="4"/>
                </a:cxn>
                <a:cxn ang="0">
                  <a:pos x="266" y="2"/>
                </a:cxn>
                <a:cxn ang="0">
                  <a:pos x="253" y="0"/>
                </a:cxn>
                <a:cxn ang="0">
                  <a:pos x="248" y="9"/>
                </a:cxn>
              </a:cxnLst>
              <a:rect l="0" t="0" r="r" b="b"/>
              <a:pathLst>
                <a:path w="283" h="261">
                  <a:moveTo>
                    <a:pt x="242" y="13"/>
                  </a:moveTo>
                  <a:lnTo>
                    <a:pt x="236" y="18"/>
                  </a:lnTo>
                  <a:lnTo>
                    <a:pt x="229" y="22"/>
                  </a:lnTo>
                  <a:lnTo>
                    <a:pt x="222" y="24"/>
                  </a:lnTo>
                  <a:lnTo>
                    <a:pt x="214" y="27"/>
                  </a:lnTo>
                  <a:lnTo>
                    <a:pt x="205" y="27"/>
                  </a:lnTo>
                  <a:lnTo>
                    <a:pt x="196" y="28"/>
                  </a:lnTo>
                  <a:lnTo>
                    <a:pt x="186" y="27"/>
                  </a:lnTo>
                  <a:lnTo>
                    <a:pt x="176" y="27"/>
                  </a:lnTo>
                  <a:lnTo>
                    <a:pt x="138" y="20"/>
                  </a:lnTo>
                  <a:lnTo>
                    <a:pt x="106" y="13"/>
                  </a:lnTo>
                  <a:lnTo>
                    <a:pt x="90" y="12"/>
                  </a:lnTo>
                  <a:lnTo>
                    <a:pt x="75" y="11"/>
                  </a:lnTo>
                  <a:lnTo>
                    <a:pt x="71" y="12"/>
                  </a:lnTo>
                  <a:lnTo>
                    <a:pt x="65" y="13"/>
                  </a:lnTo>
                  <a:lnTo>
                    <a:pt x="61" y="17"/>
                  </a:lnTo>
                  <a:lnTo>
                    <a:pt x="55" y="19"/>
                  </a:lnTo>
                  <a:lnTo>
                    <a:pt x="44" y="26"/>
                  </a:lnTo>
                  <a:lnTo>
                    <a:pt x="36" y="31"/>
                  </a:lnTo>
                  <a:lnTo>
                    <a:pt x="29" y="37"/>
                  </a:lnTo>
                  <a:lnTo>
                    <a:pt x="22" y="45"/>
                  </a:lnTo>
                  <a:lnTo>
                    <a:pt x="15" y="52"/>
                  </a:lnTo>
                  <a:lnTo>
                    <a:pt x="11" y="61"/>
                  </a:lnTo>
                  <a:lnTo>
                    <a:pt x="6" y="66"/>
                  </a:lnTo>
                  <a:lnTo>
                    <a:pt x="3" y="71"/>
                  </a:lnTo>
                  <a:lnTo>
                    <a:pt x="1" y="76"/>
                  </a:lnTo>
                  <a:lnTo>
                    <a:pt x="0" y="80"/>
                  </a:lnTo>
                  <a:lnTo>
                    <a:pt x="1" y="87"/>
                  </a:lnTo>
                  <a:lnTo>
                    <a:pt x="4" y="94"/>
                  </a:lnTo>
                  <a:lnTo>
                    <a:pt x="8" y="99"/>
                  </a:lnTo>
                  <a:lnTo>
                    <a:pt x="15" y="105"/>
                  </a:lnTo>
                  <a:lnTo>
                    <a:pt x="29" y="116"/>
                  </a:lnTo>
                  <a:lnTo>
                    <a:pt x="41" y="126"/>
                  </a:lnTo>
                  <a:lnTo>
                    <a:pt x="44" y="132"/>
                  </a:lnTo>
                  <a:lnTo>
                    <a:pt x="48" y="138"/>
                  </a:lnTo>
                  <a:lnTo>
                    <a:pt x="51" y="144"/>
                  </a:lnTo>
                  <a:lnTo>
                    <a:pt x="55" y="148"/>
                  </a:lnTo>
                  <a:lnTo>
                    <a:pt x="60" y="151"/>
                  </a:lnTo>
                  <a:lnTo>
                    <a:pt x="65" y="155"/>
                  </a:lnTo>
                  <a:lnTo>
                    <a:pt x="71" y="162"/>
                  </a:lnTo>
                  <a:lnTo>
                    <a:pt x="75" y="168"/>
                  </a:lnTo>
                  <a:lnTo>
                    <a:pt x="80" y="174"/>
                  </a:lnTo>
                  <a:lnTo>
                    <a:pt x="90" y="187"/>
                  </a:lnTo>
                  <a:lnTo>
                    <a:pt x="100" y="201"/>
                  </a:lnTo>
                  <a:lnTo>
                    <a:pt x="106" y="206"/>
                  </a:lnTo>
                  <a:lnTo>
                    <a:pt x="111" y="212"/>
                  </a:lnTo>
                  <a:lnTo>
                    <a:pt x="118" y="218"/>
                  </a:lnTo>
                  <a:lnTo>
                    <a:pt x="125" y="222"/>
                  </a:lnTo>
                  <a:lnTo>
                    <a:pt x="140" y="231"/>
                  </a:lnTo>
                  <a:lnTo>
                    <a:pt x="156" y="242"/>
                  </a:lnTo>
                  <a:lnTo>
                    <a:pt x="164" y="247"/>
                  </a:lnTo>
                  <a:lnTo>
                    <a:pt x="171" y="251"/>
                  </a:lnTo>
                  <a:lnTo>
                    <a:pt x="179" y="254"/>
                  </a:lnTo>
                  <a:lnTo>
                    <a:pt x="188" y="257"/>
                  </a:lnTo>
                  <a:lnTo>
                    <a:pt x="195" y="259"/>
                  </a:lnTo>
                  <a:lnTo>
                    <a:pt x="200" y="261"/>
                  </a:lnTo>
                  <a:lnTo>
                    <a:pt x="218" y="260"/>
                  </a:lnTo>
                  <a:lnTo>
                    <a:pt x="233" y="259"/>
                  </a:lnTo>
                  <a:lnTo>
                    <a:pt x="240" y="257"/>
                  </a:lnTo>
                  <a:lnTo>
                    <a:pt x="243" y="253"/>
                  </a:lnTo>
                  <a:lnTo>
                    <a:pt x="246" y="248"/>
                  </a:lnTo>
                  <a:lnTo>
                    <a:pt x="253" y="244"/>
                  </a:lnTo>
                  <a:lnTo>
                    <a:pt x="261" y="238"/>
                  </a:lnTo>
                  <a:lnTo>
                    <a:pt x="267" y="231"/>
                  </a:lnTo>
                  <a:lnTo>
                    <a:pt x="270" y="226"/>
                  </a:lnTo>
                  <a:lnTo>
                    <a:pt x="271" y="213"/>
                  </a:lnTo>
                  <a:lnTo>
                    <a:pt x="270" y="199"/>
                  </a:lnTo>
                  <a:lnTo>
                    <a:pt x="269" y="183"/>
                  </a:lnTo>
                  <a:lnTo>
                    <a:pt x="269" y="170"/>
                  </a:lnTo>
                  <a:lnTo>
                    <a:pt x="267" y="162"/>
                  </a:lnTo>
                  <a:lnTo>
                    <a:pt x="264" y="153"/>
                  </a:lnTo>
                  <a:lnTo>
                    <a:pt x="262" y="144"/>
                  </a:lnTo>
                  <a:lnTo>
                    <a:pt x="260" y="135"/>
                  </a:lnTo>
                  <a:lnTo>
                    <a:pt x="259" y="125"/>
                  </a:lnTo>
                  <a:lnTo>
                    <a:pt x="257" y="113"/>
                  </a:lnTo>
                  <a:lnTo>
                    <a:pt x="259" y="99"/>
                  </a:lnTo>
                  <a:lnTo>
                    <a:pt x="260" y="89"/>
                  </a:lnTo>
                  <a:lnTo>
                    <a:pt x="264" y="79"/>
                  </a:lnTo>
                  <a:lnTo>
                    <a:pt x="270" y="67"/>
                  </a:lnTo>
                  <a:lnTo>
                    <a:pt x="272" y="60"/>
                  </a:lnTo>
                  <a:lnTo>
                    <a:pt x="274" y="55"/>
                  </a:lnTo>
                  <a:lnTo>
                    <a:pt x="276" y="49"/>
                  </a:lnTo>
                  <a:lnTo>
                    <a:pt x="276" y="43"/>
                  </a:lnTo>
                  <a:lnTo>
                    <a:pt x="280" y="37"/>
                  </a:lnTo>
                  <a:lnTo>
                    <a:pt x="283" y="29"/>
                  </a:lnTo>
                  <a:lnTo>
                    <a:pt x="283" y="9"/>
                  </a:lnTo>
                  <a:lnTo>
                    <a:pt x="281" y="7"/>
                  </a:lnTo>
                  <a:lnTo>
                    <a:pt x="276" y="7"/>
                  </a:lnTo>
                  <a:lnTo>
                    <a:pt x="276" y="6"/>
                  </a:lnTo>
                  <a:lnTo>
                    <a:pt x="273" y="4"/>
                  </a:lnTo>
                  <a:lnTo>
                    <a:pt x="271" y="3"/>
                  </a:lnTo>
                  <a:lnTo>
                    <a:pt x="266" y="2"/>
                  </a:lnTo>
                  <a:lnTo>
                    <a:pt x="259" y="1"/>
                  </a:lnTo>
                  <a:lnTo>
                    <a:pt x="253" y="0"/>
                  </a:lnTo>
                  <a:lnTo>
                    <a:pt x="248" y="4"/>
                  </a:lnTo>
                  <a:lnTo>
                    <a:pt x="248" y="9"/>
                  </a:lnTo>
                  <a:lnTo>
                    <a:pt x="242" y="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5" name="Freeform 92"/>
            <p:cNvSpPr>
              <a:spLocks noChangeAspect="1"/>
            </p:cNvSpPr>
            <p:nvPr/>
          </p:nvSpPr>
          <p:spPr bwMode="gray">
            <a:xfrm rot="355651">
              <a:off x="7161200" y="4111625"/>
              <a:ext cx="60305" cy="40455"/>
            </a:xfrm>
            <a:custGeom>
              <a:avLst/>
              <a:gdLst/>
              <a:ahLst/>
              <a:cxnLst>
                <a:cxn ang="0">
                  <a:pos x="143" y="7"/>
                </a:cxn>
                <a:cxn ang="0">
                  <a:pos x="110" y="21"/>
                </a:cxn>
                <a:cxn ang="0">
                  <a:pos x="89" y="32"/>
                </a:cxn>
                <a:cxn ang="0">
                  <a:pos x="70" y="44"/>
                </a:cxn>
                <a:cxn ang="0">
                  <a:pos x="52" y="60"/>
                </a:cxn>
                <a:cxn ang="0">
                  <a:pos x="39" y="77"/>
                </a:cxn>
                <a:cxn ang="0">
                  <a:pos x="28" y="98"/>
                </a:cxn>
                <a:cxn ang="0">
                  <a:pos x="21" y="118"/>
                </a:cxn>
                <a:cxn ang="0">
                  <a:pos x="10" y="138"/>
                </a:cxn>
                <a:cxn ang="0">
                  <a:pos x="4" y="158"/>
                </a:cxn>
                <a:cxn ang="0">
                  <a:pos x="1" y="184"/>
                </a:cxn>
                <a:cxn ang="0">
                  <a:pos x="1" y="202"/>
                </a:cxn>
                <a:cxn ang="0">
                  <a:pos x="8" y="215"/>
                </a:cxn>
                <a:cxn ang="0">
                  <a:pos x="22" y="227"/>
                </a:cxn>
                <a:cxn ang="0">
                  <a:pos x="31" y="235"/>
                </a:cxn>
                <a:cxn ang="0">
                  <a:pos x="41" y="240"/>
                </a:cxn>
                <a:cxn ang="0">
                  <a:pos x="62" y="252"/>
                </a:cxn>
                <a:cxn ang="0">
                  <a:pos x="115" y="255"/>
                </a:cxn>
                <a:cxn ang="0">
                  <a:pos x="127" y="242"/>
                </a:cxn>
                <a:cxn ang="0">
                  <a:pos x="138" y="226"/>
                </a:cxn>
                <a:cxn ang="0">
                  <a:pos x="154" y="213"/>
                </a:cxn>
                <a:cxn ang="0">
                  <a:pos x="171" y="202"/>
                </a:cxn>
                <a:cxn ang="0">
                  <a:pos x="188" y="196"/>
                </a:cxn>
                <a:cxn ang="0">
                  <a:pos x="210" y="192"/>
                </a:cxn>
                <a:cxn ang="0">
                  <a:pos x="232" y="189"/>
                </a:cxn>
                <a:cxn ang="0">
                  <a:pos x="244" y="187"/>
                </a:cxn>
                <a:cxn ang="0">
                  <a:pos x="261" y="181"/>
                </a:cxn>
                <a:cxn ang="0">
                  <a:pos x="288" y="168"/>
                </a:cxn>
                <a:cxn ang="0">
                  <a:pos x="308" y="150"/>
                </a:cxn>
                <a:cxn ang="0">
                  <a:pos x="316" y="146"/>
                </a:cxn>
                <a:cxn ang="0">
                  <a:pos x="322" y="140"/>
                </a:cxn>
                <a:cxn ang="0">
                  <a:pos x="327" y="133"/>
                </a:cxn>
                <a:cxn ang="0">
                  <a:pos x="338" y="113"/>
                </a:cxn>
                <a:cxn ang="0">
                  <a:pos x="345" y="90"/>
                </a:cxn>
                <a:cxn ang="0">
                  <a:pos x="344" y="76"/>
                </a:cxn>
                <a:cxn ang="0">
                  <a:pos x="340" y="65"/>
                </a:cxn>
                <a:cxn ang="0">
                  <a:pos x="329" y="52"/>
                </a:cxn>
                <a:cxn ang="0">
                  <a:pos x="322" y="46"/>
                </a:cxn>
                <a:cxn ang="0">
                  <a:pos x="316" y="44"/>
                </a:cxn>
                <a:cxn ang="0">
                  <a:pos x="311" y="40"/>
                </a:cxn>
                <a:cxn ang="0">
                  <a:pos x="299" y="35"/>
                </a:cxn>
                <a:cxn ang="0">
                  <a:pos x="278" y="31"/>
                </a:cxn>
                <a:cxn ang="0">
                  <a:pos x="249" y="26"/>
                </a:cxn>
                <a:cxn ang="0">
                  <a:pos x="221" y="22"/>
                </a:cxn>
                <a:cxn ang="0">
                  <a:pos x="210" y="15"/>
                </a:cxn>
                <a:cxn ang="0">
                  <a:pos x="195" y="12"/>
                </a:cxn>
                <a:cxn ang="0">
                  <a:pos x="191" y="9"/>
                </a:cxn>
                <a:cxn ang="0">
                  <a:pos x="182" y="5"/>
                </a:cxn>
                <a:cxn ang="0">
                  <a:pos x="176" y="3"/>
                </a:cxn>
                <a:cxn ang="0">
                  <a:pos x="169" y="0"/>
                </a:cxn>
              </a:cxnLst>
              <a:rect l="0" t="0" r="r" b="b"/>
              <a:pathLst>
                <a:path w="345" h="255">
                  <a:moveTo>
                    <a:pt x="165" y="0"/>
                  </a:moveTo>
                  <a:lnTo>
                    <a:pt x="143" y="7"/>
                  </a:lnTo>
                  <a:lnTo>
                    <a:pt x="121" y="15"/>
                  </a:lnTo>
                  <a:lnTo>
                    <a:pt x="110" y="21"/>
                  </a:lnTo>
                  <a:lnTo>
                    <a:pt x="100" y="25"/>
                  </a:lnTo>
                  <a:lnTo>
                    <a:pt x="89" y="32"/>
                  </a:lnTo>
                  <a:lnTo>
                    <a:pt x="79" y="37"/>
                  </a:lnTo>
                  <a:lnTo>
                    <a:pt x="70" y="44"/>
                  </a:lnTo>
                  <a:lnTo>
                    <a:pt x="61" y="52"/>
                  </a:lnTo>
                  <a:lnTo>
                    <a:pt x="52" y="60"/>
                  </a:lnTo>
                  <a:lnTo>
                    <a:pt x="45" y="69"/>
                  </a:lnTo>
                  <a:lnTo>
                    <a:pt x="39" y="77"/>
                  </a:lnTo>
                  <a:lnTo>
                    <a:pt x="32" y="88"/>
                  </a:lnTo>
                  <a:lnTo>
                    <a:pt x="28" y="98"/>
                  </a:lnTo>
                  <a:lnTo>
                    <a:pt x="23" y="109"/>
                  </a:lnTo>
                  <a:lnTo>
                    <a:pt x="21" y="118"/>
                  </a:lnTo>
                  <a:lnTo>
                    <a:pt x="15" y="128"/>
                  </a:lnTo>
                  <a:lnTo>
                    <a:pt x="10" y="138"/>
                  </a:lnTo>
                  <a:lnTo>
                    <a:pt x="6" y="146"/>
                  </a:lnTo>
                  <a:lnTo>
                    <a:pt x="4" y="158"/>
                  </a:lnTo>
                  <a:lnTo>
                    <a:pt x="2" y="170"/>
                  </a:lnTo>
                  <a:lnTo>
                    <a:pt x="1" y="184"/>
                  </a:lnTo>
                  <a:lnTo>
                    <a:pt x="0" y="196"/>
                  </a:lnTo>
                  <a:lnTo>
                    <a:pt x="1" y="202"/>
                  </a:lnTo>
                  <a:lnTo>
                    <a:pt x="4" y="209"/>
                  </a:lnTo>
                  <a:lnTo>
                    <a:pt x="8" y="215"/>
                  </a:lnTo>
                  <a:lnTo>
                    <a:pt x="13" y="220"/>
                  </a:lnTo>
                  <a:lnTo>
                    <a:pt x="22" y="227"/>
                  </a:lnTo>
                  <a:lnTo>
                    <a:pt x="30" y="233"/>
                  </a:lnTo>
                  <a:lnTo>
                    <a:pt x="31" y="235"/>
                  </a:lnTo>
                  <a:lnTo>
                    <a:pt x="32" y="237"/>
                  </a:lnTo>
                  <a:lnTo>
                    <a:pt x="41" y="240"/>
                  </a:lnTo>
                  <a:lnTo>
                    <a:pt x="48" y="246"/>
                  </a:lnTo>
                  <a:lnTo>
                    <a:pt x="62" y="252"/>
                  </a:lnTo>
                  <a:lnTo>
                    <a:pt x="78" y="255"/>
                  </a:lnTo>
                  <a:lnTo>
                    <a:pt x="115" y="255"/>
                  </a:lnTo>
                  <a:lnTo>
                    <a:pt x="120" y="250"/>
                  </a:lnTo>
                  <a:lnTo>
                    <a:pt x="127" y="242"/>
                  </a:lnTo>
                  <a:lnTo>
                    <a:pt x="135" y="232"/>
                  </a:lnTo>
                  <a:lnTo>
                    <a:pt x="138" y="226"/>
                  </a:lnTo>
                  <a:lnTo>
                    <a:pt x="145" y="220"/>
                  </a:lnTo>
                  <a:lnTo>
                    <a:pt x="154" y="213"/>
                  </a:lnTo>
                  <a:lnTo>
                    <a:pt x="164" y="206"/>
                  </a:lnTo>
                  <a:lnTo>
                    <a:pt x="171" y="202"/>
                  </a:lnTo>
                  <a:lnTo>
                    <a:pt x="179" y="199"/>
                  </a:lnTo>
                  <a:lnTo>
                    <a:pt x="188" y="196"/>
                  </a:lnTo>
                  <a:lnTo>
                    <a:pt x="198" y="194"/>
                  </a:lnTo>
                  <a:lnTo>
                    <a:pt x="210" y="192"/>
                  </a:lnTo>
                  <a:lnTo>
                    <a:pt x="221" y="190"/>
                  </a:lnTo>
                  <a:lnTo>
                    <a:pt x="232" y="189"/>
                  </a:lnTo>
                  <a:lnTo>
                    <a:pt x="237" y="189"/>
                  </a:lnTo>
                  <a:lnTo>
                    <a:pt x="244" y="187"/>
                  </a:lnTo>
                  <a:lnTo>
                    <a:pt x="252" y="185"/>
                  </a:lnTo>
                  <a:lnTo>
                    <a:pt x="261" y="181"/>
                  </a:lnTo>
                  <a:lnTo>
                    <a:pt x="277" y="173"/>
                  </a:lnTo>
                  <a:lnTo>
                    <a:pt x="288" y="168"/>
                  </a:lnTo>
                  <a:lnTo>
                    <a:pt x="299" y="159"/>
                  </a:lnTo>
                  <a:lnTo>
                    <a:pt x="308" y="150"/>
                  </a:lnTo>
                  <a:lnTo>
                    <a:pt x="311" y="149"/>
                  </a:lnTo>
                  <a:lnTo>
                    <a:pt x="316" y="146"/>
                  </a:lnTo>
                  <a:lnTo>
                    <a:pt x="320" y="142"/>
                  </a:lnTo>
                  <a:lnTo>
                    <a:pt x="322" y="140"/>
                  </a:lnTo>
                  <a:lnTo>
                    <a:pt x="325" y="136"/>
                  </a:lnTo>
                  <a:lnTo>
                    <a:pt x="327" y="133"/>
                  </a:lnTo>
                  <a:lnTo>
                    <a:pt x="332" y="125"/>
                  </a:lnTo>
                  <a:lnTo>
                    <a:pt x="338" y="113"/>
                  </a:lnTo>
                  <a:lnTo>
                    <a:pt x="342" y="101"/>
                  </a:lnTo>
                  <a:lnTo>
                    <a:pt x="345" y="90"/>
                  </a:lnTo>
                  <a:lnTo>
                    <a:pt x="345" y="83"/>
                  </a:lnTo>
                  <a:lnTo>
                    <a:pt x="344" y="76"/>
                  </a:lnTo>
                  <a:lnTo>
                    <a:pt x="342" y="71"/>
                  </a:lnTo>
                  <a:lnTo>
                    <a:pt x="340" y="65"/>
                  </a:lnTo>
                  <a:lnTo>
                    <a:pt x="336" y="60"/>
                  </a:lnTo>
                  <a:lnTo>
                    <a:pt x="329" y="52"/>
                  </a:lnTo>
                  <a:lnTo>
                    <a:pt x="326" y="50"/>
                  </a:lnTo>
                  <a:lnTo>
                    <a:pt x="322" y="46"/>
                  </a:lnTo>
                  <a:lnTo>
                    <a:pt x="319" y="45"/>
                  </a:lnTo>
                  <a:lnTo>
                    <a:pt x="316" y="44"/>
                  </a:lnTo>
                  <a:lnTo>
                    <a:pt x="315" y="42"/>
                  </a:lnTo>
                  <a:lnTo>
                    <a:pt x="311" y="40"/>
                  </a:lnTo>
                  <a:lnTo>
                    <a:pt x="306" y="37"/>
                  </a:lnTo>
                  <a:lnTo>
                    <a:pt x="299" y="35"/>
                  </a:lnTo>
                  <a:lnTo>
                    <a:pt x="285" y="32"/>
                  </a:lnTo>
                  <a:lnTo>
                    <a:pt x="278" y="31"/>
                  </a:lnTo>
                  <a:lnTo>
                    <a:pt x="263" y="30"/>
                  </a:lnTo>
                  <a:lnTo>
                    <a:pt x="249" y="26"/>
                  </a:lnTo>
                  <a:lnTo>
                    <a:pt x="234" y="24"/>
                  </a:lnTo>
                  <a:lnTo>
                    <a:pt x="221" y="22"/>
                  </a:lnTo>
                  <a:lnTo>
                    <a:pt x="216" y="18"/>
                  </a:lnTo>
                  <a:lnTo>
                    <a:pt x="210" y="15"/>
                  </a:lnTo>
                  <a:lnTo>
                    <a:pt x="202" y="13"/>
                  </a:lnTo>
                  <a:lnTo>
                    <a:pt x="195" y="12"/>
                  </a:lnTo>
                  <a:lnTo>
                    <a:pt x="194" y="9"/>
                  </a:lnTo>
                  <a:lnTo>
                    <a:pt x="191" y="9"/>
                  </a:lnTo>
                  <a:lnTo>
                    <a:pt x="186" y="5"/>
                  </a:lnTo>
                  <a:lnTo>
                    <a:pt x="182" y="5"/>
                  </a:lnTo>
                  <a:lnTo>
                    <a:pt x="177" y="5"/>
                  </a:lnTo>
                  <a:lnTo>
                    <a:pt x="176" y="3"/>
                  </a:lnTo>
                  <a:lnTo>
                    <a:pt x="174" y="2"/>
                  </a:lnTo>
                  <a:lnTo>
                    <a:pt x="169" y="0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6" name="Freeform 93"/>
            <p:cNvSpPr>
              <a:spLocks noChangeAspect="1"/>
            </p:cNvSpPr>
            <p:nvPr/>
          </p:nvSpPr>
          <p:spPr bwMode="gray">
            <a:xfrm rot="355651">
              <a:off x="7051172" y="4032250"/>
              <a:ext cx="119550" cy="69199"/>
            </a:xfrm>
            <a:custGeom>
              <a:avLst/>
              <a:gdLst/>
              <a:ahLst/>
              <a:cxnLst>
                <a:cxn ang="0">
                  <a:pos x="61" y="15"/>
                </a:cxn>
                <a:cxn ang="0">
                  <a:pos x="26" y="20"/>
                </a:cxn>
                <a:cxn ang="0">
                  <a:pos x="0" y="24"/>
                </a:cxn>
                <a:cxn ang="0">
                  <a:pos x="5" y="50"/>
                </a:cxn>
                <a:cxn ang="0">
                  <a:pos x="16" y="74"/>
                </a:cxn>
                <a:cxn ang="0">
                  <a:pos x="33" y="98"/>
                </a:cxn>
                <a:cxn ang="0">
                  <a:pos x="53" y="119"/>
                </a:cxn>
                <a:cxn ang="0">
                  <a:pos x="100" y="157"/>
                </a:cxn>
                <a:cxn ang="0">
                  <a:pos x="143" y="191"/>
                </a:cxn>
                <a:cxn ang="0">
                  <a:pos x="209" y="249"/>
                </a:cxn>
                <a:cxn ang="0">
                  <a:pos x="277" y="313"/>
                </a:cxn>
                <a:cxn ang="0">
                  <a:pos x="348" y="374"/>
                </a:cxn>
                <a:cxn ang="0">
                  <a:pos x="383" y="400"/>
                </a:cxn>
                <a:cxn ang="0">
                  <a:pos x="421" y="422"/>
                </a:cxn>
                <a:cxn ang="0">
                  <a:pos x="443" y="428"/>
                </a:cxn>
                <a:cxn ang="0">
                  <a:pos x="464" y="426"/>
                </a:cxn>
                <a:cxn ang="0">
                  <a:pos x="485" y="418"/>
                </a:cxn>
                <a:cxn ang="0">
                  <a:pos x="504" y="406"/>
                </a:cxn>
                <a:cxn ang="0">
                  <a:pos x="571" y="348"/>
                </a:cxn>
                <a:cxn ang="0">
                  <a:pos x="599" y="327"/>
                </a:cxn>
                <a:cxn ang="0">
                  <a:pos x="627" y="301"/>
                </a:cxn>
                <a:cxn ang="0">
                  <a:pos x="638" y="287"/>
                </a:cxn>
                <a:cxn ang="0">
                  <a:pos x="646" y="271"/>
                </a:cxn>
                <a:cxn ang="0">
                  <a:pos x="650" y="253"/>
                </a:cxn>
                <a:cxn ang="0">
                  <a:pos x="650" y="234"/>
                </a:cxn>
                <a:cxn ang="0">
                  <a:pos x="646" y="218"/>
                </a:cxn>
                <a:cxn ang="0">
                  <a:pos x="639" y="203"/>
                </a:cxn>
                <a:cxn ang="0">
                  <a:pos x="618" y="175"/>
                </a:cxn>
                <a:cxn ang="0">
                  <a:pos x="590" y="148"/>
                </a:cxn>
                <a:cxn ang="0">
                  <a:pos x="556" y="124"/>
                </a:cxn>
                <a:cxn ang="0">
                  <a:pos x="521" y="102"/>
                </a:cxn>
                <a:cxn ang="0">
                  <a:pos x="485" y="83"/>
                </a:cxn>
                <a:cxn ang="0">
                  <a:pos x="422" y="57"/>
                </a:cxn>
                <a:cxn ang="0">
                  <a:pos x="391" y="42"/>
                </a:cxn>
                <a:cxn ang="0">
                  <a:pos x="330" y="16"/>
                </a:cxn>
                <a:cxn ang="0">
                  <a:pos x="297" y="5"/>
                </a:cxn>
                <a:cxn ang="0">
                  <a:pos x="269" y="0"/>
                </a:cxn>
                <a:cxn ang="0">
                  <a:pos x="258" y="0"/>
                </a:cxn>
                <a:cxn ang="0">
                  <a:pos x="251" y="2"/>
                </a:cxn>
                <a:cxn ang="0">
                  <a:pos x="245" y="6"/>
                </a:cxn>
                <a:cxn ang="0">
                  <a:pos x="243" y="13"/>
                </a:cxn>
                <a:cxn ang="0">
                  <a:pos x="234" y="15"/>
                </a:cxn>
                <a:cxn ang="0">
                  <a:pos x="225" y="16"/>
                </a:cxn>
                <a:cxn ang="0">
                  <a:pos x="205" y="16"/>
                </a:cxn>
              </a:cxnLst>
              <a:rect l="0" t="0" r="r" b="b"/>
              <a:pathLst>
                <a:path w="650" h="428">
                  <a:moveTo>
                    <a:pt x="196" y="15"/>
                  </a:moveTo>
                  <a:lnTo>
                    <a:pt x="61" y="15"/>
                  </a:lnTo>
                  <a:lnTo>
                    <a:pt x="45" y="16"/>
                  </a:lnTo>
                  <a:lnTo>
                    <a:pt x="26" y="20"/>
                  </a:lnTo>
                  <a:lnTo>
                    <a:pt x="11" y="23"/>
                  </a:lnTo>
                  <a:lnTo>
                    <a:pt x="0" y="24"/>
                  </a:lnTo>
                  <a:lnTo>
                    <a:pt x="2" y="38"/>
                  </a:lnTo>
                  <a:lnTo>
                    <a:pt x="5" y="50"/>
                  </a:lnTo>
                  <a:lnTo>
                    <a:pt x="9" y="62"/>
                  </a:lnTo>
                  <a:lnTo>
                    <a:pt x="16" y="74"/>
                  </a:lnTo>
                  <a:lnTo>
                    <a:pt x="24" y="86"/>
                  </a:lnTo>
                  <a:lnTo>
                    <a:pt x="33" y="98"/>
                  </a:lnTo>
                  <a:lnTo>
                    <a:pt x="43" y="108"/>
                  </a:lnTo>
                  <a:lnTo>
                    <a:pt x="53" y="119"/>
                  </a:lnTo>
                  <a:lnTo>
                    <a:pt x="76" y="139"/>
                  </a:lnTo>
                  <a:lnTo>
                    <a:pt x="100" y="157"/>
                  </a:lnTo>
                  <a:lnTo>
                    <a:pt x="122" y="175"/>
                  </a:lnTo>
                  <a:lnTo>
                    <a:pt x="143" y="191"/>
                  </a:lnTo>
                  <a:lnTo>
                    <a:pt x="177" y="218"/>
                  </a:lnTo>
                  <a:lnTo>
                    <a:pt x="209" y="249"/>
                  </a:lnTo>
                  <a:lnTo>
                    <a:pt x="243" y="281"/>
                  </a:lnTo>
                  <a:lnTo>
                    <a:pt x="277" y="313"/>
                  </a:lnTo>
                  <a:lnTo>
                    <a:pt x="312" y="345"/>
                  </a:lnTo>
                  <a:lnTo>
                    <a:pt x="348" y="374"/>
                  </a:lnTo>
                  <a:lnTo>
                    <a:pt x="365" y="387"/>
                  </a:lnTo>
                  <a:lnTo>
                    <a:pt x="383" y="400"/>
                  </a:lnTo>
                  <a:lnTo>
                    <a:pt x="402" y="412"/>
                  </a:lnTo>
                  <a:lnTo>
                    <a:pt x="421" y="422"/>
                  </a:lnTo>
                  <a:lnTo>
                    <a:pt x="431" y="426"/>
                  </a:lnTo>
                  <a:lnTo>
                    <a:pt x="443" y="428"/>
                  </a:lnTo>
                  <a:lnTo>
                    <a:pt x="454" y="428"/>
                  </a:lnTo>
                  <a:lnTo>
                    <a:pt x="464" y="426"/>
                  </a:lnTo>
                  <a:lnTo>
                    <a:pt x="474" y="423"/>
                  </a:lnTo>
                  <a:lnTo>
                    <a:pt x="485" y="418"/>
                  </a:lnTo>
                  <a:lnTo>
                    <a:pt x="495" y="413"/>
                  </a:lnTo>
                  <a:lnTo>
                    <a:pt x="504" y="406"/>
                  </a:lnTo>
                  <a:lnTo>
                    <a:pt x="541" y="375"/>
                  </a:lnTo>
                  <a:lnTo>
                    <a:pt x="571" y="348"/>
                  </a:lnTo>
                  <a:lnTo>
                    <a:pt x="585" y="338"/>
                  </a:lnTo>
                  <a:lnTo>
                    <a:pt x="599" y="327"/>
                  </a:lnTo>
                  <a:lnTo>
                    <a:pt x="613" y="314"/>
                  </a:lnTo>
                  <a:lnTo>
                    <a:pt x="627" y="301"/>
                  </a:lnTo>
                  <a:lnTo>
                    <a:pt x="632" y="294"/>
                  </a:lnTo>
                  <a:lnTo>
                    <a:pt x="638" y="287"/>
                  </a:lnTo>
                  <a:lnTo>
                    <a:pt x="642" y="279"/>
                  </a:lnTo>
                  <a:lnTo>
                    <a:pt x="646" y="271"/>
                  </a:lnTo>
                  <a:lnTo>
                    <a:pt x="648" y="262"/>
                  </a:lnTo>
                  <a:lnTo>
                    <a:pt x="650" y="253"/>
                  </a:lnTo>
                  <a:lnTo>
                    <a:pt x="650" y="244"/>
                  </a:lnTo>
                  <a:lnTo>
                    <a:pt x="650" y="234"/>
                  </a:lnTo>
                  <a:lnTo>
                    <a:pt x="648" y="226"/>
                  </a:lnTo>
                  <a:lnTo>
                    <a:pt x="646" y="218"/>
                  </a:lnTo>
                  <a:lnTo>
                    <a:pt x="642" y="211"/>
                  </a:lnTo>
                  <a:lnTo>
                    <a:pt x="639" y="203"/>
                  </a:lnTo>
                  <a:lnTo>
                    <a:pt x="630" y="188"/>
                  </a:lnTo>
                  <a:lnTo>
                    <a:pt x="618" y="175"/>
                  </a:lnTo>
                  <a:lnTo>
                    <a:pt x="604" y="162"/>
                  </a:lnTo>
                  <a:lnTo>
                    <a:pt x="590" y="148"/>
                  </a:lnTo>
                  <a:lnTo>
                    <a:pt x="574" y="136"/>
                  </a:lnTo>
                  <a:lnTo>
                    <a:pt x="556" y="124"/>
                  </a:lnTo>
                  <a:lnTo>
                    <a:pt x="539" y="112"/>
                  </a:lnTo>
                  <a:lnTo>
                    <a:pt x="521" y="102"/>
                  </a:lnTo>
                  <a:lnTo>
                    <a:pt x="503" y="92"/>
                  </a:lnTo>
                  <a:lnTo>
                    <a:pt x="485" y="83"/>
                  </a:lnTo>
                  <a:lnTo>
                    <a:pt x="451" y="69"/>
                  </a:lnTo>
                  <a:lnTo>
                    <a:pt x="422" y="57"/>
                  </a:lnTo>
                  <a:lnTo>
                    <a:pt x="412" y="52"/>
                  </a:lnTo>
                  <a:lnTo>
                    <a:pt x="391" y="42"/>
                  </a:lnTo>
                  <a:lnTo>
                    <a:pt x="362" y="29"/>
                  </a:lnTo>
                  <a:lnTo>
                    <a:pt x="330" y="16"/>
                  </a:lnTo>
                  <a:lnTo>
                    <a:pt x="313" y="11"/>
                  </a:lnTo>
                  <a:lnTo>
                    <a:pt x="297" y="5"/>
                  </a:lnTo>
                  <a:lnTo>
                    <a:pt x="283" y="2"/>
                  </a:lnTo>
                  <a:lnTo>
                    <a:pt x="269" y="0"/>
                  </a:lnTo>
                  <a:lnTo>
                    <a:pt x="264" y="0"/>
                  </a:lnTo>
                  <a:lnTo>
                    <a:pt x="258" y="0"/>
                  </a:lnTo>
                  <a:lnTo>
                    <a:pt x="254" y="1"/>
                  </a:lnTo>
                  <a:lnTo>
                    <a:pt x="251" y="2"/>
                  </a:lnTo>
                  <a:lnTo>
                    <a:pt x="247" y="4"/>
                  </a:lnTo>
                  <a:lnTo>
                    <a:pt x="245" y="6"/>
                  </a:lnTo>
                  <a:lnTo>
                    <a:pt x="243" y="10"/>
                  </a:lnTo>
                  <a:lnTo>
                    <a:pt x="243" y="13"/>
                  </a:lnTo>
                  <a:lnTo>
                    <a:pt x="235" y="13"/>
                  </a:lnTo>
                  <a:lnTo>
                    <a:pt x="234" y="15"/>
                  </a:lnTo>
                  <a:lnTo>
                    <a:pt x="230" y="15"/>
                  </a:lnTo>
                  <a:lnTo>
                    <a:pt x="225" y="16"/>
                  </a:lnTo>
                  <a:lnTo>
                    <a:pt x="218" y="16"/>
                  </a:lnTo>
                  <a:lnTo>
                    <a:pt x="205" y="16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7" name="Freeform 94"/>
            <p:cNvSpPr>
              <a:spLocks noChangeAspect="1"/>
            </p:cNvSpPr>
            <p:nvPr/>
          </p:nvSpPr>
          <p:spPr bwMode="gray">
            <a:xfrm rot="355651">
              <a:off x="6802553" y="3994150"/>
              <a:ext cx="57129" cy="57489"/>
            </a:xfrm>
            <a:custGeom>
              <a:avLst/>
              <a:gdLst/>
              <a:ahLst/>
              <a:cxnLst>
                <a:cxn ang="0">
                  <a:pos x="111" y="43"/>
                </a:cxn>
                <a:cxn ang="0">
                  <a:pos x="97" y="56"/>
                </a:cxn>
                <a:cxn ang="0">
                  <a:pos x="87" y="75"/>
                </a:cxn>
                <a:cxn ang="0">
                  <a:pos x="77" y="85"/>
                </a:cxn>
                <a:cxn ang="0">
                  <a:pos x="59" y="112"/>
                </a:cxn>
                <a:cxn ang="0">
                  <a:pos x="46" y="125"/>
                </a:cxn>
                <a:cxn ang="0">
                  <a:pos x="40" y="138"/>
                </a:cxn>
                <a:cxn ang="0">
                  <a:pos x="34" y="148"/>
                </a:cxn>
                <a:cxn ang="0">
                  <a:pos x="20" y="158"/>
                </a:cxn>
                <a:cxn ang="0">
                  <a:pos x="20" y="171"/>
                </a:cxn>
                <a:cxn ang="0">
                  <a:pos x="11" y="197"/>
                </a:cxn>
                <a:cxn ang="0">
                  <a:pos x="8" y="201"/>
                </a:cxn>
                <a:cxn ang="0">
                  <a:pos x="7" y="217"/>
                </a:cxn>
                <a:cxn ang="0">
                  <a:pos x="0" y="236"/>
                </a:cxn>
                <a:cxn ang="0">
                  <a:pos x="0" y="249"/>
                </a:cxn>
                <a:cxn ang="0">
                  <a:pos x="5" y="276"/>
                </a:cxn>
                <a:cxn ang="0">
                  <a:pos x="7" y="278"/>
                </a:cxn>
                <a:cxn ang="0">
                  <a:pos x="10" y="282"/>
                </a:cxn>
                <a:cxn ang="0">
                  <a:pos x="16" y="296"/>
                </a:cxn>
                <a:cxn ang="0">
                  <a:pos x="23" y="306"/>
                </a:cxn>
                <a:cxn ang="0">
                  <a:pos x="33" y="323"/>
                </a:cxn>
                <a:cxn ang="0">
                  <a:pos x="45" y="332"/>
                </a:cxn>
                <a:cxn ang="0">
                  <a:pos x="59" y="341"/>
                </a:cxn>
                <a:cxn ang="0">
                  <a:pos x="62" y="348"/>
                </a:cxn>
                <a:cxn ang="0">
                  <a:pos x="65" y="349"/>
                </a:cxn>
                <a:cxn ang="0">
                  <a:pos x="73" y="354"/>
                </a:cxn>
                <a:cxn ang="0">
                  <a:pos x="89" y="354"/>
                </a:cxn>
                <a:cxn ang="0">
                  <a:pos x="119" y="354"/>
                </a:cxn>
                <a:cxn ang="0">
                  <a:pos x="129" y="339"/>
                </a:cxn>
                <a:cxn ang="0">
                  <a:pos x="137" y="327"/>
                </a:cxn>
                <a:cxn ang="0">
                  <a:pos x="148" y="309"/>
                </a:cxn>
                <a:cxn ang="0">
                  <a:pos x="168" y="283"/>
                </a:cxn>
                <a:cxn ang="0">
                  <a:pos x="183" y="269"/>
                </a:cxn>
                <a:cxn ang="0">
                  <a:pos x="210" y="236"/>
                </a:cxn>
                <a:cxn ang="0">
                  <a:pos x="222" y="229"/>
                </a:cxn>
                <a:cxn ang="0">
                  <a:pos x="223" y="225"/>
                </a:cxn>
                <a:cxn ang="0">
                  <a:pos x="229" y="224"/>
                </a:cxn>
                <a:cxn ang="0">
                  <a:pos x="242" y="204"/>
                </a:cxn>
                <a:cxn ang="0">
                  <a:pos x="275" y="171"/>
                </a:cxn>
                <a:cxn ang="0">
                  <a:pos x="287" y="156"/>
                </a:cxn>
                <a:cxn ang="0">
                  <a:pos x="295" y="151"/>
                </a:cxn>
                <a:cxn ang="0">
                  <a:pos x="300" y="137"/>
                </a:cxn>
                <a:cxn ang="0">
                  <a:pos x="302" y="133"/>
                </a:cxn>
                <a:cxn ang="0">
                  <a:pos x="308" y="132"/>
                </a:cxn>
                <a:cxn ang="0">
                  <a:pos x="314" y="117"/>
                </a:cxn>
                <a:cxn ang="0">
                  <a:pos x="322" y="112"/>
                </a:cxn>
                <a:cxn ang="0">
                  <a:pos x="322" y="92"/>
                </a:cxn>
                <a:cxn ang="0">
                  <a:pos x="322" y="76"/>
                </a:cxn>
                <a:cxn ang="0">
                  <a:pos x="322" y="50"/>
                </a:cxn>
                <a:cxn ang="0">
                  <a:pos x="316" y="32"/>
                </a:cxn>
                <a:cxn ang="0">
                  <a:pos x="309" y="19"/>
                </a:cxn>
                <a:cxn ang="0">
                  <a:pos x="302" y="9"/>
                </a:cxn>
                <a:cxn ang="0">
                  <a:pos x="296" y="4"/>
                </a:cxn>
                <a:cxn ang="0">
                  <a:pos x="269" y="0"/>
                </a:cxn>
                <a:cxn ang="0">
                  <a:pos x="242" y="0"/>
                </a:cxn>
                <a:cxn ang="0">
                  <a:pos x="223" y="0"/>
                </a:cxn>
                <a:cxn ang="0">
                  <a:pos x="210" y="0"/>
                </a:cxn>
                <a:cxn ang="0">
                  <a:pos x="187" y="4"/>
                </a:cxn>
                <a:cxn ang="0">
                  <a:pos x="175" y="12"/>
                </a:cxn>
                <a:cxn ang="0">
                  <a:pos x="163" y="14"/>
                </a:cxn>
                <a:cxn ang="0">
                  <a:pos x="156" y="18"/>
                </a:cxn>
                <a:cxn ang="0">
                  <a:pos x="141" y="23"/>
                </a:cxn>
              </a:cxnLst>
              <a:rect l="0" t="0" r="r" b="b"/>
              <a:pathLst>
                <a:path w="322" h="354">
                  <a:moveTo>
                    <a:pt x="125" y="27"/>
                  </a:moveTo>
                  <a:lnTo>
                    <a:pt x="119" y="34"/>
                  </a:lnTo>
                  <a:lnTo>
                    <a:pt x="111" y="43"/>
                  </a:lnTo>
                  <a:lnTo>
                    <a:pt x="106" y="48"/>
                  </a:lnTo>
                  <a:lnTo>
                    <a:pt x="102" y="53"/>
                  </a:lnTo>
                  <a:lnTo>
                    <a:pt x="97" y="56"/>
                  </a:lnTo>
                  <a:lnTo>
                    <a:pt x="92" y="60"/>
                  </a:lnTo>
                  <a:lnTo>
                    <a:pt x="91" y="66"/>
                  </a:lnTo>
                  <a:lnTo>
                    <a:pt x="87" y="75"/>
                  </a:lnTo>
                  <a:lnTo>
                    <a:pt x="85" y="80"/>
                  </a:lnTo>
                  <a:lnTo>
                    <a:pt x="82" y="83"/>
                  </a:lnTo>
                  <a:lnTo>
                    <a:pt x="77" y="85"/>
                  </a:lnTo>
                  <a:lnTo>
                    <a:pt x="73" y="86"/>
                  </a:lnTo>
                  <a:lnTo>
                    <a:pt x="66" y="99"/>
                  </a:lnTo>
                  <a:lnTo>
                    <a:pt x="59" y="112"/>
                  </a:lnTo>
                  <a:lnTo>
                    <a:pt x="56" y="115"/>
                  </a:lnTo>
                  <a:lnTo>
                    <a:pt x="53" y="119"/>
                  </a:lnTo>
                  <a:lnTo>
                    <a:pt x="46" y="125"/>
                  </a:lnTo>
                  <a:lnTo>
                    <a:pt x="44" y="129"/>
                  </a:lnTo>
                  <a:lnTo>
                    <a:pt x="40" y="132"/>
                  </a:lnTo>
                  <a:lnTo>
                    <a:pt x="40" y="138"/>
                  </a:lnTo>
                  <a:lnTo>
                    <a:pt x="39" y="141"/>
                  </a:lnTo>
                  <a:lnTo>
                    <a:pt x="37" y="144"/>
                  </a:lnTo>
                  <a:lnTo>
                    <a:pt x="34" y="148"/>
                  </a:lnTo>
                  <a:lnTo>
                    <a:pt x="30" y="150"/>
                  </a:lnTo>
                  <a:lnTo>
                    <a:pt x="24" y="156"/>
                  </a:lnTo>
                  <a:lnTo>
                    <a:pt x="20" y="158"/>
                  </a:lnTo>
                  <a:lnTo>
                    <a:pt x="20" y="165"/>
                  </a:lnTo>
                  <a:lnTo>
                    <a:pt x="20" y="168"/>
                  </a:lnTo>
                  <a:lnTo>
                    <a:pt x="20" y="171"/>
                  </a:lnTo>
                  <a:lnTo>
                    <a:pt x="17" y="181"/>
                  </a:lnTo>
                  <a:lnTo>
                    <a:pt x="14" y="197"/>
                  </a:lnTo>
                  <a:lnTo>
                    <a:pt x="11" y="197"/>
                  </a:lnTo>
                  <a:lnTo>
                    <a:pt x="10" y="198"/>
                  </a:lnTo>
                  <a:lnTo>
                    <a:pt x="9" y="199"/>
                  </a:lnTo>
                  <a:lnTo>
                    <a:pt x="8" y="201"/>
                  </a:lnTo>
                  <a:lnTo>
                    <a:pt x="7" y="206"/>
                  </a:lnTo>
                  <a:lnTo>
                    <a:pt x="7" y="210"/>
                  </a:lnTo>
                  <a:lnTo>
                    <a:pt x="7" y="217"/>
                  </a:lnTo>
                  <a:lnTo>
                    <a:pt x="7" y="224"/>
                  </a:lnTo>
                  <a:lnTo>
                    <a:pt x="4" y="229"/>
                  </a:lnTo>
                  <a:lnTo>
                    <a:pt x="0" y="236"/>
                  </a:lnTo>
                  <a:lnTo>
                    <a:pt x="0" y="243"/>
                  </a:lnTo>
                  <a:lnTo>
                    <a:pt x="0" y="246"/>
                  </a:lnTo>
                  <a:lnTo>
                    <a:pt x="0" y="249"/>
                  </a:lnTo>
                  <a:lnTo>
                    <a:pt x="0" y="263"/>
                  </a:lnTo>
                  <a:lnTo>
                    <a:pt x="0" y="275"/>
                  </a:lnTo>
                  <a:lnTo>
                    <a:pt x="5" y="276"/>
                  </a:lnTo>
                  <a:lnTo>
                    <a:pt x="7" y="276"/>
                  </a:lnTo>
                  <a:lnTo>
                    <a:pt x="7" y="277"/>
                  </a:lnTo>
                  <a:lnTo>
                    <a:pt x="7" y="278"/>
                  </a:lnTo>
                  <a:lnTo>
                    <a:pt x="7" y="279"/>
                  </a:lnTo>
                  <a:lnTo>
                    <a:pt x="8" y="281"/>
                  </a:lnTo>
                  <a:lnTo>
                    <a:pt x="10" y="282"/>
                  </a:lnTo>
                  <a:lnTo>
                    <a:pt x="14" y="282"/>
                  </a:lnTo>
                  <a:lnTo>
                    <a:pt x="14" y="295"/>
                  </a:lnTo>
                  <a:lnTo>
                    <a:pt x="16" y="296"/>
                  </a:lnTo>
                  <a:lnTo>
                    <a:pt x="18" y="298"/>
                  </a:lnTo>
                  <a:lnTo>
                    <a:pt x="20" y="302"/>
                  </a:lnTo>
                  <a:lnTo>
                    <a:pt x="23" y="306"/>
                  </a:lnTo>
                  <a:lnTo>
                    <a:pt x="26" y="314"/>
                  </a:lnTo>
                  <a:lnTo>
                    <a:pt x="27" y="321"/>
                  </a:lnTo>
                  <a:lnTo>
                    <a:pt x="33" y="323"/>
                  </a:lnTo>
                  <a:lnTo>
                    <a:pt x="39" y="326"/>
                  </a:lnTo>
                  <a:lnTo>
                    <a:pt x="41" y="329"/>
                  </a:lnTo>
                  <a:lnTo>
                    <a:pt x="45" y="332"/>
                  </a:lnTo>
                  <a:lnTo>
                    <a:pt x="46" y="336"/>
                  </a:lnTo>
                  <a:lnTo>
                    <a:pt x="46" y="341"/>
                  </a:lnTo>
                  <a:lnTo>
                    <a:pt x="59" y="341"/>
                  </a:lnTo>
                  <a:lnTo>
                    <a:pt x="59" y="344"/>
                  </a:lnTo>
                  <a:lnTo>
                    <a:pt x="60" y="346"/>
                  </a:lnTo>
                  <a:lnTo>
                    <a:pt x="62" y="348"/>
                  </a:lnTo>
                  <a:lnTo>
                    <a:pt x="63" y="348"/>
                  </a:lnTo>
                  <a:lnTo>
                    <a:pt x="64" y="348"/>
                  </a:lnTo>
                  <a:lnTo>
                    <a:pt x="65" y="349"/>
                  </a:lnTo>
                  <a:lnTo>
                    <a:pt x="66" y="350"/>
                  </a:lnTo>
                  <a:lnTo>
                    <a:pt x="66" y="354"/>
                  </a:lnTo>
                  <a:lnTo>
                    <a:pt x="73" y="354"/>
                  </a:lnTo>
                  <a:lnTo>
                    <a:pt x="79" y="354"/>
                  </a:lnTo>
                  <a:lnTo>
                    <a:pt x="86" y="354"/>
                  </a:lnTo>
                  <a:lnTo>
                    <a:pt x="89" y="354"/>
                  </a:lnTo>
                  <a:lnTo>
                    <a:pt x="92" y="354"/>
                  </a:lnTo>
                  <a:lnTo>
                    <a:pt x="105" y="354"/>
                  </a:lnTo>
                  <a:lnTo>
                    <a:pt x="119" y="354"/>
                  </a:lnTo>
                  <a:lnTo>
                    <a:pt x="125" y="348"/>
                  </a:lnTo>
                  <a:lnTo>
                    <a:pt x="126" y="343"/>
                  </a:lnTo>
                  <a:lnTo>
                    <a:pt x="129" y="339"/>
                  </a:lnTo>
                  <a:lnTo>
                    <a:pt x="133" y="335"/>
                  </a:lnTo>
                  <a:lnTo>
                    <a:pt x="137" y="334"/>
                  </a:lnTo>
                  <a:lnTo>
                    <a:pt x="137" y="327"/>
                  </a:lnTo>
                  <a:lnTo>
                    <a:pt x="141" y="324"/>
                  </a:lnTo>
                  <a:lnTo>
                    <a:pt x="144" y="321"/>
                  </a:lnTo>
                  <a:lnTo>
                    <a:pt x="148" y="309"/>
                  </a:lnTo>
                  <a:lnTo>
                    <a:pt x="151" y="295"/>
                  </a:lnTo>
                  <a:lnTo>
                    <a:pt x="158" y="290"/>
                  </a:lnTo>
                  <a:lnTo>
                    <a:pt x="168" y="283"/>
                  </a:lnTo>
                  <a:lnTo>
                    <a:pt x="177" y="277"/>
                  </a:lnTo>
                  <a:lnTo>
                    <a:pt x="183" y="275"/>
                  </a:lnTo>
                  <a:lnTo>
                    <a:pt x="183" y="269"/>
                  </a:lnTo>
                  <a:lnTo>
                    <a:pt x="197" y="259"/>
                  </a:lnTo>
                  <a:lnTo>
                    <a:pt x="210" y="249"/>
                  </a:lnTo>
                  <a:lnTo>
                    <a:pt x="210" y="236"/>
                  </a:lnTo>
                  <a:lnTo>
                    <a:pt x="217" y="229"/>
                  </a:lnTo>
                  <a:lnTo>
                    <a:pt x="220" y="229"/>
                  </a:lnTo>
                  <a:lnTo>
                    <a:pt x="222" y="229"/>
                  </a:lnTo>
                  <a:lnTo>
                    <a:pt x="223" y="228"/>
                  </a:lnTo>
                  <a:lnTo>
                    <a:pt x="223" y="226"/>
                  </a:lnTo>
                  <a:lnTo>
                    <a:pt x="223" y="225"/>
                  </a:lnTo>
                  <a:lnTo>
                    <a:pt x="223" y="224"/>
                  </a:lnTo>
                  <a:lnTo>
                    <a:pt x="226" y="224"/>
                  </a:lnTo>
                  <a:lnTo>
                    <a:pt x="229" y="224"/>
                  </a:lnTo>
                  <a:lnTo>
                    <a:pt x="232" y="214"/>
                  </a:lnTo>
                  <a:lnTo>
                    <a:pt x="236" y="204"/>
                  </a:lnTo>
                  <a:lnTo>
                    <a:pt x="242" y="204"/>
                  </a:lnTo>
                  <a:lnTo>
                    <a:pt x="249" y="190"/>
                  </a:lnTo>
                  <a:lnTo>
                    <a:pt x="256" y="178"/>
                  </a:lnTo>
                  <a:lnTo>
                    <a:pt x="275" y="171"/>
                  </a:lnTo>
                  <a:lnTo>
                    <a:pt x="280" y="165"/>
                  </a:lnTo>
                  <a:lnTo>
                    <a:pt x="285" y="159"/>
                  </a:lnTo>
                  <a:lnTo>
                    <a:pt x="287" y="156"/>
                  </a:lnTo>
                  <a:lnTo>
                    <a:pt x="290" y="153"/>
                  </a:lnTo>
                  <a:lnTo>
                    <a:pt x="293" y="152"/>
                  </a:lnTo>
                  <a:lnTo>
                    <a:pt x="295" y="151"/>
                  </a:lnTo>
                  <a:lnTo>
                    <a:pt x="295" y="138"/>
                  </a:lnTo>
                  <a:lnTo>
                    <a:pt x="298" y="138"/>
                  </a:lnTo>
                  <a:lnTo>
                    <a:pt x="300" y="137"/>
                  </a:lnTo>
                  <a:lnTo>
                    <a:pt x="302" y="137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3" y="132"/>
                  </a:lnTo>
                  <a:lnTo>
                    <a:pt x="304" y="132"/>
                  </a:lnTo>
                  <a:lnTo>
                    <a:pt x="308" y="132"/>
                  </a:lnTo>
                  <a:lnTo>
                    <a:pt x="309" y="125"/>
                  </a:lnTo>
                  <a:lnTo>
                    <a:pt x="312" y="120"/>
                  </a:lnTo>
                  <a:lnTo>
                    <a:pt x="314" y="117"/>
                  </a:lnTo>
                  <a:lnTo>
                    <a:pt x="316" y="114"/>
                  </a:lnTo>
                  <a:lnTo>
                    <a:pt x="318" y="112"/>
                  </a:lnTo>
                  <a:lnTo>
                    <a:pt x="322" y="112"/>
                  </a:lnTo>
                  <a:lnTo>
                    <a:pt x="322" y="105"/>
                  </a:lnTo>
                  <a:lnTo>
                    <a:pt x="322" y="99"/>
                  </a:lnTo>
                  <a:lnTo>
                    <a:pt x="322" y="92"/>
                  </a:lnTo>
                  <a:lnTo>
                    <a:pt x="322" y="86"/>
                  </a:lnTo>
                  <a:lnTo>
                    <a:pt x="322" y="80"/>
                  </a:lnTo>
                  <a:lnTo>
                    <a:pt x="322" y="76"/>
                  </a:lnTo>
                  <a:lnTo>
                    <a:pt x="322" y="73"/>
                  </a:lnTo>
                  <a:lnTo>
                    <a:pt x="322" y="66"/>
                  </a:lnTo>
                  <a:lnTo>
                    <a:pt x="322" y="50"/>
                  </a:lnTo>
                  <a:lnTo>
                    <a:pt x="322" y="34"/>
                  </a:lnTo>
                  <a:lnTo>
                    <a:pt x="318" y="33"/>
                  </a:lnTo>
                  <a:lnTo>
                    <a:pt x="316" y="32"/>
                  </a:lnTo>
                  <a:lnTo>
                    <a:pt x="314" y="29"/>
                  </a:lnTo>
                  <a:lnTo>
                    <a:pt x="312" y="26"/>
                  </a:lnTo>
                  <a:lnTo>
                    <a:pt x="309" y="19"/>
                  </a:lnTo>
                  <a:lnTo>
                    <a:pt x="308" y="14"/>
                  </a:lnTo>
                  <a:lnTo>
                    <a:pt x="306" y="13"/>
                  </a:lnTo>
                  <a:lnTo>
                    <a:pt x="302" y="9"/>
                  </a:lnTo>
                  <a:lnTo>
                    <a:pt x="299" y="8"/>
                  </a:lnTo>
                  <a:lnTo>
                    <a:pt x="297" y="6"/>
                  </a:lnTo>
                  <a:lnTo>
                    <a:pt x="296" y="4"/>
                  </a:lnTo>
                  <a:lnTo>
                    <a:pt x="295" y="0"/>
                  </a:lnTo>
                  <a:lnTo>
                    <a:pt x="281" y="0"/>
                  </a:lnTo>
                  <a:lnTo>
                    <a:pt x="269" y="0"/>
                  </a:lnTo>
                  <a:lnTo>
                    <a:pt x="259" y="0"/>
                  </a:lnTo>
                  <a:lnTo>
                    <a:pt x="249" y="0"/>
                  </a:lnTo>
                  <a:lnTo>
                    <a:pt x="242" y="0"/>
                  </a:lnTo>
                  <a:lnTo>
                    <a:pt x="236" y="0"/>
                  </a:lnTo>
                  <a:lnTo>
                    <a:pt x="229" y="0"/>
                  </a:lnTo>
                  <a:lnTo>
                    <a:pt x="223" y="0"/>
                  </a:lnTo>
                  <a:lnTo>
                    <a:pt x="217" y="0"/>
                  </a:lnTo>
                  <a:lnTo>
                    <a:pt x="213" y="0"/>
                  </a:lnTo>
                  <a:lnTo>
                    <a:pt x="210" y="0"/>
                  </a:lnTo>
                  <a:lnTo>
                    <a:pt x="203" y="0"/>
                  </a:lnTo>
                  <a:lnTo>
                    <a:pt x="197" y="0"/>
                  </a:lnTo>
                  <a:lnTo>
                    <a:pt x="187" y="4"/>
                  </a:lnTo>
                  <a:lnTo>
                    <a:pt x="178" y="7"/>
                  </a:lnTo>
                  <a:lnTo>
                    <a:pt x="177" y="9"/>
                  </a:lnTo>
                  <a:lnTo>
                    <a:pt x="175" y="12"/>
                  </a:lnTo>
                  <a:lnTo>
                    <a:pt x="173" y="13"/>
                  </a:lnTo>
                  <a:lnTo>
                    <a:pt x="170" y="13"/>
                  </a:lnTo>
                  <a:lnTo>
                    <a:pt x="163" y="14"/>
                  </a:lnTo>
                  <a:lnTo>
                    <a:pt x="158" y="14"/>
                  </a:lnTo>
                  <a:lnTo>
                    <a:pt x="158" y="16"/>
                  </a:lnTo>
                  <a:lnTo>
                    <a:pt x="156" y="18"/>
                  </a:lnTo>
                  <a:lnTo>
                    <a:pt x="154" y="19"/>
                  </a:lnTo>
                  <a:lnTo>
                    <a:pt x="151" y="21"/>
                  </a:lnTo>
                  <a:lnTo>
                    <a:pt x="141" y="23"/>
                  </a:lnTo>
                  <a:lnTo>
                    <a:pt x="125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8" name="Freeform 95"/>
            <p:cNvSpPr>
              <a:spLocks noChangeAspect="1"/>
            </p:cNvSpPr>
            <p:nvPr/>
          </p:nvSpPr>
          <p:spPr bwMode="gray">
            <a:xfrm rot="355651">
              <a:off x="6833232" y="4079875"/>
              <a:ext cx="38087" cy="59618"/>
            </a:xfrm>
            <a:custGeom>
              <a:avLst/>
              <a:gdLst/>
              <a:ahLst/>
              <a:cxnLst>
                <a:cxn ang="0">
                  <a:pos x="92" y="65"/>
                </a:cxn>
                <a:cxn ang="0">
                  <a:pos x="78" y="85"/>
                </a:cxn>
                <a:cxn ang="0">
                  <a:pos x="63" y="107"/>
                </a:cxn>
                <a:cxn ang="0">
                  <a:pos x="46" y="124"/>
                </a:cxn>
                <a:cxn ang="0">
                  <a:pos x="39" y="138"/>
                </a:cxn>
                <a:cxn ang="0">
                  <a:pos x="20" y="177"/>
                </a:cxn>
                <a:cxn ang="0">
                  <a:pos x="18" y="202"/>
                </a:cxn>
                <a:cxn ang="0">
                  <a:pos x="15" y="207"/>
                </a:cxn>
                <a:cxn ang="0">
                  <a:pos x="0" y="229"/>
                </a:cxn>
                <a:cxn ang="0">
                  <a:pos x="0" y="255"/>
                </a:cxn>
                <a:cxn ang="0">
                  <a:pos x="0" y="280"/>
                </a:cxn>
                <a:cxn ang="0">
                  <a:pos x="0" y="307"/>
                </a:cxn>
                <a:cxn ang="0">
                  <a:pos x="14" y="333"/>
                </a:cxn>
                <a:cxn ang="0">
                  <a:pos x="26" y="360"/>
                </a:cxn>
                <a:cxn ang="0">
                  <a:pos x="66" y="379"/>
                </a:cxn>
                <a:cxn ang="0">
                  <a:pos x="92" y="373"/>
                </a:cxn>
                <a:cxn ang="0">
                  <a:pos x="119" y="353"/>
                </a:cxn>
                <a:cxn ang="0">
                  <a:pos x="132" y="345"/>
                </a:cxn>
                <a:cxn ang="0">
                  <a:pos x="138" y="333"/>
                </a:cxn>
                <a:cxn ang="0">
                  <a:pos x="144" y="328"/>
                </a:cxn>
                <a:cxn ang="0">
                  <a:pos x="151" y="314"/>
                </a:cxn>
                <a:cxn ang="0">
                  <a:pos x="168" y="302"/>
                </a:cxn>
                <a:cxn ang="0">
                  <a:pos x="179" y="295"/>
                </a:cxn>
                <a:cxn ang="0">
                  <a:pos x="197" y="268"/>
                </a:cxn>
                <a:cxn ang="0">
                  <a:pos x="197" y="255"/>
                </a:cxn>
                <a:cxn ang="0">
                  <a:pos x="199" y="228"/>
                </a:cxn>
                <a:cxn ang="0">
                  <a:pos x="202" y="221"/>
                </a:cxn>
                <a:cxn ang="0">
                  <a:pos x="210" y="209"/>
                </a:cxn>
                <a:cxn ang="0">
                  <a:pos x="216" y="183"/>
                </a:cxn>
                <a:cxn ang="0">
                  <a:pos x="220" y="180"/>
                </a:cxn>
                <a:cxn ang="0">
                  <a:pos x="216" y="167"/>
                </a:cxn>
                <a:cxn ang="0">
                  <a:pos x="212" y="125"/>
                </a:cxn>
                <a:cxn ang="0">
                  <a:pos x="221" y="101"/>
                </a:cxn>
                <a:cxn ang="0">
                  <a:pos x="221" y="71"/>
                </a:cxn>
                <a:cxn ang="0">
                  <a:pos x="215" y="69"/>
                </a:cxn>
                <a:cxn ang="0">
                  <a:pos x="214" y="66"/>
                </a:cxn>
                <a:cxn ang="0">
                  <a:pos x="208" y="58"/>
                </a:cxn>
                <a:cxn ang="0">
                  <a:pos x="208" y="45"/>
                </a:cxn>
                <a:cxn ang="0">
                  <a:pos x="195" y="19"/>
                </a:cxn>
                <a:cxn ang="0">
                  <a:pos x="181" y="19"/>
                </a:cxn>
                <a:cxn ang="0">
                  <a:pos x="170" y="4"/>
                </a:cxn>
                <a:cxn ang="0">
                  <a:pos x="167" y="6"/>
                </a:cxn>
                <a:cxn ang="0">
                  <a:pos x="164" y="9"/>
                </a:cxn>
                <a:cxn ang="0">
                  <a:pos x="154" y="13"/>
                </a:cxn>
                <a:cxn ang="0">
                  <a:pos x="124" y="13"/>
                </a:cxn>
              </a:cxnLst>
              <a:rect l="0" t="0" r="r" b="b"/>
              <a:pathLst>
                <a:path w="221" h="379">
                  <a:moveTo>
                    <a:pt x="119" y="39"/>
                  </a:moveTo>
                  <a:lnTo>
                    <a:pt x="105" y="52"/>
                  </a:lnTo>
                  <a:lnTo>
                    <a:pt x="92" y="65"/>
                  </a:lnTo>
                  <a:lnTo>
                    <a:pt x="89" y="75"/>
                  </a:lnTo>
                  <a:lnTo>
                    <a:pt x="85" y="85"/>
                  </a:lnTo>
                  <a:lnTo>
                    <a:pt x="78" y="85"/>
                  </a:lnTo>
                  <a:lnTo>
                    <a:pt x="72" y="92"/>
                  </a:lnTo>
                  <a:lnTo>
                    <a:pt x="66" y="97"/>
                  </a:lnTo>
                  <a:lnTo>
                    <a:pt x="63" y="107"/>
                  </a:lnTo>
                  <a:lnTo>
                    <a:pt x="60" y="117"/>
                  </a:lnTo>
                  <a:lnTo>
                    <a:pt x="53" y="121"/>
                  </a:lnTo>
                  <a:lnTo>
                    <a:pt x="46" y="124"/>
                  </a:lnTo>
                  <a:lnTo>
                    <a:pt x="46" y="131"/>
                  </a:lnTo>
                  <a:lnTo>
                    <a:pt x="43" y="134"/>
                  </a:lnTo>
                  <a:lnTo>
                    <a:pt x="39" y="138"/>
                  </a:lnTo>
                  <a:lnTo>
                    <a:pt x="36" y="150"/>
                  </a:lnTo>
                  <a:lnTo>
                    <a:pt x="33" y="163"/>
                  </a:lnTo>
                  <a:lnTo>
                    <a:pt x="20" y="177"/>
                  </a:lnTo>
                  <a:lnTo>
                    <a:pt x="20" y="189"/>
                  </a:lnTo>
                  <a:lnTo>
                    <a:pt x="20" y="202"/>
                  </a:lnTo>
                  <a:lnTo>
                    <a:pt x="18" y="202"/>
                  </a:lnTo>
                  <a:lnTo>
                    <a:pt x="16" y="203"/>
                  </a:lnTo>
                  <a:lnTo>
                    <a:pt x="15" y="204"/>
                  </a:lnTo>
                  <a:lnTo>
                    <a:pt x="15" y="207"/>
                  </a:lnTo>
                  <a:lnTo>
                    <a:pt x="14" y="211"/>
                  </a:lnTo>
                  <a:lnTo>
                    <a:pt x="14" y="216"/>
                  </a:lnTo>
                  <a:lnTo>
                    <a:pt x="0" y="229"/>
                  </a:lnTo>
                  <a:lnTo>
                    <a:pt x="0" y="238"/>
                  </a:lnTo>
                  <a:lnTo>
                    <a:pt x="0" y="248"/>
                  </a:lnTo>
                  <a:lnTo>
                    <a:pt x="0" y="255"/>
                  </a:lnTo>
                  <a:lnTo>
                    <a:pt x="0" y="261"/>
                  </a:lnTo>
                  <a:lnTo>
                    <a:pt x="0" y="271"/>
                  </a:lnTo>
                  <a:lnTo>
                    <a:pt x="0" y="280"/>
                  </a:lnTo>
                  <a:lnTo>
                    <a:pt x="0" y="287"/>
                  </a:lnTo>
                  <a:lnTo>
                    <a:pt x="0" y="297"/>
                  </a:lnTo>
                  <a:lnTo>
                    <a:pt x="0" y="307"/>
                  </a:lnTo>
                  <a:lnTo>
                    <a:pt x="0" y="317"/>
                  </a:lnTo>
                  <a:lnTo>
                    <a:pt x="0" y="327"/>
                  </a:lnTo>
                  <a:lnTo>
                    <a:pt x="14" y="333"/>
                  </a:lnTo>
                  <a:lnTo>
                    <a:pt x="14" y="346"/>
                  </a:lnTo>
                  <a:lnTo>
                    <a:pt x="20" y="353"/>
                  </a:lnTo>
                  <a:lnTo>
                    <a:pt x="26" y="360"/>
                  </a:lnTo>
                  <a:lnTo>
                    <a:pt x="39" y="363"/>
                  </a:lnTo>
                  <a:lnTo>
                    <a:pt x="53" y="366"/>
                  </a:lnTo>
                  <a:lnTo>
                    <a:pt x="66" y="379"/>
                  </a:lnTo>
                  <a:lnTo>
                    <a:pt x="78" y="379"/>
                  </a:lnTo>
                  <a:lnTo>
                    <a:pt x="92" y="379"/>
                  </a:lnTo>
                  <a:lnTo>
                    <a:pt x="92" y="373"/>
                  </a:lnTo>
                  <a:lnTo>
                    <a:pt x="105" y="366"/>
                  </a:lnTo>
                  <a:lnTo>
                    <a:pt x="119" y="360"/>
                  </a:lnTo>
                  <a:lnTo>
                    <a:pt x="119" y="353"/>
                  </a:lnTo>
                  <a:lnTo>
                    <a:pt x="121" y="352"/>
                  </a:lnTo>
                  <a:lnTo>
                    <a:pt x="128" y="348"/>
                  </a:lnTo>
                  <a:lnTo>
                    <a:pt x="132" y="345"/>
                  </a:lnTo>
                  <a:lnTo>
                    <a:pt x="134" y="342"/>
                  </a:lnTo>
                  <a:lnTo>
                    <a:pt x="137" y="338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2" y="331"/>
                  </a:lnTo>
                  <a:lnTo>
                    <a:pt x="144" y="328"/>
                  </a:lnTo>
                  <a:lnTo>
                    <a:pt x="147" y="326"/>
                  </a:lnTo>
                  <a:lnTo>
                    <a:pt x="150" y="319"/>
                  </a:lnTo>
                  <a:lnTo>
                    <a:pt x="151" y="314"/>
                  </a:lnTo>
                  <a:lnTo>
                    <a:pt x="158" y="314"/>
                  </a:lnTo>
                  <a:lnTo>
                    <a:pt x="162" y="308"/>
                  </a:lnTo>
                  <a:lnTo>
                    <a:pt x="168" y="302"/>
                  </a:lnTo>
                  <a:lnTo>
                    <a:pt x="171" y="298"/>
                  </a:lnTo>
                  <a:lnTo>
                    <a:pt x="175" y="296"/>
                  </a:lnTo>
                  <a:lnTo>
                    <a:pt x="179" y="295"/>
                  </a:lnTo>
                  <a:lnTo>
                    <a:pt x="183" y="294"/>
                  </a:lnTo>
                  <a:lnTo>
                    <a:pt x="183" y="280"/>
                  </a:lnTo>
                  <a:lnTo>
                    <a:pt x="197" y="268"/>
                  </a:lnTo>
                  <a:lnTo>
                    <a:pt x="197" y="265"/>
                  </a:lnTo>
                  <a:lnTo>
                    <a:pt x="197" y="261"/>
                  </a:lnTo>
                  <a:lnTo>
                    <a:pt x="197" y="255"/>
                  </a:lnTo>
                  <a:lnTo>
                    <a:pt x="197" y="241"/>
                  </a:lnTo>
                  <a:lnTo>
                    <a:pt x="197" y="229"/>
                  </a:lnTo>
                  <a:lnTo>
                    <a:pt x="199" y="228"/>
                  </a:lnTo>
                  <a:lnTo>
                    <a:pt x="200" y="227"/>
                  </a:lnTo>
                  <a:lnTo>
                    <a:pt x="201" y="225"/>
                  </a:lnTo>
                  <a:lnTo>
                    <a:pt x="202" y="221"/>
                  </a:lnTo>
                  <a:lnTo>
                    <a:pt x="204" y="215"/>
                  </a:lnTo>
                  <a:lnTo>
                    <a:pt x="204" y="209"/>
                  </a:lnTo>
                  <a:lnTo>
                    <a:pt x="210" y="209"/>
                  </a:lnTo>
                  <a:lnTo>
                    <a:pt x="210" y="196"/>
                  </a:lnTo>
                  <a:lnTo>
                    <a:pt x="210" y="183"/>
                  </a:lnTo>
                  <a:lnTo>
                    <a:pt x="216" y="183"/>
                  </a:lnTo>
                  <a:lnTo>
                    <a:pt x="218" y="182"/>
                  </a:lnTo>
                  <a:lnTo>
                    <a:pt x="219" y="181"/>
                  </a:lnTo>
                  <a:lnTo>
                    <a:pt x="220" y="180"/>
                  </a:lnTo>
                  <a:lnTo>
                    <a:pt x="220" y="178"/>
                  </a:lnTo>
                  <a:lnTo>
                    <a:pt x="218" y="173"/>
                  </a:lnTo>
                  <a:lnTo>
                    <a:pt x="216" y="167"/>
                  </a:lnTo>
                  <a:lnTo>
                    <a:pt x="208" y="152"/>
                  </a:lnTo>
                  <a:lnTo>
                    <a:pt x="204" y="141"/>
                  </a:lnTo>
                  <a:lnTo>
                    <a:pt x="212" y="125"/>
                  </a:lnTo>
                  <a:lnTo>
                    <a:pt x="221" y="111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1" y="97"/>
                  </a:lnTo>
                  <a:lnTo>
                    <a:pt x="221" y="84"/>
                  </a:lnTo>
                  <a:lnTo>
                    <a:pt x="221" y="71"/>
                  </a:lnTo>
                  <a:lnTo>
                    <a:pt x="217" y="71"/>
                  </a:lnTo>
                  <a:lnTo>
                    <a:pt x="215" y="71"/>
                  </a:lnTo>
                  <a:lnTo>
                    <a:pt x="215" y="69"/>
                  </a:lnTo>
                  <a:lnTo>
                    <a:pt x="215" y="68"/>
                  </a:lnTo>
                  <a:lnTo>
                    <a:pt x="215" y="66"/>
                  </a:lnTo>
                  <a:lnTo>
                    <a:pt x="214" y="66"/>
                  </a:lnTo>
                  <a:lnTo>
                    <a:pt x="211" y="65"/>
                  </a:lnTo>
                  <a:lnTo>
                    <a:pt x="208" y="65"/>
                  </a:lnTo>
                  <a:lnTo>
                    <a:pt x="208" y="58"/>
                  </a:lnTo>
                  <a:lnTo>
                    <a:pt x="208" y="55"/>
                  </a:lnTo>
                  <a:lnTo>
                    <a:pt x="208" y="52"/>
                  </a:lnTo>
                  <a:lnTo>
                    <a:pt x="208" y="45"/>
                  </a:lnTo>
                  <a:lnTo>
                    <a:pt x="205" y="35"/>
                  </a:lnTo>
                  <a:lnTo>
                    <a:pt x="201" y="19"/>
                  </a:lnTo>
                  <a:lnTo>
                    <a:pt x="195" y="19"/>
                  </a:lnTo>
                  <a:lnTo>
                    <a:pt x="191" y="19"/>
                  </a:lnTo>
                  <a:lnTo>
                    <a:pt x="188" y="19"/>
                  </a:lnTo>
                  <a:lnTo>
                    <a:pt x="181" y="19"/>
                  </a:lnTo>
                  <a:lnTo>
                    <a:pt x="176" y="9"/>
                  </a:lnTo>
                  <a:lnTo>
                    <a:pt x="170" y="0"/>
                  </a:lnTo>
                  <a:lnTo>
                    <a:pt x="170" y="4"/>
                  </a:lnTo>
                  <a:lnTo>
                    <a:pt x="169" y="6"/>
                  </a:lnTo>
                  <a:lnTo>
                    <a:pt x="168" y="6"/>
                  </a:lnTo>
                  <a:lnTo>
                    <a:pt x="167" y="6"/>
                  </a:lnTo>
                  <a:lnTo>
                    <a:pt x="166" y="7"/>
                  </a:lnTo>
                  <a:lnTo>
                    <a:pt x="164" y="7"/>
                  </a:lnTo>
                  <a:lnTo>
                    <a:pt x="164" y="9"/>
                  </a:lnTo>
                  <a:lnTo>
                    <a:pt x="164" y="13"/>
                  </a:lnTo>
                  <a:lnTo>
                    <a:pt x="158" y="13"/>
                  </a:lnTo>
                  <a:lnTo>
                    <a:pt x="154" y="13"/>
                  </a:lnTo>
                  <a:lnTo>
                    <a:pt x="151" y="13"/>
                  </a:lnTo>
                  <a:lnTo>
                    <a:pt x="138" y="13"/>
                  </a:lnTo>
                  <a:lnTo>
                    <a:pt x="124" y="13"/>
                  </a:lnTo>
                  <a:lnTo>
                    <a:pt x="119" y="3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9" name="Freeform 96"/>
            <p:cNvSpPr>
              <a:spLocks noChangeAspect="1"/>
            </p:cNvSpPr>
            <p:nvPr/>
          </p:nvSpPr>
          <p:spPr bwMode="gray">
            <a:xfrm rot="355651">
              <a:off x="6934796" y="4030663"/>
              <a:ext cx="51839" cy="19163"/>
            </a:xfrm>
            <a:custGeom>
              <a:avLst/>
              <a:gdLst/>
              <a:ahLst/>
              <a:cxnLst>
                <a:cxn ang="0">
                  <a:pos x="178" y="0"/>
                </a:cxn>
                <a:cxn ang="0">
                  <a:pos x="166" y="0"/>
                </a:cxn>
                <a:cxn ang="0">
                  <a:pos x="139" y="5"/>
                </a:cxn>
                <a:cxn ang="0">
                  <a:pos x="122" y="7"/>
                </a:cxn>
                <a:cxn ang="0">
                  <a:pos x="105" y="11"/>
                </a:cxn>
                <a:cxn ang="0">
                  <a:pos x="77" y="11"/>
                </a:cxn>
                <a:cxn ang="0">
                  <a:pos x="60" y="16"/>
                </a:cxn>
                <a:cxn ang="0">
                  <a:pos x="53" y="22"/>
                </a:cxn>
                <a:cxn ang="0">
                  <a:pos x="38" y="27"/>
                </a:cxn>
                <a:cxn ang="0">
                  <a:pos x="34" y="31"/>
                </a:cxn>
                <a:cxn ang="0">
                  <a:pos x="28" y="39"/>
                </a:cxn>
                <a:cxn ang="0">
                  <a:pos x="22" y="55"/>
                </a:cxn>
                <a:cxn ang="0">
                  <a:pos x="17" y="55"/>
                </a:cxn>
                <a:cxn ang="0">
                  <a:pos x="17" y="58"/>
                </a:cxn>
                <a:cxn ang="0">
                  <a:pos x="16" y="60"/>
                </a:cxn>
                <a:cxn ang="0">
                  <a:pos x="11" y="61"/>
                </a:cxn>
                <a:cxn ang="0">
                  <a:pos x="0" y="78"/>
                </a:cxn>
                <a:cxn ang="0">
                  <a:pos x="0" y="94"/>
                </a:cxn>
                <a:cxn ang="0">
                  <a:pos x="8" y="98"/>
                </a:cxn>
                <a:cxn ang="0">
                  <a:pos x="14" y="101"/>
                </a:cxn>
                <a:cxn ang="0">
                  <a:pos x="17" y="106"/>
                </a:cxn>
                <a:cxn ang="0">
                  <a:pos x="38" y="106"/>
                </a:cxn>
                <a:cxn ang="0">
                  <a:pos x="55" y="106"/>
                </a:cxn>
                <a:cxn ang="0">
                  <a:pos x="66" y="106"/>
                </a:cxn>
                <a:cxn ang="0">
                  <a:pos x="75" y="106"/>
                </a:cxn>
                <a:cxn ang="0">
                  <a:pos x="88" y="106"/>
                </a:cxn>
                <a:cxn ang="0">
                  <a:pos x="101" y="108"/>
                </a:cxn>
                <a:cxn ang="0">
                  <a:pos x="107" y="110"/>
                </a:cxn>
                <a:cxn ang="0">
                  <a:pos x="122" y="128"/>
                </a:cxn>
                <a:cxn ang="0">
                  <a:pos x="133" y="128"/>
                </a:cxn>
                <a:cxn ang="0">
                  <a:pos x="142" y="128"/>
                </a:cxn>
                <a:cxn ang="0">
                  <a:pos x="150" y="128"/>
                </a:cxn>
                <a:cxn ang="0">
                  <a:pos x="178" y="128"/>
                </a:cxn>
                <a:cxn ang="0">
                  <a:pos x="179" y="117"/>
                </a:cxn>
                <a:cxn ang="0">
                  <a:pos x="181" y="114"/>
                </a:cxn>
                <a:cxn ang="0">
                  <a:pos x="182" y="114"/>
                </a:cxn>
                <a:cxn ang="0">
                  <a:pos x="183" y="111"/>
                </a:cxn>
                <a:cxn ang="0">
                  <a:pos x="191" y="107"/>
                </a:cxn>
                <a:cxn ang="0">
                  <a:pos x="194" y="100"/>
                </a:cxn>
                <a:cxn ang="0">
                  <a:pos x="206" y="89"/>
                </a:cxn>
                <a:cxn ang="0">
                  <a:pos x="217" y="85"/>
                </a:cxn>
                <a:cxn ang="0">
                  <a:pos x="219" y="83"/>
                </a:cxn>
                <a:cxn ang="0">
                  <a:pos x="221" y="83"/>
                </a:cxn>
                <a:cxn ang="0">
                  <a:pos x="222" y="80"/>
                </a:cxn>
                <a:cxn ang="0">
                  <a:pos x="228" y="78"/>
                </a:cxn>
                <a:cxn ang="0">
                  <a:pos x="239" y="78"/>
                </a:cxn>
                <a:cxn ang="0">
                  <a:pos x="259" y="69"/>
                </a:cxn>
                <a:cxn ang="0">
                  <a:pos x="274" y="64"/>
                </a:cxn>
                <a:cxn ang="0">
                  <a:pos x="276" y="62"/>
                </a:cxn>
                <a:cxn ang="0">
                  <a:pos x="285" y="61"/>
                </a:cxn>
                <a:cxn ang="0">
                  <a:pos x="289" y="50"/>
                </a:cxn>
                <a:cxn ang="0">
                  <a:pos x="295" y="50"/>
                </a:cxn>
                <a:cxn ang="0">
                  <a:pos x="295" y="27"/>
                </a:cxn>
                <a:cxn ang="0">
                  <a:pos x="278" y="27"/>
                </a:cxn>
                <a:cxn ang="0">
                  <a:pos x="276" y="24"/>
                </a:cxn>
                <a:cxn ang="0">
                  <a:pos x="271" y="22"/>
                </a:cxn>
                <a:cxn ang="0">
                  <a:pos x="261" y="22"/>
                </a:cxn>
                <a:cxn ang="0">
                  <a:pos x="256" y="16"/>
                </a:cxn>
                <a:cxn ang="0">
                  <a:pos x="245" y="11"/>
                </a:cxn>
                <a:cxn ang="0">
                  <a:pos x="237" y="11"/>
                </a:cxn>
                <a:cxn ang="0">
                  <a:pos x="229" y="10"/>
                </a:cxn>
                <a:cxn ang="0">
                  <a:pos x="214" y="5"/>
                </a:cxn>
              </a:cxnLst>
              <a:rect l="0" t="0" r="r" b="b"/>
              <a:pathLst>
                <a:path w="295" h="128">
                  <a:moveTo>
                    <a:pt x="200" y="5"/>
                  </a:moveTo>
                  <a:lnTo>
                    <a:pt x="178" y="0"/>
                  </a:lnTo>
                  <a:lnTo>
                    <a:pt x="172" y="0"/>
                  </a:lnTo>
                  <a:lnTo>
                    <a:pt x="166" y="0"/>
                  </a:lnTo>
                  <a:lnTo>
                    <a:pt x="151" y="2"/>
                  </a:lnTo>
                  <a:lnTo>
                    <a:pt x="139" y="5"/>
                  </a:lnTo>
                  <a:lnTo>
                    <a:pt x="134" y="5"/>
                  </a:lnTo>
                  <a:lnTo>
                    <a:pt x="122" y="7"/>
                  </a:lnTo>
                  <a:lnTo>
                    <a:pt x="111" y="10"/>
                  </a:lnTo>
                  <a:lnTo>
                    <a:pt x="105" y="11"/>
                  </a:lnTo>
                  <a:lnTo>
                    <a:pt x="92" y="11"/>
                  </a:lnTo>
                  <a:lnTo>
                    <a:pt x="77" y="11"/>
                  </a:lnTo>
                  <a:lnTo>
                    <a:pt x="67" y="13"/>
                  </a:lnTo>
                  <a:lnTo>
                    <a:pt x="60" y="16"/>
                  </a:lnTo>
                  <a:lnTo>
                    <a:pt x="55" y="22"/>
                  </a:lnTo>
                  <a:lnTo>
                    <a:pt x="53" y="22"/>
                  </a:lnTo>
                  <a:lnTo>
                    <a:pt x="49" y="22"/>
                  </a:lnTo>
                  <a:lnTo>
                    <a:pt x="38" y="27"/>
                  </a:lnTo>
                  <a:lnTo>
                    <a:pt x="36" y="29"/>
                  </a:lnTo>
                  <a:lnTo>
                    <a:pt x="34" y="31"/>
                  </a:lnTo>
                  <a:lnTo>
                    <a:pt x="31" y="34"/>
                  </a:lnTo>
                  <a:lnTo>
                    <a:pt x="28" y="39"/>
                  </a:lnTo>
                  <a:lnTo>
                    <a:pt x="24" y="49"/>
                  </a:lnTo>
                  <a:lnTo>
                    <a:pt x="22" y="55"/>
                  </a:lnTo>
                  <a:lnTo>
                    <a:pt x="19" y="55"/>
                  </a:lnTo>
                  <a:lnTo>
                    <a:pt x="17" y="55"/>
                  </a:lnTo>
                  <a:lnTo>
                    <a:pt x="17" y="56"/>
                  </a:lnTo>
                  <a:lnTo>
                    <a:pt x="17" y="58"/>
                  </a:lnTo>
                  <a:lnTo>
                    <a:pt x="16" y="59"/>
                  </a:lnTo>
                  <a:lnTo>
                    <a:pt x="16" y="60"/>
                  </a:lnTo>
                  <a:lnTo>
                    <a:pt x="14" y="60"/>
                  </a:lnTo>
                  <a:lnTo>
                    <a:pt x="11" y="61"/>
                  </a:lnTo>
                  <a:lnTo>
                    <a:pt x="11" y="72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0" y="94"/>
                  </a:lnTo>
                  <a:lnTo>
                    <a:pt x="2" y="94"/>
                  </a:lnTo>
                  <a:lnTo>
                    <a:pt x="8" y="98"/>
                  </a:lnTo>
                  <a:lnTo>
                    <a:pt x="11" y="99"/>
                  </a:lnTo>
                  <a:lnTo>
                    <a:pt x="14" y="101"/>
                  </a:lnTo>
                  <a:lnTo>
                    <a:pt x="16" y="103"/>
                  </a:lnTo>
                  <a:lnTo>
                    <a:pt x="17" y="106"/>
                  </a:lnTo>
                  <a:lnTo>
                    <a:pt x="28" y="106"/>
                  </a:lnTo>
                  <a:lnTo>
                    <a:pt x="38" y="106"/>
                  </a:lnTo>
                  <a:lnTo>
                    <a:pt x="47" y="106"/>
                  </a:lnTo>
                  <a:lnTo>
                    <a:pt x="55" y="106"/>
                  </a:lnTo>
                  <a:lnTo>
                    <a:pt x="60" y="106"/>
                  </a:lnTo>
                  <a:lnTo>
                    <a:pt x="66" y="106"/>
                  </a:lnTo>
                  <a:lnTo>
                    <a:pt x="72" y="106"/>
                  </a:lnTo>
                  <a:lnTo>
                    <a:pt x="75" y="106"/>
                  </a:lnTo>
                  <a:lnTo>
                    <a:pt x="77" y="106"/>
                  </a:lnTo>
                  <a:lnTo>
                    <a:pt x="88" y="106"/>
                  </a:lnTo>
                  <a:lnTo>
                    <a:pt x="99" y="106"/>
                  </a:lnTo>
                  <a:lnTo>
                    <a:pt x="101" y="108"/>
                  </a:lnTo>
                  <a:lnTo>
                    <a:pt x="103" y="110"/>
                  </a:lnTo>
                  <a:lnTo>
                    <a:pt x="107" y="110"/>
                  </a:lnTo>
                  <a:lnTo>
                    <a:pt x="111" y="111"/>
                  </a:lnTo>
                  <a:lnTo>
                    <a:pt x="122" y="128"/>
                  </a:lnTo>
                  <a:lnTo>
                    <a:pt x="127" y="128"/>
                  </a:lnTo>
                  <a:lnTo>
                    <a:pt x="133" y="128"/>
                  </a:lnTo>
                  <a:lnTo>
                    <a:pt x="139" y="128"/>
                  </a:lnTo>
                  <a:lnTo>
                    <a:pt x="142" y="128"/>
                  </a:lnTo>
                  <a:lnTo>
                    <a:pt x="144" y="128"/>
                  </a:lnTo>
                  <a:lnTo>
                    <a:pt x="150" y="128"/>
                  </a:lnTo>
                  <a:lnTo>
                    <a:pt x="164" y="128"/>
                  </a:lnTo>
                  <a:lnTo>
                    <a:pt x="178" y="128"/>
                  </a:lnTo>
                  <a:lnTo>
                    <a:pt x="178" y="121"/>
                  </a:lnTo>
                  <a:lnTo>
                    <a:pt x="179" y="117"/>
                  </a:lnTo>
                  <a:lnTo>
                    <a:pt x="180" y="116"/>
                  </a:lnTo>
                  <a:lnTo>
                    <a:pt x="181" y="114"/>
                  </a:lnTo>
                  <a:lnTo>
                    <a:pt x="182" y="114"/>
                  </a:lnTo>
                  <a:lnTo>
                    <a:pt x="182" y="114"/>
                  </a:lnTo>
                  <a:lnTo>
                    <a:pt x="183" y="113"/>
                  </a:lnTo>
                  <a:lnTo>
                    <a:pt x="183" y="111"/>
                  </a:lnTo>
                  <a:lnTo>
                    <a:pt x="188" y="110"/>
                  </a:lnTo>
                  <a:lnTo>
                    <a:pt x="191" y="107"/>
                  </a:lnTo>
                  <a:lnTo>
                    <a:pt x="193" y="103"/>
                  </a:lnTo>
                  <a:lnTo>
                    <a:pt x="194" y="100"/>
                  </a:lnTo>
                  <a:lnTo>
                    <a:pt x="200" y="94"/>
                  </a:lnTo>
                  <a:lnTo>
                    <a:pt x="206" y="89"/>
                  </a:lnTo>
                  <a:lnTo>
                    <a:pt x="217" y="89"/>
                  </a:lnTo>
                  <a:lnTo>
                    <a:pt x="217" y="85"/>
                  </a:lnTo>
                  <a:lnTo>
                    <a:pt x="218" y="83"/>
                  </a:lnTo>
                  <a:lnTo>
                    <a:pt x="219" y="83"/>
                  </a:lnTo>
                  <a:lnTo>
                    <a:pt x="220" y="83"/>
                  </a:lnTo>
                  <a:lnTo>
                    <a:pt x="221" y="83"/>
                  </a:lnTo>
                  <a:lnTo>
                    <a:pt x="221" y="82"/>
                  </a:lnTo>
                  <a:lnTo>
                    <a:pt x="222" y="80"/>
                  </a:lnTo>
                  <a:lnTo>
                    <a:pt x="222" y="78"/>
                  </a:lnTo>
                  <a:lnTo>
                    <a:pt x="228" y="78"/>
                  </a:lnTo>
                  <a:lnTo>
                    <a:pt x="233" y="78"/>
                  </a:lnTo>
                  <a:lnTo>
                    <a:pt x="239" y="78"/>
                  </a:lnTo>
                  <a:lnTo>
                    <a:pt x="245" y="72"/>
                  </a:lnTo>
                  <a:lnTo>
                    <a:pt x="259" y="69"/>
                  </a:lnTo>
                  <a:lnTo>
                    <a:pt x="273" y="66"/>
                  </a:lnTo>
                  <a:lnTo>
                    <a:pt x="274" y="64"/>
                  </a:lnTo>
                  <a:lnTo>
                    <a:pt x="275" y="63"/>
                  </a:lnTo>
                  <a:lnTo>
                    <a:pt x="276" y="62"/>
                  </a:lnTo>
                  <a:lnTo>
                    <a:pt x="279" y="61"/>
                  </a:lnTo>
                  <a:lnTo>
                    <a:pt x="285" y="61"/>
                  </a:lnTo>
                  <a:lnTo>
                    <a:pt x="289" y="61"/>
                  </a:lnTo>
                  <a:lnTo>
                    <a:pt x="289" y="50"/>
                  </a:lnTo>
                  <a:lnTo>
                    <a:pt x="293" y="50"/>
                  </a:lnTo>
                  <a:lnTo>
                    <a:pt x="295" y="50"/>
                  </a:lnTo>
                  <a:lnTo>
                    <a:pt x="295" y="39"/>
                  </a:lnTo>
                  <a:lnTo>
                    <a:pt x="295" y="27"/>
                  </a:lnTo>
                  <a:lnTo>
                    <a:pt x="287" y="27"/>
                  </a:lnTo>
                  <a:lnTo>
                    <a:pt x="278" y="27"/>
                  </a:lnTo>
                  <a:lnTo>
                    <a:pt x="278" y="25"/>
                  </a:lnTo>
                  <a:lnTo>
                    <a:pt x="276" y="24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7" y="22"/>
                  </a:lnTo>
                  <a:lnTo>
                    <a:pt x="261" y="22"/>
                  </a:lnTo>
                  <a:lnTo>
                    <a:pt x="259" y="18"/>
                  </a:lnTo>
                  <a:lnTo>
                    <a:pt x="256" y="16"/>
                  </a:lnTo>
                  <a:lnTo>
                    <a:pt x="250" y="13"/>
                  </a:lnTo>
                  <a:lnTo>
                    <a:pt x="245" y="11"/>
                  </a:lnTo>
                  <a:lnTo>
                    <a:pt x="239" y="11"/>
                  </a:lnTo>
                  <a:lnTo>
                    <a:pt x="237" y="11"/>
                  </a:lnTo>
                  <a:lnTo>
                    <a:pt x="233" y="11"/>
                  </a:lnTo>
                  <a:lnTo>
                    <a:pt x="229" y="10"/>
                  </a:lnTo>
                  <a:lnTo>
                    <a:pt x="223" y="7"/>
                  </a:lnTo>
                  <a:lnTo>
                    <a:pt x="214" y="5"/>
                  </a:lnTo>
                  <a:lnTo>
                    <a:pt x="200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0" name="Freeform 97"/>
            <p:cNvSpPr>
              <a:spLocks noChangeAspect="1"/>
            </p:cNvSpPr>
            <p:nvPr/>
          </p:nvSpPr>
          <p:spPr bwMode="gray">
            <a:xfrm rot="355651">
              <a:off x="7366443" y="3665538"/>
              <a:ext cx="154462" cy="180983"/>
            </a:xfrm>
            <a:custGeom>
              <a:avLst/>
              <a:gdLst/>
              <a:ahLst/>
              <a:cxnLst>
                <a:cxn ang="0">
                  <a:pos x="336" y="79"/>
                </a:cxn>
                <a:cxn ang="0">
                  <a:pos x="155" y="95"/>
                </a:cxn>
                <a:cxn ang="0">
                  <a:pos x="63" y="115"/>
                </a:cxn>
                <a:cxn ang="0">
                  <a:pos x="23" y="128"/>
                </a:cxn>
                <a:cxn ang="0">
                  <a:pos x="12" y="158"/>
                </a:cxn>
                <a:cxn ang="0">
                  <a:pos x="43" y="177"/>
                </a:cxn>
                <a:cxn ang="0">
                  <a:pos x="73" y="201"/>
                </a:cxn>
                <a:cxn ang="0">
                  <a:pos x="96" y="225"/>
                </a:cxn>
                <a:cxn ang="0">
                  <a:pos x="116" y="257"/>
                </a:cxn>
                <a:cxn ang="0">
                  <a:pos x="142" y="295"/>
                </a:cxn>
                <a:cxn ang="0">
                  <a:pos x="167" y="330"/>
                </a:cxn>
                <a:cxn ang="0">
                  <a:pos x="175" y="352"/>
                </a:cxn>
                <a:cxn ang="0">
                  <a:pos x="232" y="421"/>
                </a:cxn>
                <a:cxn ang="0">
                  <a:pos x="273" y="446"/>
                </a:cxn>
                <a:cxn ang="0">
                  <a:pos x="338" y="478"/>
                </a:cxn>
                <a:cxn ang="0">
                  <a:pos x="377" y="497"/>
                </a:cxn>
                <a:cxn ang="0">
                  <a:pos x="400" y="511"/>
                </a:cxn>
                <a:cxn ang="0">
                  <a:pos x="423" y="529"/>
                </a:cxn>
                <a:cxn ang="0">
                  <a:pos x="447" y="551"/>
                </a:cxn>
                <a:cxn ang="0">
                  <a:pos x="457" y="586"/>
                </a:cxn>
                <a:cxn ang="0">
                  <a:pos x="447" y="679"/>
                </a:cxn>
                <a:cxn ang="0">
                  <a:pos x="442" y="734"/>
                </a:cxn>
                <a:cxn ang="0">
                  <a:pos x="408" y="742"/>
                </a:cxn>
                <a:cxn ang="0">
                  <a:pos x="332" y="755"/>
                </a:cxn>
                <a:cxn ang="0">
                  <a:pos x="292" y="777"/>
                </a:cxn>
                <a:cxn ang="0">
                  <a:pos x="271" y="808"/>
                </a:cxn>
                <a:cxn ang="0">
                  <a:pos x="267" y="912"/>
                </a:cxn>
                <a:cxn ang="0">
                  <a:pos x="286" y="955"/>
                </a:cxn>
                <a:cxn ang="0">
                  <a:pos x="304" y="979"/>
                </a:cxn>
                <a:cxn ang="0">
                  <a:pos x="329" y="1010"/>
                </a:cxn>
                <a:cxn ang="0">
                  <a:pos x="360" y="1006"/>
                </a:cxn>
                <a:cxn ang="0">
                  <a:pos x="411" y="1077"/>
                </a:cxn>
                <a:cxn ang="0">
                  <a:pos x="433" y="1122"/>
                </a:cxn>
                <a:cxn ang="0">
                  <a:pos x="514" y="1114"/>
                </a:cxn>
                <a:cxn ang="0">
                  <a:pos x="544" y="1074"/>
                </a:cxn>
                <a:cxn ang="0">
                  <a:pos x="574" y="1028"/>
                </a:cxn>
                <a:cxn ang="0">
                  <a:pos x="670" y="909"/>
                </a:cxn>
                <a:cxn ang="0">
                  <a:pos x="694" y="880"/>
                </a:cxn>
                <a:cxn ang="0">
                  <a:pos x="727" y="836"/>
                </a:cxn>
                <a:cxn ang="0">
                  <a:pos x="747" y="812"/>
                </a:cxn>
                <a:cxn ang="0">
                  <a:pos x="782" y="748"/>
                </a:cxn>
                <a:cxn ang="0">
                  <a:pos x="802" y="636"/>
                </a:cxn>
                <a:cxn ang="0">
                  <a:pos x="794" y="517"/>
                </a:cxn>
                <a:cxn ang="0">
                  <a:pos x="782" y="439"/>
                </a:cxn>
                <a:cxn ang="0">
                  <a:pos x="797" y="261"/>
                </a:cxn>
                <a:cxn ang="0">
                  <a:pos x="823" y="192"/>
                </a:cxn>
                <a:cxn ang="0">
                  <a:pos x="835" y="162"/>
                </a:cxn>
                <a:cxn ang="0">
                  <a:pos x="820" y="131"/>
                </a:cxn>
                <a:cxn ang="0">
                  <a:pos x="698" y="109"/>
                </a:cxn>
                <a:cxn ang="0">
                  <a:pos x="634" y="93"/>
                </a:cxn>
                <a:cxn ang="0">
                  <a:pos x="574" y="64"/>
                </a:cxn>
                <a:cxn ang="0">
                  <a:pos x="550" y="15"/>
                </a:cxn>
                <a:cxn ang="0">
                  <a:pos x="515" y="3"/>
                </a:cxn>
                <a:cxn ang="0">
                  <a:pos x="442" y="6"/>
                </a:cxn>
                <a:cxn ang="0">
                  <a:pos x="382" y="35"/>
                </a:cxn>
              </a:cxnLst>
              <a:rect l="0" t="0" r="r" b="b"/>
              <a:pathLst>
                <a:path w="840" h="1127">
                  <a:moveTo>
                    <a:pt x="382" y="35"/>
                  </a:moveTo>
                  <a:lnTo>
                    <a:pt x="374" y="47"/>
                  </a:lnTo>
                  <a:lnTo>
                    <a:pt x="363" y="64"/>
                  </a:lnTo>
                  <a:lnTo>
                    <a:pt x="357" y="66"/>
                  </a:lnTo>
                  <a:lnTo>
                    <a:pt x="346" y="72"/>
                  </a:lnTo>
                  <a:lnTo>
                    <a:pt x="336" y="79"/>
                  </a:lnTo>
                  <a:lnTo>
                    <a:pt x="329" y="84"/>
                  </a:lnTo>
                  <a:lnTo>
                    <a:pt x="289" y="85"/>
                  </a:lnTo>
                  <a:lnTo>
                    <a:pt x="247" y="89"/>
                  </a:lnTo>
                  <a:lnTo>
                    <a:pt x="207" y="92"/>
                  </a:lnTo>
                  <a:lnTo>
                    <a:pt x="167" y="93"/>
                  </a:lnTo>
                  <a:lnTo>
                    <a:pt x="155" y="95"/>
                  </a:lnTo>
                  <a:lnTo>
                    <a:pt x="142" y="99"/>
                  </a:lnTo>
                  <a:lnTo>
                    <a:pt x="131" y="102"/>
                  </a:lnTo>
                  <a:lnTo>
                    <a:pt x="122" y="103"/>
                  </a:lnTo>
                  <a:lnTo>
                    <a:pt x="109" y="105"/>
                  </a:lnTo>
                  <a:lnTo>
                    <a:pt x="86" y="111"/>
                  </a:lnTo>
                  <a:lnTo>
                    <a:pt x="63" y="115"/>
                  </a:lnTo>
                  <a:lnTo>
                    <a:pt x="53" y="119"/>
                  </a:lnTo>
                  <a:lnTo>
                    <a:pt x="39" y="119"/>
                  </a:lnTo>
                  <a:lnTo>
                    <a:pt x="38" y="120"/>
                  </a:lnTo>
                  <a:lnTo>
                    <a:pt x="34" y="122"/>
                  </a:lnTo>
                  <a:lnTo>
                    <a:pt x="29" y="125"/>
                  </a:lnTo>
                  <a:lnTo>
                    <a:pt x="23" y="128"/>
                  </a:lnTo>
                  <a:lnTo>
                    <a:pt x="12" y="131"/>
                  </a:lnTo>
                  <a:lnTo>
                    <a:pt x="4" y="133"/>
                  </a:lnTo>
                  <a:lnTo>
                    <a:pt x="2" y="144"/>
                  </a:lnTo>
                  <a:lnTo>
                    <a:pt x="0" y="152"/>
                  </a:lnTo>
                  <a:lnTo>
                    <a:pt x="8" y="152"/>
                  </a:lnTo>
                  <a:lnTo>
                    <a:pt x="12" y="158"/>
                  </a:lnTo>
                  <a:lnTo>
                    <a:pt x="14" y="162"/>
                  </a:lnTo>
                  <a:lnTo>
                    <a:pt x="24" y="162"/>
                  </a:lnTo>
                  <a:lnTo>
                    <a:pt x="26" y="168"/>
                  </a:lnTo>
                  <a:lnTo>
                    <a:pt x="29" y="172"/>
                  </a:lnTo>
                  <a:lnTo>
                    <a:pt x="36" y="175"/>
                  </a:lnTo>
                  <a:lnTo>
                    <a:pt x="43" y="177"/>
                  </a:lnTo>
                  <a:lnTo>
                    <a:pt x="46" y="181"/>
                  </a:lnTo>
                  <a:lnTo>
                    <a:pt x="54" y="189"/>
                  </a:lnTo>
                  <a:lnTo>
                    <a:pt x="60" y="195"/>
                  </a:lnTo>
                  <a:lnTo>
                    <a:pt x="64" y="198"/>
                  </a:lnTo>
                  <a:lnTo>
                    <a:pt x="69" y="201"/>
                  </a:lnTo>
                  <a:lnTo>
                    <a:pt x="73" y="201"/>
                  </a:lnTo>
                  <a:lnTo>
                    <a:pt x="75" y="207"/>
                  </a:lnTo>
                  <a:lnTo>
                    <a:pt x="78" y="211"/>
                  </a:lnTo>
                  <a:lnTo>
                    <a:pt x="88" y="211"/>
                  </a:lnTo>
                  <a:lnTo>
                    <a:pt x="88" y="221"/>
                  </a:lnTo>
                  <a:lnTo>
                    <a:pt x="91" y="223"/>
                  </a:lnTo>
                  <a:lnTo>
                    <a:pt x="96" y="225"/>
                  </a:lnTo>
                  <a:lnTo>
                    <a:pt x="99" y="228"/>
                  </a:lnTo>
                  <a:lnTo>
                    <a:pt x="102" y="231"/>
                  </a:lnTo>
                  <a:lnTo>
                    <a:pt x="108" y="240"/>
                  </a:lnTo>
                  <a:lnTo>
                    <a:pt x="112" y="246"/>
                  </a:lnTo>
                  <a:lnTo>
                    <a:pt x="112" y="256"/>
                  </a:lnTo>
                  <a:lnTo>
                    <a:pt x="116" y="257"/>
                  </a:lnTo>
                  <a:lnTo>
                    <a:pt x="120" y="259"/>
                  </a:lnTo>
                  <a:lnTo>
                    <a:pt x="123" y="264"/>
                  </a:lnTo>
                  <a:lnTo>
                    <a:pt x="127" y="269"/>
                  </a:lnTo>
                  <a:lnTo>
                    <a:pt x="135" y="278"/>
                  </a:lnTo>
                  <a:lnTo>
                    <a:pt x="142" y="285"/>
                  </a:lnTo>
                  <a:lnTo>
                    <a:pt x="142" y="295"/>
                  </a:lnTo>
                  <a:lnTo>
                    <a:pt x="145" y="297"/>
                  </a:lnTo>
                  <a:lnTo>
                    <a:pt x="148" y="301"/>
                  </a:lnTo>
                  <a:lnTo>
                    <a:pt x="151" y="306"/>
                  </a:lnTo>
                  <a:lnTo>
                    <a:pt x="156" y="313"/>
                  </a:lnTo>
                  <a:lnTo>
                    <a:pt x="164" y="324"/>
                  </a:lnTo>
                  <a:lnTo>
                    <a:pt x="167" y="330"/>
                  </a:lnTo>
                  <a:lnTo>
                    <a:pt x="167" y="340"/>
                  </a:lnTo>
                  <a:lnTo>
                    <a:pt x="169" y="341"/>
                  </a:lnTo>
                  <a:lnTo>
                    <a:pt x="170" y="343"/>
                  </a:lnTo>
                  <a:lnTo>
                    <a:pt x="171" y="345"/>
                  </a:lnTo>
                  <a:lnTo>
                    <a:pt x="171" y="350"/>
                  </a:lnTo>
                  <a:lnTo>
                    <a:pt x="175" y="352"/>
                  </a:lnTo>
                  <a:lnTo>
                    <a:pt x="182" y="360"/>
                  </a:lnTo>
                  <a:lnTo>
                    <a:pt x="189" y="370"/>
                  </a:lnTo>
                  <a:lnTo>
                    <a:pt x="198" y="382"/>
                  </a:lnTo>
                  <a:lnTo>
                    <a:pt x="216" y="406"/>
                  </a:lnTo>
                  <a:lnTo>
                    <a:pt x="225" y="418"/>
                  </a:lnTo>
                  <a:lnTo>
                    <a:pt x="232" y="421"/>
                  </a:lnTo>
                  <a:lnTo>
                    <a:pt x="240" y="427"/>
                  </a:lnTo>
                  <a:lnTo>
                    <a:pt x="247" y="432"/>
                  </a:lnTo>
                  <a:lnTo>
                    <a:pt x="250" y="438"/>
                  </a:lnTo>
                  <a:lnTo>
                    <a:pt x="260" y="440"/>
                  </a:lnTo>
                  <a:lnTo>
                    <a:pt x="270" y="442"/>
                  </a:lnTo>
                  <a:lnTo>
                    <a:pt x="273" y="446"/>
                  </a:lnTo>
                  <a:lnTo>
                    <a:pt x="280" y="450"/>
                  </a:lnTo>
                  <a:lnTo>
                    <a:pt x="291" y="455"/>
                  </a:lnTo>
                  <a:lnTo>
                    <a:pt x="303" y="460"/>
                  </a:lnTo>
                  <a:lnTo>
                    <a:pt x="315" y="467"/>
                  </a:lnTo>
                  <a:lnTo>
                    <a:pt x="328" y="473"/>
                  </a:lnTo>
                  <a:lnTo>
                    <a:pt x="338" y="478"/>
                  </a:lnTo>
                  <a:lnTo>
                    <a:pt x="343" y="483"/>
                  </a:lnTo>
                  <a:lnTo>
                    <a:pt x="348" y="483"/>
                  </a:lnTo>
                  <a:lnTo>
                    <a:pt x="355" y="486"/>
                  </a:lnTo>
                  <a:lnTo>
                    <a:pt x="362" y="489"/>
                  </a:lnTo>
                  <a:lnTo>
                    <a:pt x="369" y="493"/>
                  </a:lnTo>
                  <a:lnTo>
                    <a:pt x="377" y="497"/>
                  </a:lnTo>
                  <a:lnTo>
                    <a:pt x="382" y="500"/>
                  </a:lnTo>
                  <a:lnTo>
                    <a:pt x="387" y="505"/>
                  </a:lnTo>
                  <a:lnTo>
                    <a:pt x="388" y="507"/>
                  </a:lnTo>
                  <a:lnTo>
                    <a:pt x="391" y="507"/>
                  </a:lnTo>
                  <a:lnTo>
                    <a:pt x="396" y="508"/>
                  </a:lnTo>
                  <a:lnTo>
                    <a:pt x="400" y="511"/>
                  </a:lnTo>
                  <a:lnTo>
                    <a:pt x="404" y="513"/>
                  </a:lnTo>
                  <a:lnTo>
                    <a:pt x="407" y="516"/>
                  </a:lnTo>
                  <a:lnTo>
                    <a:pt x="410" y="519"/>
                  </a:lnTo>
                  <a:lnTo>
                    <a:pt x="411" y="523"/>
                  </a:lnTo>
                  <a:lnTo>
                    <a:pt x="413" y="526"/>
                  </a:lnTo>
                  <a:lnTo>
                    <a:pt x="423" y="529"/>
                  </a:lnTo>
                  <a:lnTo>
                    <a:pt x="437" y="532"/>
                  </a:lnTo>
                  <a:lnTo>
                    <a:pt x="437" y="542"/>
                  </a:lnTo>
                  <a:lnTo>
                    <a:pt x="440" y="542"/>
                  </a:lnTo>
                  <a:lnTo>
                    <a:pt x="444" y="544"/>
                  </a:lnTo>
                  <a:lnTo>
                    <a:pt x="446" y="547"/>
                  </a:lnTo>
                  <a:lnTo>
                    <a:pt x="447" y="551"/>
                  </a:lnTo>
                  <a:lnTo>
                    <a:pt x="449" y="552"/>
                  </a:lnTo>
                  <a:lnTo>
                    <a:pt x="452" y="554"/>
                  </a:lnTo>
                  <a:lnTo>
                    <a:pt x="453" y="557"/>
                  </a:lnTo>
                  <a:lnTo>
                    <a:pt x="455" y="562"/>
                  </a:lnTo>
                  <a:lnTo>
                    <a:pt x="456" y="573"/>
                  </a:lnTo>
                  <a:lnTo>
                    <a:pt x="457" y="586"/>
                  </a:lnTo>
                  <a:lnTo>
                    <a:pt x="457" y="613"/>
                  </a:lnTo>
                  <a:lnTo>
                    <a:pt x="457" y="630"/>
                  </a:lnTo>
                  <a:lnTo>
                    <a:pt x="455" y="640"/>
                  </a:lnTo>
                  <a:lnTo>
                    <a:pt x="452" y="652"/>
                  </a:lnTo>
                  <a:lnTo>
                    <a:pt x="448" y="667"/>
                  </a:lnTo>
                  <a:lnTo>
                    <a:pt x="447" y="679"/>
                  </a:lnTo>
                  <a:lnTo>
                    <a:pt x="448" y="689"/>
                  </a:lnTo>
                  <a:lnTo>
                    <a:pt x="452" y="701"/>
                  </a:lnTo>
                  <a:lnTo>
                    <a:pt x="455" y="716"/>
                  </a:lnTo>
                  <a:lnTo>
                    <a:pt x="457" y="728"/>
                  </a:lnTo>
                  <a:lnTo>
                    <a:pt x="452" y="734"/>
                  </a:lnTo>
                  <a:lnTo>
                    <a:pt x="442" y="734"/>
                  </a:lnTo>
                  <a:lnTo>
                    <a:pt x="442" y="735"/>
                  </a:lnTo>
                  <a:lnTo>
                    <a:pt x="439" y="736"/>
                  </a:lnTo>
                  <a:lnTo>
                    <a:pt x="436" y="738"/>
                  </a:lnTo>
                  <a:lnTo>
                    <a:pt x="432" y="739"/>
                  </a:lnTo>
                  <a:lnTo>
                    <a:pt x="422" y="740"/>
                  </a:lnTo>
                  <a:lnTo>
                    <a:pt x="408" y="742"/>
                  </a:lnTo>
                  <a:lnTo>
                    <a:pt x="381" y="743"/>
                  </a:lnTo>
                  <a:lnTo>
                    <a:pt x="363" y="743"/>
                  </a:lnTo>
                  <a:lnTo>
                    <a:pt x="353" y="748"/>
                  </a:lnTo>
                  <a:lnTo>
                    <a:pt x="343" y="753"/>
                  </a:lnTo>
                  <a:lnTo>
                    <a:pt x="338" y="754"/>
                  </a:lnTo>
                  <a:lnTo>
                    <a:pt x="332" y="755"/>
                  </a:lnTo>
                  <a:lnTo>
                    <a:pt x="326" y="757"/>
                  </a:lnTo>
                  <a:lnTo>
                    <a:pt x="320" y="761"/>
                  </a:lnTo>
                  <a:lnTo>
                    <a:pt x="309" y="765"/>
                  </a:lnTo>
                  <a:lnTo>
                    <a:pt x="300" y="767"/>
                  </a:lnTo>
                  <a:lnTo>
                    <a:pt x="294" y="773"/>
                  </a:lnTo>
                  <a:lnTo>
                    <a:pt x="292" y="777"/>
                  </a:lnTo>
                  <a:lnTo>
                    <a:pt x="290" y="783"/>
                  </a:lnTo>
                  <a:lnTo>
                    <a:pt x="280" y="783"/>
                  </a:lnTo>
                  <a:lnTo>
                    <a:pt x="280" y="797"/>
                  </a:lnTo>
                  <a:lnTo>
                    <a:pt x="276" y="798"/>
                  </a:lnTo>
                  <a:lnTo>
                    <a:pt x="273" y="802"/>
                  </a:lnTo>
                  <a:lnTo>
                    <a:pt x="271" y="808"/>
                  </a:lnTo>
                  <a:lnTo>
                    <a:pt x="269" y="816"/>
                  </a:lnTo>
                  <a:lnTo>
                    <a:pt x="265" y="835"/>
                  </a:lnTo>
                  <a:lnTo>
                    <a:pt x="264" y="858"/>
                  </a:lnTo>
                  <a:lnTo>
                    <a:pt x="264" y="881"/>
                  </a:lnTo>
                  <a:lnTo>
                    <a:pt x="266" y="903"/>
                  </a:lnTo>
                  <a:lnTo>
                    <a:pt x="267" y="912"/>
                  </a:lnTo>
                  <a:lnTo>
                    <a:pt x="270" y="920"/>
                  </a:lnTo>
                  <a:lnTo>
                    <a:pt x="272" y="926"/>
                  </a:lnTo>
                  <a:lnTo>
                    <a:pt x="275" y="930"/>
                  </a:lnTo>
                  <a:lnTo>
                    <a:pt x="275" y="940"/>
                  </a:lnTo>
                  <a:lnTo>
                    <a:pt x="280" y="946"/>
                  </a:lnTo>
                  <a:lnTo>
                    <a:pt x="286" y="955"/>
                  </a:lnTo>
                  <a:lnTo>
                    <a:pt x="290" y="960"/>
                  </a:lnTo>
                  <a:lnTo>
                    <a:pt x="292" y="966"/>
                  </a:lnTo>
                  <a:lnTo>
                    <a:pt x="294" y="970"/>
                  </a:lnTo>
                  <a:lnTo>
                    <a:pt x="294" y="975"/>
                  </a:lnTo>
                  <a:lnTo>
                    <a:pt x="300" y="977"/>
                  </a:lnTo>
                  <a:lnTo>
                    <a:pt x="304" y="979"/>
                  </a:lnTo>
                  <a:lnTo>
                    <a:pt x="307" y="987"/>
                  </a:lnTo>
                  <a:lnTo>
                    <a:pt x="309" y="994"/>
                  </a:lnTo>
                  <a:lnTo>
                    <a:pt x="314" y="999"/>
                  </a:lnTo>
                  <a:lnTo>
                    <a:pt x="323" y="1004"/>
                  </a:lnTo>
                  <a:lnTo>
                    <a:pt x="329" y="1008"/>
                  </a:lnTo>
                  <a:lnTo>
                    <a:pt x="329" y="1010"/>
                  </a:lnTo>
                  <a:lnTo>
                    <a:pt x="330" y="1012"/>
                  </a:lnTo>
                  <a:lnTo>
                    <a:pt x="332" y="1012"/>
                  </a:lnTo>
                  <a:lnTo>
                    <a:pt x="334" y="1012"/>
                  </a:lnTo>
                  <a:lnTo>
                    <a:pt x="340" y="1012"/>
                  </a:lnTo>
                  <a:lnTo>
                    <a:pt x="347" y="1009"/>
                  </a:lnTo>
                  <a:lnTo>
                    <a:pt x="360" y="1006"/>
                  </a:lnTo>
                  <a:lnTo>
                    <a:pt x="368" y="1004"/>
                  </a:lnTo>
                  <a:lnTo>
                    <a:pt x="380" y="1016"/>
                  </a:lnTo>
                  <a:lnTo>
                    <a:pt x="392" y="1028"/>
                  </a:lnTo>
                  <a:lnTo>
                    <a:pt x="408" y="1053"/>
                  </a:lnTo>
                  <a:lnTo>
                    <a:pt x="410" y="1063"/>
                  </a:lnTo>
                  <a:lnTo>
                    <a:pt x="411" y="1077"/>
                  </a:lnTo>
                  <a:lnTo>
                    <a:pt x="413" y="1093"/>
                  </a:lnTo>
                  <a:lnTo>
                    <a:pt x="413" y="1102"/>
                  </a:lnTo>
                  <a:lnTo>
                    <a:pt x="420" y="1104"/>
                  </a:lnTo>
                  <a:lnTo>
                    <a:pt x="427" y="1108"/>
                  </a:lnTo>
                  <a:lnTo>
                    <a:pt x="427" y="1117"/>
                  </a:lnTo>
                  <a:lnTo>
                    <a:pt x="433" y="1122"/>
                  </a:lnTo>
                  <a:lnTo>
                    <a:pt x="448" y="1122"/>
                  </a:lnTo>
                  <a:lnTo>
                    <a:pt x="467" y="1124"/>
                  </a:lnTo>
                  <a:lnTo>
                    <a:pt x="487" y="1125"/>
                  </a:lnTo>
                  <a:lnTo>
                    <a:pt x="506" y="1127"/>
                  </a:lnTo>
                  <a:lnTo>
                    <a:pt x="509" y="1121"/>
                  </a:lnTo>
                  <a:lnTo>
                    <a:pt x="514" y="1114"/>
                  </a:lnTo>
                  <a:lnTo>
                    <a:pt x="523" y="1108"/>
                  </a:lnTo>
                  <a:lnTo>
                    <a:pt x="531" y="1102"/>
                  </a:lnTo>
                  <a:lnTo>
                    <a:pt x="532" y="1098"/>
                  </a:lnTo>
                  <a:lnTo>
                    <a:pt x="534" y="1091"/>
                  </a:lnTo>
                  <a:lnTo>
                    <a:pt x="539" y="1082"/>
                  </a:lnTo>
                  <a:lnTo>
                    <a:pt x="544" y="1074"/>
                  </a:lnTo>
                  <a:lnTo>
                    <a:pt x="550" y="1066"/>
                  </a:lnTo>
                  <a:lnTo>
                    <a:pt x="555" y="1060"/>
                  </a:lnTo>
                  <a:lnTo>
                    <a:pt x="561" y="1055"/>
                  </a:lnTo>
                  <a:lnTo>
                    <a:pt x="566" y="1053"/>
                  </a:lnTo>
                  <a:lnTo>
                    <a:pt x="570" y="1041"/>
                  </a:lnTo>
                  <a:lnTo>
                    <a:pt x="574" y="1028"/>
                  </a:lnTo>
                  <a:lnTo>
                    <a:pt x="584" y="1021"/>
                  </a:lnTo>
                  <a:lnTo>
                    <a:pt x="595" y="1014"/>
                  </a:lnTo>
                  <a:lnTo>
                    <a:pt x="612" y="987"/>
                  </a:lnTo>
                  <a:lnTo>
                    <a:pt x="643" y="948"/>
                  </a:lnTo>
                  <a:lnTo>
                    <a:pt x="658" y="928"/>
                  </a:lnTo>
                  <a:lnTo>
                    <a:pt x="670" y="909"/>
                  </a:lnTo>
                  <a:lnTo>
                    <a:pt x="676" y="901"/>
                  </a:lnTo>
                  <a:lnTo>
                    <a:pt x="679" y="894"/>
                  </a:lnTo>
                  <a:lnTo>
                    <a:pt x="683" y="889"/>
                  </a:lnTo>
                  <a:lnTo>
                    <a:pt x="683" y="885"/>
                  </a:lnTo>
                  <a:lnTo>
                    <a:pt x="689" y="882"/>
                  </a:lnTo>
                  <a:lnTo>
                    <a:pt x="694" y="880"/>
                  </a:lnTo>
                  <a:lnTo>
                    <a:pt x="696" y="878"/>
                  </a:lnTo>
                  <a:lnTo>
                    <a:pt x="697" y="874"/>
                  </a:lnTo>
                  <a:lnTo>
                    <a:pt x="697" y="871"/>
                  </a:lnTo>
                  <a:lnTo>
                    <a:pt x="698" y="867"/>
                  </a:lnTo>
                  <a:lnTo>
                    <a:pt x="713" y="851"/>
                  </a:lnTo>
                  <a:lnTo>
                    <a:pt x="727" y="836"/>
                  </a:lnTo>
                  <a:lnTo>
                    <a:pt x="727" y="832"/>
                  </a:lnTo>
                  <a:lnTo>
                    <a:pt x="730" y="827"/>
                  </a:lnTo>
                  <a:lnTo>
                    <a:pt x="731" y="823"/>
                  </a:lnTo>
                  <a:lnTo>
                    <a:pt x="734" y="821"/>
                  </a:lnTo>
                  <a:lnTo>
                    <a:pt x="740" y="815"/>
                  </a:lnTo>
                  <a:lnTo>
                    <a:pt x="747" y="812"/>
                  </a:lnTo>
                  <a:lnTo>
                    <a:pt x="749" y="806"/>
                  </a:lnTo>
                  <a:lnTo>
                    <a:pt x="752" y="800"/>
                  </a:lnTo>
                  <a:lnTo>
                    <a:pt x="756" y="790"/>
                  </a:lnTo>
                  <a:lnTo>
                    <a:pt x="762" y="779"/>
                  </a:lnTo>
                  <a:lnTo>
                    <a:pt x="774" y="761"/>
                  </a:lnTo>
                  <a:lnTo>
                    <a:pt x="782" y="748"/>
                  </a:lnTo>
                  <a:lnTo>
                    <a:pt x="787" y="734"/>
                  </a:lnTo>
                  <a:lnTo>
                    <a:pt x="791" y="719"/>
                  </a:lnTo>
                  <a:lnTo>
                    <a:pt x="794" y="705"/>
                  </a:lnTo>
                  <a:lnTo>
                    <a:pt x="797" y="690"/>
                  </a:lnTo>
                  <a:lnTo>
                    <a:pt x="801" y="662"/>
                  </a:lnTo>
                  <a:lnTo>
                    <a:pt x="802" y="636"/>
                  </a:lnTo>
                  <a:lnTo>
                    <a:pt x="803" y="609"/>
                  </a:lnTo>
                  <a:lnTo>
                    <a:pt x="802" y="581"/>
                  </a:lnTo>
                  <a:lnTo>
                    <a:pt x="801" y="554"/>
                  </a:lnTo>
                  <a:lnTo>
                    <a:pt x="801" y="526"/>
                  </a:lnTo>
                  <a:lnTo>
                    <a:pt x="798" y="523"/>
                  </a:lnTo>
                  <a:lnTo>
                    <a:pt x="794" y="517"/>
                  </a:lnTo>
                  <a:lnTo>
                    <a:pt x="792" y="513"/>
                  </a:lnTo>
                  <a:lnTo>
                    <a:pt x="790" y="506"/>
                  </a:lnTo>
                  <a:lnTo>
                    <a:pt x="787" y="492"/>
                  </a:lnTo>
                  <a:lnTo>
                    <a:pt x="784" y="476"/>
                  </a:lnTo>
                  <a:lnTo>
                    <a:pt x="782" y="458"/>
                  </a:lnTo>
                  <a:lnTo>
                    <a:pt x="782" y="439"/>
                  </a:lnTo>
                  <a:lnTo>
                    <a:pt x="783" y="420"/>
                  </a:lnTo>
                  <a:lnTo>
                    <a:pt x="784" y="399"/>
                  </a:lnTo>
                  <a:lnTo>
                    <a:pt x="788" y="359"/>
                  </a:lnTo>
                  <a:lnTo>
                    <a:pt x="791" y="320"/>
                  </a:lnTo>
                  <a:lnTo>
                    <a:pt x="794" y="286"/>
                  </a:lnTo>
                  <a:lnTo>
                    <a:pt x="797" y="261"/>
                  </a:lnTo>
                  <a:lnTo>
                    <a:pt x="802" y="254"/>
                  </a:lnTo>
                  <a:lnTo>
                    <a:pt x="807" y="244"/>
                  </a:lnTo>
                  <a:lnTo>
                    <a:pt x="812" y="231"/>
                  </a:lnTo>
                  <a:lnTo>
                    <a:pt x="817" y="218"/>
                  </a:lnTo>
                  <a:lnTo>
                    <a:pt x="820" y="205"/>
                  </a:lnTo>
                  <a:lnTo>
                    <a:pt x="823" y="192"/>
                  </a:lnTo>
                  <a:lnTo>
                    <a:pt x="826" y="181"/>
                  </a:lnTo>
                  <a:lnTo>
                    <a:pt x="826" y="172"/>
                  </a:lnTo>
                  <a:lnTo>
                    <a:pt x="829" y="171"/>
                  </a:lnTo>
                  <a:lnTo>
                    <a:pt x="831" y="169"/>
                  </a:lnTo>
                  <a:lnTo>
                    <a:pt x="833" y="166"/>
                  </a:lnTo>
                  <a:lnTo>
                    <a:pt x="835" y="162"/>
                  </a:lnTo>
                  <a:lnTo>
                    <a:pt x="837" y="159"/>
                  </a:lnTo>
                  <a:lnTo>
                    <a:pt x="838" y="156"/>
                  </a:lnTo>
                  <a:lnTo>
                    <a:pt x="839" y="153"/>
                  </a:lnTo>
                  <a:lnTo>
                    <a:pt x="840" y="152"/>
                  </a:lnTo>
                  <a:lnTo>
                    <a:pt x="840" y="133"/>
                  </a:lnTo>
                  <a:lnTo>
                    <a:pt x="820" y="131"/>
                  </a:lnTo>
                  <a:lnTo>
                    <a:pt x="795" y="125"/>
                  </a:lnTo>
                  <a:lnTo>
                    <a:pt x="783" y="123"/>
                  </a:lnTo>
                  <a:lnTo>
                    <a:pt x="771" y="121"/>
                  </a:lnTo>
                  <a:lnTo>
                    <a:pt x="759" y="119"/>
                  </a:lnTo>
                  <a:lnTo>
                    <a:pt x="747" y="119"/>
                  </a:lnTo>
                  <a:lnTo>
                    <a:pt x="698" y="109"/>
                  </a:lnTo>
                  <a:lnTo>
                    <a:pt x="691" y="108"/>
                  </a:lnTo>
                  <a:lnTo>
                    <a:pt x="682" y="106"/>
                  </a:lnTo>
                  <a:lnTo>
                    <a:pt x="673" y="104"/>
                  </a:lnTo>
                  <a:lnTo>
                    <a:pt x="664" y="101"/>
                  </a:lnTo>
                  <a:lnTo>
                    <a:pt x="647" y="96"/>
                  </a:lnTo>
                  <a:lnTo>
                    <a:pt x="634" y="93"/>
                  </a:lnTo>
                  <a:lnTo>
                    <a:pt x="624" y="84"/>
                  </a:lnTo>
                  <a:lnTo>
                    <a:pt x="609" y="84"/>
                  </a:lnTo>
                  <a:lnTo>
                    <a:pt x="603" y="81"/>
                  </a:lnTo>
                  <a:lnTo>
                    <a:pt x="592" y="74"/>
                  </a:lnTo>
                  <a:lnTo>
                    <a:pt x="580" y="67"/>
                  </a:lnTo>
                  <a:lnTo>
                    <a:pt x="574" y="64"/>
                  </a:lnTo>
                  <a:lnTo>
                    <a:pt x="572" y="58"/>
                  </a:lnTo>
                  <a:lnTo>
                    <a:pt x="567" y="53"/>
                  </a:lnTo>
                  <a:lnTo>
                    <a:pt x="560" y="47"/>
                  </a:lnTo>
                  <a:lnTo>
                    <a:pt x="555" y="44"/>
                  </a:lnTo>
                  <a:lnTo>
                    <a:pt x="553" y="29"/>
                  </a:lnTo>
                  <a:lnTo>
                    <a:pt x="550" y="15"/>
                  </a:lnTo>
                  <a:lnTo>
                    <a:pt x="545" y="11"/>
                  </a:lnTo>
                  <a:lnTo>
                    <a:pt x="541" y="5"/>
                  </a:lnTo>
                  <a:lnTo>
                    <a:pt x="533" y="5"/>
                  </a:lnTo>
                  <a:lnTo>
                    <a:pt x="525" y="5"/>
                  </a:lnTo>
                  <a:lnTo>
                    <a:pt x="523" y="4"/>
                  </a:lnTo>
                  <a:lnTo>
                    <a:pt x="515" y="3"/>
                  </a:lnTo>
                  <a:lnTo>
                    <a:pt x="505" y="2"/>
                  </a:lnTo>
                  <a:lnTo>
                    <a:pt x="493" y="0"/>
                  </a:lnTo>
                  <a:lnTo>
                    <a:pt x="467" y="0"/>
                  </a:lnTo>
                  <a:lnTo>
                    <a:pt x="452" y="0"/>
                  </a:lnTo>
                  <a:lnTo>
                    <a:pt x="448" y="2"/>
                  </a:lnTo>
                  <a:lnTo>
                    <a:pt x="442" y="6"/>
                  </a:lnTo>
                  <a:lnTo>
                    <a:pt x="435" y="11"/>
                  </a:lnTo>
                  <a:lnTo>
                    <a:pt x="433" y="15"/>
                  </a:lnTo>
                  <a:lnTo>
                    <a:pt x="423" y="15"/>
                  </a:lnTo>
                  <a:lnTo>
                    <a:pt x="420" y="19"/>
                  </a:lnTo>
                  <a:lnTo>
                    <a:pt x="417" y="25"/>
                  </a:lnTo>
                  <a:lnTo>
                    <a:pt x="382" y="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1" name="Freeform 98"/>
            <p:cNvSpPr>
              <a:spLocks noChangeAspect="1"/>
            </p:cNvSpPr>
            <p:nvPr/>
          </p:nvSpPr>
          <p:spPr bwMode="gray">
            <a:xfrm rot="355651">
              <a:off x="6962303" y="3892550"/>
              <a:ext cx="98390" cy="120300"/>
            </a:xfrm>
            <a:custGeom>
              <a:avLst/>
              <a:gdLst/>
              <a:ahLst/>
              <a:cxnLst>
                <a:cxn ang="0">
                  <a:pos x="114" y="78"/>
                </a:cxn>
                <a:cxn ang="0">
                  <a:pos x="57" y="98"/>
                </a:cxn>
                <a:cxn ang="0">
                  <a:pos x="23" y="108"/>
                </a:cxn>
                <a:cxn ang="0">
                  <a:pos x="12" y="128"/>
                </a:cxn>
                <a:cxn ang="0">
                  <a:pos x="5" y="132"/>
                </a:cxn>
                <a:cxn ang="0">
                  <a:pos x="12" y="175"/>
                </a:cxn>
                <a:cxn ang="0">
                  <a:pos x="31" y="189"/>
                </a:cxn>
                <a:cxn ang="0">
                  <a:pos x="56" y="205"/>
                </a:cxn>
                <a:cxn ang="0">
                  <a:pos x="79" y="223"/>
                </a:cxn>
                <a:cxn ang="0">
                  <a:pos x="90" y="235"/>
                </a:cxn>
                <a:cxn ang="0">
                  <a:pos x="115" y="252"/>
                </a:cxn>
                <a:cxn ang="0">
                  <a:pos x="136" y="272"/>
                </a:cxn>
                <a:cxn ang="0">
                  <a:pos x="161" y="308"/>
                </a:cxn>
                <a:cxn ang="0">
                  <a:pos x="173" y="322"/>
                </a:cxn>
                <a:cxn ang="0">
                  <a:pos x="183" y="343"/>
                </a:cxn>
                <a:cxn ang="0">
                  <a:pos x="192" y="367"/>
                </a:cxn>
                <a:cxn ang="0">
                  <a:pos x="199" y="375"/>
                </a:cxn>
                <a:cxn ang="0">
                  <a:pos x="248" y="390"/>
                </a:cxn>
                <a:cxn ang="0">
                  <a:pos x="271" y="406"/>
                </a:cxn>
                <a:cxn ang="0">
                  <a:pos x="297" y="434"/>
                </a:cxn>
                <a:cxn ang="0">
                  <a:pos x="321" y="466"/>
                </a:cxn>
                <a:cxn ang="0">
                  <a:pos x="348" y="511"/>
                </a:cxn>
                <a:cxn ang="0">
                  <a:pos x="359" y="552"/>
                </a:cxn>
                <a:cxn ang="0">
                  <a:pos x="377" y="595"/>
                </a:cxn>
                <a:cxn ang="0">
                  <a:pos x="388" y="632"/>
                </a:cxn>
                <a:cxn ang="0">
                  <a:pos x="403" y="644"/>
                </a:cxn>
                <a:cxn ang="0">
                  <a:pos x="427" y="672"/>
                </a:cxn>
                <a:cxn ang="0">
                  <a:pos x="432" y="675"/>
                </a:cxn>
                <a:cxn ang="0">
                  <a:pos x="446" y="685"/>
                </a:cxn>
                <a:cxn ang="0">
                  <a:pos x="469" y="698"/>
                </a:cxn>
                <a:cxn ang="0">
                  <a:pos x="473" y="704"/>
                </a:cxn>
                <a:cxn ang="0">
                  <a:pos x="493" y="716"/>
                </a:cxn>
                <a:cxn ang="0">
                  <a:pos x="511" y="736"/>
                </a:cxn>
                <a:cxn ang="0">
                  <a:pos x="529" y="746"/>
                </a:cxn>
                <a:cxn ang="0">
                  <a:pos x="542" y="706"/>
                </a:cxn>
                <a:cxn ang="0">
                  <a:pos x="541" y="619"/>
                </a:cxn>
                <a:cxn ang="0">
                  <a:pos x="523" y="518"/>
                </a:cxn>
                <a:cxn ang="0">
                  <a:pos x="519" y="409"/>
                </a:cxn>
                <a:cxn ang="0">
                  <a:pos x="506" y="331"/>
                </a:cxn>
                <a:cxn ang="0">
                  <a:pos x="475" y="307"/>
                </a:cxn>
                <a:cxn ang="0">
                  <a:pos x="463" y="163"/>
                </a:cxn>
                <a:cxn ang="0">
                  <a:pos x="446" y="144"/>
                </a:cxn>
                <a:cxn ang="0">
                  <a:pos x="415" y="120"/>
                </a:cxn>
                <a:cxn ang="0">
                  <a:pos x="357" y="115"/>
                </a:cxn>
                <a:cxn ang="0">
                  <a:pos x="312" y="97"/>
                </a:cxn>
                <a:cxn ang="0">
                  <a:pos x="300" y="82"/>
                </a:cxn>
                <a:cxn ang="0">
                  <a:pos x="277" y="72"/>
                </a:cxn>
                <a:cxn ang="0">
                  <a:pos x="259" y="61"/>
                </a:cxn>
                <a:cxn ang="0">
                  <a:pos x="229" y="33"/>
                </a:cxn>
                <a:cxn ang="0">
                  <a:pos x="192" y="6"/>
                </a:cxn>
                <a:cxn ang="0">
                  <a:pos x="160" y="1"/>
                </a:cxn>
                <a:cxn ang="0">
                  <a:pos x="125" y="18"/>
                </a:cxn>
                <a:cxn ang="0">
                  <a:pos x="120" y="21"/>
                </a:cxn>
              </a:cxnLst>
              <a:rect l="0" t="0" r="r" b="b"/>
              <a:pathLst>
                <a:path w="547" h="746">
                  <a:moveTo>
                    <a:pt x="114" y="24"/>
                  </a:moveTo>
                  <a:lnTo>
                    <a:pt x="114" y="38"/>
                  </a:lnTo>
                  <a:lnTo>
                    <a:pt x="114" y="51"/>
                  </a:lnTo>
                  <a:lnTo>
                    <a:pt x="114" y="64"/>
                  </a:lnTo>
                  <a:lnTo>
                    <a:pt x="114" y="78"/>
                  </a:lnTo>
                  <a:lnTo>
                    <a:pt x="104" y="82"/>
                  </a:lnTo>
                  <a:lnTo>
                    <a:pt x="93" y="87"/>
                  </a:lnTo>
                  <a:lnTo>
                    <a:pt x="79" y="89"/>
                  </a:lnTo>
                  <a:lnTo>
                    <a:pt x="66" y="90"/>
                  </a:lnTo>
                  <a:lnTo>
                    <a:pt x="57" y="98"/>
                  </a:lnTo>
                  <a:lnTo>
                    <a:pt x="47" y="103"/>
                  </a:lnTo>
                  <a:lnTo>
                    <a:pt x="42" y="106"/>
                  </a:lnTo>
                  <a:lnTo>
                    <a:pt x="37" y="107"/>
                  </a:lnTo>
                  <a:lnTo>
                    <a:pt x="30" y="108"/>
                  </a:lnTo>
                  <a:lnTo>
                    <a:pt x="23" y="108"/>
                  </a:lnTo>
                  <a:lnTo>
                    <a:pt x="18" y="115"/>
                  </a:lnTo>
                  <a:lnTo>
                    <a:pt x="18" y="127"/>
                  </a:lnTo>
                  <a:lnTo>
                    <a:pt x="14" y="127"/>
                  </a:lnTo>
                  <a:lnTo>
                    <a:pt x="12" y="127"/>
                  </a:lnTo>
                  <a:lnTo>
                    <a:pt x="12" y="128"/>
                  </a:lnTo>
                  <a:lnTo>
                    <a:pt x="12" y="129"/>
                  </a:lnTo>
                  <a:lnTo>
                    <a:pt x="12" y="130"/>
                  </a:lnTo>
                  <a:lnTo>
                    <a:pt x="11" y="131"/>
                  </a:lnTo>
                  <a:lnTo>
                    <a:pt x="9" y="132"/>
                  </a:lnTo>
                  <a:lnTo>
                    <a:pt x="5" y="132"/>
                  </a:lnTo>
                  <a:lnTo>
                    <a:pt x="4" y="139"/>
                  </a:lnTo>
                  <a:lnTo>
                    <a:pt x="3" y="148"/>
                  </a:lnTo>
                  <a:lnTo>
                    <a:pt x="1" y="158"/>
                  </a:lnTo>
                  <a:lnTo>
                    <a:pt x="0" y="168"/>
                  </a:lnTo>
                  <a:lnTo>
                    <a:pt x="12" y="175"/>
                  </a:lnTo>
                  <a:lnTo>
                    <a:pt x="23" y="180"/>
                  </a:lnTo>
                  <a:lnTo>
                    <a:pt x="24" y="183"/>
                  </a:lnTo>
                  <a:lnTo>
                    <a:pt x="26" y="185"/>
                  </a:lnTo>
                  <a:lnTo>
                    <a:pt x="28" y="187"/>
                  </a:lnTo>
                  <a:lnTo>
                    <a:pt x="31" y="189"/>
                  </a:lnTo>
                  <a:lnTo>
                    <a:pt x="37" y="192"/>
                  </a:lnTo>
                  <a:lnTo>
                    <a:pt x="42" y="193"/>
                  </a:lnTo>
                  <a:lnTo>
                    <a:pt x="53" y="198"/>
                  </a:lnTo>
                  <a:lnTo>
                    <a:pt x="55" y="202"/>
                  </a:lnTo>
                  <a:lnTo>
                    <a:pt x="56" y="205"/>
                  </a:lnTo>
                  <a:lnTo>
                    <a:pt x="57" y="207"/>
                  </a:lnTo>
                  <a:lnTo>
                    <a:pt x="59" y="211"/>
                  </a:lnTo>
                  <a:lnTo>
                    <a:pt x="66" y="215"/>
                  </a:lnTo>
                  <a:lnTo>
                    <a:pt x="72" y="218"/>
                  </a:lnTo>
                  <a:lnTo>
                    <a:pt x="79" y="223"/>
                  </a:lnTo>
                  <a:lnTo>
                    <a:pt x="85" y="226"/>
                  </a:lnTo>
                  <a:lnTo>
                    <a:pt x="87" y="228"/>
                  </a:lnTo>
                  <a:lnTo>
                    <a:pt x="88" y="231"/>
                  </a:lnTo>
                  <a:lnTo>
                    <a:pt x="89" y="233"/>
                  </a:lnTo>
                  <a:lnTo>
                    <a:pt x="90" y="235"/>
                  </a:lnTo>
                  <a:lnTo>
                    <a:pt x="103" y="235"/>
                  </a:lnTo>
                  <a:lnTo>
                    <a:pt x="103" y="237"/>
                  </a:lnTo>
                  <a:lnTo>
                    <a:pt x="106" y="242"/>
                  </a:lnTo>
                  <a:lnTo>
                    <a:pt x="110" y="247"/>
                  </a:lnTo>
                  <a:lnTo>
                    <a:pt x="115" y="252"/>
                  </a:lnTo>
                  <a:lnTo>
                    <a:pt x="120" y="256"/>
                  </a:lnTo>
                  <a:lnTo>
                    <a:pt x="125" y="261"/>
                  </a:lnTo>
                  <a:lnTo>
                    <a:pt x="129" y="264"/>
                  </a:lnTo>
                  <a:lnTo>
                    <a:pt x="132" y="265"/>
                  </a:lnTo>
                  <a:lnTo>
                    <a:pt x="136" y="272"/>
                  </a:lnTo>
                  <a:lnTo>
                    <a:pt x="144" y="282"/>
                  </a:lnTo>
                  <a:lnTo>
                    <a:pt x="153" y="291"/>
                  </a:lnTo>
                  <a:lnTo>
                    <a:pt x="156" y="294"/>
                  </a:lnTo>
                  <a:lnTo>
                    <a:pt x="156" y="307"/>
                  </a:lnTo>
                  <a:lnTo>
                    <a:pt x="161" y="308"/>
                  </a:lnTo>
                  <a:lnTo>
                    <a:pt x="164" y="311"/>
                  </a:lnTo>
                  <a:lnTo>
                    <a:pt x="167" y="314"/>
                  </a:lnTo>
                  <a:lnTo>
                    <a:pt x="168" y="319"/>
                  </a:lnTo>
                  <a:lnTo>
                    <a:pt x="171" y="320"/>
                  </a:lnTo>
                  <a:lnTo>
                    <a:pt x="173" y="322"/>
                  </a:lnTo>
                  <a:lnTo>
                    <a:pt x="175" y="324"/>
                  </a:lnTo>
                  <a:lnTo>
                    <a:pt x="176" y="329"/>
                  </a:lnTo>
                  <a:lnTo>
                    <a:pt x="180" y="337"/>
                  </a:lnTo>
                  <a:lnTo>
                    <a:pt x="181" y="343"/>
                  </a:lnTo>
                  <a:lnTo>
                    <a:pt x="183" y="343"/>
                  </a:lnTo>
                  <a:lnTo>
                    <a:pt x="185" y="346"/>
                  </a:lnTo>
                  <a:lnTo>
                    <a:pt x="186" y="349"/>
                  </a:lnTo>
                  <a:lnTo>
                    <a:pt x="189" y="352"/>
                  </a:lnTo>
                  <a:lnTo>
                    <a:pt x="191" y="361"/>
                  </a:lnTo>
                  <a:lnTo>
                    <a:pt x="192" y="367"/>
                  </a:lnTo>
                  <a:lnTo>
                    <a:pt x="194" y="367"/>
                  </a:lnTo>
                  <a:lnTo>
                    <a:pt x="195" y="368"/>
                  </a:lnTo>
                  <a:lnTo>
                    <a:pt x="196" y="369"/>
                  </a:lnTo>
                  <a:lnTo>
                    <a:pt x="197" y="371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4" y="385"/>
                  </a:lnTo>
                  <a:lnTo>
                    <a:pt x="219" y="386"/>
                  </a:lnTo>
                  <a:lnTo>
                    <a:pt x="233" y="388"/>
                  </a:lnTo>
                  <a:lnTo>
                    <a:pt x="248" y="390"/>
                  </a:lnTo>
                  <a:lnTo>
                    <a:pt x="259" y="391"/>
                  </a:lnTo>
                  <a:lnTo>
                    <a:pt x="260" y="394"/>
                  </a:lnTo>
                  <a:lnTo>
                    <a:pt x="262" y="397"/>
                  </a:lnTo>
                  <a:lnTo>
                    <a:pt x="267" y="401"/>
                  </a:lnTo>
                  <a:lnTo>
                    <a:pt x="271" y="406"/>
                  </a:lnTo>
                  <a:lnTo>
                    <a:pt x="281" y="413"/>
                  </a:lnTo>
                  <a:lnTo>
                    <a:pt x="289" y="415"/>
                  </a:lnTo>
                  <a:lnTo>
                    <a:pt x="291" y="424"/>
                  </a:lnTo>
                  <a:lnTo>
                    <a:pt x="295" y="433"/>
                  </a:lnTo>
                  <a:lnTo>
                    <a:pt x="297" y="434"/>
                  </a:lnTo>
                  <a:lnTo>
                    <a:pt x="300" y="436"/>
                  </a:lnTo>
                  <a:lnTo>
                    <a:pt x="302" y="439"/>
                  </a:lnTo>
                  <a:lnTo>
                    <a:pt x="306" y="444"/>
                  </a:lnTo>
                  <a:lnTo>
                    <a:pt x="314" y="454"/>
                  </a:lnTo>
                  <a:lnTo>
                    <a:pt x="321" y="466"/>
                  </a:lnTo>
                  <a:lnTo>
                    <a:pt x="328" y="478"/>
                  </a:lnTo>
                  <a:lnTo>
                    <a:pt x="335" y="489"/>
                  </a:lnTo>
                  <a:lnTo>
                    <a:pt x="339" y="496"/>
                  </a:lnTo>
                  <a:lnTo>
                    <a:pt x="343" y="500"/>
                  </a:lnTo>
                  <a:lnTo>
                    <a:pt x="348" y="511"/>
                  </a:lnTo>
                  <a:lnTo>
                    <a:pt x="349" y="519"/>
                  </a:lnTo>
                  <a:lnTo>
                    <a:pt x="350" y="525"/>
                  </a:lnTo>
                  <a:lnTo>
                    <a:pt x="353" y="532"/>
                  </a:lnTo>
                  <a:lnTo>
                    <a:pt x="355" y="539"/>
                  </a:lnTo>
                  <a:lnTo>
                    <a:pt x="359" y="552"/>
                  </a:lnTo>
                  <a:lnTo>
                    <a:pt x="360" y="566"/>
                  </a:lnTo>
                  <a:lnTo>
                    <a:pt x="365" y="569"/>
                  </a:lnTo>
                  <a:lnTo>
                    <a:pt x="369" y="576"/>
                  </a:lnTo>
                  <a:lnTo>
                    <a:pt x="374" y="584"/>
                  </a:lnTo>
                  <a:lnTo>
                    <a:pt x="377" y="595"/>
                  </a:lnTo>
                  <a:lnTo>
                    <a:pt x="381" y="605"/>
                  </a:lnTo>
                  <a:lnTo>
                    <a:pt x="383" y="615"/>
                  </a:lnTo>
                  <a:lnTo>
                    <a:pt x="384" y="624"/>
                  </a:lnTo>
                  <a:lnTo>
                    <a:pt x="385" y="631"/>
                  </a:lnTo>
                  <a:lnTo>
                    <a:pt x="388" y="632"/>
                  </a:lnTo>
                  <a:lnTo>
                    <a:pt x="392" y="634"/>
                  </a:lnTo>
                  <a:lnTo>
                    <a:pt x="394" y="636"/>
                  </a:lnTo>
                  <a:lnTo>
                    <a:pt x="396" y="638"/>
                  </a:lnTo>
                  <a:lnTo>
                    <a:pt x="400" y="641"/>
                  </a:lnTo>
                  <a:lnTo>
                    <a:pt x="403" y="644"/>
                  </a:lnTo>
                  <a:lnTo>
                    <a:pt x="403" y="656"/>
                  </a:lnTo>
                  <a:lnTo>
                    <a:pt x="408" y="661"/>
                  </a:lnTo>
                  <a:lnTo>
                    <a:pt x="421" y="661"/>
                  </a:lnTo>
                  <a:lnTo>
                    <a:pt x="427" y="668"/>
                  </a:lnTo>
                  <a:lnTo>
                    <a:pt x="427" y="672"/>
                  </a:lnTo>
                  <a:lnTo>
                    <a:pt x="427" y="673"/>
                  </a:lnTo>
                  <a:lnTo>
                    <a:pt x="429" y="674"/>
                  </a:lnTo>
                  <a:lnTo>
                    <a:pt x="430" y="674"/>
                  </a:lnTo>
                  <a:lnTo>
                    <a:pt x="431" y="674"/>
                  </a:lnTo>
                  <a:lnTo>
                    <a:pt x="432" y="675"/>
                  </a:lnTo>
                  <a:lnTo>
                    <a:pt x="433" y="676"/>
                  </a:lnTo>
                  <a:lnTo>
                    <a:pt x="433" y="679"/>
                  </a:lnTo>
                  <a:lnTo>
                    <a:pt x="439" y="680"/>
                  </a:lnTo>
                  <a:lnTo>
                    <a:pt x="444" y="684"/>
                  </a:lnTo>
                  <a:lnTo>
                    <a:pt x="446" y="685"/>
                  </a:lnTo>
                  <a:lnTo>
                    <a:pt x="449" y="687"/>
                  </a:lnTo>
                  <a:lnTo>
                    <a:pt x="451" y="689"/>
                  </a:lnTo>
                  <a:lnTo>
                    <a:pt x="451" y="692"/>
                  </a:lnTo>
                  <a:lnTo>
                    <a:pt x="463" y="692"/>
                  </a:lnTo>
                  <a:lnTo>
                    <a:pt x="469" y="698"/>
                  </a:lnTo>
                  <a:lnTo>
                    <a:pt x="469" y="702"/>
                  </a:lnTo>
                  <a:lnTo>
                    <a:pt x="470" y="703"/>
                  </a:lnTo>
                  <a:lnTo>
                    <a:pt x="471" y="704"/>
                  </a:lnTo>
                  <a:lnTo>
                    <a:pt x="472" y="704"/>
                  </a:lnTo>
                  <a:lnTo>
                    <a:pt x="473" y="704"/>
                  </a:lnTo>
                  <a:lnTo>
                    <a:pt x="474" y="705"/>
                  </a:lnTo>
                  <a:lnTo>
                    <a:pt x="474" y="706"/>
                  </a:lnTo>
                  <a:lnTo>
                    <a:pt x="475" y="709"/>
                  </a:lnTo>
                  <a:lnTo>
                    <a:pt x="487" y="709"/>
                  </a:lnTo>
                  <a:lnTo>
                    <a:pt x="493" y="716"/>
                  </a:lnTo>
                  <a:lnTo>
                    <a:pt x="496" y="722"/>
                  </a:lnTo>
                  <a:lnTo>
                    <a:pt x="500" y="727"/>
                  </a:lnTo>
                  <a:lnTo>
                    <a:pt x="506" y="732"/>
                  </a:lnTo>
                  <a:lnTo>
                    <a:pt x="511" y="734"/>
                  </a:lnTo>
                  <a:lnTo>
                    <a:pt x="511" y="736"/>
                  </a:lnTo>
                  <a:lnTo>
                    <a:pt x="513" y="739"/>
                  </a:lnTo>
                  <a:lnTo>
                    <a:pt x="516" y="741"/>
                  </a:lnTo>
                  <a:lnTo>
                    <a:pt x="518" y="742"/>
                  </a:lnTo>
                  <a:lnTo>
                    <a:pt x="523" y="745"/>
                  </a:lnTo>
                  <a:lnTo>
                    <a:pt x="529" y="746"/>
                  </a:lnTo>
                  <a:lnTo>
                    <a:pt x="531" y="742"/>
                  </a:lnTo>
                  <a:lnTo>
                    <a:pt x="536" y="737"/>
                  </a:lnTo>
                  <a:lnTo>
                    <a:pt x="539" y="735"/>
                  </a:lnTo>
                  <a:lnTo>
                    <a:pt x="541" y="734"/>
                  </a:lnTo>
                  <a:lnTo>
                    <a:pt x="542" y="706"/>
                  </a:lnTo>
                  <a:lnTo>
                    <a:pt x="546" y="677"/>
                  </a:lnTo>
                  <a:lnTo>
                    <a:pt x="547" y="663"/>
                  </a:lnTo>
                  <a:lnTo>
                    <a:pt x="546" y="648"/>
                  </a:lnTo>
                  <a:lnTo>
                    <a:pt x="545" y="634"/>
                  </a:lnTo>
                  <a:lnTo>
                    <a:pt x="541" y="619"/>
                  </a:lnTo>
                  <a:lnTo>
                    <a:pt x="538" y="599"/>
                  </a:lnTo>
                  <a:lnTo>
                    <a:pt x="536" y="574"/>
                  </a:lnTo>
                  <a:lnTo>
                    <a:pt x="536" y="550"/>
                  </a:lnTo>
                  <a:lnTo>
                    <a:pt x="536" y="530"/>
                  </a:lnTo>
                  <a:lnTo>
                    <a:pt x="523" y="518"/>
                  </a:lnTo>
                  <a:lnTo>
                    <a:pt x="523" y="499"/>
                  </a:lnTo>
                  <a:lnTo>
                    <a:pt x="522" y="477"/>
                  </a:lnTo>
                  <a:lnTo>
                    <a:pt x="521" y="455"/>
                  </a:lnTo>
                  <a:lnTo>
                    <a:pt x="520" y="433"/>
                  </a:lnTo>
                  <a:lnTo>
                    <a:pt x="519" y="409"/>
                  </a:lnTo>
                  <a:lnTo>
                    <a:pt x="518" y="386"/>
                  </a:lnTo>
                  <a:lnTo>
                    <a:pt x="518" y="364"/>
                  </a:lnTo>
                  <a:lnTo>
                    <a:pt x="517" y="343"/>
                  </a:lnTo>
                  <a:lnTo>
                    <a:pt x="512" y="338"/>
                  </a:lnTo>
                  <a:lnTo>
                    <a:pt x="506" y="331"/>
                  </a:lnTo>
                  <a:lnTo>
                    <a:pt x="501" y="324"/>
                  </a:lnTo>
                  <a:lnTo>
                    <a:pt x="499" y="319"/>
                  </a:lnTo>
                  <a:lnTo>
                    <a:pt x="493" y="313"/>
                  </a:lnTo>
                  <a:lnTo>
                    <a:pt x="484" y="310"/>
                  </a:lnTo>
                  <a:lnTo>
                    <a:pt x="475" y="307"/>
                  </a:lnTo>
                  <a:lnTo>
                    <a:pt x="469" y="301"/>
                  </a:lnTo>
                  <a:lnTo>
                    <a:pt x="468" y="270"/>
                  </a:lnTo>
                  <a:lnTo>
                    <a:pt x="467" y="234"/>
                  </a:lnTo>
                  <a:lnTo>
                    <a:pt x="464" y="197"/>
                  </a:lnTo>
                  <a:lnTo>
                    <a:pt x="463" y="163"/>
                  </a:lnTo>
                  <a:lnTo>
                    <a:pt x="459" y="158"/>
                  </a:lnTo>
                  <a:lnTo>
                    <a:pt x="454" y="154"/>
                  </a:lnTo>
                  <a:lnTo>
                    <a:pt x="452" y="149"/>
                  </a:lnTo>
                  <a:lnTo>
                    <a:pt x="451" y="145"/>
                  </a:lnTo>
                  <a:lnTo>
                    <a:pt x="446" y="144"/>
                  </a:lnTo>
                  <a:lnTo>
                    <a:pt x="441" y="141"/>
                  </a:lnTo>
                  <a:lnTo>
                    <a:pt x="436" y="138"/>
                  </a:lnTo>
                  <a:lnTo>
                    <a:pt x="431" y="135"/>
                  </a:lnTo>
                  <a:lnTo>
                    <a:pt x="422" y="127"/>
                  </a:lnTo>
                  <a:lnTo>
                    <a:pt x="415" y="120"/>
                  </a:lnTo>
                  <a:lnTo>
                    <a:pt x="404" y="120"/>
                  </a:lnTo>
                  <a:lnTo>
                    <a:pt x="391" y="120"/>
                  </a:lnTo>
                  <a:lnTo>
                    <a:pt x="377" y="120"/>
                  </a:lnTo>
                  <a:lnTo>
                    <a:pt x="367" y="120"/>
                  </a:lnTo>
                  <a:lnTo>
                    <a:pt x="357" y="115"/>
                  </a:lnTo>
                  <a:lnTo>
                    <a:pt x="341" y="106"/>
                  </a:lnTo>
                  <a:lnTo>
                    <a:pt x="334" y="102"/>
                  </a:lnTo>
                  <a:lnTo>
                    <a:pt x="326" y="99"/>
                  </a:lnTo>
                  <a:lnTo>
                    <a:pt x="318" y="97"/>
                  </a:lnTo>
                  <a:lnTo>
                    <a:pt x="312" y="97"/>
                  </a:lnTo>
                  <a:lnTo>
                    <a:pt x="311" y="92"/>
                  </a:lnTo>
                  <a:lnTo>
                    <a:pt x="309" y="88"/>
                  </a:lnTo>
                  <a:lnTo>
                    <a:pt x="305" y="86"/>
                  </a:lnTo>
                  <a:lnTo>
                    <a:pt x="300" y="84"/>
                  </a:lnTo>
                  <a:lnTo>
                    <a:pt x="300" y="82"/>
                  </a:lnTo>
                  <a:lnTo>
                    <a:pt x="298" y="80"/>
                  </a:lnTo>
                  <a:lnTo>
                    <a:pt x="295" y="78"/>
                  </a:lnTo>
                  <a:lnTo>
                    <a:pt x="291" y="76"/>
                  </a:lnTo>
                  <a:lnTo>
                    <a:pt x="282" y="73"/>
                  </a:lnTo>
                  <a:lnTo>
                    <a:pt x="277" y="72"/>
                  </a:lnTo>
                  <a:lnTo>
                    <a:pt x="276" y="70"/>
                  </a:lnTo>
                  <a:lnTo>
                    <a:pt x="273" y="68"/>
                  </a:lnTo>
                  <a:lnTo>
                    <a:pt x="270" y="66"/>
                  </a:lnTo>
                  <a:lnTo>
                    <a:pt x="267" y="64"/>
                  </a:lnTo>
                  <a:lnTo>
                    <a:pt x="259" y="61"/>
                  </a:lnTo>
                  <a:lnTo>
                    <a:pt x="252" y="60"/>
                  </a:lnTo>
                  <a:lnTo>
                    <a:pt x="250" y="57"/>
                  </a:lnTo>
                  <a:lnTo>
                    <a:pt x="245" y="50"/>
                  </a:lnTo>
                  <a:lnTo>
                    <a:pt x="238" y="42"/>
                  </a:lnTo>
                  <a:lnTo>
                    <a:pt x="229" y="33"/>
                  </a:lnTo>
                  <a:lnTo>
                    <a:pt x="220" y="24"/>
                  </a:lnTo>
                  <a:lnTo>
                    <a:pt x="212" y="16"/>
                  </a:lnTo>
                  <a:lnTo>
                    <a:pt x="206" y="10"/>
                  </a:lnTo>
                  <a:lnTo>
                    <a:pt x="204" y="6"/>
                  </a:lnTo>
                  <a:lnTo>
                    <a:pt x="192" y="6"/>
                  </a:lnTo>
                  <a:lnTo>
                    <a:pt x="191" y="4"/>
                  </a:lnTo>
                  <a:lnTo>
                    <a:pt x="186" y="3"/>
                  </a:lnTo>
                  <a:lnTo>
                    <a:pt x="181" y="2"/>
                  </a:lnTo>
                  <a:lnTo>
                    <a:pt x="174" y="1"/>
                  </a:lnTo>
                  <a:lnTo>
                    <a:pt x="160" y="1"/>
                  </a:lnTo>
                  <a:lnTo>
                    <a:pt x="151" y="0"/>
                  </a:lnTo>
                  <a:lnTo>
                    <a:pt x="141" y="6"/>
                  </a:lnTo>
                  <a:lnTo>
                    <a:pt x="126" y="12"/>
                  </a:lnTo>
                  <a:lnTo>
                    <a:pt x="126" y="15"/>
                  </a:lnTo>
                  <a:lnTo>
                    <a:pt x="125" y="18"/>
                  </a:lnTo>
                  <a:lnTo>
                    <a:pt x="124" y="19"/>
                  </a:lnTo>
                  <a:lnTo>
                    <a:pt x="123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0" y="21"/>
                  </a:lnTo>
                  <a:lnTo>
                    <a:pt x="120" y="24"/>
                  </a:lnTo>
                  <a:lnTo>
                    <a:pt x="114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2" name="Freeform 99"/>
            <p:cNvSpPr>
              <a:spLocks noChangeAspect="1"/>
            </p:cNvSpPr>
            <p:nvPr/>
          </p:nvSpPr>
          <p:spPr bwMode="gray">
            <a:xfrm rot="355651">
              <a:off x="7409819" y="3238500"/>
              <a:ext cx="261314" cy="186307"/>
            </a:xfrm>
            <a:custGeom>
              <a:avLst/>
              <a:gdLst/>
              <a:ahLst/>
              <a:cxnLst>
                <a:cxn ang="0">
                  <a:pos x="591" y="112"/>
                </a:cxn>
                <a:cxn ang="0">
                  <a:pos x="535" y="179"/>
                </a:cxn>
                <a:cxn ang="0">
                  <a:pos x="430" y="257"/>
                </a:cxn>
                <a:cxn ang="0">
                  <a:pos x="228" y="350"/>
                </a:cxn>
                <a:cxn ang="0">
                  <a:pos x="66" y="407"/>
                </a:cxn>
                <a:cxn ang="0">
                  <a:pos x="10" y="445"/>
                </a:cxn>
                <a:cxn ang="0">
                  <a:pos x="0" y="477"/>
                </a:cxn>
                <a:cxn ang="0">
                  <a:pos x="13" y="516"/>
                </a:cxn>
                <a:cxn ang="0">
                  <a:pos x="110" y="648"/>
                </a:cxn>
                <a:cxn ang="0">
                  <a:pos x="192" y="730"/>
                </a:cxn>
                <a:cxn ang="0">
                  <a:pos x="294" y="807"/>
                </a:cxn>
                <a:cxn ang="0">
                  <a:pos x="389" y="829"/>
                </a:cxn>
                <a:cxn ang="0">
                  <a:pos x="475" y="781"/>
                </a:cxn>
                <a:cxn ang="0">
                  <a:pos x="596" y="639"/>
                </a:cxn>
                <a:cxn ang="0">
                  <a:pos x="681" y="548"/>
                </a:cxn>
                <a:cxn ang="0">
                  <a:pos x="749" y="526"/>
                </a:cxn>
                <a:cxn ang="0">
                  <a:pos x="802" y="564"/>
                </a:cxn>
                <a:cxn ang="0">
                  <a:pos x="813" y="602"/>
                </a:cxn>
                <a:cxn ang="0">
                  <a:pos x="803" y="638"/>
                </a:cxn>
                <a:cxn ang="0">
                  <a:pos x="746" y="705"/>
                </a:cxn>
                <a:cxn ang="0">
                  <a:pos x="679" y="743"/>
                </a:cxn>
                <a:cxn ang="0">
                  <a:pos x="593" y="791"/>
                </a:cxn>
                <a:cxn ang="0">
                  <a:pos x="553" y="844"/>
                </a:cxn>
                <a:cxn ang="0">
                  <a:pos x="556" y="915"/>
                </a:cxn>
                <a:cxn ang="0">
                  <a:pos x="575" y="945"/>
                </a:cxn>
                <a:cxn ang="0">
                  <a:pos x="629" y="1004"/>
                </a:cxn>
                <a:cxn ang="0">
                  <a:pos x="650" y="1049"/>
                </a:cxn>
                <a:cxn ang="0">
                  <a:pos x="681" y="1055"/>
                </a:cxn>
                <a:cxn ang="0">
                  <a:pos x="752" y="1026"/>
                </a:cxn>
                <a:cxn ang="0">
                  <a:pos x="829" y="1001"/>
                </a:cxn>
                <a:cxn ang="0">
                  <a:pos x="878" y="1016"/>
                </a:cxn>
                <a:cxn ang="0">
                  <a:pos x="910" y="1075"/>
                </a:cxn>
                <a:cxn ang="0">
                  <a:pos x="947" y="1119"/>
                </a:cxn>
                <a:cxn ang="0">
                  <a:pos x="1005" y="1145"/>
                </a:cxn>
                <a:cxn ang="0">
                  <a:pos x="1139" y="1160"/>
                </a:cxn>
                <a:cxn ang="0">
                  <a:pos x="1338" y="1139"/>
                </a:cxn>
                <a:cxn ang="0">
                  <a:pos x="1373" y="1123"/>
                </a:cxn>
                <a:cxn ang="0">
                  <a:pos x="1395" y="1117"/>
                </a:cxn>
                <a:cxn ang="0">
                  <a:pos x="1384" y="1038"/>
                </a:cxn>
                <a:cxn ang="0">
                  <a:pos x="1359" y="978"/>
                </a:cxn>
                <a:cxn ang="0">
                  <a:pos x="1305" y="922"/>
                </a:cxn>
                <a:cxn ang="0">
                  <a:pos x="1178" y="850"/>
                </a:cxn>
                <a:cxn ang="0">
                  <a:pos x="1136" y="823"/>
                </a:cxn>
                <a:cxn ang="0">
                  <a:pos x="1115" y="796"/>
                </a:cxn>
                <a:cxn ang="0">
                  <a:pos x="1195" y="778"/>
                </a:cxn>
                <a:cxn ang="0">
                  <a:pos x="1420" y="768"/>
                </a:cxn>
                <a:cxn ang="0">
                  <a:pos x="1389" y="718"/>
                </a:cxn>
                <a:cxn ang="0">
                  <a:pos x="1273" y="624"/>
                </a:cxn>
                <a:cxn ang="0">
                  <a:pos x="1188" y="543"/>
                </a:cxn>
                <a:cxn ang="0">
                  <a:pos x="1144" y="444"/>
                </a:cxn>
                <a:cxn ang="0">
                  <a:pos x="1101" y="368"/>
                </a:cxn>
                <a:cxn ang="0">
                  <a:pos x="1041" y="325"/>
                </a:cxn>
                <a:cxn ang="0">
                  <a:pos x="1019" y="287"/>
                </a:cxn>
                <a:cxn ang="0">
                  <a:pos x="1002" y="138"/>
                </a:cxn>
                <a:cxn ang="0">
                  <a:pos x="979" y="70"/>
                </a:cxn>
                <a:cxn ang="0">
                  <a:pos x="937" y="35"/>
                </a:cxn>
                <a:cxn ang="0">
                  <a:pos x="811" y="30"/>
                </a:cxn>
                <a:cxn ang="0">
                  <a:pos x="740" y="19"/>
                </a:cxn>
                <a:cxn ang="0">
                  <a:pos x="691" y="0"/>
                </a:cxn>
                <a:cxn ang="0">
                  <a:pos x="658" y="18"/>
                </a:cxn>
                <a:cxn ang="0">
                  <a:pos x="626" y="37"/>
                </a:cxn>
              </a:cxnLst>
              <a:rect l="0" t="0" r="r" b="b"/>
              <a:pathLst>
                <a:path w="1421" h="1160">
                  <a:moveTo>
                    <a:pt x="619" y="50"/>
                  </a:moveTo>
                  <a:lnTo>
                    <a:pt x="613" y="66"/>
                  </a:lnTo>
                  <a:lnTo>
                    <a:pt x="608" y="81"/>
                  </a:lnTo>
                  <a:lnTo>
                    <a:pt x="600" y="97"/>
                  </a:lnTo>
                  <a:lnTo>
                    <a:pt x="591" y="112"/>
                  </a:lnTo>
                  <a:lnTo>
                    <a:pt x="582" y="126"/>
                  </a:lnTo>
                  <a:lnTo>
                    <a:pt x="572" y="139"/>
                  </a:lnTo>
                  <a:lnTo>
                    <a:pt x="561" y="153"/>
                  </a:lnTo>
                  <a:lnTo>
                    <a:pt x="548" y="166"/>
                  </a:lnTo>
                  <a:lnTo>
                    <a:pt x="535" y="179"/>
                  </a:lnTo>
                  <a:lnTo>
                    <a:pt x="522" y="191"/>
                  </a:lnTo>
                  <a:lnTo>
                    <a:pt x="508" y="203"/>
                  </a:lnTo>
                  <a:lnTo>
                    <a:pt x="494" y="214"/>
                  </a:lnTo>
                  <a:lnTo>
                    <a:pt x="462" y="237"/>
                  </a:lnTo>
                  <a:lnTo>
                    <a:pt x="430" y="257"/>
                  </a:lnTo>
                  <a:lnTo>
                    <a:pt x="397" y="276"/>
                  </a:lnTo>
                  <a:lnTo>
                    <a:pt x="362" y="293"/>
                  </a:lnTo>
                  <a:lnTo>
                    <a:pt x="328" y="309"/>
                  </a:lnTo>
                  <a:lnTo>
                    <a:pt x="294" y="325"/>
                  </a:lnTo>
                  <a:lnTo>
                    <a:pt x="228" y="350"/>
                  </a:lnTo>
                  <a:lnTo>
                    <a:pt x="168" y="373"/>
                  </a:lnTo>
                  <a:lnTo>
                    <a:pt x="134" y="384"/>
                  </a:lnTo>
                  <a:lnTo>
                    <a:pt x="100" y="395"/>
                  </a:lnTo>
                  <a:lnTo>
                    <a:pt x="83" y="401"/>
                  </a:lnTo>
                  <a:lnTo>
                    <a:pt x="66" y="407"/>
                  </a:lnTo>
                  <a:lnTo>
                    <a:pt x="50" y="414"/>
                  </a:lnTo>
                  <a:lnTo>
                    <a:pt x="37" y="422"/>
                  </a:lnTo>
                  <a:lnTo>
                    <a:pt x="25" y="431"/>
                  </a:lnTo>
                  <a:lnTo>
                    <a:pt x="15" y="441"/>
                  </a:lnTo>
                  <a:lnTo>
                    <a:pt x="10" y="445"/>
                  </a:lnTo>
                  <a:lnTo>
                    <a:pt x="7" y="451"/>
                  </a:lnTo>
                  <a:lnTo>
                    <a:pt x="4" y="456"/>
                  </a:lnTo>
                  <a:lnTo>
                    <a:pt x="1" y="463"/>
                  </a:lnTo>
                  <a:lnTo>
                    <a:pt x="0" y="470"/>
                  </a:lnTo>
                  <a:lnTo>
                    <a:pt x="0" y="477"/>
                  </a:lnTo>
                  <a:lnTo>
                    <a:pt x="0" y="483"/>
                  </a:lnTo>
                  <a:lnTo>
                    <a:pt x="2" y="491"/>
                  </a:lnTo>
                  <a:lnTo>
                    <a:pt x="5" y="499"/>
                  </a:lnTo>
                  <a:lnTo>
                    <a:pt x="8" y="508"/>
                  </a:lnTo>
                  <a:lnTo>
                    <a:pt x="13" y="516"/>
                  </a:lnTo>
                  <a:lnTo>
                    <a:pt x="18" y="526"/>
                  </a:lnTo>
                  <a:lnTo>
                    <a:pt x="49" y="570"/>
                  </a:lnTo>
                  <a:lnTo>
                    <a:pt x="80" y="610"/>
                  </a:lnTo>
                  <a:lnTo>
                    <a:pt x="95" y="629"/>
                  </a:lnTo>
                  <a:lnTo>
                    <a:pt x="110" y="648"/>
                  </a:lnTo>
                  <a:lnTo>
                    <a:pt x="125" y="665"/>
                  </a:lnTo>
                  <a:lnTo>
                    <a:pt x="142" y="682"/>
                  </a:lnTo>
                  <a:lnTo>
                    <a:pt x="158" y="699"/>
                  </a:lnTo>
                  <a:lnTo>
                    <a:pt x="174" y="714"/>
                  </a:lnTo>
                  <a:lnTo>
                    <a:pt x="192" y="730"/>
                  </a:lnTo>
                  <a:lnTo>
                    <a:pt x="210" y="745"/>
                  </a:lnTo>
                  <a:lnTo>
                    <a:pt x="230" y="761"/>
                  </a:lnTo>
                  <a:lnTo>
                    <a:pt x="250" y="776"/>
                  </a:lnTo>
                  <a:lnTo>
                    <a:pt x="272" y="791"/>
                  </a:lnTo>
                  <a:lnTo>
                    <a:pt x="294" y="807"/>
                  </a:lnTo>
                  <a:lnTo>
                    <a:pt x="314" y="818"/>
                  </a:lnTo>
                  <a:lnTo>
                    <a:pt x="333" y="826"/>
                  </a:lnTo>
                  <a:lnTo>
                    <a:pt x="352" y="830"/>
                  </a:lnTo>
                  <a:lnTo>
                    <a:pt x="371" y="831"/>
                  </a:lnTo>
                  <a:lnTo>
                    <a:pt x="389" y="829"/>
                  </a:lnTo>
                  <a:lnTo>
                    <a:pt x="407" y="824"/>
                  </a:lnTo>
                  <a:lnTo>
                    <a:pt x="424" y="817"/>
                  </a:lnTo>
                  <a:lnTo>
                    <a:pt x="441" y="807"/>
                  </a:lnTo>
                  <a:lnTo>
                    <a:pt x="458" y="795"/>
                  </a:lnTo>
                  <a:lnTo>
                    <a:pt x="475" y="781"/>
                  </a:lnTo>
                  <a:lnTo>
                    <a:pt x="491" y="767"/>
                  </a:lnTo>
                  <a:lnTo>
                    <a:pt x="507" y="750"/>
                  </a:lnTo>
                  <a:lnTo>
                    <a:pt x="537" y="714"/>
                  </a:lnTo>
                  <a:lnTo>
                    <a:pt x="567" y="677"/>
                  </a:lnTo>
                  <a:lnTo>
                    <a:pt x="596" y="639"/>
                  </a:lnTo>
                  <a:lnTo>
                    <a:pt x="625" y="605"/>
                  </a:lnTo>
                  <a:lnTo>
                    <a:pt x="640" y="588"/>
                  </a:lnTo>
                  <a:lnTo>
                    <a:pt x="653" y="574"/>
                  </a:lnTo>
                  <a:lnTo>
                    <a:pt x="668" y="560"/>
                  </a:lnTo>
                  <a:lnTo>
                    <a:pt x="681" y="548"/>
                  </a:lnTo>
                  <a:lnTo>
                    <a:pt x="695" y="539"/>
                  </a:lnTo>
                  <a:lnTo>
                    <a:pt x="708" y="531"/>
                  </a:lnTo>
                  <a:lnTo>
                    <a:pt x="723" y="527"/>
                  </a:lnTo>
                  <a:lnTo>
                    <a:pt x="736" y="525"/>
                  </a:lnTo>
                  <a:lnTo>
                    <a:pt x="749" y="526"/>
                  </a:lnTo>
                  <a:lnTo>
                    <a:pt x="763" y="530"/>
                  </a:lnTo>
                  <a:lnTo>
                    <a:pt x="777" y="538"/>
                  </a:lnTo>
                  <a:lnTo>
                    <a:pt x="791" y="550"/>
                  </a:lnTo>
                  <a:lnTo>
                    <a:pt x="797" y="557"/>
                  </a:lnTo>
                  <a:lnTo>
                    <a:pt x="802" y="564"/>
                  </a:lnTo>
                  <a:lnTo>
                    <a:pt x="806" y="571"/>
                  </a:lnTo>
                  <a:lnTo>
                    <a:pt x="810" y="578"/>
                  </a:lnTo>
                  <a:lnTo>
                    <a:pt x="812" y="586"/>
                  </a:lnTo>
                  <a:lnTo>
                    <a:pt x="813" y="594"/>
                  </a:lnTo>
                  <a:lnTo>
                    <a:pt x="813" y="602"/>
                  </a:lnTo>
                  <a:lnTo>
                    <a:pt x="813" y="608"/>
                  </a:lnTo>
                  <a:lnTo>
                    <a:pt x="812" y="616"/>
                  </a:lnTo>
                  <a:lnTo>
                    <a:pt x="810" y="624"/>
                  </a:lnTo>
                  <a:lnTo>
                    <a:pt x="806" y="632"/>
                  </a:lnTo>
                  <a:lnTo>
                    <a:pt x="803" y="638"/>
                  </a:lnTo>
                  <a:lnTo>
                    <a:pt x="795" y="653"/>
                  </a:lnTo>
                  <a:lnTo>
                    <a:pt x="785" y="667"/>
                  </a:lnTo>
                  <a:lnTo>
                    <a:pt x="773" y="681"/>
                  </a:lnTo>
                  <a:lnTo>
                    <a:pt x="759" y="693"/>
                  </a:lnTo>
                  <a:lnTo>
                    <a:pt x="746" y="705"/>
                  </a:lnTo>
                  <a:lnTo>
                    <a:pt x="731" y="715"/>
                  </a:lnTo>
                  <a:lnTo>
                    <a:pt x="718" y="725"/>
                  </a:lnTo>
                  <a:lnTo>
                    <a:pt x="704" y="733"/>
                  </a:lnTo>
                  <a:lnTo>
                    <a:pt x="690" y="739"/>
                  </a:lnTo>
                  <a:lnTo>
                    <a:pt x="679" y="743"/>
                  </a:lnTo>
                  <a:lnTo>
                    <a:pt x="660" y="751"/>
                  </a:lnTo>
                  <a:lnTo>
                    <a:pt x="641" y="759"/>
                  </a:lnTo>
                  <a:lnTo>
                    <a:pt x="624" y="769"/>
                  </a:lnTo>
                  <a:lnTo>
                    <a:pt x="608" y="779"/>
                  </a:lnTo>
                  <a:lnTo>
                    <a:pt x="593" y="791"/>
                  </a:lnTo>
                  <a:lnTo>
                    <a:pt x="580" y="805"/>
                  </a:lnTo>
                  <a:lnTo>
                    <a:pt x="566" y="819"/>
                  </a:lnTo>
                  <a:lnTo>
                    <a:pt x="556" y="834"/>
                  </a:lnTo>
                  <a:lnTo>
                    <a:pt x="554" y="838"/>
                  </a:lnTo>
                  <a:lnTo>
                    <a:pt x="553" y="844"/>
                  </a:lnTo>
                  <a:lnTo>
                    <a:pt x="552" y="850"/>
                  </a:lnTo>
                  <a:lnTo>
                    <a:pt x="551" y="858"/>
                  </a:lnTo>
                  <a:lnTo>
                    <a:pt x="552" y="876"/>
                  </a:lnTo>
                  <a:lnTo>
                    <a:pt x="553" y="896"/>
                  </a:lnTo>
                  <a:lnTo>
                    <a:pt x="556" y="915"/>
                  </a:lnTo>
                  <a:lnTo>
                    <a:pt x="561" y="931"/>
                  </a:lnTo>
                  <a:lnTo>
                    <a:pt x="564" y="936"/>
                  </a:lnTo>
                  <a:lnTo>
                    <a:pt x="567" y="942"/>
                  </a:lnTo>
                  <a:lnTo>
                    <a:pt x="571" y="944"/>
                  </a:lnTo>
                  <a:lnTo>
                    <a:pt x="575" y="945"/>
                  </a:lnTo>
                  <a:lnTo>
                    <a:pt x="577" y="950"/>
                  </a:lnTo>
                  <a:lnTo>
                    <a:pt x="585" y="959"/>
                  </a:lnTo>
                  <a:lnTo>
                    <a:pt x="595" y="970"/>
                  </a:lnTo>
                  <a:lnTo>
                    <a:pt x="606" y="982"/>
                  </a:lnTo>
                  <a:lnTo>
                    <a:pt x="629" y="1004"/>
                  </a:lnTo>
                  <a:lnTo>
                    <a:pt x="640" y="1014"/>
                  </a:lnTo>
                  <a:lnTo>
                    <a:pt x="641" y="1026"/>
                  </a:lnTo>
                  <a:lnTo>
                    <a:pt x="643" y="1036"/>
                  </a:lnTo>
                  <a:lnTo>
                    <a:pt x="645" y="1043"/>
                  </a:lnTo>
                  <a:lnTo>
                    <a:pt x="650" y="1049"/>
                  </a:lnTo>
                  <a:lnTo>
                    <a:pt x="654" y="1054"/>
                  </a:lnTo>
                  <a:lnTo>
                    <a:pt x="660" y="1056"/>
                  </a:lnTo>
                  <a:lnTo>
                    <a:pt x="667" y="1057"/>
                  </a:lnTo>
                  <a:lnTo>
                    <a:pt x="673" y="1057"/>
                  </a:lnTo>
                  <a:lnTo>
                    <a:pt x="681" y="1055"/>
                  </a:lnTo>
                  <a:lnTo>
                    <a:pt x="690" y="1052"/>
                  </a:lnTo>
                  <a:lnTo>
                    <a:pt x="699" y="1049"/>
                  </a:lnTo>
                  <a:lnTo>
                    <a:pt x="709" y="1045"/>
                  </a:lnTo>
                  <a:lnTo>
                    <a:pt x="729" y="1036"/>
                  </a:lnTo>
                  <a:lnTo>
                    <a:pt x="752" y="1026"/>
                  </a:lnTo>
                  <a:lnTo>
                    <a:pt x="774" y="1016"/>
                  </a:lnTo>
                  <a:lnTo>
                    <a:pt x="796" y="1007"/>
                  </a:lnTo>
                  <a:lnTo>
                    <a:pt x="807" y="1004"/>
                  </a:lnTo>
                  <a:lnTo>
                    <a:pt x="819" y="1002"/>
                  </a:lnTo>
                  <a:lnTo>
                    <a:pt x="829" y="1001"/>
                  </a:lnTo>
                  <a:lnTo>
                    <a:pt x="840" y="1001"/>
                  </a:lnTo>
                  <a:lnTo>
                    <a:pt x="850" y="1002"/>
                  </a:lnTo>
                  <a:lnTo>
                    <a:pt x="859" y="1004"/>
                  </a:lnTo>
                  <a:lnTo>
                    <a:pt x="869" y="1010"/>
                  </a:lnTo>
                  <a:lnTo>
                    <a:pt x="878" y="1016"/>
                  </a:lnTo>
                  <a:lnTo>
                    <a:pt x="885" y="1025"/>
                  </a:lnTo>
                  <a:lnTo>
                    <a:pt x="892" y="1035"/>
                  </a:lnTo>
                  <a:lnTo>
                    <a:pt x="899" y="1048"/>
                  </a:lnTo>
                  <a:lnTo>
                    <a:pt x="906" y="1064"/>
                  </a:lnTo>
                  <a:lnTo>
                    <a:pt x="910" y="1075"/>
                  </a:lnTo>
                  <a:lnTo>
                    <a:pt x="916" y="1085"/>
                  </a:lnTo>
                  <a:lnTo>
                    <a:pt x="921" y="1095"/>
                  </a:lnTo>
                  <a:lnTo>
                    <a:pt x="929" y="1104"/>
                  </a:lnTo>
                  <a:lnTo>
                    <a:pt x="938" y="1112"/>
                  </a:lnTo>
                  <a:lnTo>
                    <a:pt x="947" y="1119"/>
                  </a:lnTo>
                  <a:lnTo>
                    <a:pt x="957" y="1126"/>
                  </a:lnTo>
                  <a:lnTo>
                    <a:pt x="968" y="1132"/>
                  </a:lnTo>
                  <a:lnTo>
                    <a:pt x="979" y="1137"/>
                  </a:lnTo>
                  <a:lnTo>
                    <a:pt x="992" y="1142"/>
                  </a:lnTo>
                  <a:lnTo>
                    <a:pt x="1005" y="1145"/>
                  </a:lnTo>
                  <a:lnTo>
                    <a:pt x="1018" y="1148"/>
                  </a:lnTo>
                  <a:lnTo>
                    <a:pt x="1046" y="1154"/>
                  </a:lnTo>
                  <a:lnTo>
                    <a:pt x="1076" y="1157"/>
                  </a:lnTo>
                  <a:lnTo>
                    <a:pt x="1108" y="1160"/>
                  </a:lnTo>
                  <a:lnTo>
                    <a:pt x="1139" y="1160"/>
                  </a:lnTo>
                  <a:lnTo>
                    <a:pt x="1171" y="1158"/>
                  </a:lnTo>
                  <a:lnTo>
                    <a:pt x="1204" y="1156"/>
                  </a:lnTo>
                  <a:lnTo>
                    <a:pt x="1267" y="1150"/>
                  </a:lnTo>
                  <a:lnTo>
                    <a:pt x="1326" y="1142"/>
                  </a:lnTo>
                  <a:lnTo>
                    <a:pt x="1338" y="1139"/>
                  </a:lnTo>
                  <a:lnTo>
                    <a:pt x="1347" y="1137"/>
                  </a:lnTo>
                  <a:lnTo>
                    <a:pt x="1354" y="1133"/>
                  </a:lnTo>
                  <a:lnTo>
                    <a:pt x="1361" y="1129"/>
                  </a:lnTo>
                  <a:lnTo>
                    <a:pt x="1367" y="1126"/>
                  </a:lnTo>
                  <a:lnTo>
                    <a:pt x="1373" y="1123"/>
                  </a:lnTo>
                  <a:lnTo>
                    <a:pt x="1380" y="1122"/>
                  </a:lnTo>
                  <a:lnTo>
                    <a:pt x="1389" y="1120"/>
                  </a:lnTo>
                  <a:lnTo>
                    <a:pt x="1389" y="1118"/>
                  </a:lnTo>
                  <a:lnTo>
                    <a:pt x="1391" y="1118"/>
                  </a:lnTo>
                  <a:lnTo>
                    <a:pt x="1395" y="1117"/>
                  </a:lnTo>
                  <a:lnTo>
                    <a:pt x="1397" y="1117"/>
                  </a:lnTo>
                  <a:lnTo>
                    <a:pt x="1396" y="1103"/>
                  </a:lnTo>
                  <a:lnTo>
                    <a:pt x="1395" y="1084"/>
                  </a:lnTo>
                  <a:lnTo>
                    <a:pt x="1390" y="1061"/>
                  </a:lnTo>
                  <a:lnTo>
                    <a:pt x="1384" y="1038"/>
                  </a:lnTo>
                  <a:lnTo>
                    <a:pt x="1381" y="1026"/>
                  </a:lnTo>
                  <a:lnTo>
                    <a:pt x="1377" y="1013"/>
                  </a:lnTo>
                  <a:lnTo>
                    <a:pt x="1371" y="1001"/>
                  </a:lnTo>
                  <a:lnTo>
                    <a:pt x="1365" y="989"/>
                  </a:lnTo>
                  <a:lnTo>
                    <a:pt x="1359" y="978"/>
                  </a:lnTo>
                  <a:lnTo>
                    <a:pt x="1352" y="966"/>
                  </a:lnTo>
                  <a:lnTo>
                    <a:pt x="1344" y="956"/>
                  </a:lnTo>
                  <a:lnTo>
                    <a:pt x="1335" y="946"/>
                  </a:lnTo>
                  <a:lnTo>
                    <a:pt x="1320" y="934"/>
                  </a:lnTo>
                  <a:lnTo>
                    <a:pt x="1305" y="922"/>
                  </a:lnTo>
                  <a:lnTo>
                    <a:pt x="1288" y="910"/>
                  </a:lnTo>
                  <a:lnTo>
                    <a:pt x="1272" y="900"/>
                  </a:lnTo>
                  <a:lnTo>
                    <a:pt x="1238" y="881"/>
                  </a:lnTo>
                  <a:lnTo>
                    <a:pt x="1207" y="864"/>
                  </a:lnTo>
                  <a:lnTo>
                    <a:pt x="1178" y="850"/>
                  </a:lnTo>
                  <a:lnTo>
                    <a:pt x="1156" y="838"/>
                  </a:lnTo>
                  <a:lnTo>
                    <a:pt x="1147" y="833"/>
                  </a:lnTo>
                  <a:lnTo>
                    <a:pt x="1140" y="827"/>
                  </a:lnTo>
                  <a:lnTo>
                    <a:pt x="1138" y="825"/>
                  </a:lnTo>
                  <a:lnTo>
                    <a:pt x="1136" y="823"/>
                  </a:lnTo>
                  <a:lnTo>
                    <a:pt x="1134" y="820"/>
                  </a:lnTo>
                  <a:lnTo>
                    <a:pt x="1134" y="817"/>
                  </a:lnTo>
                  <a:lnTo>
                    <a:pt x="1124" y="810"/>
                  </a:lnTo>
                  <a:lnTo>
                    <a:pt x="1115" y="804"/>
                  </a:lnTo>
                  <a:lnTo>
                    <a:pt x="1115" y="796"/>
                  </a:lnTo>
                  <a:lnTo>
                    <a:pt x="1130" y="795"/>
                  </a:lnTo>
                  <a:lnTo>
                    <a:pt x="1146" y="791"/>
                  </a:lnTo>
                  <a:lnTo>
                    <a:pt x="1161" y="787"/>
                  </a:lnTo>
                  <a:lnTo>
                    <a:pt x="1178" y="782"/>
                  </a:lnTo>
                  <a:lnTo>
                    <a:pt x="1195" y="778"/>
                  </a:lnTo>
                  <a:lnTo>
                    <a:pt x="1211" y="773"/>
                  </a:lnTo>
                  <a:lnTo>
                    <a:pt x="1229" y="771"/>
                  </a:lnTo>
                  <a:lnTo>
                    <a:pt x="1246" y="771"/>
                  </a:lnTo>
                  <a:lnTo>
                    <a:pt x="1421" y="773"/>
                  </a:lnTo>
                  <a:lnTo>
                    <a:pt x="1420" y="768"/>
                  </a:lnTo>
                  <a:lnTo>
                    <a:pt x="1419" y="761"/>
                  </a:lnTo>
                  <a:lnTo>
                    <a:pt x="1416" y="753"/>
                  </a:lnTo>
                  <a:lnTo>
                    <a:pt x="1412" y="747"/>
                  </a:lnTo>
                  <a:lnTo>
                    <a:pt x="1402" y="733"/>
                  </a:lnTo>
                  <a:lnTo>
                    <a:pt x="1389" y="718"/>
                  </a:lnTo>
                  <a:lnTo>
                    <a:pt x="1373" y="703"/>
                  </a:lnTo>
                  <a:lnTo>
                    <a:pt x="1355" y="687"/>
                  </a:lnTo>
                  <a:lnTo>
                    <a:pt x="1335" y="672"/>
                  </a:lnTo>
                  <a:lnTo>
                    <a:pt x="1315" y="656"/>
                  </a:lnTo>
                  <a:lnTo>
                    <a:pt x="1273" y="624"/>
                  </a:lnTo>
                  <a:lnTo>
                    <a:pt x="1234" y="591"/>
                  </a:lnTo>
                  <a:lnTo>
                    <a:pt x="1216" y="576"/>
                  </a:lnTo>
                  <a:lnTo>
                    <a:pt x="1200" y="559"/>
                  </a:lnTo>
                  <a:lnTo>
                    <a:pt x="1194" y="551"/>
                  </a:lnTo>
                  <a:lnTo>
                    <a:pt x="1188" y="543"/>
                  </a:lnTo>
                  <a:lnTo>
                    <a:pt x="1182" y="536"/>
                  </a:lnTo>
                  <a:lnTo>
                    <a:pt x="1178" y="528"/>
                  </a:lnTo>
                  <a:lnTo>
                    <a:pt x="1166" y="500"/>
                  </a:lnTo>
                  <a:lnTo>
                    <a:pt x="1155" y="471"/>
                  </a:lnTo>
                  <a:lnTo>
                    <a:pt x="1144" y="444"/>
                  </a:lnTo>
                  <a:lnTo>
                    <a:pt x="1133" y="417"/>
                  </a:lnTo>
                  <a:lnTo>
                    <a:pt x="1127" y="404"/>
                  </a:lnTo>
                  <a:lnTo>
                    <a:pt x="1120" y="392"/>
                  </a:lnTo>
                  <a:lnTo>
                    <a:pt x="1111" y="381"/>
                  </a:lnTo>
                  <a:lnTo>
                    <a:pt x="1101" y="368"/>
                  </a:lnTo>
                  <a:lnTo>
                    <a:pt x="1091" y="358"/>
                  </a:lnTo>
                  <a:lnTo>
                    <a:pt x="1077" y="347"/>
                  </a:lnTo>
                  <a:lnTo>
                    <a:pt x="1063" y="338"/>
                  </a:lnTo>
                  <a:lnTo>
                    <a:pt x="1047" y="329"/>
                  </a:lnTo>
                  <a:lnTo>
                    <a:pt x="1041" y="325"/>
                  </a:lnTo>
                  <a:lnTo>
                    <a:pt x="1035" y="319"/>
                  </a:lnTo>
                  <a:lnTo>
                    <a:pt x="1029" y="312"/>
                  </a:lnTo>
                  <a:lnTo>
                    <a:pt x="1025" y="305"/>
                  </a:lnTo>
                  <a:lnTo>
                    <a:pt x="1022" y="297"/>
                  </a:lnTo>
                  <a:lnTo>
                    <a:pt x="1019" y="287"/>
                  </a:lnTo>
                  <a:lnTo>
                    <a:pt x="1016" y="277"/>
                  </a:lnTo>
                  <a:lnTo>
                    <a:pt x="1015" y="266"/>
                  </a:lnTo>
                  <a:lnTo>
                    <a:pt x="1009" y="216"/>
                  </a:lnTo>
                  <a:lnTo>
                    <a:pt x="1005" y="164"/>
                  </a:lnTo>
                  <a:lnTo>
                    <a:pt x="1002" y="138"/>
                  </a:lnTo>
                  <a:lnTo>
                    <a:pt x="996" y="114"/>
                  </a:lnTo>
                  <a:lnTo>
                    <a:pt x="993" y="102"/>
                  </a:lnTo>
                  <a:lnTo>
                    <a:pt x="989" y="90"/>
                  </a:lnTo>
                  <a:lnTo>
                    <a:pt x="985" y="80"/>
                  </a:lnTo>
                  <a:lnTo>
                    <a:pt x="979" y="70"/>
                  </a:lnTo>
                  <a:lnTo>
                    <a:pt x="973" y="61"/>
                  </a:lnTo>
                  <a:lnTo>
                    <a:pt x="965" y="54"/>
                  </a:lnTo>
                  <a:lnTo>
                    <a:pt x="957" y="46"/>
                  </a:lnTo>
                  <a:lnTo>
                    <a:pt x="947" y="40"/>
                  </a:lnTo>
                  <a:lnTo>
                    <a:pt x="937" y="35"/>
                  </a:lnTo>
                  <a:lnTo>
                    <a:pt x="925" y="31"/>
                  </a:lnTo>
                  <a:lnTo>
                    <a:pt x="911" y="29"/>
                  </a:lnTo>
                  <a:lnTo>
                    <a:pt x="897" y="29"/>
                  </a:lnTo>
                  <a:lnTo>
                    <a:pt x="856" y="29"/>
                  </a:lnTo>
                  <a:lnTo>
                    <a:pt x="811" y="30"/>
                  </a:lnTo>
                  <a:lnTo>
                    <a:pt x="788" y="29"/>
                  </a:lnTo>
                  <a:lnTo>
                    <a:pt x="767" y="27"/>
                  </a:lnTo>
                  <a:lnTo>
                    <a:pt x="757" y="25"/>
                  </a:lnTo>
                  <a:lnTo>
                    <a:pt x="748" y="22"/>
                  </a:lnTo>
                  <a:lnTo>
                    <a:pt x="740" y="19"/>
                  </a:lnTo>
                  <a:lnTo>
                    <a:pt x="734" y="14"/>
                  </a:lnTo>
                  <a:lnTo>
                    <a:pt x="720" y="8"/>
                  </a:lnTo>
                  <a:lnTo>
                    <a:pt x="709" y="3"/>
                  </a:lnTo>
                  <a:lnTo>
                    <a:pt x="699" y="1"/>
                  </a:lnTo>
                  <a:lnTo>
                    <a:pt x="691" y="0"/>
                  </a:lnTo>
                  <a:lnTo>
                    <a:pt x="683" y="1"/>
                  </a:lnTo>
                  <a:lnTo>
                    <a:pt x="677" y="2"/>
                  </a:lnTo>
                  <a:lnTo>
                    <a:pt x="671" y="6"/>
                  </a:lnTo>
                  <a:lnTo>
                    <a:pt x="667" y="9"/>
                  </a:lnTo>
                  <a:lnTo>
                    <a:pt x="658" y="18"/>
                  </a:lnTo>
                  <a:lnTo>
                    <a:pt x="649" y="27"/>
                  </a:lnTo>
                  <a:lnTo>
                    <a:pt x="644" y="31"/>
                  </a:lnTo>
                  <a:lnTo>
                    <a:pt x="639" y="35"/>
                  </a:lnTo>
                  <a:lnTo>
                    <a:pt x="633" y="36"/>
                  </a:lnTo>
                  <a:lnTo>
                    <a:pt x="626" y="37"/>
                  </a:lnTo>
                  <a:lnTo>
                    <a:pt x="626" y="42"/>
                  </a:lnTo>
                  <a:lnTo>
                    <a:pt x="619" y="5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3" name="Freeform 100"/>
            <p:cNvSpPr>
              <a:spLocks noChangeAspect="1"/>
            </p:cNvSpPr>
            <p:nvPr/>
          </p:nvSpPr>
          <p:spPr bwMode="gray">
            <a:xfrm rot="355651">
              <a:off x="6897768" y="3489325"/>
              <a:ext cx="116375" cy="80909"/>
            </a:xfrm>
            <a:custGeom>
              <a:avLst/>
              <a:gdLst/>
              <a:ahLst/>
              <a:cxnLst>
                <a:cxn ang="0">
                  <a:pos x="32" y="25"/>
                </a:cxn>
                <a:cxn ang="0">
                  <a:pos x="27" y="30"/>
                </a:cxn>
                <a:cxn ang="0">
                  <a:pos x="12" y="54"/>
                </a:cxn>
                <a:cxn ang="0">
                  <a:pos x="8" y="68"/>
                </a:cxn>
                <a:cxn ang="0">
                  <a:pos x="3" y="82"/>
                </a:cxn>
                <a:cxn ang="0">
                  <a:pos x="0" y="136"/>
                </a:cxn>
                <a:cxn ang="0">
                  <a:pos x="9" y="156"/>
                </a:cxn>
                <a:cxn ang="0">
                  <a:pos x="15" y="192"/>
                </a:cxn>
                <a:cxn ang="0">
                  <a:pos x="20" y="211"/>
                </a:cxn>
                <a:cxn ang="0">
                  <a:pos x="32" y="265"/>
                </a:cxn>
                <a:cxn ang="0">
                  <a:pos x="63" y="337"/>
                </a:cxn>
                <a:cxn ang="0">
                  <a:pos x="75" y="352"/>
                </a:cxn>
                <a:cxn ang="0">
                  <a:pos x="86" y="362"/>
                </a:cxn>
                <a:cxn ang="0">
                  <a:pos x="113" y="401"/>
                </a:cxn>
                <a:cxn ang="0">
                  <a:pos x="152" y="417"/>
                </a:cxn>
                <a:cxn ang="0">
                  <a:pos x="171" y="421"/>
                </a:cxn>
                <a:cxn ang="0">
                  <a:pos x="227" y="415"/>
                </a:cxn>
                <a:cxn ang="0">
                  <a:pos x="256" y="406"/>
                </a:cxn>
                <a:cxn ang="0">
                  <a:pos x="314" y="411"/>
                </a:cxn>
                <a:cxn ang="0">
                  <a:pos x="323" y="404"/>
                </a:cxn>
                <a:cxn ang="0">
                  <a:pos x="345" y="414"/>
                </a:cxn>
                <a:cxn ang="0">
                  <a:pos x="362" y="429"/>
                </a:cxn>
                <a:cxn ang="0">
                  <a:pos x="375" y="437"/>
                </a:cxn>
                <a:cxn ang="0">
                  <a:pos x="386" y="439"/>
                </a:cxn>
                <a:cxn ang="0">
                  <a:pos x="397" y="444"/>
                </a:cxn>
                <a:cxn ang="0">
                  <a:pos x="407" y="456"/>
                </a:cxn>
                <a:cxn ang="0">
                  <a:pos x="453" y="491"/>
                </a:cxn>
                <a:cxn ang="0">
                  <a:pos x="491" y="498"/>
                </a:cxn>
                <a:cxn ang="0">
                  <a:pos x="570" y="507"/>
                </a:cxn>
                <a:cxn ang="0">
                  <a:pos x="629" y="500"/>
                </a:cxn>
                <a:cxn ang="0">
                  <a:pos x="642" y="472"/>
                </a:cxn>
                <a:cxn ang="0">
                  <a:pos x="636" y="452"/>
                </a:cxn>
                <a:cxn ang="0">
                  <a:pos x="588" y="404"/>
                </a:cxn>
                <a:cxn ang="0">
                  <a:pos x="549" y="366"/>
                </a:cxn>
                <a:cxn ang="0">
                  <a:pos x="526" y="313"/>
                </a:cxn>
                <a:cxn ang="0">
                  <a:pos x="514" y="233"/>
                </a:cxn>
                <a:cxn ang="0">
                  <a:pos x="496" y="219"/>
                </a:cxn>
                <a:cxn ang="0">
                  <a:pos x="483" y="199"/>
                </a:cxn>
                <a:cxn ang="0">
                  <a:pos x="462" y="182"/>
                </a:cxn>
                <a:cxn ang="0">
                  <a:pos x="454" y="174"/>
                </a:cxn>
                <a:cxn ang="0">
                  <a:pos x="423" y="161"/>
                </a:cxn>
                <a:cxn ang="0">
                  <a:pos x="419" y="153"/>
                </a:cxn>
                <a:cxn ang="0">
                  <a:pos x="415" y="145"/>
                </a:cxn>
                <a:cxn ang="0">
                  <a:pos x="392" y="132"/>
                </a:cxn>
                <a:cxn ang="0">
                  <a:pos x="386" y="130"/>
                </a:cxn>
                <a:cxn ang="0">
                  <a:pos x="363" y="115"/>
                </a:cxn>
                <a:cxn ang="0">
                  <a:pos x="353" y="101"/>
                </a:cxn>
                <a:cxn ang="0">
                  <a:pos x="347" y="97"/>
                </a:cxn>
                <a:cxn ang="0">
                  <a:pos x="327" y="82"/>
                </a:cxn>
                <a:cxn ang="0">
                  <a:pos x="304" y="65"/>
                </a:cxn>
                <a:cxn ang="0">
                  <a:pos x="294" y="56"/>
                </a:cxn>
                <a:cxn ang="0">
                  <a:pos x="288" y="54"/>
                </a:cxn>
                <a:cxn ang="0">
                  <a:pos x="272" y="43"/>
                </a:cxn>
                <a:cxn ang="0">
                  <a:pos x="265" y="33"/>
                </a:cxn>
                <a:cxn ang="0">
                  <a:pos x="239" y="31"/>
                </a:cxn>
                <a:cxn ang="0">
                  <a:pos x="176" y="44"/>
                </a:cxn>
                <a:cxn ang="0">
                  <a:pos x="146" y="43"/>
                </a:cxn>
                <a:cxn ang="0">
                  <a:pos x="128" y="38"/>
                </a:cxn>
                <a:cxn ang="0">
                  <a:pos x="121" y="18"/>
                </a:cxn>
                <a:cxn ang="0">
                  <a:pos x="98" y="8"/>
                </a:cxn>
                <a:cxn ang="0">
                  <a:pos x="94" y="1"/>
                </a:cxn>
              </a:cxnLst>
              <a:rect l="0" t="0" r="r" b="b"/>
              <a:pathLst>
                <a:path w="642" h="507">
                  <a:moveTo>
                    <a:pt x="60" y="8"/>
                  </a:moveTo>
                  <a:lnTo>
                    <a:pt x="46" y="15"/>
                  </a:lnTo>
                  <a:lnTo>
                    <a:pt x="37" y="20"/>
                  </a:lnTo>
                  <a:lnTo>
                    <a:pt x="32" y="25"/>
                  </a:lnTo>
                  <a:lnTo>
                    <a:pt x="30" y="27"/>
                  </a:lnTo>
                  <a:lnTo>
                    <a:pt x="29" y="29"/>
                  </a:lnTo>
                  <a:lnTo>
                    <a:pt x="28" y="30"/>
                  </a:lnTo>
                  <a:lnTo>
                    <a:pt x="27" y="30"/>
                  </a:lnTo>
                  <a:lnTo>
                    <a:pt x="22" y="30"/>
                  </a:lnTo>
                  <a:lnTo>
                    <a:pt x="15" y="38"/>
                  </a:lnTo>
                  <a:lnTo>
                    <a:pt x="15" y="53"/>
                  </a:lnTo>
                  <a:lnTo>
                    <a:pt x="12" y="54"/>
                  </a:lnTo>
                  <a:lnTo>
                    <a:pt x="10" y="55"/>
                  </a:lnTo>
                  <a:lnTo>
                    <a:pt x="9" y="58"/>
                  </a:lnTo>
                  <a:lnTo>
                    <a:pt x="8" y="62"/>
                  </a:lnTo>
                  <a:lnTo>
                    <a:pt x="8" y="68"/>
                  </a:lnTo>
                  <a:lnTo>
                    <a:pt x="8" y="75"/>
                  </a:lnTo>
                  <a:lnTo>
                    <a:pt x="6" y="76"/>
                  </a:lnTo>
                  <a:lnTo>
                    <a:pt x="4" y="78"/>
                  </a:lnTo>
                  <a:lnTo>
                    <a:pt x="3" y="82"/>
                  </a:lnTo>
                  <a:lnTo>
                    <a:pt x="3" y="86"/>
                  </a:lnTo>
                  <a:lnTo>
                    <a:pt x="1" y="97"/>
                  </a:lnTo>
                  <a:lnTo>
                    <a:pt x="1" y="111"/>
                  </a:lnTo>
                  <a:lnTo>
                    <a:pt x="0" y="136"/>
                  </a:lnTo>
                  <a:lnTo>
                    <a:pt x="0" y="151"/>
                  </a:lnTo>
                  <a:lnTo>
                    <a:pt x="3" y="152"/>
                  </a:lnTo>
                  <a:lnTo>
                    <a:pt x="7" y="153"/>
                  </a:lnTo>
                  <a:lnTo>
                    <a:pt x="9" y="156"/>
                  </a:lnTo>
                  <a:lnTo>
                    <a:pt x="11" y="161"/>
                  </a:lnTo>
                  <a:lnTo>
                    <a:pt x="13" y="170"/>
                  </a:lnTo>
                  <a:lnTo>
                    <a:pt x="13" y="181"/>
                  </a:lnTo>
                  <a:lnTo>
                    <a:pt x="15" y="192"/>
                  </a:lnTo>
                  <a:lnTo>
                    <a:pt x="16" y="202"/>
                  </a:lnTo>
                  <a:lnTo>
                    <a:pt x="17" y="206"/>
                  </a:lnTo>
                  <a:lnTo>
                    <a:pt x="18" y="209"/>
                  </a:lnTo>
                  <a:lnTo>
                    <a:pt x="20" y="211"/>
                  </a:lnTo>
                  <a:lnTo>
                    <a:pt x="22" y="211"/>
                  </a:lnTo>
                  <a:lnTo>
                    <a:pt x="23" y="227"/>
                  </a:lnTo>
                  <a:lnTo>
                    <a:pt x="27" y="246"/>
                  </a:lnTo>
                  <a:lnTo>
                    <a:pt x="32" y="265"/>
                  </a:lnTo>
                  <a:lnTo>
                    <a:pt x="38" y="279"/>
                  </a:lnTo>
                  <a:lnTo>
                    <a:pt x="42" y="290"/>
                  </a:lnTo>
                  <a:lnTo>
                    <a:pt x="52" y="314"/>
                  </a:lnTo>
                  <a:lnTo>
                    <a:pt x="63" y="337"/>
                  </a:lnTo>
                  <a:lnTo>
                    <a:pt x="68" y="347"/>
                  </a:lnTo>
                  <a:lnTo>
                    <a:pt x="70" y="348"/>
                  </a:lnTo>
                  <a:lnTo>
                    <a:pt x="73" y="350"/>
                  </a:lnTo>
                  <a:lnTo>
                    <a:pt x="75" y="352"/>
                  </a:lnTo>
                  <a:lnTo>
                    <a:pt x="76" y="355"/>
                  </a:lnTo>
                  <a:lnTo>
                    <a:pt x="78" y="357"/>
                  </a:lnTo>
                  <a:lnTo>
                    <a:pt x="82" y="361"/>
                  </a:lnTo>
                  <a:lnTo>
                    <a:pt x="86" y="362"/>
                  </a:lnTo>
                  <a:lnTo>
                    <a:pt x="90" y="363"/>
                  </a:lnTo>
                  <a:lnTo>
                    <a:pt x="90" y="377"/>
                  </a:lnTo>
                  <a:lnTo>
                    <a:pt x="98" y="385"/>
                  </a:lnTo>
                  <a:lnTo>
                    <a:pt x="113" y="401"/>
                  </a:lnTo>
                  <a:lnTo>
                    <a:pt x="128" y="415"/>
                  </a:lnTo>
                  <a:lnTo>
                    <a:pt x="140" y="415"/>
                  </a:lnTo>
                  <a:lnTo>
                    <a:pt x="151" y="415"/>
                  </a:lnTo>
                  <a:lnTo>
                    <a:pt x="152" y="417"/>
                  </a:lnTo>
                  <a:lnTo>
                    <a:pt x="154" y="418"/>
                  </a:lnTo>
                  <a:lnTo>
                    <a:pt x="156" y="419"/>
                  </a:lnTo>
                  <a:lnTo>
                    <a:pt x="161" y="420"/>
                  </a:lnTo>
                  <a:lnTo>
                    <a:pt x="171" y="421"/>
                  </a:lnTo>
                  <a:lnTo>
                    <a:pt x="182" y="422"/>
                  </a:lnTo>
                  <a:lnTo>
                    <a:pt x="205" y="423"/>
                  </a:lnTo>
                  <a:lnTo>
                    <a:pt x="219" y="423"/>
                  </a:lnTo>
                  <a:lnTo>
                    <a:pt x="227" y="415"/>
                  </a:lnTo>
                  <a:lnTo>
                    <a:pt x="234" y="408"/>
                  </a:lnTo>
                  <a:lnTo>
                    <a:pt x="240" y="422"/>
                  </a:lnTo>
                  <a:lnTo>
                    <a:pt x="248" y="414"/>
                  </a:lnTo>
                  <a:lnTo>
                    <a:pt x="256" y="406"/>
                  </a:lnTo>
                  <a:lnTo>
                    <a:pt x="263" y="400"/>
                  </a:lnTo>
                  <a:lnTo>
                    <a:pt x="284" y="411"/>
                  </a:lnTo>
                  <a:lnTo>
                    <a:pt x="299" y="411"/>
                  </a:lnTo>
                  <a:lnTo>
                    <a:pt x="314" y="411"/>
                  </a:lnTo>
                  <a:lnTo>
                    <a:pt x="315" y="409"/>
                  </a:lnTo>
                  <a:lnTo>
                    <a:pt x="316" y="406"/>
                  </a:lnTo>
                  <a:lnTo>
                    <a:pt x="319" y="405"/>
                  </a:lnTo>
                  <a:lnTo>
                    <a:pt x="323" y="404"/>
                  </a:lnTo>
                  <a:lnTo>
                    <a:pt x="329" y="404"/>
                  </a:lnTo>
                  <a:lnTo>
                    <a:pt x="336" y="403"/>
                  </a:lnTo>
                  <a:lnTo>
                    <a:pt x="344" y="411"/>
                  </a:lnTo>
                  <a:lnTo>
                    <a:pt x="345" y="414"/>
                  </a:lnTo>
                  <a:lnTo>
                    <a:pt x="348" y="418"/>
                  </a:lnTo>
                  <a:lnTo>
                    <a:pt x="352" y="422"/>
                  </a:lnTo>
                  <a:lnTo>
                    <a:pt x="356" y="425"/>
                  </a:lnTo>
                  <a:lnTo>
                    <a:pt x="362" y="429"/>
                  </a:lnTo>
                  <a:lnTo>
                    <a:pt x="366" y="431"/>
                  </a:lnTo>
                  <a:lnTo>
                    <a:pt x="371" y="433"/>
                  </a:lnTo>
                  <a:lnTo>
                    <a:pt x="374" y="433"/>
                  </a:lnTo>
                  <a:lnTo>
                    <a:pt x="375" y="437"/>
                  </a:lnTo>
                  <a:lnTo>
                    <a:pt x="376" y="438"/>
                  </a:lnTo>
                  <a:lnTo>
                    <a:pt x="378" y="439"/>
                  </a:lnTo>
                  <a:lnTo>
                    <a:pt x="381" y="439"/>
                  </a:lnTo>
                  <a:lnTo>
                    <a:pt x="386" y="439"/>
                  </a:lnTo>
                  <a:lnTo>
                    <a:pt x="393" y="438"/>
                  </a:lnTo>
                  <a:lnTo>
                    <a:pt x="393" y="441"/>
                  </a:lnTo>
                  <a:lnTo>
                    <a:pt x="395" y="442"/>
                  </a:lnTo>
                  <a:lnTo>
                    <a:pt x="397" y="444"/>
                  </a:lnTo>
                  <a:lnTo>
                    <a:pt x="401" y="447"/>
                  </a:lnTo>
                  <a:lnTo>
                    <a:pt x="403" y="449"/>
                  </a:lnTo>
                  <a:lnTo>
                    <a:pt x="405" y="452"/>
                  </a:lnTo>
                  <a:lnTo>
                    <a:pt x="407" y="456"/>
                  </a:lnTo>
                  <a:lnTo>
                    <a:pt x="407" y="461"/>
                  </a:lnTo>
                  <a:lnTo>
                    <a:pt x="423" y="461"/>
                  </a:lnTo>
                  <a:lnTo>
                    <a:pt x="438" y="476"/>
                  </a:lnTo>
                  <a:lnTo>
                    <a:pt x="453" y="491"/>
                  </a:lnTo>
                  <a:lnTo>
                    <a:pt x="463" y="492"/>
                  </a:lnTo>
                  <a:lnTo>
                    <a:pt x="472" y="495"/>
                  </a:lnTo>
                  <a:lnTo>
                    <a:pt x="481" y="497"/>
                  </a:lnTo>
                  <a:lnTo>
                    <a:pt x="491" y="498"/>
                  </a:lnTo>
                  <a:lnTo>
                    <a:pt x="512" y="502"/>
                  </a:lnTo>
                  <a:lnTo>
                    <a:pt x="533" y="505"/>
                  </a:lnTo>
                  <a:lnTo>
                    <a:pt x="551" y="506"/>
                  </a:lnTo>
                  <a:lnTo>
                    <a:pt x="570" y="507"/>
                  </a:lnTo>
                  <a:lnTo>
                    <a:pt x="601" y="507"/>
                  </a:lnTo>
                  <a:lnTo>
                    <a:pt x="622" y="505"/>
                  </a:lnTo>
                  <a:lnTo>
                    <a:pt x="624" y="504"/>
                  </a:lnTo>
                  <a:lnTo>
                    <a:pt x="629" y="500"/>
                  </a:lnTo>
                  <a:lnTo>
                    <a:pt x="633" y="496"/>
                  </a:lnTo>
                  <a:lnTo>
                    <a:pt x="637" y="489"/>
                  </a:lnTo>
                  <a:lnTo>
                    <a:pt x="641" y="481"/>
                  </a:lnTo>
                  <a:lnTo>
                    <a:pt x="642" y="472"/>
                  </a:lnTo>
                  <a:lnTo>
                    <a:pt x="642" y="468"/>
                  </a:lnTo>
                  <a:lnTo>
                    <a:pt x="641" y="462"/>
                  </a:lnTo>
                  <a:lnTo>
                    <a:pt x="640" y="457"/>
                  </a:lnTo>
                  <a:lnTo>
                    <a:pt x="636" y="452"/>
                  </a:lnTo>
                  <a:lnTo>
                    <a:pt x="629" y="441"/>
                  </a:lnTo>
                  <a:lnTo>
                    <a:pt x="616" y="429"/>
                  </a:lnTo>
                  <a:lnTo>
                    <a:pt x="603" y="418"/>
                  </a:lnTo>
                  <a:lnTo>
                    <a:pt x="588" y="404"/>
                  </a:lnTo>
                  <a:lnTo>
                    <a:pt x="574" y="392"/>
                  </a:lnTo>
                  <a:lnTo>
                    <a:pt x="560" y="380"/>
                  </a:lnTo>
                  <a:lnTo>
                    <a:pt x="555" y="373"/>
                  </a:lnTo>
                  <a:lnTo>
                    <a:pt x="549" y="366"/>
                  </a:lnTo>
                  <a:lnTo>
                    <a:pt x="545" y="360"/>
                  </a:lnTo>
                  <a:lnTo>
                    <a:pt x="540" y="353"/>
                  </a:lnTo>
                  <a:lnTo>
                    <a:pt x="533" y="333"/>
                  </a:lnTo>
                  <a:lnTo>
                    <a:pt x="526" y="313"/>
                  </a:lnTo>
                  <a:lnTo>
                    <a:pt x="521" y="295"/>
                  </a:lnTo>
                  <a:lnTo>
                    <a:pt x="518" y="278"/>
                  </a:lnTo>
                  <a:lnTo>
                    <a:pt x="515" y="251"/>
                  </a:lnTo>
                  <a:lnTo>
                    <a:pt x="514" y="233"/>
                  </a:lnTo>
                  <a:lnTo>
                    <a:pt x="510" y="232"/>
                  </a:lnTo>
                  <a:lnTo>
                    <a:pt x="506" y="229"/>
                  </a:lnTo>
                  <a:lnTo>
                    <a:pt x="500" y="225"/>
                  </a:lnTo>
                  <a:lnTo>
                    <a:pt x="496" y="219"/>
                  </a:lnTo>
                  <a:lnTo>
                    <a:pt x="491" y="212"/>
                  </a:lnTo>
                  <a:lnTo>
                    <a:pt x="487" y="207"/>
                  </a:lnTo>
                  <a:lnTo>
                    <a:pt x="485" y="202"/>
                  </a:lnTo>
                  <a:lnTo>
                    <a:pt x="483" y="199"/>
                  </a:lnTo>
                  <a:lnTo>
                    <a:pt x="476" y="191"/>
                  </a:lnTo>
                  <a:lnTo>
                    <a:pt x="468" y="183"/>
                  </a:lnTo>
                  <a:lnTo>
                    <a:pt x="466" y="183"/>
                  </a:lnTo>
                  <a:lnTo>
                    <a:pt x="462" y="182"/>
                  </a:lnTo>
                  <a:lnTo>
                    <a:pt x="460" y="181"/>
                  </a:lnTo>
                  <a:lnTo>
                    <a:pt x="458" y="179"/>
                  </a:lnTo>
                  <a:lnTo>
                    <a:pt x="455" y="177"/>
                  </a:lnTo>
                  <a:lnTo>
                    <a:pt x="454" y="174"/>
                  </a:lnTo>
                  <a:lnTo>
                    <a:pt x="453" y="171"/>
                  </a:lnTo>
                  <a:lnTo>
                    <a:pt x="453" y="169"/>
                  </a:lnTo>
                  <a:lnTo>
                    <a:pt x="438" y="164"/>
                  </a:lnTo>
                  <a:lnTo>
                    <a:pt x="423" y="161"/>
                  </a:lnTo>
                  <a:lnTo>
                    <a:pt x="423" y="156"/>
                  </a:lnTo>
                  <a:lnTo>
                    <a:pt x="422" y="154"/>
                  </a:lnTo>
                  <a:lnTo>
                    <a:pt x="421" y="153"/>
                  </a:lnTo>
                  <a:lnTo>
                    <a:pt x="419" y="153"/>
                  </a:lnTo>
                  <a:lnTo>
                    <a:pt x="418" y="153"/>
                  </a:lnTo>
                  <a:lnTo>
                    <a:pt x="416" y="152"/>
                  </a:lnTo>
                  <a:lnTo>
                    <a:pt x="415" y="150"/>
                  </a:lnTo>
                  <a:lnTo>
                    <a:pt x="415" y="145"/>
                  </a:lnTo>
                  <a:lnTo>
                    <a:pt x="404" y="142"/>
                  </a:lnTo>
                  <a:lnTo>
                    <a:pt x="393" y="139"/>
                  </a:lnTo>
                  <a:lnTo>
                    <a:pt x="392" y="134"/>
                  </a:lnTo>
                  <a:lnTo>
                    <a:pt x="392" y="132"/>
                  </a:lnTo>
                  <a:lnTo>
                    <a:pt x="391" y="131"/>
                  </a:lnTo>
                  <a:lnTo>
                    <a:pt x="389" y="131"/>
                  </a:lnTo>
                  <a:lnTo>
                    <a:pt x="387" y="131"/>
                  </a:lnTo>
                  <a:lnTo>
                    <a:pt x="386" y="130"/>
                  </a:lnTo>
                  <a:lnTo>
                    <a:pt x="385" y="127"/>
                  </a:lnTo>
                  <a:lnTo>
                    <a:pt x="385" y="123"/>
                  </a:lnTo>
                  <a:lnTo>
                    <a:pt x="370" y="123"/>
                  </a:lnTo>
                  <a:lnTo>
                    <a:pt x="363" y="115"/>
                  </a:lnTo>
                  <a:lnTo>
                    <a:pt x="355" y="107"/>
                  </a:lnTo>
                  <a:lnTo>
                    <a:pt x="355" y="104"/>
                  </a:lnTo>
                  <a:lnTo>
                    <a:pt x="354" y="102"/>
                  </a:lnTo>
                  <a:lnTo>
                    <a:pt x="353" y="101"/>
                  </a:lnTo>
                  <a:lnTo>
                    <a:pt x="352" y="101"/>
                  </a:lnTo>
                  <a:lnTo>
                    <a:pt x="349" y="101"/>
                  </a:lnTo>
                  <a:lnTo>
                    <a:pt x="348" y="100"/>
                  </a:lnTo>
                  <a:lnTo>
                    <a:pt x="347" y="97"/>
                  </a:lnTo>
                  <a:lnTo>
                    <a:pt x="347" y="93"/>
                  </a:lnTo>
                  <a:lnTo>
                    <a:pt x="333" y="93"/>
                  </a:lnTo>
                  <a:lnTo>
                    <a:pt x="330" y="87"/>
                  </a:lnTo>
                  <a:lnTo>
                    <a:pt x="327" y="82"/>
                  </a:lnTo>
                  <a:lnTo>
                    <a:pt x="323" y="76"/>
                  </a:lnTo>
                  <a:lnTo>
                    <a:pt x="316" y="72"/>
                  </a:lnTo>
                  <a:lnTo>
                    <a:pt x="309" y="68"/>
                  </a:lnTo>
                  <a:lnTo>
                    <a:pt x="304" y="65"/>
                  </a:lnTo>
                  <a:lnTo>
                    <a:pt x="298" y="63"/>
                  </a:lnTo>
                  <a:lnTo>
                    <a:pt x="295" y="63"/>
                  </a:lnTo>
                  <a:lnTo>
                    <a:pt x="294" y="58"/>
                  </a:lnTo>
                  <a:lnTo>
                    <a:pt x="294" y="56"/>
                  </a:lnTo>
                  <a:lnTo>
                    <a:pt x="293" y="55"/>
                  </a:lnTo>
                  <a:lnTo>
                    <a:pt x="290" y="55"/>
                  </a:lnTo>
                  <a:lnTo>
                    <a:pt x="289" y="55"/>
                  </a:lnTo>
                  <a:lnTo>
                    <a:pt x="288" y="54"/>
                  </a:lnTo>
                  <a:lnTo>
                    <a:pt x="287" y="52"/>
                  </a:lnTo>
                  <a:lnTo>
                    <a:pt x="287" y="47"/>
                  </a:lnTo>
                  <a:lnTo>
                    <a:pt x="280" y="46"/>
                  </a:lnTo>
                  <a:lnTo>
                    <a:pt x="272" y="43"/>
                  </a:lnTo>
                  <a:lnTo>
                    <a:pt x="269" y="40"/>
                  </a:lnTo>
                  <a:lnTo>
                    <a:pt x="267" y="38"/>
                  </a:lnTo>
                  <a:lnTo>
                    <a:pt x="265" y="35"/>
                  </a:lnTo>
                  <a:lnTo>
                    <a:pt x="265" y="33"/>
                  </a:lnTo>
                  <a:lnTo>
                    <a:pt x="249" y="33"/>
                  </a:lnTo>
                  <a:lnTo>
                    <a:pt x="248" y="31"/>
                  </a:lnTo>
                  <a:lnTo>
                    <a:pt x="245" y="31"/>
                  </a:lnTo>
                  <a:lnTo>
                    <a:pt x="239" y="31"/>
                  </a:lnTo>
                  <a:lnTo>
                    <a:pt x="232" y="34"/>
                  </a:lnTo>
                  <a:lnTo>
                    <a:pt x="215" y="37"/>
                  </a:lnTo>
                  <a:lnTo>
                    <a:pt x="197" y="40"/>
                  </a:lnTo>
                  <a:lnTo>
                    <a:pt x="176" y="44"/>
                  </a:lnTo>
                  <a:lnTo>
                    <a:pt x="160" y="46"/>
                  </a:lnTo>
                  <a:lnTo>
                    <a:pt x="153" y="45"/>
                  </a:lnTo>
                  <a:lnTo>
                    <a:pt x="147" y="44"/>
                  </a:lnTo>
                  <a:lnTo>
                    <a:pt x="146" y="43"/>
                  </a:lnTo>
                  <a:lnTo>
                    <a:pt x="144" y="42"/>
                  </a:lnTo>
                  <a:lnTo>
                    <a:pt x="144" y="39"/>
                  </a:lnTo>
                  <a:lnTo>
                    <a:pt x="143" y="38"/>
                  </a:lnTo>
                  <a:lnTo>
                    <a:pt x="128" y="38"/>
                  </a:lnTo>
                  <a:lnTo>
                    <a:pt x="128" y="23"/>
                  </a:lnTo>
                  <a:lnTo>
                    <a:pt x="125" y="23"/>
                  </a:lnTo>
                  <a:lnTo>
                    <a:pt x="123" y="20"/>
                  </a:lnTo>
                  <a:lnTo>
                    <a:pt x="121" y="18"/>
                  </a:lnTo>
                  <a:lnTo>
                    <a:pt x="118" y="15"/>
                  </a:lnTo>
                  <a:lnTo>
                    <a:pt x="114" y="10"/>
                  </a:lnTo>
                  <a:lnTo>
                    <a:pt x="113" y="8"/>
                  </a:lnTo>
                  <a:lnTo>
                    <a:pt x="98" y="8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5" y="1"/>
                  </a:lnTo>
                  <a:lnTo>
                    <a:pt x="94" y="1"/>
                  </a:lnTo>
                  <a:lnTo>
                    <a:pt x="88" y="0"/>
                  </a:lnTo>
                  <a:lnTo>
                    <a:pt x="83" y="0"/>
                  </a:lnTo>
                  <a:lnTo>
                    <a:pt x="6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4" name="Freeform 101"/>
            <p:cNvSpPr>
              <a:spLocks noChangeAspect="1"/>
            </p:cNvSpPr>
            <p:nvPr/>
          </p:nvSpPr>
          <p:spPr bwMode="gray">
            <a:xfrm rot="355651">
              <a:off x="7158026" y="3092450"/>
              <a:ext cx="155520" cy="102203"/>
            </a:xfrm>
            <a:custGeom>
              <a:avLst/>
              <a:gdLst/>
              <a:ahLst/>
              <a:cxnLst>
                <a:cxn ang="0">
                  <a:pos x="445" y="130"/>
                </a:cxn>
                <a:cxn ang="0">
                  <a:pos x="422" y="82"/>
                </a:cxn>
                <a:cxn ang="0">
                  <a:pos x="403" y="61"/>
                </a:cxn>
                <a:cxn ang="0">
                  <a:pos x="380" y="48"/>
                </a:cxn>
                <a:cxn ang="0">
                  <a:pos x="268" y="36"/>
                </a:cxn>
                <a:cxn ang="0">
                  <a:pos x="167" y="35"/>
                </a:cxn>
                <a:cxn ang="0">
                  <a:pos x="81" y="44"/>
                </a:cxn>
                <a:cxn ang="0">
                  <a:pos x="29" y="63"/>
                </a:cxn>
                <a:cxn ang="0">
                  <a:pos x="25" y="121"/>
                </a:cxn>
                <a:cxn ang="0">
                  <a:pos x="10" y="190"/>
                </a:cxn>
                <a:cxn ang="0">
                  <a:pos x="8" y="309"/>
                </a:cxn>
                <a:cxn ang="0">
                  <a:pos x="20" y="384"/>
                </a:cxn>
                <a:cxn ang="0">
                  <a:pos x="29" y="404"/>
                </a:cxn>
                <a:cxn ang="0">
                  <a:pos x="42" y="427"/>
                </a:cxn>
                <a:cxn ang="0">
                  <a:pos x="72" y="443"/>
                </a:cxn>
                <a:cxn ang="0">
                  <a:pos x="108" y="459"/>
                </a:cxn>
                <a:cxn ang="0">
                  <a:pos x="163" y="498"/>
                </a:cxn>
                <a:cxn ang="0">
                  <a:pos x="197" y="524"/>
                </a:cxn>
                <a:cxn ang="0">
                  <a:pos x="229" y="544"/>
                </a:cxn>
                <a:cxn ang="0">
                  <a:pos x="283" y="546"/>
                </a:cxn>
                <a:cxn ang="0">
                  <a:pos x="314" y="507"/>
                </a:cxn>
                <a:cxn ang="0">
                  <a:pos x="318" y="427"/>
                </a:cxn>
                <a:cxn ang="0">
                  <a:pos x="348" y="393"/>
                </a:cxn>
                <a:cxn ang="0">
                  <a:pos x="364" y="390"/>
                </a:cxn>
                <a:cxn ang="0">
                  <a:pos x="448" y="431"/>
                </a:cxn>
                <a:cxn ang="0">
                  <a:pos x="459" y="451"/>
                </a:cxn>
                <a:cxn ang="0">
                  <a:pos x="474" y="486"/>
                </a:cxn>
                <a:cxn ang="0">
                  <a:pos x="512" y="528"/>
                </a:cxn>
                <a:cxn ang="0">
                  <a:pos x="543" y="564"/>
                </a:cxn>
                <a:cxn ang="0">
                  <a:pos x="562" y="585"/>
                </a:cxn>
                <a:cxn ang="0">
                  <a:pos x="573" y="600"/>
                </a:cxn>
                <a:cxn ang="0">
                  <a:pos x="600" y="621"/>
                </a:cxn>
                <a:cxn ang="0">
                  <a:pos x="620" y="632"/>
                </a:cxn>
                <a:cxn ang="0">
                  <a:pos x="651" y="532"/>
                </a:cxn>
                <a:cxn ang="0">
                  <a:pos x="666" y="440"/>
                </a:cxn>
                <a:cxn ang="0">
                  <a:pos x="685" y="388"/>
                </a:cxn>
                <a:cxn ang="0">
                  <a:pos x="704" y="331"/>
                </a:cxn>
                <a:cxn ang="0">
                  <a:pos x="726" y="282"/>
                </a:cxn>
                <a:cxn ang="0">
                  <a:pos x="775" y="211"/>
                </a:cxn>
                <a:cxn ang="0">
                  <a:pos x="792" y="192"/>
                </a:cxn>
                <a:cxn ang="0">
                  <a:pos x="832" y="151"/>
                </a:cxn>
                <a:cxn ang="0">
                  <a:pos x="857" y="126"/>
                </a:cxn>
                <a:cxn ang="0">
                  <a:pos x="851" y="96"/>
                </a:cxn>
                <a:cxn ang="0">
                  <a:pos x="791" y="77"/>
                </a:cxn>
                <a:cxn ang="0">
                  <a:pos x="713" y="46"/>
                </a:cxn>
                <a:cxn ang="0">
                  <a:pos x="700" y="17"/>
                </a:cxn>
                <a:cxn ang="0">
                  <a:pos x="658" y="0"/>
                </a:cxn>
                <a:cxn ang="0">
                  <a:pos x="614" y="15"/>
                </a:cxn>
                <a:cxn ang="0">
                  <a:pos x="586" y="25"/>
                </a:cxn>
                <a:cxn ang="0">
                  <a:pos x="544" y="54"/>
                </a:cxn>
                <a:cxn ang="0">
                  <a:pos x="516" y="84"/>
                </a:cxn>
                <a:cxn ang="0">
                  <a:pos x="512" y="112"/>
                </a:cxn>
                <a:cxn ang="0">
                  <a:pos x="506" y="124"/>
                </a:cxn>
              </a:cxnLst>
              <a:rect l="0" t="0" r="r" b="b"/>
              <a:pathLst>
                <a:path w="859" h="632">
                  <a:moveTo>
                    <a:pt x="495" y="134"/>
                  </a:moveTo>
                  <a:lnTo>
                    <a:pt x="485" y="134"/>
                  </a:lnTo>
                  <a:lnTo>
                    <a:pt x="476" y="136"/>
                  </a:lnTo>
                  <a:lnTo>
                    <a:pt x="466" y="138"/>
                  </a:lnTo>
                  <a:lnTo>
                    <a:pt x="457" y="138"/>
                  </a:lnTo>
                  <a:lnTo>
                    <a:pt x="445" y="130"/>
                  </a:lnTo>
                  <a:lnTo>
                    <a:pt x="440" y="121"/>
                  </a:lnTo>
                  <a:lnTo>
                    <a:pt x="436" y="109"/>
                  </a:lnTo>
                  <a:lnTo>
                    <a:pt x="431" y="96"/>
                  </a:lnTo>
                  <a:lnTo>
                    <a:pt x="428" y="87"/>
                  </a:lnTo>
                  <a:lnTo>
                    <a:pt x="425" y="85"/>
                  </a:lnTo>
                  <a:lnTo>
                    <a:pt x="422" y="82"/>
                  </a:lnTo>
                  <a:lnTo>
                    <a:pt x="420" y="78"/>
                  </a:lnTo>
                  <a:lnTo>
                    <a:pt x="419" y="75"/>
                  </a:lnTo>
                  <a:lnTo>
                    <a:pt x="414" y="71"/>
                  </a:lnTo>
                  <a:lnTo>
                    <a:pt x="411" y="70"/>
                  </a:lnTo>
                  <a:lnTo>
                    <a:pt x="407" y="65"/>
                  </a:lnTo>
                  <a:lnTo>
                    <a:pt x="403" y="61"/>
                  </a:lnTo>
                  <a:lnTo>
                    <a:pt x="402" y="58"/>
                  </a:lnTo>
                  <a:lnTo>
                    <a:pt x="399" y="57"/>
                  </a:lnTo>
                  <a:lnTo>
                    <a:pt x="397" y="56"/>
                  </a:lnTo>
                  <a:lnTo>
                    <a:pt x="393" y="53"/>
                  </a:lnTo>
                  <a:lnTo>
                    <a:pt x="390" y="51"/>
                  </a:lnTo>
                  <a:lnTo>
                    <a:pt x="380" y="48"/>
                  </a:lnTo>
                  <a:lnTo>
                    <a:pt x="368" y="44"/>
                  </a:lnTo>
                  <a:lnTo>
                    <a:pt x="355" y="38"/>
                  </a:lnTo>
                  <a:lnTo>
                    <a:pt x="348" y="34"/>
                  </a:lnTo>
                  <a:lnTo>
                    <a:pt x="277" y="34"/>
                  </a:lnTo>
                  <a:lnTo>
                    <a:pt x="274" y="35"/>
                  </a:lnTo>
                  <a:lnTo>
                    <a:pt x="268" y="36"/>
                  </a:lnTo>
                  <a:lnTo>
                    <a:pt x="259" y="36"/>
                  </a:lnTo>
                  <a:lnTo>
                    <a:pt x="248" y="37"/>
                  </a:lnTo>
                  <a:lnTo>
                    <a:pt x="227" y="37"/>
                  </a:lnTo>
                  <a:lnTo>
                    <a:pt x="214" y="37"/>
                  </a:lnTo>
                  <a:lnTo>
                    <a:pt x="191" y="36"/>
                  </a:lnTo>
                  <a:lnTo>
                    <a:pt x="167" y="35"/>
                  </a:lnTo>
                  <a:lnTo>
                    <a:pt x="153" y="34"/>
                  </a:lnTo>
                  <a:lnTo>
                    <a:pt x="141" y="34"/>
                  </a:lnTo>
                  <a:lnTo>
                    <a:pt x="131" y="35"/>
                  </a:lnTo>
                  <a:lnTo>
                    <a:pt x="122" y="37"/>
                  </a:lnTo>
                  <a:lnTo>
                    <a:pt x="102" y="39"/>
                  </a:lnTo>
                  <a:lnTo>
                    <a:pt x="81" y="44"/>
                  </a:lnTo>
                  <a:lnTo>
                    <a:pt x="60" y="48"/>
                  </a:lnTo>
                  <a:lnTo>
                    <a:pt x="42" y="51"/>
                  </a:lnTo>
                  <a:lnTo>
                    <a:pt x="41" y="53"/>
                  </a:lnTo>
                  <a:lnTo>
                    <a:pt x="37" y="56"/>
                  </a:lnTo>
                  <a:lnTo>
                    <a:pt x="33" y="59"/>
                  </a:lnTo>
                  <a:lnTo>
                    <a:pt x="29" y="63"/>
                  </a:lnTo>
                  <a:lnTo>
                    <a:pt x="29" y="71"/>
                  </a:lnTo>
                  <a:lnTo>
                    <a:pt x="28" y="74"/>
                  </a:lnTo>
                  <a:lnTo>
                    <a:pt x="27" y="80"/>
                  </a:lnTo>
                  <a:lnTo>
                    <a:pt x="26" y="88"/>
                  </a:lnTo>
                  <a:lnTo>
                    <a:pt x="26" y="100"/>
                  </a:lnTo>
                  <a:lnTo>
                    <a:pt x="25" y="121"/>
                  </a:lnTo>
                  <a:lnTo>
                    <a:pt x="25" y="134"/>
                  </a:lnTo>
                  <a:lnTo>
                    <a:pt x="24" y="136"/>
                  </a:lnTo>
                  <a:lnTo>
                    <a:pt x="20" y="144"/>
                  </a:lnTo>
                  <a:lnTo>
                    <a:pt x="18" y="154"/>
                  </a:lnTo>
                  <a:lnTo>
                    <a:pt x="15" y="167"/>
                  </a:lnTo>
                  <a:lnTo>
                    <a:pt x="10" y="190"/>
                  </a:lnTo>
                  <a:lnTo>
                    <a:pt x="8" y="206"/>
                  </a:lnTo>
                  <a:lnTo>
                    <a:pt x="7" y="226"/>
                  </a:lnTo>
                  <a:lnTo>
                    <a:pt x="5" y="248"/>
                  </a:lnTo>
                  <a:lnTo>
                    <a:pt x="1" y="270"/>
                  </a:lnTo>
                  <a:lnTo>
                    <a:pt x="0" y="293"/>
                  </a:lnTo>
                  <a:lnTo>
                    <a:pt x="8" y="309"/>
                  </a:lnTo>
                  <a:lnTo>
                    <a:pt x="9" y="326"/>
                  </a:lnTo>
                  <a:lnTo>
                    <a:pt x="13" y="344"/>
                  </a:lnTo>
                  <a:lnTo>
                    <a:pt x="16" y="362"/>
                  </a:lnTo>
                  <a:lnTo>
                    <a:pt x="17" y="381"/>
                  </a:lnTo>
                  <a:lnTo>
                    <a:pt x="19" y="382"/>
                  </a:lnTo>
                  <a:lnTo>
                    <a:pt x="20" y="384"/>
                  </a:lnTo>
                  <a:lnTo>
                    <a:pt x="20" y="386"/>
                  </a:lnTo>
                  <a:lnTo>
                    <a:pt x="22" y="390"/>
                  </a:lnTo>
                  <a:lnTo>
                    <a:pt x="23" y="395"/>
                  </a:lnTo>
                  <a:lnTo>
                    <a:pt x="25" y="402"/>
                  </a:lnTo>
                  <a:lnTo>
                    <a:pt x="27" y="403"/>
                  </a:lnTo>
                  <a:lnTo>
                    <a:pt x="29" y="404"/>
                  </a:lnTo>
                  <a:lnTo>
                    <a:pt x="29" y="408"/>
                  </a:lnTo>
                  <a:lnTo>
                    <a:pt x="29" y="410"/>
                  </a:lnTo>
                  <a:lnTo>
                    <a:pt x="34" y="414"/>
                  </a:lnTo>
                  <a:lnTo>
                    <a:pt x="38" y="417"/>
                  </a:lnTo>
                  <a:lnTo>
                    <a:pt x="42" y="419"/>
                  </a:lnTo>
                  <a:lnTo>
                    <a:pt x="42" y="427"/>
                  </a:lnTo>
                  <a:lnTo>
                    <a:pt x="48" y="429"/>
                  </a:lnTo>
                  <a:lnTo>
                    <a:pt x="55" y="431"/>
                  </a:lnTo>
                  <a:lnTo>
                    <a:pt x="57" y="436"/>
                  </a:lnTo>
                  <a:lnTo>
                    <a:pt x="63" y="439"/>
                  </a:lnTo>
                  <a:lnTo>
                    <a:pt x="68" y="442"/>
                  </a:lnTo>
                  <a:lnTo>
                    <a:pt x="72" y="443"/>
                  </a:lnTo>
                  <a:lnTo>
                    <a:pt x="84" y="443"/>
                  </a:lnTo>
                  <a:lnTo>
                    <a:pt x="87" y="447"/>
                  </a:lnTo>
                  <a:lnTo>
                    <a:pt x="91" y="450"/>
                  </a:lnTo>
                  <a:lnTo>
                    <a:pt x="95" y="451"/>
                  </a:lnTo>
                  <a:lnTo>
                    <a:pt x="101" y="452"/>
                  </a:lnTo>
                  <a:lnTo>
                    <a:pt x="108" y="459"/>
                  </a:lnTo>
                  <a:lnTo>
                    <a:pt x="118" y="465"/>
                  </a:lnTo>
                  <a:lnTo>
                    <a:pt x="122" y="470"/>
                  </a:lnTo>
                  <a:lnTo>
                    <a:pt x="132" y="478"/>
                  </a:lnTo>
                  <a:lnTo>
                    <a:pt x="144" y="487"/>
                  </a:lnTo>
                  <a:lnTo>
                    <a:pt x="151" y="495"/>
                  </a:lnTo>
                  <a:lnTo>
                    <a:pt x="163" y="498"/>
                  </a:lnTo>
                  <a:lnTo>
                    <a:pt x="166" y="503"/>
                  </a:lnTo>
                  <a:lnTo>
                    <a:pt x="171" y="507"/>
                  </a:lnTo>
                  <a:lnTo>
                    <a:pt x="178" y="511"/>
                  </a:lnTo>
                  <a:lnTo>
                    <a:pt x="185" y="515"/>
                  </a:lnTo>
                  <a:lnTo>
                    <a:pt x="189" y="524"/>
                  </a:lnTo>
                  <a:lnTo>
                    <a:pt x="197" y="524"/>
                  </a:lnTo>
                  <a:lnTo>
                    <a:pt x="201" y="528"/>
                  </a:lnTo>
                  <a:lnTo>
                    <a:pt x="208" y="534"/>
                  </a:lnTo>
                  <a:lnTo>
                    <a:pt x="214" y="538"/>
                  </a:lnTo>
                  <a:lnTo>
                    <a:pt x="218" y="540"/>
                  </a:lnTo>
                  <a:lnTo>
                    <a:pt x="226" y="540"/>
                  </a:lnTo>
                  <a:lnTo>
                    <a:pt x="229" y="544"/>
                  </a:lnTo>
                  <a:lnTo>
                    <a:pt x="235" y="548"/>
                  </a:lnTo>
                  <a:lnTo>
                    <a:pt x="240" y="552"/>
                  </a:lnTo>
                  <a:lnTo>
                    <a:pt x="244" y="553"/>
                  </a:lnTo>
                  <a:lnTo>
                    <a:pt x="256" y="552"/>
                  </a:lnTo>
                  <a:lnTo>
                    <a:pt x="269" y="548"/>
                  </a:lnTo>
                  <a:lnTo>
                    <a:pt x="283" y="546"/>
                  </a:lnTo>
                  <a:lnTo>
                    <a:pt x="294" y="545"/>
                  </a:lnTo>
                  <a:lnTo>
                    <a:pt x="302" y="536"/>
                  </a:lnTo>
                  <a:lnTo>
                    <a:pt x="311" y="536"/>
                  </a:lnTo>
                  <a:lnTo>
                    <a:pt x="314" y="532"/>
                  </a:lnTo>
                  <a:lnTo>
                    <a:pt x="314" y="519"/>
                  </a:lnTo>
                  <a:lnTo>
                    <a:pt x="314" y="507"/>
                  </a:lnTo>
                  <a:lnTo>
                    <a:pt x="316" y="504"/>
                  </a:lnTo>
                  <a:lnTo>
                    <a:pt x="316" y="496"/>
                  </a:lnTo>
                  <a:lnTo>
                    <a:pt x="317" y="484"/>
                  </a:lnTo>
                  <a:lnTo>
                    <a:pt x="318" y="470"/>
                  </a:lnTo>
                  <a:lnTo>
                    <a:pt x="318" y="443"/>
                  </a:lnTo>
                  <a:lnTo>
                    <a:pt x="318" y="427"/>
                  </a:lnTo>
                  <a:lnTo>
                    <a:pt x="327" y="423"/>
                  </a:lnTo>
                  <a:lnTo>
                    <a:pt x="331" y="414"/>
                  </a:lnTo>
                  <a:lnTo>
                    <a:pt x="335" y="407"/>
                  </a:lnTo>
                  <a:lnTo>
                    <a:pt x="344" y="402"/>
                  </a:lnTo>
                  <a:lnTo>
                    <a:pt x="345" y="398"/>
                  </a:lnTo>
                  <a:lnTo>
                    <a:pt x="348" y="393"/>
                  </a:lnTo>
                  <a:lnTo>
                    <a:pt x="352" y="393"/>
                  </a:lnTo>
                  <a:lnTo>
                    <a:pt x="358" y="393"/>
                  </a:lnTo>
                  <a:lnTo>
                    <a:pt x="361" y="393"/>
                  </a:lnTo>
                  <a:lnTo>
                    <a:pt x="363" y="392"/>
                  </a:lnTo>
                  <a:lnTo>
                    <a:pt x="364" y="391"/>
                  </a:lnTo>
                  <a:lnTo>
                    <a:pt x="364" y="390"/>
                  </a:lnTo>
                  <a:lnTo>
                    <a:pt x="398" y="390"/>
                  </a:lnTo>
                  <a:lnTo>
                    <a:pt x="404" y="394"/>
                  </a:lnTo>
                  <a:lnTo>
                    <a:pt x="420" y="407"/>
                  </a:lnTo>
                  <a:lnTo>
                    <a:pt x="436" y="418"/>
                  </a:lnTo>
                  <a:lnTo>
                    <a:pt x="445" y="423"/>
                  </a:lnTo>
                  <a:lnTo>
                    <a:pt x="448" y="431"/>
                  </a:lnTo>
                  <a:lnTo>
                    <a:pt x="451" y="432"/>
                  </a:lnTo>
                  <a:lnTo>
                    <a:pt x="455" y="436"/>
                  </a:lnTo>
                  <a:lnTo>
                    <a:pt x="456" y="439"/>
                  </a:lnTo>
                  <a:lnTo>
                    <a:pt x="457" y="440"/>
                  </a:lnTo>
                  <a:lnTo>
                    <a:pt x="458" y="446"/>
                  </a:lnTo>
                  <a:lnTo>
                    <a:pt x="459" y="451"/>
                  </a:lnTo>
                  <a:lnTo>
                    <a:pt x="462" y="457"/>
                  </a:lnTo>
                  <a:lnTo>
                    <a:pt x="465" y="462"/>
                  </a:lnTo>
                  <a:lnTo>
                    <a:pt x="468" y="468"/>
                  </a:lnTo>
                  <a:lnTo>
                    <a:pt x="471" y="474"/>
                  </a:lnTo>
                  <a:lnTo>
                    <a:pt x="473" y="480"/>
                  </a:lnTo>
                  <a:lnTo>
                    <a:pt x="474" y="486"/>
                  </a:lnTo>
                  <a:lnTo>
                    <a:pt x="481" y="494"/>
                  </a:lnTo>
                  <a:lnTo>
                    <a:pt x="490" y="507"/>
                  </a:lnTo>
                  <a:lnTo>
                    <a:pt x="496" y="514"/>
                  </a:lnTo>
                  <a:lnTo>
                    <a:pt x="502" y="520"/>
                  </a:lnTo>
                  <a:lnTo>
                    <a:pt x="506" y="525"/>
                  </a:lnTo>
                  <a:lnTo>
                    <a:pt x="512" y="528"/>
                  </a:lnTo>
                  <a:lnTo>
                    <a:pt x="516" y="536"/>
                  </a:lnTo>
                  <a:lnTo>
                    <a:pt x="519" y="545"/>
                  </a:lnTo>
                  <a:lnTo>
                    <a:pt x="533" y="557"/>
                  </a:lnTo>
                  <a:lnTo>
                    <a:pt x="535" y="558"/>
                  </a:lnTo>
                  <a:lnTo>
                    <a:pt x="540" y="561"/>
                  </a:lnTo>
                  <a:lnTo>
                    <a:pt x="543" y="564"/>
                  </a:lnTo>
                  <a:lnTo>
                    <a:pt x="546" y="568"/>
                  </a:lnTo>
                  <a:lnTo>
                    <a:pt x="551" y="576"/>
                  </a:lnTo>
                  <a:lnTo>
                    <a:pt x="553" y="582"/>
                  </a:lnTo>
                  <a:lnTo>
                    <a:pt x="556" y="583"/>
                  </a:lnTo>
                  <a:lnTo>
                    <a:pt x="560" y="584"/>
                  </a:lnTo>
                  <a:lnTo>
                    <a:pt x="562" y="585"/>
                  </a:lnTo>
                  <a:lnTo>
                    <a:pt x="565" y="587"/>
                  </a:lnTo>
                  <a:lnTo>
                    <a:pt x="567" y="590"/>
                  </a:lnTo>
                  <a:lnTo>
                    <a:pt x="569" y="593"/>
                  </a:lnTo>
                  <a:lnTo>
                    <a:pt x="570" y="596"/>
                  </a:lnTo>
                  <a:lnTo>
                    <a:pt x="570" y="599"/>
                  </a:lnTo>
                  <a:lnTo>
                    <a:pt x="573" y="600"/>
                  </a:lnTo>
                  <a:lnTo>
                    <a:pt x="576" y="602"/>
                  </a:lnTo>
                  <a:lnTo>
                    <a:pt x="581" y="604"/>
                  </a:lnTo>
                  <a:lnTo>
                    <a:pt x="584" y="607"/>
                  </a:lnTo>
                  <a:lnTo>
                    <a:pt x="591" y="615"/>
                  </a:lnTo>
                  <a:lnTo>
                    <a:pt x="595" y="620"/>
                  </a:lnTo>
                  <a:lnTo>
                    <a:pt x="600" y="621"/>
                  </a:lnTo>
                  <a:lnTo>
                    <a:pt x="605" y="623"/>
                  </a:lnTo>
                  <a:lnTo>
                    <a:pt x="608" y="625"/>
                  </a:lnTo>
                  <a:lnTo>
                    <a:pt x="610" y="626"/>
                  </a:lnTo>
                  <a:lnTo>
                    <a:pt x="611" y="630"/>
                  </a:lnTo>
                  <a:lnTo>
                    <a:pt x="612" y="632"/>
                  </a:lnTo>
                  <a:lnTo>
                    <a:pt x="620" y="632"/>
                  </a:lnTo>
                  <a:lnTo>
                    <a:pt x="624" y="622"/>
                  </a:lnTo>
                  <a:lnTo>
                    <a:pt x="633" y="602"/>
                  </a:lnTo>
                  <a:lnTo>
                    <a:pt x="641" y="583"/>
                  </a:lnTo>
                  <a:lnTo>
                    <a:pt x="646" y="574"/>
                  </a:lnTo>
                  <a:lnTo>
                    <a:pt x="646" y="545"/>
                  </a:lnTo>
                  <a:lnTo>
                    <a:pt x="651" y="532"/>
                  </a:lnTo>
                  <a:lnTo>
                    <a:pt x="655" y="517"/>
                  </a:lnTo>
                  <a:lnTo>
                    <a:pt x="657" y="501"/>
                  </a:lnTo>
                  <a:lnTo>
                    <a:pt x="658" y="486"/>
                  </a:lnTo>
                  <a:lnTo>
                    <a:pt x="660" y="470"/>
                  </a:lnTo>
                  <a:lnTo>
                    <a:pt x="662" y="455"/>
                  </a:lnTo>
                  <a:lnTo>
                    <a:pt x="666" y="440"/>
                  </a:lnTo>
                  <a:lnTo>
                    <a:pt x="670" y="427"/>
                  </a:lnTo>
                  <a:lnTo>
                    <a:pt x="671" y="419"/>
                  </a:lnTo>
                  <a:lnTo>
                    <a:pt x="673" y="411"/>
                  </a:lnTo>
                  <a:lnTo>
                    <a:pt x="677" y="403"/>
                  </a:lnTo>
                  <a:lnTo>
                    <a:pt x="681" y="395"/>
                  </a:lnTo>
                  <a:lnTo>
                    <a:pt x="685" y="388"/>
                  </a:lnTo>
                  <a:lnTo>
                    <a:pt x="688" y="380"/>
                  </a:lnTo>
                  <a:lnTo>
                    <a:pt x="690" y="372"/>
                  </a:lnTo>
                  <a:lnTo>
                    <a:pt x="691" y="364"/>
                  </a:lnTo>
                  <a:lnTo>
                    <a:pt x="700" y="360"/>
                  </a:lnTo>
                  <a:lnTo>
                    <a:pt x="703" y="345"/>
                  </a:lnTo>
                  <a:lnTo>
                    <a:pt x="704" y="331"/>
                  </a:lnTo>
                  <a:lnTo>
                    <a:pt x="708" y="322"/>
                  </a:lnTo>
                  <a:lnTo>
                    <a:pt x="713" y="309"/>
                  </a:lnTo>
                  <a:lnTo>
                    <a:pt x="720" y="302"/>
                  </a:lnTo>
                  <a:lnTo>
                    <a:pt x="721" y="295"/>
                  </a:lnTo>
                  <a:lnTo>
                    <a:pt x="723" y="288"/>
                  </a:lnTo>
                  <a:lnTo>
                    <a:pt x="726" y="282"/>
                  </a:lnTo>
                  <a:lnTo>
                    <a:pt x="729" y="275"/>
                  </a:lnTo>
                  <a:lnTo>
                    <a:pt x="737" y="261"/>
                  </a:lnTo>
                  <a:lnTo>
                    <a:pt x="747" y="248"/>
                  </a:lnTo>
                  <a:lnTo>
                    <a:pt x="757" y="235"/>
                  </a:lnTo>
                  <a:lnTo>
                    <a:pt x="767" y="222"/>
                  </a:lnTo>
                  <a:lnTo>
                    <a:pt x="775" y="211"/>
                  </a:lnTo>
                  <a:lnTo>
                    <a:pt x="780" y="201"/>
                  </a:lnTo>
                  <a:lnTo>
                    <a:pt x="782" y="200"/>
                  </a:lnTo>
                  <a:lnTo>
                    <a:pt x="784" y="200"/>
                  </a:lnTo>
                  <a:lnTo>
                    <a:pt x="786" y="198"/>
                  </a:lnTo>
                  <a:lnTo>
                    <a:pt x="787" y="197"/>
                  </a:lnTo>
                  <a:lnTo>
                    <a:pt x="792" y="192"/>
                  </a:lnTo>
                  <a:lnTo>
                    <a:pt x="796" y="189"/>
                  </a:lnTo>
                  <a:lnTo>
                    <a:pt x="803" y="178"/>
                  </a:lnTo>
                  <a:lnTo>
                    <a:pt x="809" y="168"/>
                  </a:lnTo>
                  <a:lnTo>
                    <a:pt x="822" y="163"/>
                  </a:lnTo>
                  <a:lnTo>
                    <a:pt x="825" y="158"/>
                  </a:lnTo>
                  <a:lnTo>
                    <a:pt x="832" y="151"/>
                  </a:lnTo>
                  <a:lnTo>
                    <a:pt x="841" y="145"/>
                  </a:lnTo>
                  <a:lnTo>
                    <a:pt x="847" y="142"/>
                  </a:lnTo>
                  <a:lnTo>
                    <a:pt x="851" y="138"/>
                  </a:lnTo>
                  <a:lnTo>
                    <a:pt x="851" y="134"/>
                  </a:lnTo>
                  <a:lnTo>
                    <a:pt x="853" y="130"/>
                  </a:lnTo>
                  <a:lnTo>
                    <a:pt x="857" y="126"/>
                  </a:lnTo>
                  <a:lnTo>
                    <a:pt x="859" y="125"/>
                  </a:lnTo>
                  <a:lnTo>
                    <a:pt x="859" y="104"/>
                  </a:lnTo>
                  <a:lnTo>
                    <a:pt x="858" y="104"/>
                  </a:lnTo>
                  <a:lnTo>
                    <a:pt x="855" y="102"/>
                  </a:lnTo>
                  <a:lnTo>
                    <a:pt x="852" y="100"/>
                  </a:lnTo>
                  <a:lnTo>
                    <a:pt x="851" y="96"/>
                  </a:lnTo>
                  <a:lnTo>
                    <a:pt x="842" y="92"/>
                  </a:lnTo>
                  <a:lnTo>
                    <a:pt x="834" y="92"/>
                  </a:lnTo>
                  <a:lnTo>
                    <a:pt x="825" y="84"/>
                  </a:lnTo>
                  <a:lnTo>
                    <a:pt x="815" y="82"/>
                  </a:lnTo>
                  <a:lnTo>
                    <a:pt x="805" y="80"/>
                  </a:lnTo>
                  <a:lnTo>
                    <a:pt x="791" y="77"/>
                  </a:lnTo>
                  <a:lnTo>
                    <a:pt x="773" y="76"/>
                  </a:lnTo>
                  <a:lnTo>
                    <a:pt x="754" y="75"/>
                  </a:lnTo>
                  <a:lnTo>
                    <a:pt x="737" y="75"/>
                  </a:lnTo>
                  <a:lnTo>
                    <a:pt x="724" y="65"/>
                  </a:lnTo>
                  <a:lnTo>
                    <a:pt x="713" y="58"/>
                  </a:lnTo>
                  <a:lnTo>
                    <a:pt x="713" y="46"/>
                  </a:lnTo>
                  <a:lnTo>
                    <a:pt x="710" y="45"/>
                  </a:lnTo>
                  <a:lnTo>
                    <a:pt x="709" y="44"/>
                  </a:lnTo>
                  <a:lnTo>
                    <a:pt x="708" y="40"/>
                  </a:lnTo>
                  <a:lnTo>
                    <a:pt x="708" y="37"/>
                  </a:lnTo>
                  <a:lnTo>
                    <a:pt x="704" y="28"/>
                  </a:lnTo>
                  <a:lnTo>
                    <a:pt x="700" y="17"/>
                  </a:lnTo>
                  <a:lnTo>
                    <a:pt x="691" y="13"/>
                  </a:lnTo>
                  <a:lnTo>
                    <a:pt x="691" y="4"/>
                  </a:lnTo>
                  <a:lnTo>
                    <a:pt x="687" y="0"/>
                  </a:lnTo>
                  <a:lnTo>
                    <a:pt x="679" y="0"/>
                  </a:lnTo>
                  <a:lnTo>
                    <a:pt x="669" y="0"/>
                  </a:lnTo>
                  <a:lnTo>
                    <a:pt x="658" y="0"/>
                  </a:lnTo>
                  <a:lnTo>
                    <a:pt x="650" y="0"/>
                  </a:lnTo>
                  <a:lnTo>
                    <a:pt x="637" y="8"/>
                  </a:lnTo>
                  <a:lnTo>
                    <a:pt x="629" y="8"/>
                  </a:lnTo>
                  <a:lnTo>
                    <a:pt x="622" y="10"/>
                  </a:lnTo>
                  <a:lnTo>
                    <a:pt x="617" y="13"/>
                  </a:lnTo>
                  <a:lnTo>
                    <a:pt x="614" y="15"/>
                  </a:lnTo>
                  <a:lnTo>
                    <a:pt x="611" y="16"/>
                  </a:lnTo>
                  <a:lnTo>
                    <a:pt x="608" y="17"/>
                  </a:lnTo>
                  <a:lnTo>
                    <a:pt x="603" y="17"/>
                  </a:lnTo>
                  <a:lnTo>
                    <a:pt x="600" y="25"/>
                  </a:lnTo>
                  <a:lnTo>
                    <a:pt x="593" y="25"/>
                  </a:lnTo>
                  <a:lnTo>
                    <a:pt x="586" y="25"/>
                  </a:lnTo>
                  <a:lnTo>
                    <a:pt x="580" y="32"/>
                  </a:lnTo>
                  <a:lnTo>
                    <a:pt x="572" y="36"/>
                  </a:lnTo>
                  <a:lnTo>
                    <a:pt x="564" y="40"/>
                  </a:lnTo>
                  <a:lnTo>
                    <a:pt x="557" y="42"/>
                  </a:lnTo>
                  <a:lnTo>
                    <a:pt x="553" y="46"/>
                  </a:lnTo>
                  <a:lnTo>
                    <a:pt x="544" y="54"/>
                  </a:lnTo>
                  <a:lnTo>
                    <a:pt x="538" y="59"/>
                  </a:lnTo>
                  <a:lnTo>
                    <a:pt x="533" y="63"/>
                  </a:lnTo>
                  <a:lnTo>
                    <a:pt x="527" y="66"/>
                  </a:lnTo>
                  <a:lnTo>
                    <a:pt x="524" y="67"/>
                  </a:lnTo>
                  <a:lnTo>
                    <a:pt x="524" y="80"/>
                  </a:lnTo>
                  <a:lnTo>
                    <a:pt x="516" y="84"/>
                  </a:lnTo>
                  <a:lnTo>
                    <a:pt x="516" y="94"/>
                  </a:lnTo>
                  <a:lnTo>
                    <a:pt x="516" y="104"/>
                  </a:lnTo>
                  <a:lnTo>
                    <a:pt x="514" y="105"/>
                  </a:lnTo>
                  <a:lnTo>
                    <a:pt x="513" y="106"/>
                  </a:lnTo>
                  <a:lnTo>
                    <a:pt x="513" y="109"/>
                  </a:lnTo>
                  <a:lnTo>
                    <a:pt x="512" y="112"/>
                  </a:lnTo>
                  <a:lnTo>
                    <a:pt x="512" y="117"/>
                  </a:lnTo>
                  <a:lnTo>
                    <a:pt x="512" y="121"/>
                  </a:lnTo>
                  <a:lnTo>
                    <a:pt x="509" y="122"/>
                  </a:lnTo>
                  <a:lnTo>
                    <a:pt x="507" y="122"/>
                  </a:lnTo>
                  <a:lnTo>
                    <a:pt x="507" y="123"/>
                  </a:lnTo>
                  <a:lnTo>
                    <a:pt x="506" y="124"/>
                  </a:lnTo>
                  <a:lnTo>
                    <a:pt x="505" y="126"/>
                  </a:lnTo>
                  <a:lnTo>
                    <a:pt x="503" y="129"/>
                  </a:lnTo>
                  <a:lnTo>
                    <a:pt x="499" y="131"/>
                  </a:lnTo>
                  <a:lnTo>
                    <a:pt x="495" y="13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626"/>
                </a:solidFill>
              </a:endParaRPr>
            </a:p>
          </p:txBody>
        </p:sp>
      </p:grpSp>
      <p:sp>
        <p:nvSpPr>
          <p:cNvPr id="135" name="Rectangle 134"/>
          <p:cNvSpPr/>
          <p:nvPr/>
        </p:nvSpPr>
        <p:spPr>
          <a:xfrm>
            <a:off x="8282864" y="1202206"/>
            <a:ext cx="3404332" cy="2732688"/>
          </a:xfrm>
          <a:prstGeom prst="rect">
            <a:avLst/>
          </a:prstGeom>
          <a:noFill/>
          <a:ln w="1905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400" dirty="0">
              <a:solidFill>
                <a:srgbClr val="FFFFFF"/>
              </a:solidFill>
            </a:endParaRPr>
          </a:p>
        </p:txBody>
      </p:sp>
      <p:sp>
        <p:nvSpPr>
          <p:cNvPr id="136" name="Rounded Rectangle 135"/>
          <p:cNvSpPr/>
          <p:nvPr/>
        </p:nvSpPr>
        <p:spPr>
          <a:xfrm>
            <a:off x="9349721" y="1095223"/>
            <a:ext cx="1346751" cy="27241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1A1A1A"/>
                </a:solidFill>
              </a:rPr>
              <a:t>Attiki: 19 hospitals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477013" y="1527047"/>
            <a:ext cx="2973726" cy="1751939"/>
          </a:xfrm>
          <a:prstGeom prst="rect">
            <a:avLst/>
          </a:prstGeom>
          <a:noFill/>
          <a:ln w="19050"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400" dirty="0">
              <a:solidFill>
                <a:srgbClr val="FFFFFF"/>
              </a:solidFill>
            </a:endParaRPr>
          </a:p>
        </p:txBody>
      </p:sp>
      <p:sp>
        <p:nvSpPr>
          <p:cNvPr id="138" name="Rounded Rectangle 137"/>
          <p:cNvSpPr/>
          <p:nvPr/>
        </p:nvSpPr>
        <p:spPr>
          <a:xfrm>
            <a:off x="1224490" y="1390065"/>
            <a:ext cx="1468309" cy="27241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1A1A1A"/>
                </a:solidFill>
              </a:rPr>
              <a:t>Salonica: 8 hospitals</a:t>
            </a:r>
          </a:p>
        </p:txBody>
      </p:sp>
      <p:sp>
        <p:nvSpPr>
          <p:cNvPr id="139" name="Rectangle 138"/>
          <p:cNvSpPr/>
          <p:nvPr/>
        </p:nvSpPr>
        <p:spPr>
          <a:xfrm>
            <a:off x="357467" y="3683425"/>
            <a:ext cx="1921149" cy="1926356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400" dirty="0">
              <a:solidFill>
                <a:srgbClr val="FFFFFF"/>
              </a:solidFill>
            </a:endParaRPr>
          </a:p>
        </p:txBody>
      </p:sp>
      <p:sp>
        <p:nvSpPr>
          <p:cNvPr id="140" name="Rounded Rectangle 139"/>
          <p:cNvSpPr/>
          <p:nvPr/>
        </p:nvSpPr>
        <p:spPr>
          <a:xfrm>
            <a:off x="407679" y="3603268"/>
            <a:ext cx="1756403" cy="27241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1A1A1A"/>
                </a:solidFill>
              </a:rPr>
              <a:t>North Greece: 8 hospitals</a:t>
            </a:r>
          </a:p>
        </p:txBody>
      </p:sp>
      <p:sp>
        <p:nvSpPr>
          <p:cNvPr id="141" name="Rectangle 140"/>
          <p:cNvSpPr/>
          <p:nvPr/>
        </p:nvSpPr>
        <p:spPr>
          <a:xfrm>
            <a:off x="2998270" y="4388771"/>
            <a:ext cx="1933194" cy="1884363"/>
          </a:xfrm>
          <a:prstGeom prst="rect">
            <a:avLst/>
          </a:prstGeom>
          <a:noFill/>
          <a:ln w="19050"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l-GR" sz="1400" dirty="0">
              <a:solidFill>
                <a:srgbClr val="FFFFFF"/>
              </a:solidFill>
            </a:endParaRPr>
          </a:p>
        </p:txBody>
      </p:sp>
      <p:sp>
        <p:nvSpPr>
          <p:cNvPr id="142" name="Rounded Rectangle 141"/>
          <p:cNvSpPr/>
          <p:nvPr/>
        </p:nvSpPr>
        <p:spPr>
          <a:xfrm>
            <a:off x="3036232" y="4163044"/>
            <a:ext cx="1777444" cy="272415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txBody>
          <a:bodyPr wrap="none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b="1" dirty="0">
                <a:solidFill>
                  <a:srgbClr val="1A1A1A"/>
                </a:solidFill>
              </a:rPr>
              <a:t>South Greece: 7 hospitals</a:t>
            </a:r>
          </a:p>
        </p:txBody>
      </p:sp>
      <p:cxnSp>
        <p:nvCxnSpPr>
          <p:cNvPr id="147" name="Straight Connector 146"/>
          <p:cNvCxnSpPr>
            <a:cxnSpLocks/>
            <a:endCxn id="141" idx="3"/>
          </p:cNvCxnSpPr>
          <p:nvPr/>
        </p:nvCxnSpPr>
        <p:spPr>
          <a:xfrm flipH="1">
            <a:off x="4931464" y="3499751"/>
            <a:ext cx="532018" cy="1831202"/>
          </a:xfrm>
          <a:prstGeom prst="line">
            <a:avLst/>
          </a:prstGeom>
          <a:ln w="12700" cmpd="sng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>
            <a:cxnSpLocks/>
          </p:cNvCxnSpPr>
          <p:nvPr/>
        </p:nvCxnSpPr>
        <p:spPr>
          <a:xfrm flipH="1">
            <a:off x="3529346" y="1965689"/>
            <a:ext cx="2481306" cy="444781"/>
          </a:xfrm>
          <a:prstGeom prst="line">
            <a:avLst/>
          </a:prstGeom>
          <a:ln w="12700" cmpd="sng">
            <a:solidFill>
              <a:srgbClr val="ED8B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cxnSpLocks/>
            <a:endCxn id="139" idx="3"/>
          </p:cNvCxnSpPr>
          <p:nvPr/>
        </p:nvCxnSpPr>
        <p:spPr>
          <a:xfrm flipH="1">
            <a:off x="2278616" y="2573694"/>
            <a:ext cx="2993716" cy="2072909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67A5EE98-23EF-479A-9BBC-D7A150D1D4ED}"/>
              </a:ext>
            </a:extLst>
          </p:cNvPr>
          <p:cNvCxnSpPr>
            <a:cxnSpLocks/>
          </p:cNvCxnSpPr>
          <p:nvPr/>
        </p:nvCxnSpPr>
        <p:spPr>
          <a:xfrm flipV="1">
            <a:off x="6093071" y="2619377"/>
            <a:ext cx="2237962" cy="944381"/>
          </a:xfrm>
          <a:prstGeom prst="line">
            <a:avLst/>
          </a:prstGeom>
          <a:ln w="12700" cmpd="sng">
            <a:solidFill>
              <a:srgbClr val="43B02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49" name="Table 148">
            <a:extLst>
              <a:ext uri="{FF2B5EF4-FFF2-40B4-BE49-F238E27FC236}">
                <a16:creationId xmlns:a16="http://schemas.microsoft.com/office/drawing/2014/main" id="{36C0D9C1-4884-4990-9140-01037DE074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858775"/>
              </p:ext>
            </p:extLst>
          </p:nvPr>
        </p:nvGraphicFramePr>
        <p:xfrm>
          <a:off x="9479700" y="4039282"/>
          <a:ext cx="2049281" cy="223385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492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23132">
                <a:tc>
                  <a:txBody>
                    <a:bodyPr/>
                    <a:lstStyle/>
                    <a:p>
                      <a:pPr algn="ctr" fontAlgn="b"/>
                      <a:r>
                        <a:rPr lang="en-US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N participants</a:t>
                      </a:r>
                      <a:endParaRPr lang="el-GR" sz="7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9549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7620" marT="762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39549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7620" marT="762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39549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7620" marT="762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2461261"/>
                  </a:ext>
                </a:extLst>
              </a:tr>
              <a:tr h="131341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31341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31341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39549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7620" marT="762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9549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7620" marT="762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31341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31341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31341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7270253"/>
                  </a:ext>
                </a:extLst>
              </a:tr>
              <a:tr h="131341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2431317"/>
                  </a:ext>
                </a:extLst>
              </a:tr>
              <a:tr h="246795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981596"/>
                  </a:ext>
                </a:extLst>
              </a:tr>
              <a:tr h="246795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l-GR" sz="8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200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13332518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90D71003-28D1-4B5A-8507-DB5C256FA2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9186709"/>
              </p:ext>
            </p:extLst>
          </p:nvPr>
        </p:nvGraphicFramePr>
        <p:xfrm>
          <a:off x="534362" y="1718152"/>
          <a:ext cx="2775408" cy="14630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75408">
                  <a:extLst>
                    <a:ext uri="{9D8B030D-6E8A-4147-A177-3AD203B41FA5}">
                      <a16:colId xmlns:a16="http://schemas.microsoft.com/office/drawing/2014/main" val="171220898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4 ΣΤΡΑΤΙΩΤΙΚΟ ΝΟΣ.ΘΕΣΣΑΛΟΝΙΚΗ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890679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UROMEDICA </a:t>
                      </a: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ΚΥΑΝΟΥΣ ΣΤΑΥΡΟ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6182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.Ν. ΑΓΙΟΣ ΔΗΜΗΤΡΙΟ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52904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.Ν.ΙΠΠΟΚΡΑΤΕΙΟ ΘΕΣΣΑΛΟΝΙΚΗ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265807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.Ν.ΦΟΙΝΙΚΑ ΑΓΙΟΣ ΠΑΥΛΟ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75677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.Π.Ν. ΠΑΠΑΓΕΩΡΓΙΟΥ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206335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ΑΤΡΙΚΟ ΔΙΑΒΑΛΚΑΝΙΚΟ ΘΕΣΣΑΛΟΝΙΚΗ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02470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Γ.ΝΟΣ ΑΧΕΠΑ ΘΕΣΣΑΛΟΝΙΚΗ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011254"/>
                  </a:ext>
                </a:extLst>
              </a:tr>
            </a:tbl>
          </a:graphicData>
        </a:graphic>
      </p:graphicFrame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792564C7-7C6A-46DA-BB80-4098684A74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8910203"/>
              </p:ext>
            </p:extLst>
          </p:nvPr>
        </p:nvGraphicFramePr>
        <p:xfrm>
          <a:off x="3033569" y="4563671"/>
          <a:ext cx="1750610" cy="16109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50610">
                  <a:extLst>
                    <a:ext uri="{9D8B030D-6E8A-4147-A177-3AD203B41FA5}">
                      <a16:colId xmlns:a16="http://schemas.microsoft.com/office/drawing/2014/main" val="1821126683"/>
                    </a:ext>
                  </a:extLst>
                </a:gridCol>
              </a:tblGrid>
              <a:tr h="276928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Γ.Ν.ΗΡΑΚΛΕΙΟΥ ΠΑΓΝΗ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2306640"/>
                  </a:ext>
                </a:extLst>
              </a:tr>
              <a:tr h="276928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.Ν.ΣΑΜΟΥ ΑΓΙΟΣ ΠΑΝΤΕΛΕΗΜΩΝ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0549652"/>
                  </a:ext>
                </a:extLst>
              </a:tr>
              <a:tr h="201402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.Ν.ΧΑΝΙΩΝ ΑΓΙΟΣ ΓΕΩΡΓΙΟΣ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5339857"/>
                  </a:ext>
                </a:extLst>
              </a:tr>
              <a:tr h="201402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ΟΛΥΜΠΙΟΝ ΘΕΡΑΠΕΥΤΗΡΙΟ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3394311"/>
                  </a:ext>
                </a:extLst>
              </a:tr>
              <a:tr h="201402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Γ.Ν. ΠΑΤΡΩΝ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0688367"/>
                  </a:ext>
                </a:extLst>
              </a:tr>
              <a:tr h="201402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Γ.Ν.ΑΛΕΞΑΝΔΡΟΥΠΟΛΗΣ</a:t>
                      </a:r>
                    </a:p>
                  </a:txBody>
                  <a:tcPr marL="7620" marR="7620" marT="762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0278419"/>
                  </a:ext>
                </a:extLst>
              </a:tr>
              <a:tr h="218807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UROMEDICA-</a:t>
                      </a: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ΕΝ.ΚΛΙΝ.ΔΩΔΕΚΑΝΗΣΟΥ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277770"/>
                  </a:ext>
                </a:extLst>
              </a:tr>
            </a:tbl>
          </a:graphicData>
        </a:graphic>
      </p:graphicFrame>
      <p:graphicFrame>
        <p:nvGraphicFramePr>
          <p:cNvPr id="151" name="Table 150">
            <a:extLst>
              <a:ext uri="{FF2B5EF4-FFF2-40B4-BE49-F238E27FC236}">
                <a16:creationId xmlns:a16="http://schemas.microsoft.com/office/drawing/2014/main" id="{81A83292-3574-4F35-A889-B6B21490360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7544236"/>
              </p:ext>
            </p:extLst>
          </p:nvPr>
        </p:nvGraphicFramePr>
        <p:xfrm>
          <a:off x="448991" y="3942272"/>
          <a:ext cx="1700701" cy="155668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00701">
                  <a:extLst>
                    <a:ext uri="{9D8B030D-6E8A-4147-A177-3AD203B41FA5}">
                      <a16:colId xmlns:a16="http://schemas.microsoft.com/office/drawing/2014/main" val="814135781"/>
                    </a:ext>
                  </a:extLst>
                </a:gridCol>
              </a:tblGrid>
              <a:tr h="194586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Γ.Ν.ΑΛΕΞΑΝΔΡΟΥΠΟΛΗ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28635158"/>
                  </a:ext>
                </a:extLst>
              </a:tr>
              <a:tr h="194586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Γ.Ν.ΛΑΡΙΣΑ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5829131"/>
                  </a:ext>
                </a:extLst>
              </a:tr>
              <a:tr h="194586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.Ν.ΚΑΒΑΛΑ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62683010"/>
                  </a:ext>
                </a:extLst>
              </a:tr>
              <a:tr h="194586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.Ν.ΚΑΡΔΙΤΣΑ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4062097"/>
                  </a:ext>
                </a:extLst>
              </a:tr>
              <a:tr h="194586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.Ν.ΚΕΡΚΥΡΑΣ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7410675"/>
                  </a:ext>
                </a:extLst>
              </a:tr>
              <a:tr h="194586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Γ.Ν.ΛΑΡΙΣΑΣ ΚΟΥΤΛΙΜΠΑΝΕΙΟ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4250054"/>
                  </a:ext>
                </a:extLst>
              </a:tr>
              <a:tr h="194586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ΙΑΣΙΣ ΒΟΛΟΥ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14796681"/>
                  </a:ext>
                </a:extLst>
              </a:tr>
              <a:tr h="194586">
                <a:tc>
                  <a:txBody>
                    <a:bodyPr/>
                    <a:lstStyle/>
                    <a:p>
                      <a:pPr marL="171450" indent="-171450" algn="l" defTabSz="914400" rtl="0" eaLnBrk="1" fontAlgn="b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l-GR" sz="80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Π.Γ.Ν.ΙΩΑΝΝΙΝΩΝ</a:t>
                      </a:r>
                    </a:p>
                  </a:txBody>
                  <a:tcPr marL="7620" marR="7620" marT="762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2557392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F333963-93B5-4565-9909-DF23A7F684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6833010"/>
              </p:ext>
            </p:extLst>
          </p:nvPr>
        </p:nvGraphicFramePr>
        <p:xfrm>
          <a:off x="9596052" y="4195486"/>
          <a:ext cx="1849116" cy="19759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49116">
                  <a:extLst>
                    <a:ext uri="{9D8B030D-6E8A-4147-A177-3AD203B41FA5}">
                      <a16:colId xmlns:a16="http://schemas.microsoft.com/office/drawing/2014/main" val="724773816"/>
                    </a:ext>
                  </a:extLst>
                </a:gridCol>
              </a:tblGrid>
              <a:tr h="7750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Γ.Ν. ΕΡΡΙΚΟΣ ΝΤΥΝΑΝ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6601231"/>
                  </a:ext>
                </a:extLst>
              </a:tr>
              <a:tr h="14531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ΓΕΝΙΚΟ ΝΟΣΟΚΟΜΕΙΟ ΑΤΤΙΚΗΣ-ΚΑΤ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771293"/>
                  </a:ext>
                </a:extLst>
              </a:tr>
              <a:tr h="14531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Γ.Ν.ΠΑΤΡΩΝ ΑΓΙΟΣ ΑΝΔΡΕΑΣ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759131"/>
                  </a:ext>
                </a:extLst>
              </a:tr>
              <a:tr h="14531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</a:rPr>
                        <a:t>EUROMEDICA </a:t>
                      </a:r>
                      <a:r>
                        <a:rPr lang="el-GR" sz="700" u="none" strike="noStrike" dirty="0">
                          <a:effectLst/>
                        </a:rPr>
                        <a:t>ΠΑΓΚΡΗΤΙΑ ΥΓΕΙΑ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25954276"/>
                  </a:ext>
                </a:extLst>
              </a:tr>
              <a:tr h="7750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Γ.Ν. ΘΡΙΑΣΙΟ ΕΛΕΥΣΙΝΑΣ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8756690"/>
                  </a:ext>
                </a:extLst>
              </a:tr>
              <a:tr h="14531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Γ.Ν.ΣΩΤΗΡΙΑ ΝΟΣΗΜΑΤΩΝ ΘΩΡΑΚΟΣ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3132880"/>
                  </a:ext>
                </a:extLst>
              </a:tr>
              <a:tr h="7750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ΙΑΤΡΙΚΟ ΨΥΧΙΚΟΥ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012572"/>
                  </a:ext>
                </a:extLst>
              </a:tr>
              <a:tr h="14531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ΛΕΥΚΟΣ ΣΤΑΥΡΟΣ ΑΘΗΝΩΝ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6909701"/>
                  </a:ext>
                </a:extLst>
              </a:tr>
              <a:tr h="77503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ΛΗΤΩ ΙΔΙΩΤ.ΜΑΙΕΥΤΗΡΙΟ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15999618"/>
                  </a:ext>
                </a:extLst>
              </a:tr>
              <a:tr h="14531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ΜΕΤΡΟΠΟΛΙΤΑΝ ΤΖΕΝΕΡΑΛ Α.Ε.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65038589"/>
                  </a:ext>
                </a:extLst>
              </a:tr>
              <a:tr h="14531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ΝΙΜΤΣ ΝΟΣΗΛΕΥΤΙΚΟ ΙΔΡΥΜΑ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1021645"/>
                  </a:ext>
                </a:extLst>
              </a:tr>
              <a:tr h="14531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ΝΟΣ.ΑΦΡΟΔΙΣΙΩΝ-ΔΕΡΜΑΤΙΚΩΝ ΝΟΣΩΝ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54211221"/>
                  </a:ext>
                </a:extLst>
              </a:tr>
              <a:tr h="14531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700" u="none" strike="noStrike" dirty="0">
                          <a:effectLst/>
                        </a:rPr>
                        <a:t>Γ.Ν.ΙΩΑΝΝΙΝΩΝ ΧΑΤΖΗΚΩΣΤΑ</a:t>
                      </a:r>
                      <a:endParaRPr lang="el-GR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6946191"/>
                  </a:ext>
                </a:extLst>
              </a:tr>
              <a:tr h="145318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700" u="none" strike="noStrike" dirty="0">
                          <a:effectLst/>
                        </a:rPr>
                        <a:t>METROPOLITAN HOSPITAL A.E.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600" marR="5600" marT="5600" marB="0" anchor="b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716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23469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7948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14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85EF8C5-06B3-4ACC-B7CB-67A2B16792A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5896681"/>
            <a:ext cx="11246241" cy="332399"/>
          </a:xfrm>
        </p:spPr>
        <p:txBody>
          <a:bodyPr/>
          <a:lstStyle/>
          <a:p>
            <a:r>
              <a:rPr lang="en-US" dirty="0"/>
              <a:t>Base: n=150 physicians</a:t>
            </a:r>
          </a:p>
          <a:p>
            <a:r>
              <a:rPr lang="en-US" dirty="0"/>
              <a:t>Q3. How many patients with </a:t>
            </a:r>
            <a:r>
              <a:rPr lang="en-US" dirty="0" err="1"/>
              <a:t>Behcet</a:t>
            </a:r>
            <a:r>
              <a:rPr lang="en-US" dirty="0"/>
              <a:t> disease does your clinic treat?</a:t>
            </a:r>
          </a:p>
          <a:p>
            <a:r>
              <a:rPr lang="en-US" dirty="0"/>
              <a:t>Q5.1 How many patients with </a:t>
            </a:r>
            <a:r>
              <a:rPr lang="en-US" dirty="0" err="1"/>
              <a:t>behcet</a:t>
            </a:r>
            <a:r>
              <a:rPr lang="en-US" dirty="0"/>
              <a:t> disease do you personally treat?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26E747-FD94-4552-8F91-A7D37DB875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PMR (December 2020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77012" y="1124076"/>
            <a:ext cx="11246241" cy="276999"/>
          </a:xfrm>
        </p:spPr>
        <p:txBody>
          <a:bodyPr/>
          <a:lstStyle/>
          <a:p>
            <a:r>
              <a:rPr lang="en-US" dirty="0" err="1"/>
              <a:t>Behcet’s</a:t>
            </a:r>
            <a:r>
              <a:rPr lang="en-US" dirty="0"/>
              <a:t> disease size in terms of patients</a:t>
            </a:r>
            <a:endParaRPr lang="el-G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stimated number of patients with </a:t>
            </a:r>
            <a:r>
              <a:rPr lang="en-US" dirty="0" err="1"/>
              <a:t>Behcet</a:t>
            </a:r>
            <a:r>
              <a:rPr lang="en-US" dirty="0"/>
              <a:t> disease treated by </a:t>
            </a:r>
            <a:r>
              <a:rPr lang="en-US" dirty="0" err="1"/>
              <a:t>Rheumas</a:t>
            </a:r>
            <a:r>
              <a:rPr lang="en-US" dirty="0"/>
              <a:t> is ~820; 62% of patients are treated in Hospital sector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77013" y="6552000"/>
            <a:ext cx="7560000" cy="123111"/>
          </a:xfrm>
        </p:spPr>
        <p:txBody>
          <a:bodyPr/>
          <a:lstStyle/>
          <a:p>
            <a:r>
              <a:rPr lang="en-US" dirty="0"/>
              <a:t>IQVIA • Genesis • Market Research on </a:t>
            </a:r>
            <a:r>
              <a:rPr lang="en-US" dirty="0" err="1"/>
              <a:t>Behcet</a:t>
            </a:r>
            <a:r>
              <a:rPr lang="en-US" dirty="0"/>
              <a:t> disease • December 2020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726DD5E7-6D8F-4621-A117-444E623E1AAF}"/>
              </a:ext>
            </a:extLst>
          </p:cNvPr>
          <p:cNvGrpSpPr/>
          <p:nvPr/>
        </p:nvGrpSpPr>
        <p:grpSpPr>
          <a:xfrm>
            <a:off x="1700784" y="1511301"/>
            <a:ext cx="4133169" cy="4302124"/>
            <a:chOff x="2059133" y="1997676"/>
            <a:chExt cx="3615320" cy="3991851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7604A24-59B0-428E-9627-2E8764A528F0}"/>
                </a:ext>
              </a:extLst>
            </p:cNvPr>
            <p:cNvSpPr/>
            <p:nvPr/>
          </p:nvSpPr>
          <p:spPr>
            <a:xfrm>
              <a:off x="2059133" y="1997676"/>
              <a:ext cx="3615320" cy="3991851"/>
            </a:xfrm>
            <a:prstGeom prst="rect">
              <a:avLst/>
            </a:prstGeom>
            <a:noFill/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2880" tIns="182880" bIns="91440"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3B02A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Estimated number of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3B02A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Patients with </a:t>
              </a:r>
              <a:r>
                <a:rPr kumimoji="0" lang="en-US" sz="2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43B02A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Behcet</a:t>
              </a:r>
              <a:r>
                <a:rPr lang="en-US" sz="2400" b="1" dirty="0">
                  <a:solidFill>
                    <a:srgbClr val="43B02A"/>
                  </a:solidFill>
                  <a:latin typeface="Arial" charset="0"/>
                  <a:ea typeface="ＭＳ Ｐゴシック" charset="-128"/>
                </a:rPr>
                <a:t>’s disease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3B02A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 i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43B02A"/>
                  </a:solidFill>
                  <a:effectLst/>
                  <a:uLnTx/>
                  <a:uFillTx/>
                  <a:latin typeface="Arial" charset="0"/>
                  <a:ea typeface="ＭＳ Ｐゴシック" charset="-128"/>
                  <a:cs typeface="+mn-cs"/>
                </a:rPr>
                <a:t>Greece: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DB7E73E-0875-46F8-B219-F44A023DC8AE}"/>
                </a:ext>
              </a:extLst>
            </p:cNvPr>
            <p:cNvSpPr txBox="1"/>
            <p:nvPr/>
          </p:nvSpPr>
          <p:spPr>
            <a:xfrm>
              <a:off x="3256875" y="3114159"/>
              <a:ext cx="736929" cy="462639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43B02A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817</a:t>
              </a:r>
              <a:endParaRPr kumimoji="0" lang="el-GR" sz="3600" b="1" i="0" u="none" strike="noStrike" kern="1200" cap="none" spc="0" normalizeH="0" baseline="0" noProof="0" dirty="0">
                <a:ln>
                  <a:noFill/>
                </a:ln>
                <a:solidFill>
                  <a:srgbClr val="43B02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D7090246-548E-44E5-988D-A34F819B4A96}"/>
              </a:ext>
            </a:extLst>
          </p:cNvPr>
          <p:cNvSpPr/>
          <p:nvPr/>
        </p:nvSpPr>
        <p:spPr>
          <a:xfrm>
            <a:off x="5941242" y="1511300"/>
            <a:ext cx="4968000" cy="2124075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" bIns="9144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Behcet’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 disease patients allocation per sec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C7B1"/>
                </a:solidFill>
                <a:effectLst/>
                <a:uLnTx/>
                <a:uFillTx/>
                <a:latin typeface="Arial" charset="0"/>
                <a:ea typeface="ＭＳ Ｐゴシック" charset="-128"/>
                <a:cs typeface="+mn-cs"/>
              </a:rPr>
              <a:t> 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C7B1"/>
              </a:solidFill>
              <a:effectLst/>
              <a:uLnTx/>
              <a:uFillTx/>
              <a:latin typeface="Arial" charset="0"/>
              <a:ea typeface="ＭＳ Ｐゴシック" charset="-128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F9F1B0D3-EB20-4B4E-9469-C9BF08D3296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070087" y="4038533"/>
            <a:ext cx="1247208" cy="988948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:a16="http://schemas.microsoft.com/office/drawing/2014/main" id="{31E77F87-000B-4694-99D4-13BE540EE729}"/>
              </a:ext>
            </a:extLst>
          </p:cNvPr>
          <p:cNvSpPr/>
          <p:nvPr/>
        </p:nvSpPr>
        <p:spPr>
          <a:xfrm>
            <a:off x="5940281" y="3689350"/>
            <a:ext cx="4968000" cy="2124075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36000" bIns="91440" rtlCol="0" anchor="t"/>
          <a:lstStyle/>
          <a:p>
            <a:pPr lvl="0" algn="ctr">
              <a:defRPr/>
            </a:pPr>
            <a:r>
              <a:rPr lang="en-US" sz="1600" b="1" dirty="0" err="1">
                <a:solidFill>
                  <a:schemeClr val="accent3"/>
                </a:solidFill>
                <a:latin typeface="Arial" charset="0"/>
                <a:ea typeface="ＭＳ Ｐゴシック" charset="-128"/>
              </a:rPr>
              <a:t>Behcet’s</a:t>
            </a:r>
            <a:r>
              <a:rPr lang="en-US" sz="1600" b="1" dirty="0">
                <a:solidFill>
                  <a:schemeClr val="accent3"/>
                </a:solidFill>
                <a:latin typeface="Arial" charset="0"/>
                <a:ea typeface="ＭＳ Ｐゴシック" charset="-128"/>
              </a:rPr>
              <a:t> disease patients allocation per region</a:t>
            </a:r>
          </a:p>
        </p:txBody>
      </p:sp>
      <p:graphicFrame>
        <p:nvGraphicFramePr>
          <p:cNvPr id="152" name="Chart 151">
            <a:extLst>
              <a:ext uri="{FF2B5EF4-FFF2-40B4-BE49-F238E27FC236}">
                <a16:creationId xmlns:a16="http://schemas.microsoft.com/office/drawing/2014/main" id="{4A624D20-94F6-4368-B14E-AC926471EA6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24677233"/>
              </p:ext>
            </p:extLst>
          </p:nvPr>
        </p:nvGraphicFramePr>
        <p:xfrm>
          <a:off x="7281863" y="1874838"/>
          <a:ext cx="2165350" cy="167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27" name="Rectangle 26">
            <a:extLst>
              <a:ext uri="{FF2B5EF4-FFF2-40B4-BE49-F238E27FC236}">
                <a16:creationId xmlns:a16="http://schemas.microsoft.com/office/drawing/2014/main" id="{058E8533-31DB-4CF9-A6B9-4719A027AD92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9126538" y="2309813"/>
            <a:ext cx="7731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2ABBA67-2997-4512-AB6A-05C1B28108EB}" type="datetime'''''''P''r''''i''vat''''e s''''''''''e''c''''''t''o''''r'">
              <a:rPr lang="en-US" altLang="en-US" sz="1000" smtClean="0">
                <a:solidFill>
                  <a:schemeClr val="tx1"/>
                </a:solidFill>
              </a:rPr>
              <a:pPr/>
              <a:t>Private sector</a:t>
            </a:fld>
            <a:endParaRPr lang="el-GR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1E87636-593A-40BE-B6D2-B1F6398173FD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6765925" y="2963863"/>
            <a:ext cx="83661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32C3771E-FBC4-4095-A6D9-C730A183CE0F}" type="datetime'''''''''H''''''ospi''''''''''tal s''''''''''''e''''ct''o''r'''">
              <a:rPr lang="en-US" altLang="en-US" sz="1000" smtClean="0">
                <a:solidFill>
                  <a:schemeClr val="tx1"/>
                </a:solidFill>
              </a:rPr>
              <a:pPr/>
              <a:t>Hospital sector</a:t>
            </a:fld>
            <a:endParaRPr lang="el-GR" sz="1000" dirty="0">
              <a:solidFill>
                <a:schemeClr val="tx1"/>
              </a:solidFill>
              <a:sym typeface="+mn-lt"/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A53ADE5D-2CB0-4204-BC1F-E91FB32B50AA}"/>
              </a:ext>
            </a:extLst>
          </p:cNvPr>
          <p:cNvGrpSpPr/>
          <p:nvPr/>
        </p:nvGrpSpPr>
        <p:grpSpPr>
          <a:xfrm>
            <a:off x="7254876" y="3933758"/>
            <a:ext cx="1961382" cy="1858148"/>
            <a:chOff x="6572250" y="2700338"/>
            <a:chExt cx="2911479" cy="2698227"/>
          </a:xfrm>
        </p:grpSpPr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3B29CD28-A29B-41F9-A70E-414A9D23F0B6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762875" y="5033963"/>
              <a:ext cx="304800" cy="207673"/>
            </a:xfrm>
            <a:custGeom>
              <a:avLst/>
              <a:gdLst/>
              <a:ahLst/>
              <a:cxnLst>
                <a:cxn ang="0">
                  <a:pos x="431" y="61"/>
                </a:cxn>
                <a:cxn ang="0">
                  <a:pos x="392" y="247"/>
                </a:cxn>
                <a:cxn ang="0">
                  <a:pos x="356" y="398"/>
                </a:cxn>
                <a:cxn ang="0">
                  <a:pos x="307" y="465"/>
                </a:cxn>
                <a:cxn ang="0">
                  <a:pos x="258" y="477"/>
                </a:cxn>
                <a:cxn ang="0">
                  <a:pos x="231" y="455"/>
                </a:cxn>
                <a:cxn ang="0">
                  <a:pos x="206" y="389"/>
                </a:cxn>
                <a:cxn ang="0">
                  <a:pos x="120" y="323"/>
                </a:cxn>
                <a:cxn ang="0">
                  <a:pos x="83" y="325"/>
                </a:cxn>
                <a:cxn ang="0">
                  <a:pos x="68" y="366"/>
                </a:cxn>
                <a:cxn ang="0">
                  <a:pos x="79" y="383"/>
                </a:cxn>
                <a:cxn ang="0">
                  <a:pos x="92" y="417"/>
                </a:cxn>
                <a:cxn ang="0">
                  <a:pos x="84" y="516"/>
                </a:cxn>
                <a:cxn ang="0">
                  <a:pos x="45" y="593"/>
                </a:cxn>
                <a:cxn ang="0">
                  <a:pos x="2" y="668"/>
                </a:cxn>
                <a:cxn ang="0">
                  <a:pos x="10" y="725"/>
                </a:cxn>
                <a:cxn ang="0">
                  <a:pos x="57" y="805"/>
                </a:cxn>
                <a:cxn ang="0">
                  <a:pos x="104" y="989"/>
                </a:cxn>
                <a:cxn ang="0">
                  <a:pos x="162" y="1077"/>
                </a:cxn>
                <a:cxn ang="0">
                  <a:pos x="226" y="1158"/>
                </a:cxn>
                <a:cxn ang="0">
                  <a:pos x="261" y="1171"/>
                </a:cxn>
                <a:cxn ang="0">
                  <a:pos x="322" y="1120"/>
                </a:cxn>
                <a:cxn ang="0">
                  <a:pos x="384" y="1085"/>
                </a:cxn>
                <a:cxn ang="0">
                  <a:pos x="465" y="1086"/>
                </a:cxn>
                <a:cxn ang="0">
                  <a:pos x="621" y="1125"/>
                </a:cxn>
                <a:cxn ang="0">
                  <a:pos x="900" y="1160"/>
                </a:cxn>
                <a:cxn ang="0">
                  <a:pos x="1039" y="1206"/>
                </a:cxn>
                <a:cxn ang="0">
                  <a:pos x="1085" y="1240"/>
                </a:cxn>
                <a:cxn ang="0">
                  <a:pos x="1212" y="1242"/>
                </a:cxn>
                <a:cxn ang="0">
                  <a:pos x="1378" y="1225"/>
                </a:cxn>
                <a:cxn ang="0">
                  <a:pos x="1390" y="1264"/>
                </a:cxn>
                <a:cxn ang="0">
                  <a:pos x="1423" y="1282"/>
                </a:cxn>
                <a:cxn ang="0">
                  <a:pos x="1516" y="1279"/>
                </a:cxn>
                <a:cxn ang="0">
                  <a:pos x="1563" y="1205"/>
                </a:cxn>
                <a:cxn ang="0">
                  <a:pos x="1544" y="1123"/>
                </a:cxn>
                <a:cxn ang="0">
                  <a:pos x="1548" y="1065"/>
                </a:cxn>
                <a:cxn ang="0">
                  <a:pos x="1560" y="1013"/>
                </a:cxn>
                <a:cxn ang="0">
                  <a:pos x="1570" y="993"/>
                </a:cxn>
                <a:cxn ang="0">
                  <a:pos x="1582" y="963"/>
                </a:cxn>
                <a:cxn ang="0">
                  <a:pos x="1592" y="931"/>
                </a:cxn>
                <a:cxn ang="0">
                  <a:pos x="1609" y="898"/>
                </a:cxn>
                <a:cxn ang="0">
                  <a:pos x="1622" y="878"/>
                </a:cxn>
                <a:cxn ang="0">
                  <a:pos x="1662" y="846"/>
                </a:cxn>
                <a:cxn ang="0">
                  <a:pos x="1582" y="796"/>
                </a:cxn>
                <a:cxn ang="0">
                  <a:pos x="1440" y="749"/>
                </a:cxn>
                <a:cxn ang="0">
                  <a:pos x="1438" y="581"/>
                </a:cxn>
                <a:cxn ang="0">
                  <a:pos x="1419" y="549"/>
                </a:cxn>
                <a:cxn ang="0">
                  <a:pos x="1355" y="546"/>
                </a:cxn>
                <a:cxn ang="0">
                  <a:pos x="1196" y="573"/>
                </a:cxn>
                <a:cxn ang="0">
                  <a:pos x="1181" y="468"/>
                </a:cxn>
                <a:cxn ang="0">
                  <a:pos x="1221" y="425"/>
                </a:cxn>
                <a:cxn ang="0">
                  <a:pos x="1341" y="315"/>
                </a:cxn>
                <a:cxn ang="0">
                  <a:pos x="1182" y="278"/>
                </a:cxn>
                <a:cxn ang="0">
                  <a:pos x="1003" y="367"/>
                </a:cxn>
                <a:cxn ang="0">
                  <a:pos x="833" y="423"/>
                </a:cxn>
                <a:cxn ang="0">
                  <a:pos x="722" y="429"/>
                </a:cxn>
                <a:cxn ang="0">
                  <a:pos x="633" y="389"/>
                </a:cxn>
                <a:cxn ang="0">
                  <a:pos x="568" y="290"/>
                </a:cxn>
                <a:cxn ang="0">
                  <a:pos x="534" y="118"/>
                </a:cxn>
                <a:cxn ang="0">
                  <a:pos x="506" y="4"/>
                </a:cxn>
                <a:cxn ang="0">
                  <a:pos x="450" y="35"/>
                </a:cxn>
              </a:cxnLst>
              <a:rect l="0" t="0" r="r" b="b"/>
              <a:pathLst>
                <a:path w="1667" h="1286">
                  <a:moveTo>
                    <a:pt x="450" y="35"/>
                  </a:moveTo>
                  <a:lnTo>
                    <a:pt x="447" y="35"/>
                  </a:lnTo>
                  <a:lnTo>
                    <a:pt x="444" y="37"/>
                  </a:lnTo>
                  <a:lnTo>
                    <a:pt x="441" y="41"/>
                  </a:lnTo>
                  <a:lnTo>
                    <a:pt x="438" y="47"/>
                  </a:lnTo>
                  <a:lnTo>
                    <a:pt x="431" y="61"/>
                  </a:lnTo>
                  <a:lnTo>
                    <a:pt x="424" y="80"/>
                  </a:lnTo>
                  <a:lnTo>
                    <a:pt x="419" y="104"/>
                  </a:lnTo>
                  <a:lnTo>
                    <a:pt x="412" y="129"/>
                  </a:lnTo>
                  <a:lnTo>
                    <a:pt x="407" y="157"/>
                  </a:lnTo>
                  <a:lnTo>
                    <a:pt x="401" y="186"/>
                  </a:lnTo>
                  <a:lnTo>
                    <a:pt x="392" y="247"/>
                  </a:lnTo>
                  <a:lnTo>
                    <a:pt x="384" y="302"/>
                  </a:lnTo>
                  <a:lnTo>
                    <a:pt x="379" y="347"/>
                  </a:lnTo>
                  <a:lnTo>
                    <a:pt x="377" y="377"/>
                  </a:lnTo>
                  <a:lnTo>
                    <a:pt x="373" y="379"/>
                  </a:lnTo>
                  <a:lnTo>
                    <a:pt x="366" y="387"/>
                  </a:lnTo>
                  <a:lnTo>
                    <a:pt x="356" y="398"/>
                  </a:lnTo>
                  <a:lnTo>
                    <a:pt x="346" y="412"/>
                  </a:lnTo>
                  <a:lnTo>
                    <a:pt x="327" y="439"/>
                  </a:lnTo>
                  <a:lnTo>
                    <a:pt x="315" y="455"/>
                  </a:lnTo>
                  <a:lnTo>
                    <a:pt x="314" y="459"/>
                  </a:lnTo>
                  <a:lnTo>
                    <a:pt x="311" y="462"/>
                  </a:lnTo>
                  <a:lnTo>
                    <a:pt x="307" y="465"/>
                  </a:lnTo>
                  <a:lnTo>
                    <a:pt x="302" y="468"/>
                  </a:lnTo>
                  <a:lnTo>
                    <a:pt x="290" y="473"/>
                  </a:lnTo>
                  <a:lnTo>
                    <a:pt x="277" y="477"/>
                  </a:lnTo>
                  <a:lnTo>
                    <a:pt x="270" y="478"/>
                  </a:lnTo>
                  <a:lnTo>
                    <a:pt x="264" y="478"/>
                  </a:lnTo>
                  <a:lnTo>
                    <a:pt x="258" y="477"/>
                  </a:lnTo>
                  <a:lnTo>
                    <a:pt x="254" y="474"/>
                  </a:lnTo>
                  <a:lnTo>
                    <a:pt x="249" y="471"/>
                  </a:lnTo>
                  <a:lnTo>
                    <a:pt x="246" y="468"/>
                  </a:lnTo>
                  <a:lnTo>
                    <a:pt x="244" y="462"/>
                  </a:lnTo>
                  <a:lnTo>
                    <a:pt x="242" y="455"/>
                  </a:lnTo>
                  <a:lnTo>
                    <a:pt x="231" y="455"/>
                  </a:lnTo>
                  <a:lnTo>
                    <a:pt x="231" y="448"/>
                  </a:lnTo>
                  <a:lnTo>
                    <a:pt x="229" y="440"/>
                  </a:lnTo>
                  <a:lnTo>
                    <a:pt x="227" y="431"/>
                  </a:lnTo>
                  <a:lnTo>
                    <a:pt x="225" y="423"/>
                  </a:lnTo>
                  <a:lnTo>
                    <a:pt x="216" y="406"/>
                  </a:lnTo>
                  <a:lnTo>
                    <a:pt x="206" y="389"/>
                  </a:lnTo>
                  <a:lnTo>
                    <a:pt x="193" y="375"/>
                  </a:lnTo>
                  <a:lnTo>
                    <a:pt x="180" y="360"/>
                  </a:lnTo>
                  <a:lnTo>
                    <a:pt x="165" y="347"/>
                  </a:lnTo>
                  <a:lnTo>
                    <a:pt x="150" y="337"/>
                  </a:lnTo>
                  <a:lnTo>
                    <a:pt x="134" y="328"/>
                  </a:lnTo>
                  <a:lnTo>
                    <a:pt x="120" y="323"/>
                  </a:lnTo>
                  <a:lnTo>
                    <a:pt x="113" y="320"/>
                  </a:lnTo>
                  <a:lnTo>
                    <a:pt x="106" y="319"/>
                  </a:lnTo>
                  <a:lnTo>
                    <a:pt x="100" y="319"/>
                  </a:lnTo>
                  <a:lnTo>
                    <a:pt x="94" y="320"/>
                  </a:lnTo>
                  <a:lnTo>
                    <a:pt x="88" y="323"/>
                  </a:lnTo>
                  <a:lnTo>
                    <a:pt x="83" y="325"/>
                  </a:lnTo>
                  <a:lnTo>
                    <a:pt x="79" y="329"/>
                  </a:lnTo>
                  <a:lnTo>
                    <a:pt x="75" y="334"/>
                  </a:lnTo>
                  <a:lnTo>
                    <a:pt x="73" y="339"/>
                  </a:lnTo>
                  <a:lnTo>
                    <a:pt x="70" y="347"/>
                  </a:lnTo>
                  <a:lnTo>
                    <a:pt x="68" y="356"/>
                  </a:lnTo>
                  <a:lnTo>
                    <a:pt x="68" y="366"/>
                  </a:lnTo>
                  <a:lnTo>
                    <a:pt x="72" y="366"/>
                  </a:lnTo>
                  <a:lnTo>
                    <a:pt x="75" y="367"/>
                  </a:lnTo>
                  <a:lnTo>
                    <a:pt x="77" y="369"/>
                  </a:lnTo>
                  <a:lnTo>
                    <a:pt x="78" y="372"/>
                  </a:lnTo>
                  <a:lnTo>
                    <a:pt x="79" y="377"/>
                  </a:lnTo>
                  <a:lnTo>
                    <a:pt x="79" y="383"/>
                  </a:lnTo>
                  <a:lnTo>
                    <a:pt x="83" y="383"/>
                  </a:lnTo>
                  <a:lnTo>
                    <a:pt x="85" y="385"/>
                  </a:lnTo>
                  <a:lnTo>
                    <a:pt x="87" y="388"/>
                  </a:lnTo>
                  <a:lnTo>
                    <a:pt x="88" y="393"/>
                  </a:lnTo>
                  <a:lnTo>
                    <a:pt x="91" y="404"/>
                  </a:lnTo>
                  <a:lnTo>
                    <a:pt x="92" y="417"/>
                  </a:lnTo>
                  <a:lnTo>
                    <a:pt x="92" y="444"/>
                  </a:lnTo>
                  <a:lnTo>
                    <a:pt x="91" y="461"/>
                  </a:lnTo>
                  <a:lnTo>
                    <a:pt x="91" y="475"/>
                  </a:lnTo>
                  <a:lnTo>
                    <a:pt x="89" y="490"/>
                  </a:lnTo>
                  <a:lnTo>
                    <a:pt x="87" y="503"/>
                  </a:lnTo>
                  <a:lnTo>
                    <a:pt x="84" y="516"/>
                  </a:lnTo>
                  <a:lnTo>
                    <a:pt x="81" y="527"/>
                  </a:lnTo>
                  <a:lnTo>
                    <a:pt x="76" y="538"/>
                  </a:lnTo>
                  <a:lnTo>
                    <a:pt x="72" y="548"/>
                  </a:lnTo>
                  <a:lnTo>
                    <a:pt x="67" y="558"/>
                  </a:lnTo>
                  <a:lnTo>
                    <a:pt x="56" y="576"/>
                  </a:lnTo>
                  <a:lnTo>
                    <a:pt x="45" y="593"/>
                  </a:lnTo>
                  <a:lnTo>
                    <a:pt x="34" y="607"/>
                  </a:lnTo>
                  <a:lnTo>
                    <a:pt x="24" y="623"/>
                  </a:lnTo>
                  <a:lnTo>
                    <a:pt x="14" y="637"/>
                  </a:lnTo>
                  <a:lnTo>
                    <a:pt x="7" y="653"/>
                  </a:lnTo>
                  <a:lnTo>
                    <a:pt x="4" y="661"/>
                  </a:lnTo>
                  <a:lnTo>
                    <a:pt x="2" y="668"/>
                  </a:lnTo>
                  <a:lnTo>
                    <a:pt x="1" y="676"/>
                  </a:lnTo>
                  <a:lnTo>
                    <a:pt x="0" y="685"/>
                  </a:lnTo>
                  <a:lnTo>
                    <a:pt x="1" y="694"/>
                  </a:lnTo>
                  <a:lnTo>
                    <a:pt x="4" y="704"/>
                  </a:lnTo>
                  <a:lnTo>
                    <a:pt x="6" y="714"/>
                  </a:lnTo>
                  <a:lnTo>
                    <a:pt x="10" y="725"/>
                  </a:lnTo>
                  <a:lnTo>
                    <a:pt x="16" y="737"/>
                  </a:lnTo>
                  <a:lnTo>
                    <a:pt x="22" y="749"/>
                  </a:lnTo>
                  <a:lnTo>
                    <a:pt x="30" y="762"/>
                  </a:lnTo>
                  <a:lnTo>
                    <a:pt x="40" y="776"/>
                  </a:lnTo>
                  <a:lnTo>
                    <a:pt x="49" y="789"/>
                  </a:lnTo>
                  <a:lnTo>
                    <a:pt x="57" y="805"/>
                  </a:lnTo>
                  <a:lnTo>
                    <a:pt x="64" y="821"/>
                  </a:lnTo>
                  <a:lnTo>
                    <a:pt x="69" y="839"/>
                  </a:lnTo>
                  <a:lnTo>
                    <a:pt x="79" y="877"/>
                  </a:lnTo>
                  <a:lnTo>
                    <a:pt x="87" y="916"/>
                  </a:lnTo>
                  <a:lnTo>
                    <a:pt x="95" y="954"/>
                  </a:lnTo>
                  <a:lnTo>
                    <a:pt x="104" y="989"/>
                  </a:lnTo>
                  <a:lnTo>
                    <a:pt x="110" y="1004"/>
                  </a:lnTo>
                  <a:lnTo>
                    <a:pt x="115" y="1018"/>
                  </a:lnTo>
                  <a:lnTo>
                    <a:pt x="122" y="1030"/>
                  </a:lnTo>
                  <a:lnTo>
                    <a:pt x="130" y="1040"/>
                  </a:lnTo>
                  <a:lnTo>
                    <a:pt x="146" y="1058"/>
                  </a:lnTo>
                  <a:lnTo>
                    <a:pt x="162" y="1077"/>
                  </a:lnTo>
                  <a:lnTo>
                    <a:pt x="178" y="1096"/>
                  </a:lnTo>
                  <a:lnTo>
                    <a:pt x="191" y="1115"/>
                  </a:lnTo>
                  <a:lnTo>
                    <a:pt x="203" y="1133"/>
                  </a:lnTo>
                  <a:lnTo>
                    <a:pt x="216" y="1147"/>
                  </a:lnTo>
                  <a:lnTo>
                    <a:pt x="220" y="1154"/>
                  </a:lnTo>
                  <a:lnTo>
                    <a:pt x="226" y="1158"/>
                  </a:lnTo>
                  <a:lnTo>
                    <a:pt x="230" y="1163"/>
                  </a:lnTo>
                  <a:lnTo>
                    <a:pt x="235" y="1165"/>
                  </a:lnTo>
                  <a:lnTo>
                    <a:pt x="242" y="1168"/>
                  </a:lnTo>
                  <a:lnTo>
                    <a:pt x="249" y="1171"/>
                  </a:lnTo>
                  <a:lnTo>
                    <a:pt x="256" y="1171"/>
                  </a:lnTo>
                  <a:lnTo>
                    <a:pt x="261" y="1171"/>
                  </a:lnTo>
                  <a:lnTo>
                    <a:pt x="267" y="1170"/>
                  </a:lnTo>
                  <a:lnTo>
                    <a:pt x="273" y="1167"/>
                  </a:lnTo>
                  <a:lnTo>
                    <a:pt x="277" y="1165"/>
                  </a:lnTo>
                  <a:lnTo>
                    <a:pt x="281" y="1162"/>
                  </a:lnTo>
                  <a:lnTo>
                    <a:pt x="300" y="1143"/>
                  </a:lnTo>
                  <a:lnTo>
                    <a:pt x="322" y="1120"/>
                  </a:lnTo>
                  <a:lnTo>
                    <a:pt x="334" y="1109"/>
                  </a:lnTo>
                  <a:lnTo>
                    <a:pt x="347" y="1099"/>
                  </a:lnTo>
                  <a:lnTo>
                    <a:pt x="355" y="1095"/>
                  </a:lnTo>
                  <a:lnTo>
                    <a:pt x="364" y="1090"/>
                  </a:lnTo>
                  <a:lnTo>
                    <a:pt x="374" y="1087"/>
                  </a:lnTo>
                  <a:lnTo>
                    <a:pt x="384" y="1085"/>
                  </a:lnTo>
                  <a:lnTo>
                    <a:pt x="395" y="1083"/>
                  </a:lnTo>
                  <a:lnTo>
                    <a:pt x="407" y="1081"/>
                  </a:lnTo>
                  <a:lnTo>
                    <a:pt x="420" y="1080"/>
                  </a:lnTo>
                  <a:lnTo>
                    <a:pt x="433" y="1081"/>
                  </a:lnTo>
                  <a:lnTo>
                    <a:pt x="449" y="1084"/>
                  </a:lnTo>
                  <a:lnTo>
                    <a:pt x="465" y="1086"/>
                  </a:lnTo>
                  <a:lnTo>
                    <a:pt x="482" y="1090"/>
                  </a:lnTo>
                  <a:lnTo>
                    <a:pt x="501" y="1096"/>
                  </a:lnTo>
                  <a:lnTo>
                    <a:pt x="528" y="1104"/>
                  </a:lnTo>
                  <a:lnTo>
                    <a:pt x="557" y="1112"/>
                  </a:lnTo>
                  <a:lnTo>
                    <a:pt x="588" y="1118"/>
                  </a:lnTo>
                  <a:lnTo>
                    <a:pt x="621" y="1125"/>
                  </a:lnTo>
                  <a:lnTo>
                    <a:pt x="654" y="1132"/>
                  </a:lnTo>
                  <a:lnTo>
                    <a:pt x="688" y="1137"/>
                  </a:lnTo>
                  <a:lnTo>
                    <a:pt x="724" y="1142"/>
                  </a:lnTo>
                  <a:lnTo>
                    <a:pt x="758" y="1146"/>
                  </a:lnTo>
                  <a:lnTo>
                    <a:pt x="830" y="1154"/>
                  </a:lnTo>
                  <a:lnTo>
                    <a:pt x="900" y="1160"/>
                  </a:lnTo>
                  <a:lnTo>
                    <a:pt x="967" y="1162"/>
                  </a:lnTo>
                  <a:lnTo>
                    <a:pt x="1029" y="1163"/>
                  </a:lnTo>
                  <a:lnTo>
                    <a:pt x="1029" y="1176"/>
                  </a:lnTo>
                  <a:lnTo>
                    <a:pt x="1032" y="1187"/>
                  </a:lnTo>
                  <a:lnTo>
                    <a:pt x="1035" y="1198"/>
                  </a:lnTo>
                  <a:lnTo>
                    <a:pt x="1039" y="1206"/>
                  </a:lnTo>
                  <a:lnTo>
                    <a:pt x="1044" y="1214"/>
                  </a:lnTo>
                  <a:lnTo>
                    <a:pt x="1051" y="1221"/>
                  </a:lnTo>
                  <a:lnTo>
                    <a:pt x="1058" y="1227"/>
                  </a:lnTo>
                  <a:lnTo>
                    <a:pt x="1066" y="1232"/>
                  </a:lnTo>
                  <a:lnTo>
                    <a:pt x="1075" y="1237"/>
                  </a:lnTo>
                  <a:lnTo>
                    <a:pt x="1085" y="1240"/>
                  </a:lnTo>
                  <a:lnTo>
                    <a:pt x="1095" y="1242"/>
                  </a:lnTo>
                  <a:lnTo>
                    <a:pt x="1106" y="1244"/>
                  </a:lnTo>
                  <a:lnTo>
                    <a:pt x="1131" y="1247"/>
                  </a:lnTo>
                  <a:lnTo>
                    <a:pt x="1157" y="1247"/>
                  </a:lnTo>
                  <a:lnTo>
                    <a:pt x="1185" y="1245"/>
                  </a:lnTo>
                  <a:lnTo>
                    <a:pt x="1212" y="1242"/>
                  </a:lnTo>
                  <a:lnTo>
                    <a:pt x="1242" y="1239"/>
                  </a:lnTo>
                  <a:lnTo>
                    <a:pt x="1271" y="1235"/>
                  </a:lnTo>
                  <a:lnTo>
                    <a:pt x="1300" y="1231"/>
                  </a:lnTo>
                  <a:lnTo>
                    <a:pt x="1327" y="1228"/>
                  </a:lnTo>
                  <a:lnTo>
                    <a:pt x="1353" y="1225"/>
                  </a:lnTo>
                  <a:lnTo>
                    <a:pt x="1378" y="1225"/>
                  </a:lnTo>
                  <a:lnTo>
                    <a:pt x="1378" y="1233"/>
                  </a:lnTo>
                  <a:lnTo>
                    <a:pt x="1379" y="1241"/>
                  </a:lnTo>
                  <a:lnTo>
                    <a:pt x="1381" y="1248"/>
                  </a:lnTo>
                  <a:lnTo>
                    <a:pt x="1383" y="1254"/>
                  </a:lnTo>
                  <a:lnTo>
                    <a:pt x="1387" y="1260"/>
                  </a:lnTo>
                  <a:lnTo>
                    <a:pt x="1390" y="1264"/>
                  </a:lnTo>
                  <a:lnTo>
                    <a:pt x="1394" y="1269"/>
                  </a:lnTo>
                  <a:lnTo>
                    <a:pt x="1399" y="1272"/>
                  </a:lnTo>
                  <a:lnTo>
                    <a:pt x="1404" y="1276"/>
                  </a:lnTo>
                  <a:lnTo>
                    <a:pt x="1410" y="1279"/>
                  </a:lnTo>
                  <a:lnTo>
                    <a:pt x="1417" y="1280"/>
                  </a:lnTo>
                  <a:lnTo>
                    <a:pt x="1423" y="1282"/>
                  </a:lnTo>
                  <a:lnTo>
                    <a:pt x="1437" y="1285"/>
                  </a:lnTo>
                  <a:lnTo>
                    <a:pt x="1452" y="1286"/>
                  </a:lnTo>
                  <a:lnTo>
                    <a:pt x="1468" y="1285"/>
                  </a:lnTo>
                  <a:lnTo>
                    <a:pt x="1484" y="1283"/>
                  </a:lnTo>
                  <a:lnTo>
                    <a:pt x="1500" y="1281"/>
                  </a:lnTo>
                  <a:lnTo>
                    <a:pt x="1516" y="1279"/>
                  </a:lnTo>
                  <a:lnTo>
                    <a:pt x="1547" y="1272"/>
                  </a:lnTo>
                  <a:lnTo>
                    <a:pt x="1574" y="1267"/>
                  </a:lnTo>
                  <a:lnTo>
                    <a:pt x="1572" y="1243"/>
                  </a:lnTo>
                  <a:lnTo>
                    <a:pt x="1569" y="1223"/>
                  </a:lnTo>
                  <a:lnTo>
                    <a:pt x="1565" y="1213"/>
                  </a:lnTo>
                  <a:lnTo>
                    <a:pt x="1563" y="1205"/>
                  </a:lnTo>
                  <a:lnTo>
                    <a:pt x="1560" y="1198"/>
                  </a:lnTo>
                  <a:lnTo>
                    <a:pt x="1555" y="1191"/>
                  </a:lnTo>
                  <a:lnTo>
                    <a:pt x="1553" y="1182"/>
                  </a:lnTo>
                  <a:lnTo>
                    <a:pt x="1550" y="1166"/>
                  </a:lnTo>
                  <a:lnTo>
                    <a:pt x="1546" y="1145"/>
                  </a:lnTo>
                  <a:lnTo>
                    <a:pt x="1544" y="1123"/>
                  </a:lnTo>
                  <a:lnTo>
                    <a:pt x="1543" y="1102"/>
                  </a:lnTo>
                  <a:lnTo>
                    <a:pt x="1543" y="1083"/>
                  </a:lnTo>
                  <a:lnTo>
                    <a:pt x="1544" y="1075"/>
                  </a:lnTo>
                  <a:lnTo>
                    <a:pt x="1545" y="1069"/>
                  </a:lnTo>
                  <a:lnTo>
                    <a:pt x="1546" y="1066"/>
                  </a:lnTo>
                  <a:lnTo>
                    <a:pt x="1548" y="1065"/>
                  </a:lnTo>
                  <a:lnTo>
                    <a:pt x="1550" y="1055"/>
                  </a:lnTo>
                  <a:lnTo>
                    <a:pt x="1551" y="1046"/>
                  </a:lnTo>
                  <a:lnTo>
                    <a:pt x="1553" y="1037"/>
                  </a:lnTo>
                  <a:lnTo>
                    <a:pt x="1555" y="1029"/>
                  </a:lnTo>
                  <a:lnTo>
                    <a:pt x="1557" y="1021"/>
                  </a:lnTo>
                  <a:lnTo>
                    <a:pt x="1560" y="1013"/>
                  </a:lnTo>
                  <a:lnTo>
                    <a:pt x="1562" y="1006"/>
                  </a:lnTo>
                  <a:lnTo>
                    <a:pt x="1562" y="998"/>
                  </a:lnTo>
                  <a:lnTo>
                    <a:pt x="1564" y="998"/>
                  </a:lnTo>
                  <a:lnTo>
                    <a:pt x="1566" y="997"/>
                  </a:lnTo>
                  <a:lnTo>
                    <a:pt x="1569" y="995"/>
                  </a:lnTo>
                  <a:lnTo>
                    <a:pt x="1570" y="993"/>
                  </a:lnTo>
                  <a:lnTo>
                    <a:pt x="1572" y="989"/>
                  </a:lnTo>
                  <a:lnTo>
                    <a:pt x="1574" y="983"/>
                  </a:lnTo>
                  <a:lnTo>
                    <a:pt x="1575" y="972"/>
                  </a:lnTo>
                  <a:lnTo>
                    <a:pt x="1575" y="964"/>
                  </a:lnTo>
                  <a:lnTo>
                    <a:pt x="1579" y="964"/>
                  </a:lnTo>
                  <a:lnTo>
                    <a:pt x="1582" y="963"/>
                  </a:lnTo>
                  <a:lnTo>
                    <a:pt x="1583" y="961"/>
                  </a:lnTo>
                  <a:lnTo>
                    <a:pt x="1585" y="959"/>
                  </a:lnTo>
                  <a:lnTo>
                    <a:pt x="1588" y="952"/>
                  </a:lnTo>
                  <a:lnTo>
                    <a:pt x="1589" y="944"/>
                  </a:lnTo>
                  <a:lnTo>
                    <a:pt x="1590" y="937"/>
                  </a:lnTo>
                  <a:lnTo>
                    <a:pt x="1592" y="931"/>
                  </a:lnTo>
                  <a:lnTo>
                    <a:pt x="1594" y="929"/>
                  </a:lnTo>
                  <a:lnTo>
                    <a:pt x="1596" y="926"/>
                  </a:lnTo>
                  <a:lnTo>
                    <a:pt x="1599" y="925"/>
                  </a:lnTo>
                  <a:lnTo>
                    <a:pt x="1602" y="924"/>
                  </a:lnTo>
                  <a:lnTo>
                    <a:pt x="1605" y="911"/>
                  </a:lnTo>
                  <a:lnTo>
                    <a:pt x="1609" y="898"/>
                  </a:lnTo>
                  <a:lnTo>
                    <a:pt x="1611" y="897"/>
                  </a:lnTo>
                  <a:lnTo>
                    <a:pt x="1613" y="896"/>
                  </a:lnTo>
                  <a:lnTo>
                    <a:pt x="1615" y="893"/>
                  </a:lnTo>
                  <a:lnTo>
                    <a:pt x="1618" y="891"/>
                  </a:lnTo>
                  <a:lnTo>
                    <a:pt x="1621" y="884"/>
                  </a:lnTo>
                  <a:lnTo>
                    <a:pt x="1622" y="878"/>
                  </a:lnTo>
                  <a:lnTo>
                    <a:pt x="1629" y="872"/>
                  </a:lnTo>
                  <a:lnTo>
                    <a:pt x="1636" y="865"/>
                  </a:lnTo>
                  <a:lnTo>
                    <a:pt x="1642" y="858"/>
                  </a:lnTo>
                  <a:lnTo>
                    <a:pt x="1656" y="858"/>
                  </a:lnTo>
                  <a:lnTo>
                    <a:pt x="1662" y="852"/>
                  </a:lnTo>
                  <a:lnTo>
                    <a:pt x="1662" y="846"/>
                  </a:lnTo>
                  <a:lnTo>
                    <a:pt x="1665" y="834"/>
                  </a:lnTo>
                  <a:lnTo>
                    <a:pt x="1666" y="816"/>
                  </a:lnTo>
                  <a:lnTo>
                    <a:pt x="1667" y="798"/>
                  </a:lnTo>
                  <a:lnTo>
                    <a:pt x="1638" y="797"/>
                  </a:lnTo>
                  <a:lnTo>
                    <a:pt x="1610" y="796"/>
                  </a:lnTo>
                  <a:lnTo>
                    <a:pt x="1582" y="796"/>
                  </a:lnTo>
                  <a:lnTo>
                    <a:pt x="1553" y="795"/>
                  </a:lnTo>
                  <a:lnTo>
                    <a:pt x="1525" y="793"/>
                  </a:lnTo>
                  <a:lnTo>
                    <a:pt x="1496" y="793"/>
                  </a:lnTo>
                  <a:lnTo>
                    <a:pt x="1468" y="792"/>
                  </a:lnTo>
                  <a:lnTo>
                    <a:pt x="1439" y="792"/>
                  </a:lnTo>
                  <a:lnTo>
                    <a:pt x="1440" y="749"/>
                  </a:lnTo>
                  <a:lnTo>
                    <a:pt x="1440" y="710"/>
                  </a:lnTo>
                  <a:lnTo>
                    <a:pt x="1441" y="674"/>
                  </a:lnTo>
                  <a:lnTo>
                    <a:pt x="1442" y="642"/>
                  </a:lnTo>
                  <a:lnTo>
                    <a:pt x="1441" y="615"/>
                  </a:lnTo>
                  <a:lnTo>
                    <a:pt x="1440" y="591"/>
                  </a:lnTo>
                  <a:lnTo>
                    <a:pt x="1438" y="581"/>
                  </a:lnTo>
                  <a:lnTo>
                    <a:pt x="1436" y="574"/>
                  </a:lnTo>
                  <a:lnTo>
                    <a:pt x="1434" y="566"/>
                  </a:lnTo>
                  <a:lnTo>
                    <a:pt x="1430" y="560"/>
                  </a:lnTo>
                  <a:lnTo>
                    <a:pt x="1427" y="556"/>
                  </a:lnTo>
                  <a:lnTo>
                    <a:pt x="1423" y="552"/>
                  </a:lnTo>
                  <a:lnTo>
                    <a:pt x="1419" y="549"/>
                  </a:lnTo>
                  <a:lnTo>
                    <a:pt x="1416" y="547"/>
                  </a:lnTo>
                  <a:lnTo>
                    <a:pt x="1406" y="543"/>
                  </a:lnTo>
                  <a:lnTo>
                    <a:pt x="1396" y="541"/>
                  </a:lnTo>
                  <a:lnTo>
                    <a:pt x="1383" y="541"/>
                  </a:lnTo>
                  <a:lnTo>
                    <a:pt x="1370" y="542"/>
                  </a:lnTo>
                  <a:lnTo>
                    <a:pt x="1355" y="546"/>
                  </a:lnTo>
                  <a:lnTo>
                    <a:pt x="1340" y="548"/>
                  </a:lnTo>
                  <a:lnTo>
                    <a:pt x="1305" y="556"/>
                  </a:lnTo>
                  <a:lnTo>
                    <a:pt x="1265" y="565"/>
                  </a:lnTo>
                  <a:lnTo>
                    <a:pt x="1243" y="568"/>
                  </a:lnTo>
                  <a:lnTo>
                    <a:pt x="1219" y="570"/>
                  </a:lnTo>
                  <a:lnTo>
                    <a:pt x="1196" y="573"/>
                  </a:lnTo>
                  <a:lnTo>
                    <a:pt x="1170" y="574"/>
                  </a:lnTo>
                  <a:lnTo>
                    <a:pt x="1170" y="539"/>
                  </a:lnTo>
                  <a:lnTo>
                    <a:pt x="1172" y="508"/>
                  </a:lnTo>
                  <a:lnTo>
                    <a:pt x="1173" y="493"/>
                  </a:lnTo>
                  <a:lnTo>
                    <a:pt x="1177" y="480"/>
                  </a:lnTo>
                  <a:lnTo>
                    <a:pt x="1181" y="468"/>
                  </a:lnTo>
                  <a:lnTo>
                    <a:pt x="1187" y="456"/>
                  </a:lnTo>
                  <a:lnTo>
                    <a:pt x="1195" y="446"/>
                  </a:lnTo>
                  <a:lnTo>
                    <a:pt x="1204" y="436"/>
                  </a:lnTo>
                  <a:lnTo>
                    <a:pt x="1209" y="433"/>
                  </a:lnTo>
                  <a:lnTo>
                    <a:pt x="1215" y="429"/>
                  </a:lnTo>
                  <a:lnTo>
                    <a:pt x="1221" y="425"/>
                  </a:lnTo>
                  <a:lnTo>
                    <a:pt x="1229" y="423"/>
                  </a:lnTo>
                  <a:lnTo>
                    <a:pt x="1245" y="417"/>
                  </a:lnTo>
                  <a:lnTo>
                    <a:pt x="1264" y="414"/>
                  </a:lnTo>
                  <a:lnTo>
                    <a:pt x="1285" y="411"/>
                  </a:lnTo>
                  <a:lnTo>
                    <a:pt x="1310" y="411"/>
                  </a:lnTo>
                  <a:lnTo>
                    <a:pt x="1341" y="315"/>
                  </a:lnTo>
                  <a:lnTo>
                    <a:pt x="1304" y="253"/>
                  </a:lnTo>
                  <a:lnTo>
                    <a:pt x="1279" y="254"/>
                  </a:lnTo>
                  <a:lnTo>
                    <a:pt x="1255" y="258"/>
                  </a:lnTo>
                  <a:lnTo>
                    <a:pt x="1230" y="263"/>
                  </a:lnTo>
                  <a:lnTo>
                    <a:pt x="1206" y="270"/>
                  </a:lnTo>
                  <a:lnTo>
                    <a:pt x="1182" y="278"/>
                  </a:lnTo>
                  <a:lnTo>
                    <a:pt x="1159" y="288"/>
                  </a:lnTo>
                  <a:lnTo>
                    <a:pt x="1137" y="298"/>
                  </a:lnTo>
                  <a:lnTo>
                    <a:pt x="1113" y="309"/>
                  </a:lnTo>
                  <a:lnTo>
                    <a:pt x="1068" y="333"/>
                  </a:lnTo>
                  <a:lnTo>
                    <a:pt x="1024" y="356"/>
                  </a:lnTo>
                  <a:lnTo>
                    <a:pt x="1003" y="367"/>
                  </a:lnTo>
                  <a:lnTo>
                    <a:pt x="980" y="377"/>
                  </a:lnTo>
                  <a:lnTo>
                    <a:pt x="959" y="386"/>
                  </a:lnTo>
                  <a:lnTo>
                    <a:pt x="938" y="394"/>
                  </a:lnTo>
                  <a:lnTo>
                    <a:pt x="894" y="407"/>
                  </a:lnTo>
                  <a:lnTo>
                    <a:pt x="853" y="418"/>
                  </a:lnTo>
                  <a:lnTo>
                    <a:pt x="833" y="423"/>
                  </a:lnTo>
                  <a:lnTo>
                    <a:pt x="814" y="426"/>
                  </a:lnTo>
                  <a:lnTo>
                    <a:pt x="794" y="429"/>
                  </a:lnTo>
                  <a:lnTo>
                    <a:pt x="776" y="431"/>
                  </a:lnTo>
                  <a:lnTo>
                    <a:pt x="757" y="431"/>
                  </a:lnTo>
                  <a:lnTo>
                    <a:pt x="740" y="431"/>
                  </a:lnTo>
                  <a:lnTo>
                    <a:pt x="722" y="429"/>
                  </a:lnTo>
                  <a:lnTo>
                    <a:pt x="706" y="425"/>
                  </a:lnTo>
                  <a:lnTo>
                    <a:pt x="690" y="421"/>
                  </a:lnTo>
                  <a:lnTo>
                    <a:pt x="674" y="415"/>
                  </a:lnTo>
                  <a:lnTo>
                    <a:pt x="660" y="408"/>
                  </a:lnTo>
                  <a:lnTo>
                    <a:pt x="647" y="400"/>
                  </a:lnTo>
                  <a:lnTo>
                    <a:pt x="633" y="389"/>
                  </a:lnTo>
                  <a:lnTo>
                    <a:pt x="620" y="377"/>
                  </a:lnTo>
                  <a:lnTo>
                    <a:pt x="609" y="364"/>
                  </a:lnTo>
                  <a:lnTo>
                    <a:pt x="597" y="348"/>
                  </a:lnTo>
                  <a:lnTo>
                    <a:pt x="586" y="330"/>
                  </a:lnTo>
                  <a:lnTo>
                    <a:pt x="577" y="311"/>
                  </a:lnTo>
                  <a:lnTo>
                    <a:pt x="568" y="290"/>
                  </a:lnTo>
                  <a:lnTo>
                    <a:pt x="561" y="267"/>
                  </a:lnTo>
                  <a:lnTo>
                    <a:pt x="553" y="242"/>
                  </a:lnTo>
                  <a:lnTo>
                    <a:pt x="547" y="214"/>
                  </a:lnTo>
                  <a:lnTo>
                    <a:pt x="542" y="185"/>
                  </a:lnTo>
                  <a:lnTo>
                    <a:pt x="537" y="153"/>
                  </a:lnTo>
                  <a:lnTo>
                    <a:pt x="534" y="118"/>
                  </a:lnTo>
                  <a:lnTo>
                    <a:pt x="532" y="81"/>
                  </a:lnTo>
                  <a:lnTo>
                    <a:pt x="529" y="42"/>
                  </a:lnTo>
                  <a:lnTo>
                    <a:pt x="529" y="0"/>
                  </a:lnTo>
                  <a:lnTo>
                    <a:pt x="520" y="1"/>
                  </a:lnTo>
                  <a:lnTo>
                    <a:pt x="514" y="2"/>
                  </a:lnTo>
                  <a:lnTo>
                    <a:pt x="506" y="4"/>
                  </a:lnTo>
                  <a:lnTo>
                    <a:pt x="499" y="6"/>
                  </a:lnTo>
                  <a:lnTo>
                    <a:pt x="488" y="10"/>
                  </a:lnTo>
                  <a:lnTo>
                    <a:pt x="478" y="11"/>
                  </a:lnTo>
                  <a:lnTo>
                    <a:pt x="478" y="28"/>
                  </a:lnTo>
                  <a:lnTo>
                    <a:pt x="467" y="31"/>
                  </a:lnTo>
                  <a:lnTo>
                    <a:pt x="450" y="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7" name="Freeform 10">
              <a:extLst>
                <a:ext uri="{FF2B5EF4-FFF2-40B4-BE49-F238E27FC236}">
                  <a16:creationId xmlns:a16="http://schemas.microsoft.com/office/drawing/2014/main" id="{B87AF667-5DC1-40AA-9FE8-6A5EF16E160C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040688" y="5156200"/>
              <a:ext cx="232131" cy="163513"/>
            </a:xfrm>
            <a:custGeom>
              <a:avLst/>
              <a:gdLst/>
              <a:ahLst/>
              <a:cxnLst>
                <a:cxn ang="0">
                  <a:pos x="71" y="675"/>
                </a:cxn>
                <a:cxn ang="0">
                  <a:pos x="240" y="719"/>
                </a:cxn>
                <a:cxn ang="0">
                  <a:pos x="444" y="799"/>
                </a:cxn>
                <a:cxn ang="0">
                  <a:pos x="525" y="851"/>
                </a:cxn>
                <a:cxn ang="0">
                  <a:pos x="560" y="882"/>
                </a:cxn>
                <a:cxn ang="0">
                  <a:pos x="676" y="901"/>
                </a:cxn>
                <a:cxn ang="0">
                  <a:pos x="838" y="960"/>
                </a:cxn>
                <a:cxn ang="0">
                  <a:pos x="922" y="1011"/>
                </a:cxn>
                <a:cxn ang="0">
                  <a:pos x="964" y="964"/>
                </a:cxn>
                <a:cxn ang="0">
                  <a:pos x="995" y="949"/>
                </a:cxn>
                <a:cxn ang="0">
                  <a:pos x="1019" y="923"/>
                </a:cxn>
                <a:cxn ang="0">
                  <a:pos x="999" y="851"/>
                </a:cxn>
                <a:cxn ang="0">
                  <a:pos x="959" y="784"/>
                </a:cxn>
                <a:cxn ang="0">
                  <a:pos x="969" y="749"/>
                </a:cxn>
                <a:cxn ang="0">
                  <a:pos x="984" y="742"/>
                </a:cxn>
                <a:cxn ang="0">
                  <a:pos x="998" y="736"/>
                </a:cxn>
                <a:cxn ang="0">
                  <a:pos x="1053" y="736"/>
                </a:cxn>
                <a:cxn ang="0">
                  <a:pos x="1073" y="746"/>
                </a:cxn>
                <a:cxn ang="0">
                  <a:pos x="1111" y="762"/>
                </a:cxn>
                <a:cxn ang="0">
                  <a:pos x="1136" y="780"/>
                </a:cxn>
                <a:cxn ang="0">
                  <a:pos x="1159" y="798"/>
                </a:cxn>
                <a:cxn ang="0">
                  <a:pos x="1192" y="808"/>
                </a:cxn>
                <a:cxn ang="0">
                  <a:pos x="1273" y="798"/>
                </a:cxn>
                <a:cxn ang="0">
                  <a:pos x="1268" y="735"/>
                </a:cxn>
                <a:cxn ang="0">
                  <a:pos x="1274" y="616"/>
                </a:cxn>
                <a:cxn ang="0">
                  <a:pos x="1275" y="527"/>
                </a:cxn>
                <a:cxn ang="0">
                  <a:pos x="1269" y="514"/>
                </a:cxn>
                <a:cxn ang="0">
                  <a:pos x="1252" y="489"/>
                </a:cxn>
                <a:cxn ang="0">
                  <a:pos x="1204" y="430"/>
                </a:cxn>
                <a:cxn ang="0">
                  <a:pos x="1207" y="406"/>
                </a:cxn>
                <a:cxn ang="0">
                  <a:pos x="1231" y="376"/>
                </a:cxn>
                <a:cxn ang="0">
                  <a:pos x="1242" y="361"/>
                </a:cxn>
                <a:cxn ang="0">
                  <a:pos x="1262" y="334"/>
                </a:cxn>
                <a:cxn ang="0">
                  <a:pos x="1262" y="303"/>
                </a:cxn>
                <a:cxn ang="0">
                  <a:pos x="1232" y="266"/>
                </a:cxn>
                <a:cxn ang="0">
                  <a:pos x="1228" y="252"/>
                </a:cxn>
                <a:cxn ang="0">
                  <a:pos x="1223" y="240"/>
                </a:cxn>
                <a:cxn ang="0">
                  <a:pos x="1218" y="181"/>
                </a:cxn>
                <a:cxn ang="0">
                  <a:pos x="1207" y="143"/>
                </a:cxn>
                <a:cxn ang="0">
                  <a:pos x="1125" y="73"/>
                </a:cxn>
                <a:cxn ang="0">
                  <a:pos x="1044" y="74"/>
                </a:cxn>
                <a:cxn ang="0">
                  <a:pos x="932" y="39"/>
                </a:cxn>
                <a:cxn ang="0">
                  <a:pos x="842" y="4"/>
                </a:cxn>
                <a:cxn ang="0">
                  <a:pos x="767" y="11"/>
                </a:cxn>
                <a:cxn ang="0">
                  <a:pos x="633" y="105"/>
                </a:cxn>
                <a:cxn ang="0">
                  <a:pos x="538" y="174"/>
                </a:cxn>
                <a:cxn ang="0">
                  <a:pos x="480" y="198"/>
                </a:cxn>
                <a:cxn ang="0">
                  <a:pos x="258" y="220"/>
                </a:cxn>
                <a:cxn ang="0">
                  <a:pos x="122" y="255"/>
                </a:cxn>
                <a:cxn ang="0">
                  <a:pos x="93" y="286"/>
                </a:cxn>
                <a:cxn ang="0">
                  <a:pos x="72" y="314"/>
                </a:cxn>
                <a:cxn ang="0">
                  <a:pos x="59" y="345"/>
                </a:cxn>
                <a:cxn ang="0">
                  <a:pos x="47" y="358"/>
                </a:cxn>
                <a:cxn ang="0">
                  <a:pos x="39" y="384"/>
                </a:cxn>
                <a:cxn ang="0">
                  <a:pos x="29" y="410"/>
                </a:cxn>
                <a:cxn ang="0">
                  <a:pos x="19" y="419"/>
                </a:cxn>
                <a:cxn ang="0">
                  <a:pos x="10" y="458"/>
                </a:cxn>
                <a:cxn ang="0">
                  <a:pos x="2" y="490"/>
                </a:cxn>
                <a:cxn ang="0">
                  <a:pos x="3" y="566"/>
                </a:cxn>
                <a:cxn ang="0">
                  <a:pos x="20" y="626"/>
                </a:cxn>
              </a:cxnLst>
              <a:rect l="0" t="0" r="r" b="b"/>
              <a:pathLst>
                <a:path w="1277" h="1011">
                  <a:moveTo>
                    <a:pt x="31" y="688"/>
                  </a:moveTo>
                  <a:lnTo>
                    <a:pt x="43" y="687"/>
                  </a:lnTo>
                  <a:lnTo>
                    <a:pt x="53" y="685"/>
                  </a:lnTo>
                  <a:lnTo>
                    <a:pt x="53" y="674"/>
                  </a:lnTo>
                  <a:lnTo>
                    <a:pt x="71" y="675"/>
                  </a:lnTo>
                  <a:lnTo>
                    <a:pt x="96" y="680"/>
                  </a:lnTo>
                  <a:lnTo>
                    <a:pt x="126" y="687"/>
                  </a:lnTo>
                  <a:lnTo>
                    <a:pt x="161" y="696"/>
                  </a:lnTo>
                  <a:lnTo>
                    <a:pt x="200" y="707"/>
                  </a:lnTo>
                  <a:lnTo>
                    <a:pt x="240" y="719"/>
                  </a:lnTo>
                  <a:lnTo>
                    <a:pt x="282" y="733"/>
                  </a:lnTo>
                  <a:lnTo>
                    <a:pt x="326" y="749"/>
                  </a:lnTo>
                  <a:lnTo>
                    <a:pt x="367" y="765"/>
                  </a:lnTo>
                  <a:lnTo>
                    <a:pt x="407" y="781"/>
                  </a:lnTo>
                  <a:lnTo>
                    <a:pt x="444" y="799"/>
                  </a:lnTo>
                  <a:lnTo>
                    <a:pt x="477" y="816"/>
                  </a:lnTo>
                  <a:lnTo>
                    <a:pt x="491" y="825"/>
                  </a:lnTo>
                  <a:lnTo>
                    <a:pt x="503" y="834"/>
                  </a:lnTo>
                  <a:lnTo>
                    <a:pt x="515" y="842"/>
                  </a:lnTo>
                  <a:lnTo>
                    <a:pt x="525" y="851"/>
                  </a:lnTo>
                  <a:lnTo>
                    <a:pt x="532" y="858"/>
                  </a:lnTo>
                  <a:lnTo>
                    <a:pt x="538" y="866"/>
                  </a:lnTo>
                  <a:lnTo>
                    <a:pt x="541" y="874"/>
                  </a:lnTo>
                  <a:lnTo>
                    <a:pt x="542" y="882"/>
                  </a:lnTo>
                  <a:lnTo>
                    <a:pt x="560" y="882"/>
                  </a:lnTo>
                  <a:lnTo>
                    <a:pt x="577" y="883"/>
                  </a:lnTo>
                  <a:lnTo>
                    <a:pt x="594" y="885"/>
                  </a:lnTo>
                  <a:lnTo>
                    <a:pt x="611" y="887"/>
                  </a:lnTo>
                  <a:lnTo>
                    <a:pt x="644" y="893"/>
                  </a:lnTo>
                  <a:lnTo>
                    <a:pt x="676" y="901"/>
                  </a:lnTo>
                  <a:lnTo>
                    <a:pt x="708" y="910"/>
                  </a:lnTo>
                  <a:lnTo>
                    <a:pt x="737" y="920"/>
                  </a:lnTo>
                  <a:lnTo>
                    <a:pt x="766" y="930"/>
                  </a:lnTo>
                  <a:lnTo>
                    <a:pt x="794" y="941"/>
                  </a:lnTo>
                  <a:lnTo>
                    <a:pt x="838" y="960"/>
                  </a:lnTo>
                  <a:lnTo>
                    <a:pt x="874" y="978"/>
                  </a:lnTo>
                  <a:lnTo>
                    <a:pt x="890" y="987"/>
                  </a:lnTo>
                  <a:lnTo>
                    <a:pt x="902" y="995"/>
                  </a:lnTo>
                  <a:lnTo>
                    <a:pt x="913" y="1004"/>
                  </a:lnTo>
                  <a:lnTo>
                    <a:pt x="922" y="1011"/>
                  </a:lnTo>
                  <a:lnTo>
                    <a:pt x="938" y="995"/>
                  </a:lnTo>
                  <a:lnTo>
                    <a:pt x="949" y="980"/>
                  </a:lnTo>
                  <a:lnTo>
                    <a:pt x="957" y="971"/>
                  </a:lnTo>
                  <a:lnTo>
                    <a:pt x="959" y="966"/>
                  </a:lnTo>
                  <a:lnTo>
                    <a:pt x="964" y="964"/>
                  </a:lnTo>
                  <a:lnTo>
                    <a:pt x="969" y="964"/>
                  </a:lnTo>
                  <a:lnTo>
                    <a:pt x="973" y="962"/>
                  </a:lnTo>
                  <a:lnTo>
                    <a:pt x="978" y="960"/>
                  </a:lnTo>
                  <a:lnTo>
                    <a:pt x="987" y="954"/>
                  </a:lnTo>
                  <a:lnTo>
                    <a:pt x="995" y="949"/>
                  </a:lnTo>
                  <a:lnTo>
                    <a:pt x="1001" y="942"/>
                  </a:lnTo>
                  <a:lnTo>
                    <a:pt x="1008" y="938"/>
                  </a:lnTo>
                  <a:lnTo>
                    <a:pt x="1014" y="933"/>
                  </a:lnTo>
                  <a:lnTo>
                    <a:pt x="1019" y="932"/>
                  </a:lnTo>
                  <a:lnTo>
                    <a:pt x="1019" y="923"/>
                  </a:lnTo>
                  <a:lnTo>
                    <a:pt x="1017" y="913"/>
                  </a:lnTo>
                  <a:lnTo>
                    <a:pt x="1016" y="903"/>
                  </a:lnTo>
                  <a:lnTo>
                    <a:pt x="1012" y="892"/>
                  </a:lnTo>
                  <a:lnTo>
                    <a:pt x="1007" y="871"/>
                  </a:lnTo>
                  <a:lnTo>
                    <a:pt x="999" y="851"/>
                  </a:lnTo>
                  <a:lnTo>
                    <a:pt x="986" y="816"/>
                  </a:lnTo>
                  <a:lnTo>
                    <a:pt x="979" y="798"/>
                  </a:lnTo>
                  <a:lnTo>
                    <a:pt x="966" y="798"/>
                  </a:lnTo>
                  <a:lnTo>
                    <a:pt x="963" y="795"/>
                  </a:lnTo>
                  <a:lnTo>
                    <a:pt x="959" y="784"/>
                  </a:lnTo>
                  <a:lnTo>
                    <a:pt x="954" y="770"/>
                  </a:lnTo>
                  <a:lnTo>
                    <a:pt x="952" y="759"/>
                  </a:lnTo>
                  <a:lnTo>
                    <a:pt x="966" y="759"/>
                  </a:lnTo>
                  <a:lnTo>
                    <a:pt x="967" y="752"/>
                  </a:lnTo>
                  <a:lnTo>
                    <a:pt x="969" y="749"/>
                  </a:lnTo>
                  <a:lnTo>
                    <a:pt x="972" y="747"/>
                  </a:lnTo>
                  <a:lnTo>
                    <a:pt x="976" y="746"/>
                  </a:lnTo>
                  <a:lnTo>
                    <a:pt x="979" y="746"/>
                  </a:lnTo>
                  <a:lnTo>
                    <a:pt x="982" y="745"/>
                  </a:lnTo>
                  <a:lnTo>
                    <a:pt x="984" y="742"/>
                  </a:lnTo>
                  <a:lnTo>
                    <a:pt x="986" y="739"/>
                  </a:lnTo>
                  <a:lnTo>
                    <a:pt x="990" y="739"/>
                  </a:lnTo>
                  <a:lnTo>
                    <a:pt x="995" y="738"/>
                  </a:lnTo>
                  <a:lnTo>
                    <a:pt x="997" y="737"/>
                  </a:lnTo>
                  <a:lnTo>
                    <a:pt x="998" y="736"/>
                  </a:lnTo>
                  <a:lnTo>
                    <a:pt x="999" y="735"/>
                  </a:lnTo>
                  <a:lnTo>
                    <a:pt x="999" y="732"/>
                  </a:lnTo>
                  <a:lnTo>
                    <a:pt x="1016" y="732"/>
                  </a:lnTo>
                  <a:lnTo>
                    <a:pt x="1040" y="733"/>
                  </a:lnTo>
                  <a:lnTo>
                    <a:pt x="1053" y="736"/>
                  </a:lnTo>
                  <a:lnTo>
                    <a:pt x="1063" y="738"/>
                  </a:lnTo>
                  <a:lnTo>
                    <a:pt x="1067" y="739"/>
                  </a:lnTo>
                  <a:lnTo>
                    <a:pt x="1069" y="741"/>
                  </a:lnTo>
                  <a:lnTo>
                    <a:pt x="1072" y="744"/>
                  </a:lnTo>
                  <a:lnTo>
                    <a:pt x="1073" y="746"/>
                  </a:lnTo>
                  <a:lnTo>
                    <a:pt x="1082" y="748"/>
                  </a:lnTo>
                  <a:lnTo>
                    <a:pt x="1095" y="752"/>
                  </a:lnTo>
                  <a:lnTo>
                    <a:pt x="1102" y="756"/>
                  </a:lnTo>
                  <a:lnTo>
                    <a:pt x="1107" y="759"/>
                  </a:lnTo>
                  <a:lnTo>
                    <a:pt x="1111" y="762"/>
                  </a:lnTo>
                  <a:lnTo>
                    <a:pt x="1113" y="766"/>
                  </a:lnTo>
                  <a:lnTo>
                    <a:pt x="1125" y="766"/>
                  </a:lnTo>
                  <a:lnTo>
                    <a:pt x="1127" y="770"/>
                  </a:lnTo>
                  <a:lnTo>
                    <a:pt x="1131" y="776"/>
                  </a:lnTo>
                  <a:lnTo>
                    <a:pt x="1136" y="780"/>
                  </a:lnTo>
                  <a:lnTo>
                    <a:pt x="1142" y="785"/>
                  </a:lnTo>
                  <a:lnTo>
                    <a:pt x="1149" y="789"/>
                  </a:lnTo>
                  <a:lnTo>
                    <a:pt x="1154" y="793"/>
                  </a:lnTo>
                  <a:lnTo>
                    <a:pt x="1158" y="796"/>
                  </a:lnTo>
                  <a:lnTo>
                    <a:pt x="1159" y="798"/>
                  </a:lnTo>
                  <a:lnTo>
                    <a:pt x="1179" y="798"/>
                  </a:lnTo>
                  <a:lnTo>
                    <a:pt x="1180" y="803"/>
                  </a:lnTo>
                  <a:lnTo>
                    <a:pt x="1183" y="805"/>
                  </a:lnTo>
                  <a:lnTo>
                    <a:pt x="1187" y="807"/>
                  </a:lnTo>
                  <a:lnTo>
                    <a:pt x="1192" y="808"/>
                  </a:lnTo>
                  <a:lnTo>
                    <a:pt x="1207" y="809"/>
                  </a:lnTo>
                  <a:lnTo>
                    <a:pt x="1222" y="809"/>
                  </a:lnTo>
                  <a:lnTo>
                    <a:pt x="1252" y="807"/>
                  </a:lnTo>
                  <a:lnTo>
                    <a:pt x="1266" y="805"/>
                  </a:lnTo>
                  <a:lnTo>
                    <a:pt x="1273" y="798"/>
                  </a:lnTo>
                  <a:lnTo>
                    <a:pt x="1273" y="786"/>
                  </a:lnTo>
                  <a:lnTo>
                    <a:pt x="1271" y="762"/>
                  </a:lnTo>
                  <a:lnTo>
                    <a:pt x="1270" y="751"/>
                  </a:lnTo>
                  <a:lnTo>
                    <a:pt x="1269" y="741"/>
                  </a:lnTo>
                  <a:lnTo>
                    <a:pt x="1268" y="735"/>
                  </a:lnTo>
                  <a:lnTo>
                    <a:pt x="1266" y="732"/>
                  </a:lnTo>
                  <a:lnTo>
                    <a:pt x="1267" y="713"/>
                  </a:lnTo>
                  <a:lnTo>
                    <a:pt x="1268" y="685"/>
                  </a:lnTo>
                  <a:lnTo>
                    <a:pt x="1271" y="652"/>
                  </a:lnTo>
                  <a:lnTo>
                    <a:pt x="1274" y="616"/>
                  </a:lnTo>
                  <a:lnTo>
                    <a:pt x="1276" y="582"/>
                  </a:lnTo>
                  <a:lnTo>
                    <a:pt x="1277" y="553"/>
                  </a:lnTo>
                  <a:lnTo>
                    <a:pt x="1277" y="541"/>
                  </a:lnTo>
                  <a:lnTo>
                    <a:pt x="1276" y="533"/>
                  </a:lnTo>
                  <a:lnTo>
                    <a:pt x="1275" y="527"/>
                  </a:lnTo>
                  <a:lnTo>
                    <a:pt x="1273" y="526"/>
                  </a:lnTo>
                  <a:lnTo>
                    <a:pt x="1273" y="520"/>
                  </a:lnTo>
                  <a:lnTo>
                    <a:pt x="1271" y="516"/>
                  </a:lnTo>
                  <a:lnTo>
                    <a:pt x="1270" y="515"/>
                  </a:lnTo>
                  <a:lnTo>
                    <a:pt x="1269" y="514"/>
                  </a:lnTo>
                  <a:lnTo>
                    <a:pt x="1268" y="512"/>
                  </a:lnTo>
                  <a:lnTo>
                    <a:pt x="1266" y="512"/>
                  </a:lnTo>
                  <a:lnTo>
                    <a:pt x="1266" y="499"/>
                  </a:lnTo>
                  <a:lnTo>
                    <a:pt x="1261" y="496"/>
                  </a:lnTo>
                  <a:lnTo>
                    <a:pt x="1252" y="489"/>
                  </a:lnTo>
                  <a:lnTo>
                    <a:pt x="1241" y="479"/>
                  </a:lnTo>
                  <a:lnTo>
                    <a:pt x="1230" y="466"/>
                  </a:lnTo>
                  <a:lnTo>
                    <a:pt x="1218" y="451"/>
                  </a:lnTo>
                  <a:lnTo>
                    <a:pt x="1209" y="437"/>
                  </a:lnTo>
                  <a:lnTo>
                    <a:pt x="1204" y="430"/>
                  </a:lnTo>
                  <a:lnTo>
                    <a:pt x="1201" y="423"/>
                  </a:lnTo>
                  <a:lnTo>
                    <a:pt x="1200" y="418"/>
                  </a:lnTo>
                  <a:lnTo>
                    <a:pt x="1199" y="412"/>
                  </a:lnTo>
                  <a:lnTo>
                    <a:pt x="1202" y="411"/>
                  </a:lnTo>
                  <a:lnTo>
                    <a:pt x="1207" y="406"/>
                  </a:lnTo>
                  <a:lnTo>
                    <a:pt x="1211" y="400"/>
                  </a:lnTo>
                  <a:lnTo>
                    <a:pt x="1217" y="392"/>
                  </a:lnTo>
                  <a:lnTo>
                    <a:pt x="1222" y="385"/>
                  </a:lnTo>
                  <a:lnTo>
                    <a:pt x="1228" y="379"/>
                  </a:lnTo>
                  <a:lnTo>
                    <a:pt x="1231" y="376"/>
                  </a:lnTo>
                  <a:lnTo>
                    <a:pt x="1233" y="374"/>
                  </a:lnTo>
                  <a:lnTo>
                    <a:pt x="1237" y="373"/>
                  </a:lnTo>
                  <a:lnTo>
                    <a:pt x="1239" y="372"/>
                  </a:lnTo>
                  <a:lnTo>
                    <a:pt x="1240" y="366"/>
                  </a:lnTo>
                  <a:lnTo>
                    <a:pt x="1242" y="361"/>
                  </a:lnTo>
                  <a:lnTo>
                    <a:pt x="1246" y="354"/>
                  </a:lnTo>
                  <a:lnTo>
                    <a:pt x="1250" y="347"/>
                  </a:lnTo>
                  <a:lnTo>
                    <a:pt x="1255" y="342"/>
                  </a:lnTo>
                  <a:lnTo>
                    <a:pt x="1259" y="336"/>
                  </a:lnTo>
                  <a:lnTo>
                    <a:pt x="1262" y="334"/>
                  </a:lnTo>
                  <a:lnTo>
                    <a:pt x="1266" y="332"/>
                  </a:lnTo>
                  <a:lnTo>
                    <a:pt x="1266" y="324"/>
                  </a:lnTo>
                  <a:lnTo>
                    <a:pt x="1265" y="313"/>
                  </a:lnTo>
                  <a:lnTo>
                    <a:pt x="1264" y="307"/>
                  </a:lnTo>
                  <a:lnTo>
                    <a:pt x="1262" y="303"/>
                  </a:lnTo>
                  <a:lnTo>
                    <a:pt x="1261" y="300"/>
                  </a:lnTo>
                  <a:lnTo>
                    <a:pt x="1259" y="299"/>
                  </a:lnTo>
                  <a:lnTo>
                    <a:pt x="1259" y="286"/>
                  </a:lnTo>
                  <a:lnTo>
                    <a:pt x="1246" y="276"/>
                  </a:lnTo>
                  <a:lnTo>
                    <a:pt x="1232" y="266"/>
                  </a:lnTo>
                  <a:lnTo>
                    <a:pt x="1232" y="260"/>
                  </a:lnTo>
                  <a:lnTo>
                    <a:pt x="1231" y="257"/>
                  </a:lnTo>
                  <a:lnTo>
                    <a:pt x="1231" y="255"/>
                  </a:lnTo>
                  <a:lnTo>
                    <a:pt x="1229" y="254"/>
                  </a:lnTo>
                  <a:lnTo>
                    <a:pt x="1228" y="252"/>
                  </a:lnTo>
                  <a:lnTo>
                    <a:pt x="1226" y="252"/>
                  </a:lnTo>
                  <a:lnTo>
                    <a:pt x="1226" y="247"/>
                  </a:lnTo>
                  <a:lnTo>
                    <a:pt x="1225" y="244"/>
                  </a:lnTo>
                  <a:lnTo>
                    <a:pt x="1225" y="241"/>
                  </a:lnTo>
                  <a:lnTo>
                    <a:pt x="1223" y="240"/>
                  </a:lnTo>
                  <a:lnTo>
                    <a:pt x="1221" y="239"/>
                  </a:lnTo>
                  <a:lnTo>
                    <a:pt x="1219" y="239"/>
                  </a:lnTo>
                  <a:lnTo>
                    <a:pt x="1219" y="221"/>
                  </a:lnTo>
                  <a:lnTo>
                    <a:pt x="1218" y="194"/>
                  </a:lnTo>
                  <a:lnTo>
                    <a:pt x="1218" y="181"/>
                  </a:lnTo>
                  <a:lnTo>
                    <a:pt x="1217" y="170"/>
                  </a:lnTo>
                  <a:lnTo>
                    <a:pt x="1214" y="162"/>
                  </a:lnTo>
                  <a:lnTo>
                    <a:pt x="1212" y="159"/>
                  </a:lnTo>
                  <a:lnTo>
                    <a:pt x="1211" y="152"/>
                  </a:lnTo>
                  <a:lnTo>
                    <a:pt x="1207" y="143"/>
                  </a:lnTo>
                  <a:lnTo>
                    <a:pt x="1201" y="132"/>
                  </a:lnTo>
                  <a:lnTo>
                    <a:pt x="1194" y="120"/>
                  </a:lnTo>
                  <a:lnTo>
                    <a:pt x="1177" y="93"/>
                  </a:lnTo>
                  <a:lnTo>
                    <a:pt x="1158" y="68"/>
                  </a:lnTo>
                  <a:lnTo>
                    <a:pt x="1125" y="73"/>
                  </a:lnTo>
                  <a:lnTo>
                    <a:pt x="1095" y="75"/>
                  </a:lnTo>
                  <a:lnTo>
                    <a:pt x="1082" y="75"/>
                  </a:lnTo>
                  <a:lnTo>
                    <a:pt x="1068" y="75"/>
                  </a:lnTo>
                  <a:lnTo>
                    <a:pt x="1055" y="75"/>
                  </a:lnTo>
                  <a:lnTo>
                    <a:pt x="1044" y="74"/>
                  </a:lnTo>
                  <a:lnTo>
                    <a:pt x="1024" y="71"/>
                  </a:lnTo>
                  <a:lnTo>
                    <a:pt x="1003" y="65"/>
                  </a:lnTo>
                  <a:lnTo>
                    <a:pt x="984" y="59"/>
                  </a:lnTo>
                  <a:lnTo>
                    <a:pt x="967" y="54"/>
                  </a:lnTo>
                  <a:lnTo>
                    <a:pt x="932" y="39"/>
                  </a:lnTo>
                  <a:lnTo>
                    <a:pt x="901" y="25"/>
                  </a:lnTo>
                  <a:lnTo>
                    <a:pt x="885" y="19"/>
                  </a:lnTo>
                  <a:lnTo>
                    <a:pt x="871" y="12"/>
                  </a:lnTo>
                  <a:lnTo>
                    <a:pt x="856" y="8"/>
                  </a:lnTo>
                  <a:lnTo>
                    <a:pt x="842" y="4"/>
                  </a:lnTo>
                  <a:lnTo>
                    <a:pt x="828" y="1"/>
                  </a:lnTo>
                  <a:lnTo>
                    <a:pt x="814" y="0"/>
                  </a:lnTo>
                  <a:lnTo>
                    <a:pt x="800" y="1"/>
                  </a:lnTo>
                  <a:lnTo>
                    <a:pt x="787" y="5"/>
                  </a:lnTo>
                  <a:lnTo>
                    <a:pt x="767" y="11"/>
                  </a:lnTo>
                  <a:lnTo>
                    <a:pt x="747" y="21"/>
                  </a:lnTo>
                  <a:lnTo>
                    <a:pt x="728" y="33"/>
                  </a:lnTo>
                  <a:lnTo>
                    <a:pt x="709" y="45"/>
                  </a:lnTo>
                  <a:lnTo>
                    <a:pt x="671" y="74"/>
                  </a:lnTo>
                  <a:lnTo>
                    <a:pt x="633" y="105"/>
                  </a:lnTo>
                  <a:lnTo>
                    <a:pt x="614" y="121"/>
                  </a:lnTo>
                  <a:lnTo>
                    <a:pt x="595" y="135"/>
                  </a:lnTo>
                  <a:lnTo>
                    <a:pt x="576" y="150"/>
                  </a:lnTo>
                  <a:lnTo>
                    <a:pt x="557" y="163"/>
                  </a:lnTo>
                  <a:lnTo>
                    <a:pt x="538" y="174"/>
                  </a:lnTo>
                  <a:lnTo>
                    <a:pt x="519" y="184"/>
                  </a:lnTo>
                  <a:lnTo>
                    <a:pt x="509" y="189"/>
                  </a:lnTo>
                  <a:lnTo>
                    <a:pt x="499" y="192"/>
                  </a:lnTo>
                  <a:lnTo>
                    <a:pt x="490" y="196"/>
                  </a:lnTo>
                  <a:lnTo>
                    <a:pt x="480" y="198"/>
                  </a:lnTo>
                  <a:lnTo>
                    <a:pt x="435" y="206"/>
                  </a:lnTo>
                  <a:lnTo>
                    <a:pt x="391" y="211"/>
                  </a:lnTo>
                  <a:lnTo>
                    <a:pt x="346" y="216"/>
                  </a:lnTo>
                  <a:lnTo>
                    <a:pt x="302" y="219"/>
                  </a:lnTo>
                  <a:lnTo>
                    <a:pt x="258" y="220"/>
                  </a:lnTo>
                  <a:lnTo>
                    <a:pt x="213" y="220"/>
                  </a:lnTo>
                  <a:lnTo>
                    <a:pt x="168" y="220"/>
                  </a:lnTo>
                  <a:lnTo>
                    <a:pt x="124" y="219"/>
                  </a:lnTo>
                  <a:lnTo>
                    <a:pt x="123" y="237"/>
                  </a:lnTo>
                  <a:lnTo>
                    <a:pt x="122" y="255"/>
                  </a:lnTo>
                  <a:lnTo>
                    <a:pt x="119" y="267"/>
                  </a:lnTo>
                  <a:lnTo>
                    <a:pt x="119" y="273"/>
                  </a:lnTo>
                  <a:lnTo>
                    <a:pt x="113" y="279"/>
                  </a:lnTo>
                  <a:lnTo>
                    <a:pt x="99" y="279"/>
                  </a:lnTo>
                  <a:lnTo>
                    <a:pt x="93" y="286"/>
                  </a:lnTo>
                  <a:lnTo>
                    <a:pt x="86" y="293"/>
                  </a:lnTo>
                  <a:lnTo>
                    <a:pt x="79" y="299"/>
                  </a:lnTo>
                  <a:lnTo>
                    <a:pt x="78" y="305"/>
                  </a:lnTo>
                  <a:lnTo>
                    <a:pt x="75" y="312"/>
                  </a:lnTo>
                  <a:lnTo>
                    <a:pt x="72" y="314"/>
                  </a:lnTo>
                  <a:lnTo>
                    <a:pt x="70" y="317"/>
                  </a:lnTo>
                  <a:lnTo>
                    <a:pt x="68" y="318"/>
                  </a:lnTo>
                  <a:lnTo>
                    <a:pt x="66" y="319"/>
                  </a:lnTo>
                  <a:lnTo>
                    <a:pt x="62" y="332"/>
                  </a:lnTo>
                  <a:lnTo>
                    <a:pt x="59" y="345"/>
                  </a:lnTo>
                  <a:lnTo>
                    <a:pt x="56" y="346"/>
                  </a:lnTo>
                  <a:lnTo>
                    <a:pt x="53" y="347"/>
                  </a:lnTo>
                  <a:lnTo>
                    <a:pt x="51" y="350"/>
                  </a:lnTo>
                  <a:lnTo>
                    <a:pt x="49" y="352"/>
                  </a:lnTo>
                  <a:lnTo>
                    <a:pt x="47" y="358"/>
                  </a:lnTo>
                  <a:lnTo>
                    <a:pt x="46" y="365"/>
                  </a:lnTo>
                  <a:lnTo>
                    <a:pt x="45" y="373"/>
                  </a:lnTo>
                  <a:lnTo>
                    <a:pt x="42" y="380"/>
                  </a:lnTo>
                  <a:lnTo>
                    <a:pt x="40" y="382"/>
                  </a:lnTo>
                  <a:lnTo>
                    <a:pt x="39" y="384"/>
                  </a:lnTo>
                  <a:lnTo>
                    <a:pt x="36" y="385"/>
                  </a:lnTo>
                  <a:lnTo>
                    <a:pt x="32" y="385"/>
                  </a:lnTo>
                  <a:lnTo>
                    <a:pt x="32" y="393"/>
                  </a:lnTo>
                  <a:lnTo>
                    <a:pt x="31" y="404"/>
                  </a:lnTo>
                  <a:lnTo>
                    <a:pt x="29" y="410"/>
                  </a:lnTo>
                  <a:lnTo>
                    <a:pt x="27" y="414"/>
                  </a:lnTo>
                  <a:lnTo>
                    <a:pt x="26" y="416"/>
                  </a:lnTo>
                  <a:lnTo>
                    <a:pt x="23" y="418"/>
                  </a:lnTo>
                  <a:lnTo>
                    <a:pt x="21" y="419"/>
                  </a:lnTo>
                  <a:lnTo>
                    <a:pt x="19" y="419"/>
                  </a:lnTo>
                  <a:lnTo>
                    <a:pt x="19" y="427"/>
                  </a:lnTo>
                  <a:lnTo>
                    <a:pt x="17" y="434"/>
                  </a:lnTo>
                  <a:lnTo>
                    <a:pt x="14" y="442"/>
                  </a:lnTo>
                  <a:lnTo>
                    <a:pt x="12" y="450"/>
                  </a:lnTo>
                  <a:lnTo>
                    <a:pt x="10" y="458"/>
                  </a:lnTo>
                  <a:lnTo>
                    <a:pt x="8" y="467"/>
                  </a:lnTo>
                  <a:lnTo>
                    <a:pt x="7" y="476"/>
                  </a:lnTo>
                  <a:lnTo>
                    <a:pt x="5" y="486"/>
                  </a:lnTo>
                  <a:lnTo>
                    <a:pt x="3" y="487"/>
                  </a:lnTo>
                  <a:lnTo>
                    <a:pt x="2" y="490"/>
                  </a:lnTo>
                  <a:lnTo>
                    <a:pt x="1" y="496"/>
                  </a:lnTo>
                  <a:lnTo>
                    <a:pt x="0" y="504"/>
                  </a:lnTo>
                  <a:lnTo>
                    <a:pt x="0" y="523"/>
                  </a:lnTo>
                  <a:lnTo>
                    <a:pt x="1" y="544"/>
                  </a:lnTo>
                  <a:lnTo>
                    <a:pt x="3" y="566"/>
                  </a:lnTo>
                  <a:lnTo>
                    <a:pt x="7" y="587"/>
                  </a:lnTo>
                  <a:lnTo>
                    <a:pt x="10" y="603"/>
                  </a:lnTo>
                  <a:lnTo>
                    <a:pt x="12" y="612"/>
                  </a:lnTo>
                  <a:lnTo>
                    <a:pt x="17" y="619"/>
                  </a:lnTo>
                  <a:lnTo>
                    <a:pt x="20" y="626"/>
                  </a:lnTo>
                  <a:lnTo>
                    <a:pt x="22" y="634"/>
                  </a:lnTo>
                  <a:lnTo>
                    <a:pt x="26" y="644"/>
                  </a:lnTo>
                  <a:lnTo>
                    <a:pt x="29" y="664"/>
                  </a:lnTo>
                  <a:lnTo>
                    <a:pt x="31" y="6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D9AC0F3F-0D9A-40B0-9BD4-F4137244DF4D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202613" y="5186363"/>
              <a:ext cx="282575" cy="212202"/>
            </a:xfrm>
            <a:custGeom>
              <a:avLst/>
              <a:gdLst/>
              <a:ahLst/>
              <a:cxnLst>
                <a:cxn ang="0">
                  <a:pos x="28" y="1028"/>
                </a:cxn>
                <a:cxn ang="0">
                  <a:pos x="25" y="1256"/>
                </a:cxn>
                <a:cxn ang="0">
                  <a:pos x="38" y="1310"/>
                </a:cxn>
                <a:cxn ang="0">
                  <a:pos x="200" y="1207"/>
                </a:cxn>
                <a:cxn ang="0">
                  <a:pos x="263" y="1196"/>
                </a:cxn>
                <a:cxn ang="0">
                  <a:pos x="310" y="1273"/>
                </a:cxn>
                <a:cxn ang="0">
                  <a:pos x="356" y="1322"/>
                </a:cxn>
                <a:cxn ang="0">
                  <a:pos x="422" y="1296"/>
                </a:cxn>
                <a:cxn ang="0">
                  <a:pos x="570" y="1193"/>
                </a:cxn>
                <a:cxn ang="0">
                  <a:pos x="843" y="1185"/>
                </a:cxn>
                <a:cxn ang="0">
                  <a:pos x="1040" y="1176"/>
                </a:cxn>
                <a:cxn ang="0">
                  <a:pos x="1119" y="1111"/>
                </a:cxn>
                <a:cxn ang="0">
                  <a:pos x="1273" y="1082"/>
                </a:cxn>
                <a:cxn ang="0">
                  <a:pos x="1517" y="1002"/>
                </a:cxn>
                <a:cxn ang="0">
                  <a:pos x="1482" y="920"/>
                </a:cxn>
                <a:cxn ang="0">
                  <a:pos x="1463" y="896"/>
                </a:cxn>
                <a:cxn ang="0">
                  <a:pos x="1437" y="842"/>
                </a:cxn>
                <a:cxn ang="0">
                  <a:pos x="1395" y="762"/>
                </a:cxn>
                <a:cxn ang="0">
                  <a:pos x="1404" y="645"/>
                </a:cxn>
                <a:cxn ang="0">
                  <a:pos x="1434" y="610"/>
                </a:cxn>
                <a:cxn ang="0">
                  <a:pos x="1452" y="590"/>
                </a:cxn>
                <a:cxn ang="0">
                  <a:pos x="1491" y="532"/>
                </a:cxn>
                <a:cxn ang="0">
                  <a:pos x="1506" y="496"/>
                </a:cxn>
                <a:cxn ang="0">
                  <a:pos x="1524" y="367"/>
                </a:cxn>
                <a:cxn ang="0">
                  <a:pos x="1506" y="305"/>
                </a:cxn>
                <a:cxn ang="0">
                  <a:pos x="1440" y="260"/>
                </a:cxn>
                <a:cxn ang="0">
                  <a:pos x="1256" y="293"/>
                </a:cxn>
                <a:cxn ang="0">
                  <a:pos x="1152" y="264"/>
                </a:cxn>
                <a:cxn ang="0">
                  <a:pos x="875" y="248"/>
                </a:cxn>
                <a:cxn ang="0">
                  <a:pos x="691" y="221"/>
                </a:cxn>
                <a:cxn ang="0">
                  <a:pos x="587" y="137"/>
                </a:cxn>
                <a:cxn ang="0">
                  <a:pos x="558" y="46"/>
                </a:cxn>
                <a:cxn ang="0">
                  <a:pos x="496" y="3"/>
                </a:cxn>
                <a:cxn ang="0">
                  <a:pos x="343" y="11"/>
                </a:cxn>
                <a:cxn ang="0">
                  <a:pos x="285" y="100"/>
                </a:cxn>
                <a:cxn ang="0">
                  <a:pos x="297" y="178"/>
                </a:cxn>
                <a:cxn ang="0">
                  <a:pos x="304" y="209"/>
                </a:cxn>
                <a:cxn ang="0">
                  <a:pos x="324" y="233"/>
                </a:cxn>
                <a:cxn ang="0">
                  <a:pos x="344" y="281"/>
                </a:cxn>
                <a:cxn ang="0">
                  <a:pos x="320" y="318"/>
                </a:cxn>
                <a:cxn ang="0">
                  <a:pos x="300" y="342"/>
                </a:cxn>
                <a:cxn ang="0">
                  <a:pos x="279" y="380"/>
                </a:cxn>
                <a:cxn ang="0">
                  <a:pos x="339" y="453"/>
                </a:cxn>
                <a:cxn ang="0">
                  <a:pos x="351" y="477"/>
                </a:cxn>
                <a:cxn ang="0">
                  <a:pos x="352" y="573"/>
                </a:cxn>
                <a:cxn ang="0">
                  <a:pos x="348" y="708"/>
                </a:cxn>
                <a:cxn ang="0">
                  <a:pos x="285" y="766"/>
                </a:cxn>
                <a:cxn ang="0">
                  <a:pos x="236" y="753"/>
                </a:cxn>
                <a:cxn ang="0">
                  <a:pos x="203" y="723"/>
                </a:cxn>
                <a:cxn ang="0">
                  <a:pos x="151" y="703"/>
                </a:cxn>
                <a:cxn ang="0">
                  <a:pos x="94" y="689"/>
                </a:cxn>
                <a:cxn ang="0">
                  <a:pos x="64" y="696"/>
                </a:cxn>
                <a:cxn ang="0">
                  <a:pos x="45" y="709"/>
                </a:cxn>
                <a:cxn ang="0">
                  <a:pos x="57" y="755"/>
                </a:cxn>
                <a:cxn ang="0">
                  <a:pos x="97" y="880"/>
                </a:cxn>
                <a:cxn ang="0">
                  <a:pos x="56" y="917"/>
                </a:cxn>
                <a:cxn ang="0">
                  <a:pos x="16" y="952"/>
                </a:cxn>
              </a:cxnLst>
              <a:rect l="0" t="0" r="r" b="b"/>
              <a:pathLst>
                <a:path w="1561" h="1322">
                  <a:moveTo>
                    <a:pt x="0" y="968"/>
                  </a:moveTo>
                  <a:lnTo>
                    <a:pt x="8" y="977"/>
                  </a:lnTo>
                  <a:lnTo>
                    <a:pt x="14" y="986"/>
                  </a:lnTo>
                  <a:lnTo>
                    <a:pt x="19" y="995"/>
                  </a:lnTo>
                  <a:lnTo>
                    <a:pt x="23" y="1005"/>
                  </a:lnTo>
                  <a:lnTo>
                    <a:pt x="26" y="1016"/>
                  </a:lnTo>
                  <a:lnTo>
                    <a:pt x="28" y="1028"/>
                  </a:lnTo>
                  <a:lnTo>
                    <a:pt x="29" y="1040"/>
                  </a:lnTo>
                  <a:lnTo>
                    <a:pt x="29" y="1053"/>
                  </a:lnTo>
                  <a:lnTo>
                    <a:pt x="29" y="1084"/>
                  </a:lnTo>
                  <a:lnTo>
                    <a:pt x="28" y="1121"/>
                  </a:lnTo>
                  <a:lnTo>
                    <a:pt x="26" y="1165"/>
                  </a:lnTo>
                  <a:lnTo>
                    <a:pt x="25" y="1215"/>
                  </a:lnTo>
                  <a:lnTo>
                    <a:pt x="25" y="1256"/>
                  </a:lnTo>
                  <a:lnTo>
                    <a:pt x="23" y="1285"/>
                  </a:lnTo>
                  <a:lnTo>
                    <a:pt x="23" y="1295"/>
                  </a:lnTo>
                  <a:lnTo>
                    <a:pt x="25" y="1303"/>
                  </a:lnTo>
                  <a:lnTo>
                    <a:pt x="26" y="1309"/>
                  </a:lnTo>
                  <a:lnTo>
                    <a:pt x="29" y="1311"/>
                  </a:lnTo>
                  <a:lnTo>
                    <a:pt x="32" y="1312"/>
                  </a:lnTo>
                  <a:lnTo>
                    <a:pt x="38" y="1310"/>
                  </a:lnTo>
                  <a:lnTo>
                    <a:pt x="45" y="1307"/>
                  </a:lnTo>
                  <a:lnTo>
                    <a:pt x="54" y="1301"/>
                  </a:lnTo>
                  <a:lnTo>
                    <a:pt x="78" y="1284"/>
                  </a:lnTo>
                  <a:lnTo>
                    <a:pt x="112" y="1261"/>
                  </a:lnTo>
                  <a:lnTo>
                    <a:pt x="147" y="1237"/>
                  </a:lnTo>
                  <a:lnTo>
                    <a:pt x="183" y="1216"/>
                  </a:lnTo>
                  <a:lnTo>
                    <a:pt x="200" y="1207"/>
                  </a:lnTo>
                  <a:lnTo>
                    <a:pt x="215" y="1200"/>
                  </a:lnTo>
                  <a:lnTo>
                    <a:pt x="230" y="1195"/>
                  </a:lnTo>
                  <a:lnTo>
                    <a:pt x="242" y="1193"/>
                  </a:lnTo>
                  <a:lnTo>
                    <a:pt x="248" y="1192"/>
                  </a:lnTo>
                  <a:lnTo>
                    <a:pt x="253" y="1193"/>
                  </a:lnTo>
                  <a:lnTo>
                    <a:pt x="258" y="1194"/>
                  </a:lnTo>
                  <a:lnTo>
                    <a:pt x="263" y="1196"/>
                  </a:lnTo>
                  <a:lnTo>
                    <a:pt x="268" y="1199"/>
                  </a:lnTo>
                  <a:lnTo>
                    <a:pt x="272" y="1204"/>
                  </a:lnTo>
                  <a:lnTo>
                    <a:pt x="277" y="1209"/>
                  </a:lnTo>
                  <a:lnTo>
                    <a:pt x="281" y="1215"/>
                  </a:lnTo>
                  <a:lnTo>
                    <a:pt x="290" y="1231"/>
                  </a:lnTo>
                  <a:lnTo>
                    <a:pt x="299" y="1250"/>
                  </a:lnTo>
                  <a:lnTo>
                    <a:pt x="310" y="1273"/>
                  </a:lnTo>
                  <a:lnTo>
                    <a:pt x="323" y="1300"/>
                  </a:lnTo>
                  <a:lnTo>
                    <a:pt x="327" y="1307"/>
                  </a:lnTo>
                  <a:lnTo>
                    <a:pt x="332" y="1312"/>
                  </a:lnTo>
                  <a:lnTo>
                    <a:pt x="337" y="1317"/>
                  </a:lnTo>
                  <a:lnTo>
                    <a:pt x="343" y="1320"/>
                  </a:lnTo>
                  <a:lnTo>
                    <a:pt x="349" y="1322"/>
                  </a:lnTo>
                  <a:lnTo>
                    <a:pt x="356" y="1322"/>
                  </a:lnTo>
                  <a:lnTo>
                    <a:pt x="363" y="1322"/>
                  </a:lnTo>
                  <a:lnTo>
                    <a:pt x="371" y="1321"/>
                  </a:lnTo>
                  <a:lnTo>
                    <a:pt x="378" y="1319"/>
                  </a:lnTo>
                  <a:lnTo>
                    <a:pt x="386" y="1315"/>
                  </a:lnTo>
                  <a:lnTo>
                    <a:pt x="395" y="1312"/>
                  </a:lnTo>
                  <a:lnTo>
                    <a:pt x="404" y="1308"/>
                  </a:lnTo>
                  <a:lnTo>
                    <a:pt x="422" y="1296"/>
                  </a:lnTo>
                  <a:lnTo>
                    <a:pt x="441" y="1284"/>
                  </a:lnTo>
                  <a:lnTo>
                    <a:pt x="478" y="1256"/>
                  </a:lnTo>
                  <a:lnTo>
                    <a:pt x="513" y="1228"/>
                  </a:lnTo>
                  <a:lnTo>
                    <a:pt x="530" y="1216"/>
                  </a:lnTo>
                  <a:lnTo>
                    <a:pt x="545" y="1206"/>
                  </a:lnTo>
                  <a:lnTo>
                    <a:pt x="558" y="1198"/>
                  </a:lnTo>
                  <a:lnTo>
                    <a:pt x="570" y="1193"/>
                  </a:lnTo>
                  <a:lnTo>
                    <a:pt x="591" y="1187"/>
                  </a:lnTo>
                  <a:lnTo>
                    <a:pt x="614" y="1184"/>
                  </a:lnTo>
                  <a:lnTo>
                    <a:pt x="639" y="1182"/>
                  </a:lnTo>
                  <a:lnTo>
                    <a:pt x="664" y="1180"/>
                  </a:lnTo>
                  <a:lnTo>
                    <a:pt x="721" y="1180"/>
                  </a:lnTo>
                  <a:lnTo>
                    <a:pt x="781" y="1183"/>
                  </a:lnTo>
                  <a:lnTo>
                    <a:pt x="843" y="1185"/>
                  </a:lnTo>
                  <a:lnTo>
                    <a:pt x="903" y="1187"/>
                  </a:lnTo>
                  <a:lnTo>
                    <a:pt x="932" y="1188"/>
                  </a:lnTo>
                  <a:lnTo>
                    <a:pt x="961" y="1187"/>
                  </a:lnTo>
                  <a:lnTo>
                    <a:pt x="988" y="1186"/>
                  </a:lnTo>
                  <a:lnTo>
                    <a:pt x="1014" y="1183"/>
                  </a:lnTo>
                  <a:lnTo>
                    <a:pt x="1028" y="1180"/>
                  </a:lnTo>
                  <a:lnTo>
                    <a:pt x="1040" y="1176"/>
                  </a:lnTo>
                  <a:lnTo>
                    <a:pt x="1052" y="1170"/>
                  </a:lnTo>
                  <a:lnTo>
                    <a:pt x="1062" y="1165"/>
                  </a:lnTo>
                  <a:lnTo>
                    <a:pt x="1078" y="1150"/>
                  </a:lnTo>
                  <a:lnTo>
                    <a:pt x="1094" y="1135"/>
                  </a:lnTo>
                  <a:lnTo>
                    <a:pt x="1102" y="1127"/>
                  </a:lnTo>
                  <a:lnTo>
                    <a:pt x="1110" y="1119"/>
                  </a:lnTo>
                  <a:lnTo>
                    <a:pt x="1119" y="1111"/>
                  </a:lnTo>
                  <a:lnTo>
                    <a:pt x="1127" y="1105"/>
                  </a:lnTo>
                  <a:lnTo>
                    <a:pt x="1139" y="1099"/>
                  </a:lnTo>
                  <a:lnTo>
                    <a:pt x="1150" y="1094"/>
                  </a:lnTo>
                  <a:lnTo>
                    <a:pt x="1163" y="1091"/>
                  </a:lnTo>
                  <a:lnTo>
                    <a:pt x="1179" y="1089"/>
                  </a:lnTo>
                  <a:lnTo>
                    <a:pt x="1226" y="1086"/>
                  </a:lnTo>
                  <a:lnTo>
                    <a:pt x="1273" y="1082"/>
                  </a:lnTo>
                  <a:lnTo>
                    <a:pt x="1321" y="1080"/>
                  </a:lnTo>
                  <a:lnTo>
                    <a:pt x="1369" y="1078"/>
                  </a:lnTo>
                  <a:lnTo>
                    <a:pt x="1417" y="1075"/>
                  </a:lnTo>
                  <a:lnTo>
                    <a:pt x="1465" y="1074"/>
                  </a:lnTo>
                  <a:lnTo>
                    <a:pt x="1513" y="1072"/>
                  </a:lnTo>
                  <a:lnTo>
                    <a:pt x="1561" y="1071"/>
                  </a:lnTo>
                  <a:lnTo>
                    <a:pt x="1517" y="1002"/>
                  </a:lnTo>
                  <a:lnTo>
                    <a:pt x="1516" y="992"/>
                  </a:lnTo>
                  <a:lnTo>
                    <a:pt x="1513" y="978"/>
                  </a:lnTo>
                  <a:lnTo>
                    <a:pt x="1508" y="965"/>
                  </a:lnTo>
                  <a:lnTo>
                    <a:pt x="1503" y="952"/>
                  </a:lnTo>
                  <a:lnTo>
                    <a:pt x="1496" y="939"/>
                  </a:lnTo>
                  <a:lnTo>
                    <a:pt x="1489" y="928"/>
                  </a:lnTo>
                  <a:lnTo>
                    <a:pt x="1482" y="920"/>
                  </a:lnTo>
                  <a:lnTo>
                    <a:pt x="1477" y="916"/>
                  </a:lnTo>
                  <a:lnTo>
                    <a:pt x="1476" y="910"/>
                  </a:lnTo>
                  <a:lnTo>
                    <a:pt x="1472" y="904"/>
                  </a:lnTo>
                  <a:lnTo>
                    <a:pt x="1471" y="900"/>
                  </a:lnTo>
                  <a:lnTo>
                    <a:pt x="1469" y="898"/>
                  </a:lnTo>
                  <a:lnTo>
                    <a:pt x="1466" y="896"/>
                  </a:lnTo>
                  <a:lnTo>
                    <a:pt x="1463" y="896"/>
                  </a:lnTo>
                  <a:lnTo>
                    <a:pt x="1462" y="892"/>
                  </a:lnTo>
                  <a:lnTo>
                    <a:pt x="1460" y="889"/>
                  </a:lnTo>
                  <a:lnTo>
                    <a:pt x="1457" y="884"/>
                  </a:lnTo>
                  <a:lnTo>
                    <a:pt x="1452" y="879"/>
                  </a:lnTo>
                  <a:lnTo>
                    <a:pt x="1444" y="869"/>
                  </a:lnTo>
                  <a:lnTo>
                    <a:pt x="1437" y="862"/>
                  </a:lnTo>
                  <a:lnTo>
                    <a:pt x="1437" y="842"/>
                  </a:lnTo>
                  <a:lnTo>
                    <a:pt x="1431" y="836"/>
                  </a:lnTo>
                  <a:lnTo>
                    <a:pt x="1423" y="825"/>
                  </a:lnTo>
                  <a:lnTo>
                    <a:pt x="1417" y="817"/>
                  </a:lnTo>
                  <a:lnTo>
                    <a:pt x="1410" y="809"/>
                  </a:lnTo>
                  <a:lnTo>
                    <a:pt x="1407" y="795"/>
                  </a:lnTo>
                  <a:lnTo>
                    <a:pt x="1400" y="773"/>
                  </a:lnTo>
                  <a:lnTo>
                    <a:pt x="1395" y="762"/>
                  </a:lnTo>
                  <a:lnTo>
                    <a:pt x="1391" y="752"/>
                  </a:lnTo>
                  <a:lnTo>
                    <a:pt x="1386" y="745"/>
                  </a:lnTo>
                  <a:lnTo>
                    <a:pt x="1384" y="743"/>
                  </a:lnTo>
                  <a:lnTo>
                    <a:pt x="1384" y="669"/>
                  </a:lnTo>
                  <a:lnTo>
                    <a:pt x="1393" y="659"/>
                  </a:lnTo>
                  <a:lnTo>
                    <a:pt x="1403" y="649"/>
                  </a:lnTo>
                  <a:lnTo>
                    <a:pt x="1404" y="645"/>
                  </a:lnTo>
                  <a:lnTo>
                    <a:pt x="1408" y="640"/>
                  </a:lnTo>
                  <a:lnTo>
                    <a:pt x="1412" y="637"/>
                  </a:lnTo>
                  <a:lnTo>
                    <a:pt x="1417" y="636"/>
                  </a:lnTo>
                  <a:lnTo>
                    <a:pt x="1417" y="622"/>
                  </a:lnTo>
                  <a:lnTo>
                    <a:pt x="1430" y="622"/>
                  </a:lnTo>
                  <a:lnTo>
                    <a:pt x="1431" y="617"/>
                  </a:lnTo>
                  <a:lnTo>
                    <a:pt x="1434" y="610"/>
                  </a:lnTo>
                  <a:lnTo>
                    <a:pt x="1437" y="607"/>
                  </a:lnTo>
                  <a:lnTo>
                    <a:pt x="1439" y="605"/>
                  </a:lnTo>
                  <a:lnTo>
                    <a:pt x="1441" y="603"/>
                  </a:lnTo>
                  <a:lnTo>
                    <a:pt x="1443" y="602"/>
                  </a:lnTo>
                  <a:lnTo>
                    <a:pt x="1444" y="598"/>
                  </a:lnTo>
                  <a:lnTo>
                    <a:pt x="1448" y="593"/>
                  </a:lnTo>
                  <a:lnTo>
                    <a:pt x="1452" y="590"/>
                  </a:lnTo>
                  <a:lnTo>
                    <a:pt x="1457" y="589"/>
                  </a:lnTo>
                  <a:lnTo>
                    <a:pt x="1463" y="582"/>
                  </a:lnTo>
                  <a:lnTo>
                    <a:pt x="1463" y="569"/>
                  </a:lnTo>
                  <a:lnTo>
                    <a:pt x="1490" y="542"/>
                  </a:lnTo>
                  <a:lnTo>
                    <a:pt x="1490" y="538"/>
                  </a:lnTo>
                  <a:lnTo>
                    <a:pt x="1491" y="533"/>
                  </a:lnTo>
                  <a:lnTo>
                    <a:pt x="1491" y="532"/>
                  </a:lnTo>
                  <a:lnTo>
                    <a:pt x="1494" y="530"/>
                  </a:lnTo>
                  <a:lnTo>
                    <a:pt x="1495" y="530"/>
                  </a:lnTo>
                  <a:lnTo>
                    <a:pt x="1497" y="529"/>
                  </a:lnTo>
                  <a:lnTo>
                    <a:pt x="1497" y="510"/>
                  </a:lnTo>
                  <a:lnTo>
                    <a:pt x="1500" y="507"/>
                  </a:lnTo>
                  <a:lnTo>
                    <a:pt x="1503" y="503"/>
                  </a:lnTo>
                  <a:lnTo>
                    <a:pt x="1506" y="496"/>
                  </a:lnTo>
                  <a:lnTo>
                    <a:pt x="1509" y="487"/>
                  </a:lnTo>
                  <a:lnTo>
                    <a:pt x="1515" y="469"/>
                  </a:lnTo>
                  <a:lnTo>
                    <a:pt x="1517" y="456"/>
                  </a:lnTo>
                  <a:lnTo>
                    <a:pt x="1530" y="456"/>
                  </a:lnTo>
                  <a:lnTo>
                    <a:pt x="1530" y="369"/>
                  </a:lnTo>
                  <a:lnTo>
                    <a:pt x="1527" y="368"/>
                  </a:lnTo>
                  <a:lnTo>
                    <a:pt x="1524" y="367"/>
                  </a:lnTo>
                  <a:lnTo>
                    <a:pt x="1522" y="363"/>
                  </a:lnTo>
                  <a:lnTo>
                    <a:pt x="1518" y="359"/>
                  </a:lnTo>
                  <a:lnTo>
                    <a:pt x="1515" y="348"/>
                  </a:lnTo>
                  <a:lnTo>
                    <a:pt x="1511" y="336"/>
                  </a:lnTo>
                  <a:lnTo>
                    <a:pt x="1509" y="323"/>
                  </a:lnTo>
                  <a:lnTo>
                    <a:pt x="1508" y="313"/>
                  </a:lnTo>
                  <a:lnTo>
                    <a:pt x="1506" y="305"/>
                  </a:lnTo>
                  <a:lnTo>
                    <a:pt x="1504" y="302"/>
                  </a:lnTo>
                  <a:lnTo>
                    <a:pt x="1504" y="276"/>
                  </a:lnTo>
                  <a:lnTo>
                    <a:pt x="1500" y="273"/>
                  </a:lnTo>
                  <a:lnTo>
                    <a:pt x="1495" y="267"/>
                  </a:lnTo>
                  <a:lnTo>
                    <a:pt x="1488" y="259"/>
                  </a:lnTo>
                  <a:lnTo>
                    <a:pt x="1480" y="247"/>
                  </a:lnTo>
                  <a:lnTo>
                    <a:pt x="1440" y="260"/>
                  </a:lnTo>
                  <a:lnTo>
                    <a:pt x="1400" y="271"/>
                  </a:lnTo>
                  <a:lnTo>
                    <a:pt x="1361" y="280"/>
                  </a:lnTo>
                  <a:lnTo>
                    <a:pt x="1324" y="288"/>
                  </a:lnTo>
                  <a:lnTo>
                    <a:pt x="1305" y="290"/>
                  </a:lnTo>
                  <a:lnTo>
                    <a:pt x="1288" y="292"/>
                  </a:lnTo>
                  <a:lnTo>
                    <a:pt x="1271" y="293"/>
                  </a:lnTo>
                  <a:lnTo>
                    <a:pt x="1256" y="293"/>
                  </a:lnTo>
                  <a:lnTo>
                    <a:pt x="1241" y="292"/>
                  </a:lnTo>
                  <a:lnTo>
                    <a:pt x="1228" y="291"/>
                  </a:lnTo>
                  <a:lnTo>
                    <a:pt x="1216" y="288"/>
                  </a:lnTo>
                  <a:lnTo>
                    <a:pt x="1204" y="283"/>
                  </a:lnTo>
                  <a:lnTo>
                    <a:pt x="1188" y="275"/>
                  </a:lnTo>
                  <a:lnTo>
                    <a:pt x="1171" y="270"/>
                  </a:lnTo>
                  <a:lnTo>
                    <a:pt x="1152" y="264"/>
                  </a:lnTo>
                  <a:lnTo>
                    <a:pt x="1133" y="260"/>
                  </a:lnTo>
                  <a:lnTo>
                    <a:pt x="1114" y="256"/>
                  </a:lnTo>
                  <a:lnTo>
                    <a:pt x="1094" y="254"/>
                  </a:lnTo>
                  <a:lnTo>
                    <a:pt x="1073" y="252"/>
                  </a:lnTo>
                  <a:lnTo>
                    <a:pt x="1052" y="251"/>
                  </a:lnTo>
                  <a:lnTo>
                    <a:pt x="964" y="248"/>
                  </a:lnTo>
                  <a:lnTo>
                    <a:pt x="875" y="248"/>
                  </a:lnTo>
                  <a:lnTo>
                    <a:pt x="832" y="247"/>
                  </a:lnTo>
                  <a:lnTo>
                    <a:pt x="789" y="243"/>
                  </a:lnTo>
                  <a:lnTo>
                    <a:pt x="768" y="241"/>
                  </a:lnTo>
                  <a:lnTo>
                    <a:pt x="748" y="237"/>
                  </a:lnTo>
                  <a:lnTo>
                    <a:pt x="728" y="233"/>
                  </a:lnTo>
                  <a:lnTo>
                    <a:pt x="709" y="227"/>
                  </a:lnTo>
                  <a:lnTo>
                    <a:pt x="691" y="221"/>
                  </a:lnTo>
                  <a:lnTo>
                    <a:pt x="673" y="213"/>
                  </a:lnTo>
                  <a:lnTo>
                    <a:pt x="656" y="204"/>
                  </a:lnTo>
                  <a:lnTo>
                    <a:pt x="641" y="194"/>
                  </a:lnTo>
                  <a:lnTo>
                    <a:pt x="625" y="182"/>
                  </a:lnTo>
                  <a:lnTo>
                    <a:pt x="612" y="168"/>
                  </a:lnTo>
                  <a:lnTo>
                    <a:pt x="598" y="154"/>
                  </a:lnTo>
                  <a:lnTo>
                    <a:pt x="587" y="137"/>
                  </a:lnTo>
                  <a:lnTo>
                    <a:pt x="580" y="126"/>
                  </a:lnTo>
                  <a:lnTo>
                    <a:pt x="576" y="116"/>
                  </a:lnTo>
                  <a:lnTo>
                    <a:pt x="573" y="105"/>
                  </a:lnTo>
                  <a:lnTo>
                    <a:pt x="570" y="94"/>
                  </a:lnTo>
                  <a:lnTo>
                    <a:pt x="566" y="74"/>
                  </a:lnTo>
                  <a:lnTo>
                    <a:pt x="561" y="55"/>
                  </a:lnTo>
                  <a:lnTo>
                    <a:pt x="558" y="46"/>
                  </a:lnTo>
                  <a:lnTo>
                    <a:pt x="554" y="38"/>
                  </a:lnTo>
                  <a:lnTo>
                    <a:pt x="549" y="30"/>
                  </a:lnTo>
                  <a:lnTo>
                    <a:pt x="543" y="23"/>
                  </a:lnTo>
                  <a:lnTo>
                    <a:pt x="534" y="16"/>
                  </a:lnTo>
                  <a:lnTo>
                    <a:pt x="524" y="11"/>
                  </a:lnTo>
                  <a:lnTo>
                    <a:pt x="511" y="6"/>
                  </a:lnTo>
                  <a:lnTo>
                    <a:pt x="496" y="3"/>
                  </a:lnTo>
                  <a:lnTo>
                    <a:pt x="483" y="1"/>
                  </a:lnTo>
                  <a:lnTo>
                    <a:pt x="471" y="1"/>
                  </a:lnTo>
                  <a:lnTo>
                    <a:pt x="458" y="0"/>
                  </a:lnTo>
                  <a:lnTo>
                    <a:pt x="443" y="1"/>
                  </a:lnTo>
                  <a:lnTo>
                    <a:pt x="411" y="2"/>
                  </a:lnTo>
                  <a:lnTo>
                    <a:pt x="377" y="6"/>
                  </a:lnTo>
                  <a:lnTo>
                    <a:pt x="343" y="11"/>
                  </a:lnTo>
                  <a:lnTo>
                    <a:pt x="307" y="15"/>
                  </a:lnTo>
                  <a:lnTo>
                    <a:pt x="270" y="21"/>
                  </a:lnTo>
                  <a:lnTo>
                    <a:pt x="236" y="25"/>
                  </a:lnTo>
                  <a:lnTo>
                    <a:pt x="255" y="50"/>
                  </a:lnTo>
                  <a:lnTo>
                    <a:pt x="272" y="77"/>
                  </a:lnTo>
                  <a:lnTo>
                    <a:pt x="279" y="89"/>
                  </a:lnTo>
                  <a:lnTo>
                    <a:pt x="285" y="100"/>
                  </a:lnTo>
                  <a:lnTo>
                    <a:pt x="289" y="109"/>
                  </a:lnTo>
                  <a:lnTo>
                    <a:pt x="290" y="116"/>
                  </a:lnTo>
                  <a:lnTo>
                    <a:pt x="292" y="119"/>
                  </a:lnTo>
                  <a:lnTo>
                    <a:pt x="295" y="127"/>
                  </a:lnTo>
                  <a:lnTo>
                    <a:pt x="296" y="138"/>
                  </a:lnTo>
                  <a:lnTo>
                    <a:pt x="296" y="151"/>
                  </a:lnTo>
                  <a:lnTo>
                    <a:pt x="297" y="178"/>
                  </a:lnTo>
                  <a:lnTo>
                    <a:pt x="297" y="196"/>
                  </a:lnTo>
                  <a:lnTo>
                    <a:pt x="299" y="196"/>
                  </a:lnTo>
                  <a:lnTo>
                    <a:pt x="301" y="197"/>
                  </a:lnTo>
                  <a:lnTo>
                    <a:pt x="303" y="198"/>
                  </a:lnTo>
                  <a:lnTo>
                    <a:pt x="303" y="201"/>
                  </a:lnTo>
                  <a:lnTo>
                    <a:pt x="304" y="204"/>
                  </a:lnTo>
                  <a:lnTo>
                    <a:pt x="304" y="209"/>
                  </a:lnTo>
                  <a:lnTo>
                    <a:pt x="306" y="209"/>
                  </a:lnTo>
                  <a:lnTo>
                    <a:pt x="307" y="211"/>
                  </a:lnTo>
                  <a:lnTo>
                    <a:pt x="309" y="212"/>
                  </a:lnTo>
                  <a:lnTo>
                    <a:pt x="309" y="214"/>
                  </a:lnTo>
                  <a:lnTo>
                    <a:pt x="310" y="217"/>
                  </a:lnTo>
                  <a:lnTo>
                    <a:pt x="310" y="223"/>
                  </a:lnTo>
                  <a:lnTo>
                    <a:pt x="324" y="233"/>
                  </a:lnTo>
                  <a:lnTo>
                    <a:pt x="337" y="243"/>
                  </a:lnTo>
                  <a:lnTo>
                    <a:pt x="337" y="256"/>
                  </a:lnTo>
                  <a:lnTo>
                    <a:pt x="339" y="257"/>
                  </a:lnTo>
                  <a:lnTo>
                    <a:pt x="340" y="260"/>
                  </a:lnTo>
                  <a:lnTo>
                    <a:pt x="342" y="264"/>
                  </a:lnTo>
                  <a:lnTo>
                    <a:pt x="343" y="270"/>
                  </a:lnTo>
                  <a:lnTo>
                    <a:pt x="344" y="281"/>
                  </a:lnTo>
                  <a:lnTo>
                    <a:pt x="344" y="289"/>
                  </a:lnTo>
                  <a:lnTo>
                    <a:pt x="340" y="291"/>
                  </a:lnTo>
                  <a:lnTo>
                    <a:pt x="337" y="293"/>
                  </a:lnTo>
                  <a:lnTo>
                    <a:pt x="333" y="299"/>
                  </a:lnTo>
                  <a:lnTo>
                    <a:pt x="328" y="304"/>
                  </a:lnTo>
                  <a:lnTo>
                    <a:pt x="324" y="311"/>
                  </a:lnTo>
                  <a:lnTo>
                    <a:pt x="320" y="318"/>
                  </a:lnTo>
                  <a:lnTo>
                    <a:pt x="318" y="323"/>
                  </a:lnTo>
                  <a:lnTo>
                    <a:pt x="317" y="329"/>
                  </a:lnTo>
                  <a:lnTo>
                    <a:pt x="315" y="330"/>
                  </a:lnTo>
                  <a:lnTo>
                    <a:pt x="311" y="331"/>
                  </a:lnTo>
                  <a:lnTo>
                    <a:pt x="309" y="333"/>
                  </a:lnTo>
                  <a:lnTo>
                    <a:pt x="306" y="336"/>
                  </a:lnTo>
                  <a:lnTo>
                    <a:pt x="300" y="342"/>
                  </a:lnTo>
                  <a:lnTo>
                    <a:pt x="295" y="349"/>
                  </a:lnTo>
                  <a:lnTo>
                    <a:pt x="289" y="357"/>
                  </a:lnTo>
                  <a:lnTo>
                    <a:pt x="285" y="363"/>
                  </a:lnTo>
                  <a:lnTo>
                    <a:pt x="280" y="368"/>
                  </a:lnTo>
                  <a:lnTo>
                    <a:pt x="277" y="369"/>
                  </a:lnTo>
                  <a:lnTo>
                    <a:pt x="278" y="375"/>
                  </a:lnTo>
                  <a:lnTo>
                    <a:pt x="279" y="380"/>
                  </a:lnTo>
                  <a:lnTo>
                    <a:pt x="282" y="387"/>
                  </a:lnTo>
                  <a:lnTo>
                    <a:pt x="287" y="394"/>
                  </a:lnTo>
                  <a:lnTo>
                    <a:pt x="296" y="408"/>
                  </a:lnTo>
                  <a:lnTo>
                    <a:pt x="308" y="423"/>
                  </a:lnTo>
                  <a:lnTo>
                    <a:pt x="319" y="436"/>
                  </a:lnTo>
                  <a:lnTo>
                    <a:pt x="330" y="446"/>
                  </a:lnTo>
                  <a:lnTo>
                    <a:pt x="339" y="453"/>
                  </a:lnTo>
                  <a:lnTo>
                    <a:pt x="344" y="456"/>
                  </a:lnTo>
                  <a:lnTo>
                    <a:pt x="344" y="469"/>
                  </a:lnTo>
                  <a:lnTo>
                    <a:pt x="346" y="469"/>
                  </a:lnTo>
                  <a:lnTo>
                    <a:pt x="347" y="471"/>
                  </a:lnTo>
                  <a:lnTo>
                    <a:pt x="348" y="472"/>
                  </a:lnTo>
                  <a:lnTo>
                    <a:pt x="349" y="473"/>
                  </a:lnTo>
                  <a:lnTo>
                    <a:pt x="351" y="477"/>
                  </a:lnTo>
                  <a:lnTo>
                    <a:pt x="351" y="483"/>
                  </a:lnTo>
                  <a:lnTo>
                    <a:pt x="353" y="484"/>
                  </a:lnTo>
                  <a:lnTo>
                    <a:pt x="354" y="490"/>
                  </a:lnTo>
                  <a:lnTo>
                    <a:pt x="355" y="498"/>
                  </a:lnTo>
                  <a:lnTo>
                    <a:pt x="355" y="510"/>
                  </a:lnTo>
                  <a:lnTo>
                    <a:pt x="354" y="539"/>
                  </a:lnTo>
                  <a:lnTo>
                    <a:pt x="352" y="573"/>
                  </a:lnTo>
                  <a:lnTo>
                    <a:pt x="349" y="609"/>
                  </a:lnTo>
                  <a:lnTo>
                    <a:pt x="346" y="642"/>
                  </a:lnTo>
                  <a:lnTo>
                    <a:pt x="345" y="670"/>
                  </a:lnTo>
                  <a:lnTo>
                    <a:pt x="344" y="689"/>
                  </a:lnTo>
                  <a:lnTo>
                    <a:pt x="346" y="692"/>
                  </a:lnTo>
                  <a:lnTo>
                    <a:pt x="347" y="698"/>
                  </a:lnTo>
                  <a:lnTo>
                    <a:pt x="348" y="708"/>
                  </a:lnTo>
                  <a:lnTo>
                    <a:pt x="349" y="719"/>
                  </a:lnTo>
                  <a:lnTo>
                    <a:pt x="351" y="743"/>
                  </a:lnTo>
                  <a:lnTo>
                    <a:pt x="351" y="755"/>
                  </a:lnTo>
                  <a:lnTo>
                    <a:pt x="344" y="762"/>
                  </a:lnTo>
                  <a:lnTo>
                    <a:pt x="330" y="764"/>
                  </a:lnTo>
                  <a:lnTo>
                    <a:pt x="300" y="766"/>
                  </a:lnTo>
                  <a:lnTo>
                    <a:pt x="285" y="766"/>
                  </a:lnTo>
                  <a:lnTo>
                    <a:pt x="270" y="765"/>
                  </a:lnTo>
                  <a:lnTo>
                    <a:pt x="265" y="764"/>
                  </a:lnTo>
                  <a:lnTo>
                    <a:pt x="261" y="762"/>
                  </a:lnTo>
                  <a:lnTo>
                    <a:pt x="258" y="760"/>
                  </a:lnTo>
                  <a:lnTo>
                    <a:pt x="257" y="755"/>
                  </a:lnTo>
                  <a:lnTo>
                    <a:pt x="237" y="755"/>
                  </a:lnTo>
                  <a:lnTo>
                    <a:pt x="236" y="753"/>
                  </a:lnTo>
                  <a:lnTo>
                    <a:pt x="232" y="750"/>
                  </a:lnTo>
                  <a:lnTo>
                    <a:pt x="227" y="746"/>
                  </a:lnTo>
                  <a:lnTo>
                    <a:pt x="220" y="742"/>
                  </a:lnTo>
                  <a:lnTo>
                    <a:pt x="214" y="737"/>
                  </a:lnTo>
                  <a:lnTo>
                    <a:pt x="209" y="733"/>
                  </a:lnTo>
                  <a:lnTo>
                    <a:pt x="205" y="727"/>
                  </a:lnTo>
                  <a:lnTo>
                    <a:pt x="203" y="723"/>
                  </a:lnTo>
                  <a:lnTo>
                    <a:pt x="191" y="723"/>
                  </a:lnTo>
                  <a:lnTo>
                    <a:pt x="189" y="719"/>
                  </a:lnTo>
                  <a:lnTo>
                    <a:pt x="185" y="716"/>
                  </a:lnTo>
                  <a:lnTo>
                    <a:pt x="180" y="713"/>
                  </a:lnTo>
                  <a:lnTo>
                    <a:pt x="173" y="709"/>
                  </a:lnTo>
                  <a:lnTo>
                    <a:pt x="160" y="705"/>
                  </a:lnTo>
                  <a:lnTo>
                    <a:pt x="151" y="703"/>
                  </a:lnTo>
                  <a:lnTo>
                    <a:pt x="150" y="701"/>
                  </a:lnTo>
                  <a:lnTo>
                    <a:pt x="147" y="698"/>
                  </a:lnTo>
                  <a:lnTo>
                    <a:pt x="145" y="696"/>
                  </a:lnTo>
                  <a:lnTo>
                    <a:pt x="141" y="695"/>
                  </a:lnTo>
                  <a:lnTo>
                    <a:pt x="131" y="693"/>
                  </a:lnTo>
                  <a:lnTo>
                    <a:pt x="118" y="690"/>
                  </a:lnTo>
                  <a:lnTo>
                    <a:pt x="94" y="689"/>
                  </a:lnTo>
                  <a:lnTo>
                    <a:pt x="77" y="689"/>
                  </a:lnTo>
                  <a:lnTo>
                    <a:pt x="77" y="692"/>
                  </a:lnTo>
                  <a:lnTo>
                    <a:pt x="76" y="693"/>
                  </a:lnTo>
                  <a:lnTo>
                    <a:pt x="75" y="694"/>
                  </a:lnTo>
                  <a:lnTo>
                    <a:pt x="73" y="695"/>
                  </a:lnTo>
                  <a:lnTo>
                    <a:pt x="68" y="696"/>
                  </a:lnTo>
                  <a:lnTo>
                    <a:pt x="64" y="696"/>
                  </a:lnTo>
                  <a:lnTo>
                    <a:pt x="62" y="699"/>
                  </a:lnTo>
                  <a:lnTo>
                    <a:pt x="60" y="702"/>
                  </a:lnTo>
                  <a:lnTo>
                    <a:pt x="57" y="703"/>
                  </a:lnTo>
                  <a:lnTo>
                    <a:pt x="54" y="703"/>
                  </a:lnTo>
                  <a:lnTo>
                    <a:pt x="50" y="704"/>
                  </a:lnTo>
                  <a:lnTo>
                    <a:pt x="47" y="706"/>
                  </a:lnTo>
                  <a:lnTo>
                    <a:pt x="45" y="709"/>
                  </a:lnTo>
                  <a:lnTo>
                    <a:pt x="44" y="716"/>
                  </a:lnTo>
                  <a:lnTo>
                    <a:pt x="30" y="716"/>
                  </a:lnTo>
                  <a:lnTo>
                    <a:pt x="32" y="727"/>
                  </a:lnTo>
                  <a:lnTo>
                    <a:pt x="37" y="741"/>
                  </a:lnTo>
                  <a:lnTo>
                    <a:pt x="41" y="752"/>
                  </a:lnTo>
                  <a:lnTo>
                    <a:pt x="44" y="755"/>
                  </a:lnTo>
                  <a:lnTo>
                    <a:pt x="57" y="755"/>
                  </a:lnTo>
                  <a:lnTo>
                    <a:pt x="64" y="773"/>
                  </a:lnTo>
                  <a:lnTo>
                    <a:pt x="77" y="808"/>
                  </a:lnTo>
                  <a:lnTo>
                    <a:pt x="85" y="828"/>
                  </a:lnTo>
                  <a:lnTo>
                    <a:pt x="90" y="849"/>
                  </a:lnTo>
                  <a:lnTo>
                    <a:pt x="94" y="860"/>
                  </a:lnTo>
                  <a:lnTo>
                    <a:pt x="95" y="870"/>
                  </a:lnTo>
                  <a:lnTo>
                    <a:pt x="97" y="880"/>
                  </a:lnTo>
                  <a:lnTo>
                    <a:pt x="97" y="889"/>
                  </a:lnTo>
                  <a:lnTo>
                    <a:pt x="92" y="890"/>
                  </a:lnTo>
                  <a:lnTo>
                    <a:pt x="86" y="895"/>
                  </a:lnTo>
                  <a:lnTo>
                    <a:pt x="79" y="899"/>
                  </a:lnTo>
                  <a:lnTo>
                    <a:pt x="73" y="906"/>
                  </a:lnTo>
                  <a:lnTo>
                    <a:pt x="65" y="911"/>
                  </a:lnTo>
                  <a:lnTo>
                    <a:pt x="56" y="917"/>
                  </a:lnTo>
                  <a:lnTo>
                    <a:pt x="51" y="919"/>
                  </a:lnTo>
                  <a:lnTo>
                    <a:pt x="47" y="921"/>
                  </a:lnTo>
                  <a:lnTo>
                    <a:pt x="42" y="921"/>
                  </a:lnTo>
                  <a:lnTo>
                    <a:pt x="37" y="923"/>
                  </a:lnTo>
                  <a:lnTo>
                    <a:pt x="35" y="928"/>
                  </a:lnTo>
                  <a:lnTo>
                    <a:pt x="27" y="937"/>
                  </a:lnTo>
                  <a:lnTo>
                    <a:pt x="16" y="952"/>
                  </a:lnTo>
                  <a:lnTo>
                    <a:pt x="0" y="968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59" name="Freeform 12">
              <a:extLst>
                <a:ext uri="{FF2B5EF4-FFF2-40B4-BE49-F238E27FC236}">
                  <a16:creationId xmlns:a16="http://schemas.microsoft.com/office/drawing/2014/main" id="{32E495CB-77F5-449F-8900-4523D1C903F6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450263" y="5240338"/>
              <a:ext cx="318802" cy="153988"/>
            </a:xfrm>
            <a:custGeom>
              <a:avLst/>
              <a:gdLst/>
              <a:ahLst/>
              <a:cxnLst>
                <a:cxn ang="0">
                  <a:pos x="585" y="914"/>
                </a:cxn>
                <a:cxn ang="0">
                  <a:pos x="987" y="920"/>
                </a:cxn>
                <a:cxn ang="0">
                  <a:pos x="1170" y="925"/>
                </a:cxn>
                <a:cxn ang="0">
                  <a:pos x="1301" y="932"/>
                </a:cxn>
                <a:cxn ang="0">
                  <a:pos x="1411" y="903"/>
                </a:cxn>
                <a:cxn ang="0">
                  <a:pos x="1446" y="867"/>
                </a:cxn>
                <a:cxn ang="0">
                  <a:pos x="1492" y="790"/>
                </a:cxn>
                <a:cxn ang="0">
                  <a:pos x="1610" y="668"/>
                </a:cxn>
                <a:cxn ang="0">
                  <a:pos x="1640" y="616"/>
                </a:cxn>
                <a:cxn ang="0">
                  <a:pos x="1694" y="559"/>
                </a:cxn>
                <a:cxn ang="0">
                  <a:pos x="1726" y="504"/>
                </a:cxn>
                <a:cxn ang="0">
                  <a:pos x="1737" y="439"/>
                </a:cxn>
                <a:cxn ang="0">
                  <a:pos x="1730" y="370"/>
                </a:cxn>
                <a:cxn ang="0">
                  <a:pos x="1699" y="277"/>
                </a:cxn>
                <a:cxn ang="0">
                  <a:pos x="1664" y="205"/>
                </a:cxn>
                <a:cxn ang="0">
                  <a:pos x="1640" y="192"/>
                </a:cxn>
                <a:cxn ang="0">
                  <a:pos x="1613" y="200"/>
                </a:cxn>
                <a:cxn ang="0">
                  <a:pos x="1582" y="233"/>
                </a:cxn>
                <a:cxn ang="0">
                  <a:pos x="1525" y="337"/>
                </a:cxn>
                <a:cxn ang="0">
                  <a:pos x="1483" y="399"/>
                </a:cxn>
                <a:cxn ang="0">
                  <a:pos x="1448" y="419"/>
                </a:cxn>
                <a:cxn ang="0">
                  <a:pos x="1392" y="395"/>
                </a:cxn>
                <a:cxn ang="0">
                  <a:pos x="1312" y="355"/>
                </a:cxn>
                <a:cxn ang="0">
                  <a:pos x="1228" y="348"/>
                </a:cxn>
                <a:cxn ang="0">
                  <a:pos x="1108" y="381"/>
                </a:cxn>
                <a:cxn ang="0">
                  <a:pos x="871" y="522"/>
                </a:cxn>
                <a:cxn ang="0">
                  <a:pos x="768" y="564"/>
                </a:cxn>
                <a:cxn ang="0">
                  <a:pos x="663" y="561"/>
                </a:cxn>
                <a:cxn ang="0">
                  <a:pos x="552" y="487"/>
                </a:cxn>
                <a:cxn ang="0">
                  <a:pos x="549" y="443"/>
                </a:cxn>
                <a:cxn ang="0">
                  <a:pos x="612" y="213"/>
                </a:cxn>
                <a:cxn ang="0">
                  <a:pos x="628" y="88"/>
                </a:cxn>
                <a:cxn ang="0">
                  <a:pos x="613" y="15"/>
                </a:cxn>
                <a:cxn ang="0">
                  <a:pos x="587" y="0"/>
                </a:cxn>
                <a:cxn ang="0">
                  <a:pos x="459" y="30"/>
                </a:cxn>
                <a:cxn ang="0">
                  <a:pos x="326" y="38"/>
                </a:cxn>
                <a:cxn ang="0">
                  <a:pos x="232" y="51"/>
                </a:cxn>
                <a:cxn ang="0">
                  <a:pos x="104" y="104"/>
                </a:cxn>
                <a:cxn ang="0">
                  <a:pos x="122" y="150"/>
                </a:cxn>
                <a:cxn ang="0">
                  <a:pos x="134" y="204"/>
                </a:cxn>
                <a:cxn ang="0">
                  <a:pos x="146" y="301"/>
                </a:cxn>
                <a:cxn ang="0">
                  <a:pos x="119" y="348"/>
                </a:cxn>
                <a:cxn ang="0">
                  <a:pos x="110" y="375"/>
                </a:cxn>
                <a:cxn ang="0">
                  <a:pos x="79" y="414"/>
                </a:cxn>
                <a:cxn ang="0">
                  <a:pos x="60" y="443"/>
                </a:cxn>
                <a:cxn ang="0">
                  <a:pos x="50" y="455"/>
                </a:cxn>
                <a:cxn ang="0">
                  <a:pos x="28" y="482"/>
                </a:cxn>
                <a:cxn ang="0">
                  <a:pos x="0" y="514"/>
                </a:cxn>
                <a:cxn ang="0">
                  <a:pos x="16" y="618"/>
                </a:cxn>
                <a:cxn ang="0">
                  <a:pos x="47" y="681"/>
                </a:cxn>
                <a:cxn ang="0">
                  <a:pos x="73" y="729"/>
                </a:cxn>
                <a:cxn ang="0">
                  <a:pos x="85" y="743"/>
                </a:cxn>
                <a:cxn ang="0">
                  <a:pos x="98" y="765"/>
                </a:cxn>
                <a:cxn ang="0">
                  <a:pos x="129" y="823"/>
                </a:cxn>
              </a:cxnLst>
              <a:rect l="0" t="0" r="r" b="b"/>
              <a:pathLst>
                <a:path w="1738" h="932">
                  <a:moveTo>
                    <a:pt x="177" y="916"/>
                  </a:moveTo>
                  <a:lnTo>
                    <a:pt x="280" y="915"/>
                  </a:lnTo>
                  <a:lnTo>
                    <a:pt x="384" y="914"/>
                  </a:lnTo>
                  <a:lnTo>
                    <a:pt x="486" y="914"/>
                  </a:lnTo>
                  <a:lnTo>
                    <a:pt x="585" y="914"/>
                  </a:lnTo>
                  <a:lnTo>
                    <a:pt x="682" y="915"/>
                  </a:lnTo>
                  <a:lnTo>
                    <a:pt x="775" y="917"/>
                  </a:lnTo>
                  <a:lnTo>
                    <a:pt x="865" y="918"/>
                  </a:lnTo>
                  <a:lnTo>
                    <a:pt x="950" y="919"/>
                  </a:lnTo>
                  <a:lnTo>
                    <a:pt x="987" y="920"/>
                  </a:lnTo>
                  <a:lnTo>
                    <a:pt x="1025" y="920"/>
                  </a:lnTo>
                  <a:lnTo>
                    <a:pt x="1062" y="922"/>
                  </a:lnTo>
                  <a:lnTo>
                    <a:pt x="1100" y="923"/>
                  </a:lnTo>
                  <a:lnTo>
                    <a:pt x="1135" y="924"/>
                  </a:lnTo>
                  <a:lnTo>
                    <a:pt x="1170" y="925"/>
                  </a:lnTo>
                  <a:lnTo>
                    <a:pt x="1202" y="927"/>
                  </a:lnTo>
                  <a:lnTo>
                    <a:pt x="1231" y="928"/>
                  </a:lnTo>
                  <a:lnTo>
                    <a:pt x="1257" y="931"/>
                  </a:lnTo>
                  <a:lnTo>
                    <a:pt x="1279" y="932"/>
                  </a:lnTo>
                  <a:lnTo>
                    <a:pt x="1301" y="932"/>
                  </a:lnTo>
                  <a:lnTo>
                    <a:pt x="1321" y="931"/>
                  </a:lnTo>
                  <a:lnTo>
                    <a:pt x="1341" y="928"/>
                  </a:lnTo>
                  <a:lnTo>
                    <a:pt x="1362" y="923"/>
                  </a:lnTo>
                  <a:lnTo>
                    <a:pt x="1386" y="915"/>
                  </a:lnTo>
                  <a:lnTo>
                    <a:pt x="1411" y="903"/>
                  </a:lnTo>
                  <a:lnTo>
                    <a:pt x="1418" y="899"/>
                  </a:lnTo>
                  <a:lnTo>
                    <a:pt x="1425" y="894"/>
                  </a:lnTo>
                  <a:lnTo>
                    <a:pt x="1431" y="888"/>
                  </a:lnTo>
                  <a:lnTo>
                    <a:pt x="1436" y="881"/>
                  </a:lnTo>
                  <a:lnTo>
                    <a:pt x="1446" y="867"/>
                  </a:lnTo>
                  <a:lnTo>
                    <a:pt x="1455" y="851"/>
                  </a:lnTo>
                  <a:lnTo>
                    <a:pt x="1464" y="835"/>
                  </a:lnTo>
                  <a:lnTo>
                    <a:pt x="1472" y="818"/>
                  </a:lnTo>
                  <a:lnTo>
                    <a:pt x="1482" y="803"/>
                  </a:lnTo>
                  <a:lnTo>
                    <a:pt x="1492" y="790"/>
                  </a:lnTo>
                  <a:lnTo>
                    <a:pt x="1530" y="752"/>
                  </a:lnTo>
                  <a:lnTo>
                    <a:pt x="1568" y="716"/>
                  </a:lnTo>
                  <a:lnTo>
                    <a:pt x="1585" y="697"/>
                  </a:lnTo>
                  <a:lnTo>
                    <a:pt x="1602" y="678"/>
                  </a:lnTo>
                  <a:lnTo>
                    <a:pt x="1610" y="668"/>
                  </a:lnTo>
                  <a:lnTo>
                    <a:pt x="1618" y="657"/>
                  </a:lnTo>
                  <a:lnTo>
                    <a:pt x="1624" y="646"/>
                  </a:lnTo>
                  <a:lnTo>
                    <a:pt x="1630" y="634"/>
                  </a:lnTo>
                  <a:lnTo>
                    <a:pt x="1634" y="625"/>
                  </a:lnTo>
                  <a:lnTo>
                    <a:pt x="1640" y="616"/>
                  </a:lnTo>
                  <a:lnTo>
                    <a:pt x="1646" y="608"/>
                  </a:lnTo>
                  <a:lnTo>
                    <a:pt x="1652" y="600"/>
                  </a:lnTo>
                  <a:lnTo>
                    <a:pt x="1666" y="587"/>
                  </a:lnTo>
                  <a:lnTo>
                    <a:pt x="1679" y="573"/>
                  </a:lnTo>
                  <a:lnTo>
                    <a:pt x="1694" y="559"/>
                  </a:lnTo>
                  <a:lnTo>
                    <a:pt x="1706" y="543"/>
                  </a:lnTo>
                  <a:lnTo>
                    <a:pt x="1712" y="534"/>
                  </a:lnTo>
                  <a:lnTo>
                    <a:pt x="1717" y="525"/>
                  </a:lnTo>
                  <a:lnTo>
                    <a:pt x="1722" y="515"/>
                  </a:lnTo>
                  <a:lnTo>
                    <a:pt x="1726" y="504"/>
                  </a:lnTo>
                  <a:lnTo>
                    <a:pt x="1729" y="493"/>
                  </a:lnTo>
                  <a:lnTo>
                    <a:pt x="1732" y="481"/>
                  </a:lnTo>
                  <a:lnTo>
                    <a:pt x="1735" y="467"/>
                  </a:lnTo>
                  <a:lnTo>
                    <a:pt x="1736" y="454"/>
                  </a:lnTo>
                  <a:lnTo>
                    <a:pt x="1737" y="439"/>
                  </a:lnTo>
                  <a:lnTo>
                    <a:pt x="1738" y="425"/>
                  </a:lnTo>
                  <a:lnTo>
                    <a:pt x="1737" y="412"/>
                  </a:lnTo>
                  <a:lnTo>
                    <a:pt x="1736" y="397"/>
                  </a:lnTo>
                  <a:lnTo>
                    <a:pt x="1734" y="384"/>
                  </a:lnTo>
                  <a:lnTo>
                    <a:pt x="1730" y="370"/>
                  </a:lnTo>
                  <a:lnTo>
                    <a:pt x="1726" y="358"/>
                  </a:lnTo>
                  <a:lnTo>
                    <a:pt x="1723" y="346"/>
                  </a:lnTo>
                  <a:lnTo>
                    <a:pt x="1713" y="321"/>
                  </a:lnTo>
                  <a:lnTo>
                    <a:pt x="1705" y="296"/>
                  </a:lnTo>
                  <a:lnTo>
                    <a:pt x="1699" y="277"/>
                  </a:lnTo>
                  <a:lnTo>
                    <a:pt x="1694" y="259"/>
                  </a:lnTo>
                  <a:lnTo>
                    <a:pt x="1687" y="243"/>
                  </a:lnTo>
                  <a:lnTo>
                    <a:pt x="1679" y="227"/>
                  </a:lnTo>
                  <a:lnTo>
                    <a:pt x="1671" y="215"/>
                  </a:lnTo>
                  <a:lnTo>
                    <a:pt x="1664" y="205"/>
                  </a:lnTo>
                  <a:lnTo>
                    <a:pt x="1659" y="201"/>
                  </a:lnTo>
                  <a:lnTo>
                    <a:pt x="1655" y="197"/>
                  </a:lnTo>
                  <a:lnTo>
                    <a:pt x="1650" y="195"/>
                  </a:lnTo>
                  <a:lnTo>
                    <a:pt x="1646" y="193"/>
                  </a:lnTo>
                  <a:lnTo>
                    <a:pt x="1640" y="192"/>
                  </a:lnTo>
                  <a:lnTo>
                    <a:pt x="1636" y="192"/>
                  </a:lnTo>
                  <a:lnTo>
                    <a:pt x="1630" y="193"/>
                  </a:lnTo>
                  <a:lnTo>
                    <a:pt x="1624" y="194"/>
                  </a:lnTo>
                  <a:lnTo>
                    <a:pt x="1619" y="196"/>
                  </a:lnTo>
                  <a:lnTo>
                    <a:pt x="1613" y="200"/>
                  </a:lnTo>
                  <a:lnTo>
                    <a:pt x="1608" y="204"/>
                  </a:lnTo>
                  <a:lnTo>
                    <a:pt x="1601" y="210"/>
                  </a:lnTo>
                  <a:lnTo>
                    <a:pt x="1595" y="216"/>
                  </a:lnTo>
                  <a:lnTo>
                    <a:pt x="1589" y="224"/>
                  </a:lnTo>
                  <a:lnTo>
                    <a:pt x="1582" y="233"/>
                  </a:lnTo>
                  <a:lnTo>
                    <a:pt x="1575" y="243"/>
                  </a:lnTo>
                  <a:lnTo>
                    <a:pt x="1561" y="268"/>
                  </a:lnTo>
                  <a:lnTo>
                    <a:pt x="1546" y="297"/>
                  </a:lnTo>
                  <a:lnTo>
                    <a:pt x="1535" y="318"/>
                  </a:lnTo>
                  <a:lnTo>
                    <a:pt x="1525" y="337"/>
                  </a:lnTo>
                  <a:lnTo>
                    <a:pt x="1516" y="354"/>
                  </a:lnTo>
                  <a:lnTo>
                    <a:pt x="1507" y="368"/>
                  </a:lnTo>
                  <a:lnTo>
                    <a:pt x="1498" y="380"/>
                  </a:lnTo>
                  <a:lnTo>
                    <a:pt x="1490" y="391"/>
                  </a:lnTo>
                  <a:lnTo>
                    <a:pt x="1483" y="399"/>
                  </a:lnTo>
                  <a:lnTo>
                    <a:pt x="1476" y="406"/>
                  </a:lnTo>
                  <a:lnTo>
                    <a:pt x="1468" y="412"/>
                  </a:lnTo>
                  <a:lnTo>
                    <a:pt x="1461" y="416"/>
                  </a:lnTo>
                  <a:lnTo>
                    <a:pt x="1455" y="418"/>
                  </a:lnTo>
                  <a:lnTo>
                    <a:pt x="1448" y="419"/>
                  </a:lnTo>
                  <a:lnTo>
                    <a:pt x="1441" y="418"/>
                  </a:lnTo>
                  <a:lnTo>
                    <a:pt x="1435" y="417"/>
                  </a:lnTo>
                  <a:lnTo>
                    <a:pt x="1428" y="416"/>
                  </a:lnTo>
                  <a:lnTo>
                    <a:pt x="1421" y="413"/>
                  </a:lnTo>
                  <a:lnTo>
                    <a:pt x="1392" y="395"/>
                  </a:lnTo>
                  <a:lnTo>
                    <a:pt x="1357" y="374"/>
                  </a:lnTo>
                  <a:lnTo>
                    <a:pt x="1346" y="368"/>
                  </a:lnTo>
                  <a:lnTo>
                    <a:pt x="1335" y="364"/>
                  </a:lnTo>
                  <a:lnTo>
                    <a:pt x="1324" y="359"/>
                  </a:lnTo>
                  <a:lnTo>
                    <a:pt x="1312" y="355"/>
                  </a:lnTo>
                  <a:lnTo>
                    <a:pt x="1298" y="351"/>
                  </a:lnTo>
                  <a:lnTo>
                    <a:pt x="1284" y="349"/>
                  </a:lnTo>
                  <a:lnTo>
                    <a:pt x="1269" y="348"/>
                  </a:lnTo>
                  <a:lnTo>
                    <a:pt x="1254" y="347"/>
                  </a:lnTo>
                  <a:lnTo>
                    <a:pt x="1228" y="348"/>
                  </a:lnTo>
                  <a:lnTo>
                    <a:pt x="1204" y="351"/>
                  </a:lnTo>
                  <a:lnTo>
                    <a:pt x="1179" y="356"/>
                  </a:lnTo>
                  <a:lnTo>
                    <a:pt x="1154" y="364"/>
                  </a:lnTo>
                  <a:lnTo>
                    <a:pt x="1131" y="371"/>
                  </a:lnTo>
                  <a:lnTo>
                    <a:pt x="1108" y="381"/>
                  </a:lnTo>
                  <a:lnTo>
                    <a:pt x="1085" y="391"/>
                  </a:lnTo>
                  <a:lnTo>
                    <a:pt x="1063" y="404"/>
                  </a:lnTo>
                  <a:lnTo>
                    <a:pt x="976" y="456"/>
                  </a:lnTo>
                  <a:lnTo>
                    <a:pt x="892" y="510"/>
                  </a:lnTo>
                  <a:lnTo>
                    <a:pt x="871" y="522"/>
                  </a:lnTo>
                  <a:lnTo>
                    <a:pt x="851" y="533"/>
                  </a:lnTo>
                  <a:lnTo>
                    <a:pt x="831" y="543"/>
                  </a:lnTo>
                  <a:lnTo>
                    <a:pt x="810" y="551"/>
                  </a:lnTo>
                  <a:lnTo>
                    <a:pt x="789" y="559"/>
                  </a:lnTo>
                  <a:lnTo>
                    <a:pt x="768" y="564"/>
                  </a:lnTo>
                  <a:lnTo>
                    <a:pt x="748" y="568"/>
                  </a:lnTo>
                  <a:lnTo>
                    <a:pt x="727" y="570"/>
                  </a:lnTo>
                  <a:lnTo>
                    <a:pt x="706" y="569"/>
                  </a:lnTo>
                  <a:lnTo>
                    <a:pt x="685" y="567"/>
                  </a:lnTo>
                  <a:lnTo>
                    <a:pt x="663" y="561"/>
                  </a:lnTo>
                  <a:lnTo>
                    <a:pt x="641" y="552"/>
                  </a:lnTo>
                  <a:lnTo>
                    <a:pt x="620" y="541"/>
                  </a:lnTo>
                  <a:lnTo>
                    <a:pt x="597" y="527"/>
                  </a:lnTo>
                  <a:lnTo>
                    <a:pt x="574" y="509"/>
                  </a:lnTo>
                  <a:lnTo>
                    <a:pt x="552" y="487"/>
                  </a:lnTo>
                  <a:lnTo>
                    <a:pt x="548" y="483"/>
                  </a:lnTo>
                  <a:lnTo>
                    <a:pt x="547" y="477"/>
                  </a:lnTo>
                  <a:lnTo>
                    <a:pt x="547" y="471"/>
                  </a:lnTo>
                  <a:lnTo>
                    <a:pt x="547" y="463"/>
                  </a:lnTo>
                  <a:lnTo>
                    <a:pt x="549" y="443"/>
                  </a:lnTo>
                  <a:lnTo>
                    <a:pt x="555" y="417"/>
                  </a:lnTo>
                  <a:lnTo>
                    <a:pt x="573" y="357"/>
                  </a:lnTo>
                  <a:lnTo>
                    <a:pt x="593" y="288"/>
                  </a:lnTo>
                  <a:lnTo>
                    <a:pt x="603" y="250"/>
                  </a:lnTo>
                  <a:lnTo>
                    <a:pt x="612" y="213"/>
                  </a:lnTo>
                  <a:lnTo>
                    <a:pt x="620" y="175"/>
                  </a:lnTo>
                  <a:lnTo>
                    <a:pt x="625" y="139"/>
                  </a:lnTo>
                  <a:lnTo>
                    <a:pt x="626" y="121"/>
                  </a:lnTo>
                  <a:lnTo>
                    <a:pt x="628" y="105"/>
                  </a:lnTo>
                  <a:lnTo>
                    <a:pt x="628" y="88"/>
                  </a:lnTo>
                  <a:lnTo>
                    <a:pt x="626" y="71"/>
                  </a:lnTo>
                  <a:lnTo>
                    <a:pt x="625" y="57"/>
                  </a:lnTo>
                  <a:lnTo>
                    <a:pt x="622" y="42"/>
                  </a:lnTo>
                  <a:lnTo>
                    <a:pt x="619" y="28"/>
                  </a:lnTo>
                  <a:lnTo>
                    <a:pt x="613" y="15"/>
                  </a:lnTo>
                  <a:lnTo>
                    <a:pt x="610" y="10"/>
                  </a:lnTo>
                  <a:lnTo>
                    <a:pt x="605" y="5"/>
                  </a:lnTo>
                  <a:lnTo>
                    <a:pt x="600" y="2"/>
                  </a:lnTo>
                  <a:lnTo>
                    <a:pt x="594" y="1"/>
                  </a:lnTo>
                  <a:lnTo>
                    <a:pt x="587" y="0"/>
                  </a:lnTo>
                  <a:lnTo>
                    <a:pt x="580" y="0"/>
                  </a:lnTo>
                  <a:lnTo>
                    <a:pt x="572" y="1"/>
                  </a:lnTo>
                  <a:lnTo>
                    <a:pt x="563" y="3"/>
                  </a:lnTo>
                  <a:lnTo>
                    <a:pt x="517" y="15"/>
                  </a:lnTo>
                  <a:lnTo>
                    <a:pt x="459" y="30"/>
                  </a:lnTo>
                  <a:lnTo>
                    <a:pt x="436" y="33"/>
                  </a:lnTo>
                  <a:lnTo>
                    <a:pt x="410" y="35"/>
                  </a:lnTo>
                  <a:lnTo>
                    <a:pt x="383" y="35"/>
                  </a:lnTo>
                  <a:lnTo>
                    <a:pt x="355" y="37"/>
                  </a:lnTo>
                  <a:lnTo>
                    <a:pt x="326" y="38"/>
                  </a:lnTo>
                  <a:lnTo>
                    <a:pt x="296" y="40"/>
                  </a:lnTo>
                  <a:lnTo>
                    <a:pt x="280" y="42"/>
                  </a:lnTo>
                  <a:lnTo>
                    <a:pt x="265" y="44"/>
                  </a:lnTo>
                  <a:lnTo>
                    <a:pt x="249" y="48"/>
                  </a:lnTo>
                  <a:lnTo>
                    <a:pt x="232" y="51"/>
                  </a:lnTo>
                  <a:lnTo>
                    <a:pt x="201" y="60"/>
                  </a:lnTo>
                  <a:lnTo>
                    <a:pt x="168" y="70"/>
                  </a:lnTo>
                  <a:lnTo>
                    <a:pt x="133" y="81"/>
                  </a:lnTo>
                  <a:lnTo>
                    <a:pt x="96" y="92"/>
                  </a:lnTo>
                  <a:lnTo>
                    <a:pt x="104" y="104"/>
                  </a:lnTo>
                  <a:lnTo>
                    <a:pt x="111" y="112"/>
                  </a:lnTo>
                  <a:lnTo>
                    <a:pt x="116" y="118"/>
                  </a:lnTo>
                  <a:lnTo>
                    <a:pt x="120" y="121"/>
                  </a:lnTo>
                  <a:lnTo>
                    <a:pt x="120" y="147"/>
                  </a:lnTo>
                  <a:lnTo>
                    <a:pt x="122" y="150"/>
                  </a:lnTo>
                  <a:lnTo>
                    <a:pt x="124" y="158"/>
                  </a:lnTo>
                  <a:lnTo>
                    <a:pt x="125" y="168"/>
                  </a:lnTo>
                  <a:lnTo>
                    <a:pt x="127" y="181"/>
                  </a:lnTo>
                  <a:lnTo>
                    <a:pt x="131" y="193"/>
                  </a:lnTo>
                  <a:lnTo>
                    <a:pt x="134" y="204"/>
                  </a:lnTo>
                  <a:lnTo>
                    <a:pt x="138" y="208"/>
                  </a:lnTo>
                  <a:lnTo>
                    <a:pt x="140" y="212"/>
                  </a:lnTo>
                  <a:lnTo>
                    <a:pt x="143" y="213"/>
                  </a:lnTo>
                  <a:lnTo>
                    <a:pt x="146" y="214"/>
                  </a:lnTo>
                  <a:lnTo>
                    <a:pt x="146" y="301"/>
                  </a:lnTo>
                  <a:lnTo>
                    <a:pt x="133" y="301"/>
                  </a:lnTo>
                  <a:lnTo>
                    <a:pt x="131" y="314"/>
                  </a:lnTo>
                  <a:lnTo>
                    <a:pt x="125" y="332"/>
                  </a:lnTo>
                  <a:lnTo>
                    <a:pt x="122" y="341"/>
                  </a:lnTo>
                  <a:lnTo>
                    <a:pt x="119" y="348"/>
                  </a:lnTo>
                  <a:lnTo>
                    <a:pt x="116" y="352"/>
                  </a:lnTo>
                  <a:lnTo>
                    <a:pt x="113" y="355"/>
                  </a:lnTo>
                  <a:lnTo>
                    <a:pt x="113" y="374"/>
                  </a:lnTo>
                  <a:lnTo>
                    <a:pt x="111" y="375"/>
                  </a:lnTo>
                  <a:lnTo>
                    <a:pt x="110" y="375"/>
                  </a:lnTo>
                  <a:lnTo>
                    <a:pt x="107" y="377"/>
                  </a:lnTo>
                  <a:lnTo>
                    <a:pt x="107" y="378"/>
                  </a:lnTo>
                  <a:lnTo>
                    <a:pt x="106" y="383"/>
                  </a:lnTo>
                  <a:lnTo>
                    <a:pt x="106" y="387"/>
                  </a:lnTo>
                  <a:lnTo>
                    <a:pt x="79" y="414"/>
                  </a:lnTo>
                  <a:lnTo>
                    <a:pt x="79" y="427"/>
                  </a:lnTo>
                  <a:lnTo>
                    <a:pt x="73" y="434"/>
                  </a:lnTo>
                  <a:lnTo>
                    <a:pt x="68" y="435"/>
                  </a:lnTo>
                  <a:lnTo>
                    <a:pt x="64" y="438"/>
                  </a:lnTo>
                  <a:lnTo>
                    <a:pt x="60" y="443"/>
                  </a:lnTo>
                  <a:lnTo>
                    <a:pt x="59" y="447"/>
                  </a:lnTo>
                  <a:lnTo>
                    <a:pt x="57" y="448"/>
                  </a:lnTo>
                  <a:lnTo>
                    <a:pt x="55" y="450"/>
                  </a:lnTo>
                  <a:lnTo>
                    <a:pt x="53" y="452"/>
                  </a:lnTo>
                  <a:lnTo>
                    <a:pt x="50" y="455"/>
                  </a:lnTo>
                  <a:lnTo>
                    <a:pt x="47" y="462"/>
                  </a:lnTo>
                  <a:lnTo>
                    <a:pt x="46" y="467"/>
                  </a:lnTo>
                  <a:lnTo>
                    <a:pt x="33" y="467"/>
                  </a:lnTo>
                  <a:lnTo>
                    <a:pt x="33" y="481"/>
                  </a:lnTo>
                  <a:lnTo>
                    <a:pt x="28" y="482"/>
                  </a:lnTo>
                  <a:lnTo>
                    <a:pt x="24" y="485"/>
                  </a:lnTo>
                  <a:lnTo>
                    <a:pt x="20" y="490"/>
                  </a:lnTo>
                  <a:lnTo>
                    <a:pt x="19" y="494"/>
                  </a:lnTo>
                  <a:lnTo>
                    <a:pt x="9" y="504"/>
                  </a:lnTo>
                  <a:lnTo>
                    <a:pt x="0" y="514"/>
                  </a:lnTo>
                  <a:lnTo>
                    <a:pt x="0" y="588"/>
                  </a:lnTo>
                  <a:lnTo>
                    <a:pt x="2" y="590"/>
                  </a:lnTo>
                  <a:lnTo>
                    <a:pt x="7" y="597"/>
                  </a:lnTo>
                  <a:lnTo>
                    <a:pt x="11" y="607"/>
                  </a:lnTo>
                  <a:lnTo>
                    <a:pt x="16" y="618"/>
                  </a:lnTo>
                  <a:lnTo>
                    <a:pt x="23" y="640"/>
                  </a:lnTo>
                  <a:lnTo>
                    <a:pt x="26" y="654"/>
                  </a:lnTo>
                  <a:lnTo>
                    <a:pt x="33" y="662"/>
                  </a:lnTo>
                  <a:lnTo>
                    <a:pt x="39" y="670"/>
                  </a:lnTo>
                  <a:lnTo>
                    <a:pt x="47" y="681"/>
                  </a:lnTo>
                  <a:lnTo>
                    <a:pt x="53" y="687"/>
                  </a:lnTo>
                  <a:lnTo>
                    <a:pt x="53" y="707"/>
                  </a:lnTo>
                  <a:lnTo>
                    <a:pt x="60" y="714"/>
                  </a:lnTo>
                  <a:lnTo>
                    <a:pt x="68" y="724"/>
                  </a:lnTo>
                  <a:lnTo>
                    <a:pt x="73" y="729"/>
                  </a:lnTo>
                  <a:lnTo>
                    <a:pt x="76" y="734"/>
                  </a:lnTo>
                  <a:lnTo>
                    <a:pt x="78" y="737"/>
                  </a:lnTo>
                  <a:lnTo>
                    <a:pt x="79" y="741"/>
                  </a:lnTo>
                  <a:lnTo>
                    <a:pt x="82" y="741"/>
                  </a:lnTo>
                  <a:lnTo>
                    <a:pt x="85" y="743"/>
                  </a:lnTo>
                  <a:lnTo>
                    <a:pt x="87" y="745"/>
                  </a:lnTo>
                  <a:lnTo>
                    <a:pt x="88" y="749"/>
                  </a:lnTo>
                  <a:lnTo>
                    <a:pt x="92" y="755"/>
                  </a:lnTo>
                  <a:lnTo>
                    <a:pt x="93" y="761"/>
                  </a:lnTo>
                  <a:lnTo>
                    <a:pt x="98" y="765"/>
                  </a:lnTo>
                  <a:lnTo>
                    <a:pt x="105" y="773"/>
                  </a:lnTo>
                  <a:lnTo>
                    <a:pt x="112" y="784"/>
                  </a:lnTo>
                  <a:lnTo>
                    <a:pt x="119" y="797"/>
                  </a:lnTo>
                  <a:lnTo>
                    <a:pt x="124" y="810"/>
                  </a:lnTo>
                  <a:lnTo>
                    <a:pt x="129" y="823"/>
                  </a:lnTo>
                  <a:lnTo>
                    <a:pt x="132" y="837"/>
                  </a:lnTo>
                  <a:lnTo>
                    <a:pt x="133" y="847"/>
                  </a:lnTo>
                  <a:lnTo>
                    <a:pt x="177" y="9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0" name="Freeform 13">
              <a:extLst>
                <a:ext uri="{FF2B5EF4-FFF2-40B4-BE49-F238E27FC236}">
                  <a16:creationId xmlns:a16="http://schemas.microsoft.com/office/drawing/2014/main" id="{821F5D50-4C18-494E-A4BF-05B8622312F8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651750" y="3730625"/>
              <a:ext cx="637266" cy="438150"/>
            </a:xfrm>
            <a:custGeom>
              <a:avLst/>
              <a:gdLst/>
              <a:ahLst/>
              <a:cxnLst>
                <a:cxn ang="0">
                  <a:pos x="390" y="237"/>
                </a:cxn>
                <a:cxn ang="0">
                  <a:pos x="276" y="310"/>
                </a:cxn>
                <a:cxn ang="0">
                  <a:pos x="198" y="352"/>
                </a:cxn>
                <a:cxn ang="0">
                  <a:pos x="51" y="389"/>
                </a:cxn>
                <a:cxn ang="0">
                  <a:pos x="0" y="426"/>
                </a:cxn>
                <a:cxn ang="0">
                  <a:pos x="167" y="461"/>
                </a:cxn>
                <a:cxn ang="0">
                  <a:pos x="262" y="410"/>
                </a:cxn>
                <a:cxn ang="0">
                  <a:pos x="366" y="446"/>
                </a:cxn>
                <a:cxn ang="0">
                  <a:pos x="621" y="506"/>
                </a:cxn>
                <a:cxn ang="0">
                  <a:pos x="728" y="575"/>
                </a:cxn>
                <a:cxn ang="0">
                  <a:pos x="809" y="629"/>
                </a:cxn>
                <a:cxn ang="0">
                  <a:pos x="912" y="695"/>
                </a:cxn>
                <a:cxn ang="0">
                  <a:pos x="974" y="742"/>
                </a:cxn>
                <a:cxn ang="0">
                  <a:pos x="1027" y="1030"/>
                </a:cxn>
                <a:cxn ang="0">
                  <a:pos x="1126" y="974"/>
                </a:cxn>
                <a:cxn ang="0">
                  <a:pos x="1310" y="1136"/>
                </a:cxn>
                <a:cxn ang="0">
                  <a:pos x="1531" y="1391"/>
                </a:cxn>
                <a:cxn ang="0">
                  <a:pos x="1589" y="1471"/>
                </a:cxn>
                <a:cxn ang="0">
                  <a:pos x="1757" y="1567"/>
                </a:cxn>
                <a:cxn ang="0">
                  <a:pos x="1975" y="1607"/>
                </a:cxn>
                <a:cxn ang="0">
                  <a:pos x="2328" y="1649"/>
                </a:cxn>
                <a:cxn ang="0">
                  <a:pos x="2386" y="1751"/>
                </a:cxn>
                <a:cxn ang="0">
                  <a:pos x="2448" y="1891"/>
                </a:cxn>
                <a:cxn ang="0">
                  <a:pos x="2499" y="2015"/>
                </a:cxn>
                <a:cxn ang="0">
                  <a:pos x="2602" y="2099"/>
                </a:cxn>
                <a:cxn ang="0">
                  <a:pos x="2700" y="2226"/>
                </a:cxn>
                <a:cxn ang="0">
                  <a:pos x="2770" y="2371"/>
                </a:cxn>
                <a:cxn ang="0">
                  <a:pos x="2803" y="2449"/>
                </a:cxn>
                <a:cxn ang="0">
                  <a:pos x="2890" y="2510"/>
                </a:cxn>
                <a:cxn ang="0">
                  <a:pos x="3011" y="2564"/>
                </a:cxn>
                <a:cxn ang="0">
                  <a:pos x="3116" y="2588"/>
                </a:cxn>
                <a:cxn ang="0">
                  <a:pos x="3204" y="2650"/>
                </a:cxn>
                <a:cxn ang="0">
                  <a:pos x="3308" y="2704"/>
                </a:cxn>
                <a:cxn ang="0">
                  <a:pos x="3522" y="2627"/>
                </a:cxn>
                <a:cxn ang="0">
                  <a:pos x="3468" y="2531"/>
                </a:cxn>
                <a:cxn ang="0">
                  <a:pos x="3400" y="2388"/>
                </a:cxn>
                <a:cxn ang="0">
                  <a:pos x="3385" y="2176"/>
                </a:cxn>
                <a:cxn ang="0">
                  <a:pos x="3226" y="2130"/>
                </a:cxn>
                <a:cxn ang="0">
                  <a:pos x="2924" y="2134"/>
                </a:cxn>
                <a:cxn ang="0">
                  <a:pos x="2817" y="2025"/>
                </a:cxn>
                <a:cxn ang="0">
                  <a:pos x="2686" y="1894"/>
                </a:cxn>
                <a:cxn ang="0">
                  <a:pos x="2646" y="1654"/>
                </a:cxn>
                <a:cxn ang="0">
                  <a:pos x="2558" y="1522"/>
                </a:cxn>
                <a:cxn ang="0">
                  <a:pos x="2489" y="1168"/>
                </a:cxn>
                <a:cxn ang="0">
                  <a:pos x="2428" y="1090"/>
                </a:cxn>
                <a:cxn ang="0">
                  <a:pos x="2386" y="879"/>
                </a:cxn>
                <a:cxn ang="0">
                  <a:pos x="2189" y="842"/>
                </a:cxn>
                <a:cxn ang="0">
                  <a:pos x="2076" y="899"/>
                </a:cxn>
                <a:cxn ang="0">
                  <a:pos x="1914" y="854"/>
                </a:cxn>
                <a:cxn ang="0">
                  <a:pos x="1702" y="748"/>
                </a:cxn>
                <a:cxn ang="0">
                  <a:pos x="1586" y="706"/>
                </a:cxn>
                <a:cxn ang="0">
                  <a:pos x="1529" y="669"/>
                </a:cxn>
                <a:cxn ang="0">
                  <a:pos x="1468" y="634"/>
                </a:cxn>
                <a:cxn ang="0">
                  <a:pos x="1315" y="567"/>
                </a:cxn>
                <a:cxn ang="0">
                  <a:pos x="1193" y="497"/>
                </a:cxn>
                <a:cxn ang="0">
                  <a:pos x="1142" y="347"/>
                </a:cxn>
                <a:cxn ang="0">
                  <a:pos x="1121" y="180"/>
                </a:cxn>
                <a:cxn ang="0">
                  <a:pos x="1024" y="84"/>
                </a:cxn>
                <a:cxn ang="0">
                  <a:pos x="974" y="29"/>
                </a:cxn>
                <a:cxn ang="0">
                  <a:pos x="917" y="3"/>
                </a:cxn>
                <a:cxn ang="0">
                  <a:pos x="656" y="32"/>
                </a:cxn>
                <a:cxn ang="0">
                  <a:pos x="537" y="78"/>
                </a:cxn>
              </a:cxnLst>
              <a:rect l="0" t="0" r="r" b="b"/>
              <a:pathLst>
                <a:path w="3522" h="2714">
                  <a:moveTo>
                    <a:pt x="432" y="122"/>
                  </a:moveTo>
                  <a:lnTo>
                    <a:pt x="416" y="134"/>
                  </a:lnTo>
                  <a:lnTo>
                    <a:pt x="408" y="140"/>
                  </a:lnTo>
                  <a:lnTo>
                    <a:pt x="406" y="142"/>
                  </a:lnTo>
                  <a:lnTo>
                    <a:pt x="404" y="147"/>
                  </a:lnTo>
                  <a:lnTo>
                    <a:pt x="404" y="151"/>
                  </a:lnTo>
                  <a:lnTo>
                    <a:pt x="404" y="158"/>
                  </a:lnTo>
                  <a:lnTo>
                    <a:pt x="401" y="159"/>
                  </a:lnTo>
                  <a:lnTo>
                    <a:pt x="400" y="164"/>
                  </a:lnTo>
                  <a:lnTo>
                    <a:pt x="399" y="170"/>
                  </a:lnTo>
                  <a:lnTo>
                    <a:pt x="398" y="177"/>
                  </a:lnTo>
                  <a:lnTo>
                    <a:pt x="397" y="192"/>
                  </a:lnTo>
                  <a:lnTo>
                    <a:pt x="397" y="202"/>
                  </a:lnTo>
                  <a:lnTo>
                    <a:pt x="394" y="203"/>
                  </a:lnTo>
                  <a:lnTo>
                    <a:pt x="392" y="206"/>
                  </a:lnTo>
                  <a:lnTo>
                    <a:pt x="391" y="211"/>
                  </a:lnTo>
                  <a:lnTo>
                    <a:pt x="390" y="216"/>
                  </a:lnTo>
                  <a:lnTo>
                    <a:pt x="390" y="228"/>
                  </a:lnTo>
                  <a:lnTo>
                    <a:pt x="390" y="237"/>
                  </a:lnTo>
                  <a:lnTo>
                    <a:pt x="383" y="244"/>
                  </a:lnTo>
                  <a:lnTo>
                    <a:pt x="368" y="260"/>
                  </a:lnTo>
                  <a:lnTo>
                    <a:pt x="360" y="269"/>
                  </a:lnTo>
                  <a:lnTo>
                    <a:pt x="353" y="276"/>
                  </a:lnTo>
                  <a:lnTo>
                    <a:pt x="349" y="283"/>
                  </a:lnTo>
                  <a:lnTo>
                    <a:pt x="346" y="288"/>
                  </a:lnTo>
                  <a:lnTo>
                    <a:pt x="341" y="288"/>
                  </a:lnTo>
                  <a:lnTo>
                    <a:pt x="336" y="289"/>
                  </a:lnTo>
                  <a:lnTo>
                    <a:pt x="334" y="290"/>
                  </a:lnTo>
                  <a:lnTo>
                    <a:pt x="333" y="291"/>
                  </a:lnTo>
                  <a:lnTo>
                    <a:pt x="332" y="293"/>
                  </a:lnTo>
                  <a:lnTo>
                    <a:pt x="332" y="295"/>
                  </a:lnTo>
                  <a:lnTo>
                    <a:pt x="288" y="295"/>
                  </a:lnTo>
                  <a:lnTo>
                    <a:pt x="282" y="302"/>
                  </a:lnTo>
                  <a:lnTo>
                    <a:pt x="282" y="307"/>
                  </a:lnTo>
                  <a:lnTo>
                    <a:pt x="281" y="309"/>
                  </a:lnTo>
                  <a:lnTo>
                    <a:pt x="279" y="309"/>
                  </a:lnTo>
                  <a:lnTo>
                    <a:pt x="278" y="310"/>
                  </a:lnTo>
                  <a:lnTo>
                    <a:pt x="276" y="310"/>
                  </a:lnTo>
                  <a:lnTo>
                    <a:pt x="275" y="310"/>
                  </a:lnTo>
                  <a:lnTo>
                    <a:pt x="275" y="312"/>
                  </a:lnTo>
                  <a:lnTo>
                    <a:pt x="274" y="317"/>
                  </a:lnTo>
                  <a:lnTo>
                    <a:pt x="259" y="317"/>
                  </a:lnTo>
                  <a:lnTo>
                    <a:pt x="253" y="324"/>
                  </a:lnTo>
                  <a:lnTo>
                    <a:pt x="253" y="328"/>
                  </a:lnTo>
                  <a:lnTo>
                    <a:pt x="252" y="330"/>
                  </a:lnTo>
                  <a:lnTo>
                    <a:pt x="250" y="331"/>
                  </a:lnTo>
                  <a:lnTo>
                    <a:pt x="249" y="331"/>
                  </a:lnTo>
                  <a:lnTo>
                    <a:pt x="248" y="331"/>
                  </a:lnTo>
                  <a:lnTo>
                    <a:pt x="247" y="332"/>
                  </a:lnTo>
                  <a:lnTo>
                    <a:pt x="246" y="334"/>
                  </a:lnTo>
                  <a:lnTo>
                    <a:pt x="246" y="338"/>
                  </a:lnTo>
                  <a:lnTo>
                    <a:pt x="231" y="338"/>
                  </a:lnTo>
                  <a:lnTo>
                    <a:pt x="230" y="342"/>
                  </a:lnTo>
                  <a:lnTo>
                    <a:pt x="227" y="346"/>
                  </a:lnTo>
                  <a:lnTo>
                    <a:pt x="221" y="348"/>
                  </a:lnTo>
                  <a:lnTo>
                    <a:pt x="215" y="350"/>
                  </a:lnTo>
                  <a:lnTo>
                    <a:pt x="198" y="352"/>
                  </a:lnTo>
                  <a:lnTo>
                    <a:pt x="179" y="353"/>
                  </a:lnTo>
                  <a:lnTo>
                    <a:pt x="140" y="353"/>
                  </a:lnTo>
                  <a:lnTo>
                    <a:pt x="115" y="352"/>
                  </a:lnTo>
                  <a:lnTo>
                    <a:pt x="114" y="356"/>
                  </a:lnTo>
                  <a:lnTo>
                    <a:pt x="111" y="358"/>
                  </a:lnTo>
                  <a:lnTo>
                    <a:pt x="106" y="360"/>
                  </a:lnTo>
                  <a:lnTo>
                    <a:pt x="101" y="362"/>
                  </a:lnTo>
                  <a:lnTo>
                    <a:pt x="89" y="366"/>
                  </a:lnTo>
                  <a:lnTo>
                    <a:pt x="80" y="367"/>
                  </a:lnTo>
                  <a:lnTo>
                    <a:pt x="78" y="369"/>
                  </a:lnTo>
                  <a:lnTo>
                    <a:pt x="75" y="371"/>
                  </a:lnTo>
                  <a:lnTo>
                    <a:pt x="71" y="373"/>
                  </a:lnTo>
                  <a:lnTo>
                    <a:pt x="65" y="376"/>
                  </a:lnTo>
                  <a:lnTo>
                    <a:pt x="60" y="378"/>
                  </a:lnTo>
                  <a:lnTo>
                    <a:pt x="55" y="380"/>
                  </a:lnTo>
                  <a:lnTo>
                    <a:pt x="54" y="382"/>
                  </a:lnTo>
                  <a:lnTo>
                    <a:pt x="52" y="384"/>
                  </a:lnTo>
                  <a:lnTo>
                    <a:pt x="52" y="386"/>
                  </a:lnTo>
                  <a:lnTo>
                    <a:pt x="51" y="389"/>
                  </a:lnTo>
                  <a:lnTo>
                    <a:pt x="43" y="389"/>
                  </a:lnTo>
                  <a:lnTo>
                    <a:pt x="37" y="390"/>
                  </a:lnTo>
                  <a:lnTo>
                    <a:pt x="35" y="391"/>
                  </a:lnTo>
                  <a:lnTo>
                    <a:pt x="35" y="392"/>
                  </a:lnTo>
                  <a:lnTo>
                    <a:pt x="35" y="394"/>
                  </a:lnTo>
                  <a:lnTo>
                    <a:pt x="35" y="395"/>
                  </a:lnTo>
                  <a:lnTo>
                    <a:pt x="33" y="396"/>
                  </a:lnTo>
                  <a:lnTo>
                    <a:pt x="29" y="396"/>
                  </a:lnTo>
                  <a:lnTo>
                    <a:pt x="29" y="400"/>
                  </a:lnTo>
                  <a:lnTo>
                    <a:pt x="28" y="402"/>
                  </a:lnTo>
                  <a:lnTo>
                    <a:pt x="27" y="402"/>
                  </a:lnTo>
                  <a:lnTo>
                    <a:pt x="26" y="404"/>
                  </a:lnTo>
                  <a:lnTo>
                    <a:pt x="24" y="404"/>
                  </a:lnTo>
                  <a:lnTo>
                    <a:pt x="23" y="404"/>
                  </a:lnTo>
                  <a:lnTo>
                    <a:pt x="23" y="406"/>
                  </a:lnTo>
                  <a:lnTo>
                    <a:pt x="22" y="410"/>
                  </a:lnTo>
                  <a:lnTo>
                    <a:pt x="8" y="410"/>
                  </a:lnTo>
                  <a:lnTo>
                    <a:pt x="0" y="417"/>
                  </a:lnTo>
                  <a:lnTo>
                    <a:pt x="0" y="426"/>
                  </a:lnTo>
                  <a:lnTo>
                    <a:pt x="0" y="439"/>
                  </a:lnTo>
                  <a:lnTo>
                    <a:pt x="0" y="452"/>
                  </a:lnTo>
                  <a:lnTo>
                    <a:pt x="0" y="461"/>
                  </a:lnTo>
                  <a:lnTo>
                    <a:pt x="12" y="464"/>
                  </a:lnTo>
                  <a:lnTo>
                    <a:pt x="22" y="468"/>
                  </a:lnTo>
                  <a:lnTo>
                    <a:pt x="23" y="469"/>
                  </a:lnTo>
                  <a:lnTo>
                    <a:pt x="26" y="471"/>
                  </a:lnTo>
                  <a:lnTo>
                    <a:pt x="30" y="472"/>
                  </a:lnTo>
                  <a:lnTo>
                    <a:pt x="36" y="472"/>
                  </a:lnTo>
                  <a:lnTo>
                    <a:pt x="51" y="474"/>
                  </a:lnTo>
                  <a:lnTo>
                    <a:pt x="67" y="474"/>
                  </a:lnTo>
                  <a:lnTo>
                    <a:pt x="101" y="475"/>
                  </a:lnTo>
                  <a:lnTo>
                    <a:pt x="123" y="475"/>
                  </a:lnTo>
                  <a:lnTo>
                    <a:pt x="124" y="473"/>
                  </a:lnTo>
                  <a:lnTo>
                    <a:pt x="129" y="469"/>
                  </a:lnTo>
                  <a:lnTo>
                    <a:pt x="134" y="467"/>
                  </a:lnTo>
                  <a:lnTo>
                    <a:pt x="142" y="465"/>
                  </a:lnTo>
                  <a:lnTo>
                    <a:pt x="157" y="462"/>
                  </a:lnTo>
                  <a:lnTo>
                    <a:pt x="167" y="461"/>
                  </a:lnTo>
                  <a:lnTo>
                    <a:pt x="167" y="458"/>
                  </a:lnTo>
                  <a:lnTo>
                    <a:pt x="168" y="456"/>
                  </a:lnTo>
                  <a:lnTo>
                    <a:pt x="169" y="455"/>
                  </a:lnTo>
                  <a:lnTo>
                    <a:pt x="171" y="455"/>
                  </a:lnTo>
                  <a:lnTo>
                    <a:pt x="176" y="454"/>
                  </a:lnTo>
                  <a:lnTo>
                    <a:pt x="180" y="454"/>
                  </a:lnTo>
                  <a:lnTo>
                    <a:pt x="195" y="439"/>
                  </a:lnTo>
                  <a:lnTo>
                    <a:pt x="202" y="438"/>
                  </a:lnTo>
                  <a:lnTo>
                    <a:pt x="210" y="437"/>
                  </a:lnTo>
                  <a:lnTo>
                    <a:pt x="217" y="435"/>
                  </a:lnTo>
                  <a:lnTo>
                    <a:pt x="224" y="432"/>
                  </a:lnTo>
                  <a:lnTo>
                    <a:pt x="230" y="429"/>
                  </a:lnTo>
                  <a:lnTo>
                    <a:pt x="238" y="427"/>
                  </a:lnTo>
                  <a:lnTo>
                    <a:pt x="245" y="425"/>
                  </a:lnTo>
                  <a:lnTo>
                    <a:pt x="253" y="425"/>
                  </a:lnTo>
                  <a:lnTo>
                    <a:pt x="259" y="417"/>
                  </a:lnTo>
                  <a:lnTo>
                    <a:pt x="260" y="414"/>
                  </a:lnTo>
                  <a:lnTo>
                    <a:pt x="260" y="411"/>
                  </a:lnTo>
                  <a:lnTo>
                    <a:pt x="262" y="410"/>
                  </a:lnTo>
                  <a:lnTo>
                    <a:pt x="264" y="410"/>
                  </a:lnTo>
                  <a:lnTo>
                    <a:pt x="265" y="410"/>
                  </a:lnTo>
                  <a:lnTo>
                    <a:pt x="266" y="409"/>
                  </a:lnTo>
                  <a:lnTo>
                    <a:pt x="267" y="407"/>
                  </a:lnTo>
                  <a:lnTo>
                    <a:pt x="267" y="404"/>
                  </a:lnTo>
                  <a:lnTo>
                    <a:pt x="325" y="404"/>
                  </a:lnTo>
                  <a:lnTo>
                    <a:pt x="325" y="406"/>
                  </a:lnTo>
                  <a:lnTo>
                    <a:pt x="326" y="407"/>
                  </a:lnTo>
                  <a:lnTo>
                    <a:pt x="327" y="408"/>
                  </a:lnTo>
                  <a:lnTo>
                    <a:pt x="330" y="409"/>
                  </a:lnTo>
                  <a:lnTo>
                    <a:pt x="334" y="410"/>
                  </a:lnTo>
                  <a:lnTo>
                    <a:pt x="339" y="410"/>
                  </a:lnTo>
                  <a:lnTo>
                    <a:pt x="340" y="416"/>
                  </a:lnTo>
                  <a:lnTo>
                    <a:pt x="341" y="421"/>
                  </a:lnTo>
                  <a:lnTo>
                    <a:pt x="343" y="426"/>
                  </a:lnTo>
                  <a:lnTo>
                    <a:pt x="346" y="432"/>
                  </a:lnTo>
                  <a:lnTo>
                    <a:pt x="351" y="439"/>
                  </a:lnTo>
                  <a:lnTo>
                    <a:pt x="353" y="446"/>
                  </a:lnTo>
                  <a:lnTo>
                    <a:pt x="366" y="446"/>
                  </a:lnTo>
                  <a:lnTo>
                    <a:pt x="368" y="450"/>
                  </a:lnTo>
                  <a:lnTo>
                    <a:pt x="368" y="453"/>
                  </a:lnTo>
                  <a:lnTo>
                    <a:pt x="369" y="454"/>
                  </a:lnTo>
                  <a:lnTo>
                    <a:pt x="371" y="454"/>
                  </a:lnTo>
                  <a:lnTo>
                    <a:pt x="372" y="454"/>
                  </a:lnTo>
                  <a:lnTo>
                    <a:pt x="373" y="454"/>
                  </a:lnTo>
                  <a:lnTo>
                    <a:pt x="374" y="456"/>
                  </a:lnTo>
                  <a:lnTo>
                    <a:pt x="374" y="461"/>
                  </a:lnTo>
                  <a:lnTo>
                    <a:pt x="498" y="461"/>
                  </a:lnTo>
                  <a:lnTo>
                    <a:pt x="519" y="461"/>
                  </a:lnTo>
                  <a:lnTo>
                    <a:pt x="534" y="475"/>
                  </a:lnTo>
                  <a:lnTo>
                    <a:pt x="555" y="475"/>
                  </a:lnTo>
                  <a:lnTo>
                    <a:pt x="570" y="490"/>
                  </a:lnTo>
                  <a:lnTo>
                    <a:pt x="584" y="490"/>
                  </a:lnTo>
                  <a:lnTo>
                    <a:pt x="589" y="492"/>
                  </a:lnTo>
                  <a:lnTo>
                    <a:pt x="600" y="496"/>
                  </a:lnTo>
                  <a:lnTo>
                    <a:pt x="611" y="502"/>
                  </a:lnTo>
                  <a:lnTo>
                    <a:pt x="620" y="504"/>
                  </a:lnTo>
                  <a:lnTo>
                    <a:pt x="621" y="506"/>
                  </a:lnTo>
                  <a:lnTo>
                    <a:pt x="622" y="509"/>
                  </a:lnTo>
                  <a:lnTo>
                    <a:pt x="624" y="510"/>
                  </a:lnTo>
                  <a:lnTo>
                    <a:pt x="628" y="512"/>
                  </a:lnTo>
                  <a:lnTo>
                    <a:pt x="630" y="514"/>
                  </a:lnTo>
                  <a:lnTo>
                    <a:pt x="632" y="517"/>
                  </a:lnTo>
                  <a:lnTo>
                    <a:pt x="634" y="521"/>
                  </a:lnTo>
                  <a:lnTo>
                    <a:pt x="634" y="525"/>
                  </a:lnTo>
                  <a:lnTo>
                    <a:pt x="647" y="530"/>
                  </a:lnTo>
                  <a:lnTo>
                    <a:pt x="663" y="533"/>
                  </a:lnTo>
                  <a:lnTo>
                    <a:pt x="670" y="548"/>
                  </a:lnTo>
                  <a:lnTo>
                    <a:pt x="677" y="548"/>
                  </a:lnTo>
                  <a:lnTo>
                    <a:pt x="684" y="550"/>
                  </a:lnTo>
                  <a:lnTo>
                    <a:pt x="690" y="552"/>
                  </a:lnTo>
                  <a:lnTo>
                    <a:pt x="698" y="557"/>
                  </a:lnTo>
                  <a:lnTo>
                    <a:pt x="704" y="561"/>
                  </a:lnTo>
                  <a:lnTo>
                    <a:pt x="709" y="565"/>
                  </a:lnTo>
                  <a:lnTo>
                    <a:pt x="713" y="571"/>
                  </a:lnTo>
                  <a:lnTo>
                    <a:pt x="714" y="575"/>
                  </a:lnTo>
                  <a:lnTo>
                    <a:pt x="728" y="575"/>
                  </a:lnTo>
                  <a:lnTo>
                    <a:pt x="736" y="590"/>
                  </a:lnTo>
                  <a:lnTo>
                    <a:pt x="743" y="598"/>
                  </a:lnTo>
                  <a:lnTo>
                    <a:pt x="749" y="599"/>
                  </a:lnTo>
                  <a:lnTo>
                    <a:pt x="756" y="602"/>
                  </a:lnTo>
                  <a:lnTo>
                    <a:pt x="759" y="605"/>
                  </a:lnTo>
                  <a:lnTo>
                    <a:pt x="762" y="607"/>
                  </a:lnTo>
                  <a:lnTo>
                    <a:pt x="764" y="609"/>
                  </a:lnTo>
                  <a:lnTo>
                    <a:pt x="764" y="612"/>
                  </a:lnTo>
                  <a:lnTo>
                    <a:pt x="778" y="612"/>
                  </a:lnTo>
                  <a:lnTo>
                    <a:pt x="780" y="616"/>
                  </a:lnTo>
                  <a:lnTo>
                    <a:pt x="780" y="618"/>
                  </a:lnTo>
                  <a:lnTo>
                    <a:pt x="781" y="619"/>
                  </a:lnTo>
                  <a:lnTo>
                    <a:pt x="782" y="619"/>
                  </a:lnTo>
                  <a:lnTo>
                    <a:pt x="784" y="619"/>
                  </a:lnTo>
                  <a:lnTo>
                    <a:pt x="785" y="620"/>
                  </a:lnTo>
                  <a:lnTo>
                    <a:pt x="785" y="622"/>
                  </a:lnTo>
                  <a:lnTo>
                    <a:pt x="786" y="627"/>
                  </a:lnTo>
                  <a:lnTo>
                    <a:pt x="807" y="627"/>
                  </a:lnTo>
                  <a:lnTo>
                    <a:pt x="809" y="629"/>
                  </a:lnTo>
                  <a:lnTo>
                    <a:pt x="812" y="631"/>
                  </a:lnTo>
                  <a:lnTo>
                    <a:pt x="817" y="635"/>
                  </a:lnTo>
                  <a:lnTo>
                    <a:pt x="823" y="637"/>
                  </a:lnTo>
                  <a:lnTo>
                    <a:pt x="835" y="639"/>
                  </a:lnTo>
                  <a:lnTo>
                    <a:pt x="843" y="641"/>
                  </a:lnTo>
                  <a:lnTo>
                    <a:pt x="844" y="644"/>
                  </a:lnTo>
                  <a:lnTo>
                    <a:pt x="845" y="646"/>
                  </a:lnTo>
                  <a:lnTo>
                    <a:pt x="849" y="649"/>
                  </a:lnTo>
                  <a:lnTo>
                    <a:pt x="851" y="651"/>
                  </a:lnTo>
                  <a:lnTo>
                    <a:pt x="860" y="657"/>
                  </a:lnTo>
                  <a:lnTo>
                    <a:pt x="869" y="663"/>
                  </a:lnTo>
                  <a:lnTo>
                    <a:pt x="878" y="668"/>
                  </a:lnTo>
                  <a:lnTo>
                    <a:pt x="886" y="674"/>
                  </a:lnTo>
                  <a:lnTo>
                    <a:pt x="889" y="676"/>
                  </a:lnTo>
                  <a:lnTo>
                    <a:pt x="892" y="678"/>
                  </a:lnTo>
                  <a:lnTo>
                    <a:pt x="893" y="682"/>
                  </a:lnTo>
                  <a:lnTo>
                    <a:pt x="895" y="684"/>
                  </a:lnTo>
                  <a:lnTo>
                    <a:pt x="901" y="692"/>
                  </a:lnTo>
                  <a:lnTo>
                    <a:pt x="912" y="695"/>
                  </a:lnTo>
                  <a:lnTo>
                    <a:pt x="922" y="698"/>
                  </a:lnTo>
                  <a:lnTo>
                    <a:pt x="924" y="702"/>
                  </a:lnTo>
                  <a:lnTo>
                    <a:pt x="925" y="705"/>
                  </a:lnTo>
                  <a:lnTo>
                    <a:pt x="928" y="708"/>
                  </a:lnTo>
                  <a:lnTo>
                    <a:pt x="931" y="712"/>
                  </a:lnTo>
                  <a:lnTo>
                    <a:pt x="935" y="715"/>
                  </a:lnTo>
                  <a:lnTo>
                    <a:pt x="938" y="717"/>
                  </a:lnTo>
                  <a:lnTo>
                    <a:pt x="941" y="719"/>
                  </a:lnTo>
                  <a:lnTo>
                    <a:pt x="945" y="721"/>
                  </a:lnTo>
                  <a:lnTo>
                    <a:pt x="951" y="727"/>
                  </a:lnTo>
                  <a:lnTo>
                    <a:pt x="951" y="732"/>
                  </a:lnTo>
                  <a:lnTo>
                    <a:pt x="953" y="734"/>
                  </a:lnTo>
                  <a:lnTo>
                    <a:pt x="954" y="734"/>
                  </a:lnTo>
                  <a:lnTo>
                    <a:pt x="955" y="734"/>
                  </a:lnTo>
                  <a:lnTo>
                    <a:pt x="957" y="735"/>
                  </a:lnTo>
                  <a:lnTo>
                    <a:pt x="958" y="735"/>
                  </a:lnTo>
                  <a:lnTo>
                    <a:pt x="958" y="737"/>
                  </a:lnTo>
                  <a:lnTo>
                    <a:pt x="959" y="742"/>
                  </a:lnTo>
                  <a:lnTo>
                    <a:pt x="974" y="742"/>
                  </a:lnTo>
                  <a:lnTo>
                    <a:pt x="980" y="748"/>
                  </a:lnTo>
                  <a:lnTo>
                    <a:pt x="987" y="756"/>
                  </a:lnTo>
                  <a:lnTo>
                    <a:pt x="989" y="763"/>
                  </a:lnTo>
                  <a:lnTo>
                    <a:pt x="992" y="770"/>
                  </a:lnTo>
                  <a:lnTo>
                    <a:pt x="994" y="773"/>
                  </a:lnTo>
                  <a:lnTo>
                    <a:pt x="997" y="775"/>
                  </a:lnTo>
                  <a:lnTo>
                    <a:pt x="999" y="777"/>
                  </a:lnTo>
                  <a:lnTo>
                    <a:pt x="1002" y="777"/>
                  </a:lnTo>
                  <a:lnTo>
                    <a:pt x="1009" y="792"/>
                  </a:lnTo>
                  <a:lnTo>
                    <a:pt x="1009" y="820"/>
                  </a:lnTo>
                  <a:lnTo>
                    <a:pt x="1009" y="849"/>
                  </a:lnTo>
                  <a:lnTo>
                    <a:pt x="1009" y="878"/>
                  </a:lnTo>
                  <a:lnTo>
                    <a:pt x="1009" y="907"/>
                  </a:lnTo>
                  <a:lnTo>
                    <a:pt x="1009" y="937"/>
                  </a:lnTo>
                  <a:lnTo>
                    <a:pt x="1009" y="966"/>
                  </a:lnTo>
                  <a:lnTo>
                    <a:pt x="1009" y="995"/>
                  </a:lnTo>
                  <a:lnTo>
                    <a:pt x="1009" y="1023"/>
                  </a:lnTo>
                  <a:lnTo>
                    <a:pt x="1016" y="1030"/>
                  </a:lnTo>
                  <a:lnTo>
                    <a:pt x="1027" y="1030"/>
                  </a:lnTo>
                  <a:lnTo>
                    <a:pt x="1039" y="1030"/>
                  </a:lnTo>
                  <a:lnTo>
                    <a:pt x="1039" y="1015"/>
                  </a:lnTo>
                  <a:lnTo>
                    <a:pt x="1045" y="1009"/>
                  </a:lnTo>
                  <a:lnTo>
                    <a:pt x="1051" y="1007"/>
                  </a:lnTo>
                  <a:lnTo>
                    <a:pt x="1055" y="1004"/>
                  </a:lnTo>
                  <a:lnTo>
                    <a:pt x="1059" y="1000"/>
                  </a:lnTo>
                  <a:lnTo>
                    <a:pt x="1060" y="994"/>
                  </a:lnTo>
                  <a:lnTo>
                    <a:pt x="1074" y="994"/>
                  </a:lnTo>
                  <a:lnTo>
                    <a:pt x="1074" y="992"/>
                  </a:lnTo>
                  <a:lnTo>
                    <a:pt x="1075" y="990"/>
                  </a:lnTo>
                  <a:lnTo>
                    <a:pt x="1076" y="987"/>
                  </a:lnTo>
                  <a:lnTo>
                    <a:pt x="1079" y="985"/>
                  </a:lnTo>
                  <a:lnTo>
                    <a:pt x="1084" y="983"/>
                  </a:lnTo>
                  <a:lnTo>
                    <a:pt x="1090" y="982"/>
                  </a:lnTo>
                  <a:lnTo>
                    <a:pt x="1104" y="979"/>
                  </a:lnTo>
                  <a:lnTo>
                    <a:pt x="1118" y="979"/>
                  </a:lnTo>
                  <a:lnTo>
                    <a:pt x="1119" y="977"/>
                  </a:lnTo>
                  <a:lnTo>
                    <a:pt x="1121" y="975"/>
                  </a:lnTo>
                  <a:lnTo>
                    <a:pt x="1126" y="974"/>
                  </a:lnTo>
                  <a:lnTo>
                    <a:pt x="1132" y="974"/>
                  </a:lnTo>
                  <a:lnTo>
                    <a:pt x="1147" y="973"/>
                  </a:lnTo>
                  <a:lnTo>
                    <a:pt x="1165" y="974"/>
                  </a:lnTo>
                  <a:lnTo>
                    <a:pt x="1196" y="977"/>
                  </a:lnTo>
                  <a:lnTo>
                    <a:pt x="1212" y="979"/>
                  </a:lnTo>
                  <a:lnTo>
                    <a:pt x="1212" y="982"/>
                  </a:lnTo>
                  <a:lnTo>
                    <a:pt x="1214" y="985"/>
                  </a:lnTo>
                  <a:lnTo>
                    <a:pt x="1216" y="987"/>
                  </a:lnTo>
                  <a:lnTo>
                    <a:pt x="1218" y="990"/>
                  </a:lnTo>
                  <a:lnTo>
                    <a:pt x="1223" y="993"/>
                  </a:lnTo>
                  <a:lnTo>
                    <a:pt x="1225" y="994"/>
                  </a:lnTo>
                  <a:lnTo>
                    <a:pt x="1225" y="1009"/>
                  </a:lnTo>
                  <a:lnTo>
                    <a:pt x="1239" y="1009"/>
                  </a:lnTo>
                  <a:lnTo>
                    <a:pt x="1239" y="1023"/>
                  </a:lnTo>
                  <a:lnTo>
                    <a:pt x="1239" y="1038"/>
                  </a:lnTo>
                  <a:lnTo>
                    <a:pt x="1254" y="1131"/>
                  </a:lnTo>
                  <a:lnTo>
                    <a:pt x="1262" y="1138"/>
                  </a:lnTo>
                  <a:lnTo>
                    <a:pt x="1286" y="1137"/>
                  </a:lnTo>
                  <a:lnTo>
                    <a:pt x="1310" y="1136"/>
                  </a:lnTo>
                  <a:lnTo>
                    <a:pt x="1334" y="1134"/>
                  </a:lnTo>
                  <a:lnTo>
                    <a:pt x="1359" y="1131"/>
                  </a:lnTo>
                  <a:lnTo>
                    <a:pt x="1383" y="1128"/>
                  </a:lnTo>
                  <a:lnTo>
                    <a:pt x="1407" y="1126"/>
                  </a:lnTo>
                  <a:lnTo>
                    <a:pt x="1431" y="1125"/>
                  </a:lnTo>
                  <a:lnTo>
                    <a:pt x="1456" y="1123"/>
                  </a:lnTo>
                  <a:lnTo>
                    <a:pt x="1457" y="1127"/>
                  </a:lnTo>
                  <a:lnTo>
                    <a:pt x="1460" y="1130"/>
                  </a:lnTo>
                  <a:lnTo>
                    <a:pt x="1466" y="1134"/>
                  </a:lnTo>
                  <a:lnTo>
                    <a:pt x="1472" y="1137"/>
                  </a:lnTo>
                  <a:lnTo>
                    <a:pt x="1484" y="1142"/>
                  </a:lnTo>
                  <a:lnTo>
                    <a:pt x="1492" y="1145"/>
                  </a:lnTo>
                  <a:lnTo>
                    <a:pt x="1500" y="1152"/>
                  </a:lnTo>
                  <a:lnTo>
                    <a:pt x="1501" y="1190"/>
                  </a:lnTo>
                  <a:lnTo>
                    <a:pt x="1503" y="1227"/>
                  </a:lnTo>
                  <a:lnTo>
                    <a:pt x="1505" y="1263"/>
                  </a:lnTo>
                  <a:lnTo>
                    <a:pt x="1506" y="1296"/>
                  </a:lnTo>
                  <a:lnTo>
                    <a:pt x="1529" y="1390"/>
                  </a:lnTo>
                  <a:lnTo>
                    <a:pt x="1531" y="1391"/>
                  </a:lnTo>
                  <a:lnTo>
                    <a:pt x="1533" y="1394"/>
                  </a:lnTo>
                  <a:lnTo>
                    <a:pt x="1536" y="1397"/>
                  </a:lnTo>
                  <a:lnTo>
                    <a:pt x="1538" y="1401"/>
                  </a:lnTo>
                  <a:lnTo>
                    <a:pt x="1541" y="1411"/>
                  </a:lnTo>
                  <a:lnTo>
                    <a:pt x="1543" y="1419"/>
                  </a:lnTo>
                  <a:lnTo>
                    <a:pt x="1550" y="1426"/>
                  </a:lnTo>
                  <a:lnTo>
                    <a:pt x="1556" y="1434"/>
                  </a:lnTo>
                  <a:lnTo>
                    <a:pt x="1564" y="1440"/>
                  </a:lnTo>
                  <a:lnTo>
                    <a:pt x="1571" y="1448"/>
                  </a:lnTo>
                  <a:lnTo>
                    <a:pt x="1575" y="1448"/>
                  </a:lnTo>
                  <a:lnTo>
                    <a:pt x="1578" y="1449"/>
                  </a:lnTo>
                  <a:lnTo>
                    <a:pt x="1579" y="1450"/>
                  </a:lnTo>
                  <a:lnTo>
                    <a:pt x="1579" y="1452"/>
                  </a:lnTo>
                  <a:lnTo>
                    <a:pt x="1579" y="1453"/>
                  </a:lnTo>
                  <a:lnTo>
                    <a:pt x="1580" y="1454"/>
                  </a:lnTo>
                  <a:lnTo>
                    <a:pt x="1582" y="1455"/>
                  </a:lnTo>
                  <a:lnTo>
                    <a:pt x="1586" y="1455"/>
                  </a:lnTo>
                  <a:lnTo>
                    <a:pt x="1586" y="1469"/>
                  </a:lnTo>
                  <a:lnTo>
                    <a:pt x="1589" y="1471"/>
                  </a:lnTo>
                  <a:lnTo>
                    <a:pt x="1592" y="1474"/>
                  </a:lnTo>
                  <a:lnTo>
                    <a:pt x="1596" y="1478"/>
                  </a:lnTo>
                  <a:lnTo>
                    <a:pt x="1599" y="1485"/>
                  </a:lnTo>
                  <a:lnTo>
                    <a:pt x="1604" y="1496"/>
                  </a:lnTo>
                  <a:lnTo>
                    <a:pt x="1608" y="1505"/>
                  </a:lnTo>
                  <a:lnTo>
                    <a:pt x="1611" y="1507"/>
                  </a:lnTo>
                  <a:lnTo>
                    <a:pt x="1615" y="1511"/>
                  </a:lnTo>
                  <a:lnTo>
                    <a:pt x="1620" y="1516"/>
                  </a:lnTo>
                  <a:lnTo>
                    <a:pt x="1625" y="1523"/>
                  </a:lnTo>
                  <a:lnTo>
                    <a:pt x="1632" y="1535"/>
                  </a:lnTo>
                  <a:lnTo>
                    <a:pt x="1636" y="1541"/>
                  </a:lnTo>
                  <a:lnTo>
                    <a:pt x="1641" y="1543"/>
                  </a:lnTo>
                  <a:lnTo>
                    <a:pt x="1646" y="1546"/>
                  </a:lnTo>
                  <a:lnTo>
                    <a:pt x="1649" y="1551"/>
                  </a:lnTo>
                  <a:lnTo>
                    <a:pt x="1650" y="1555"/>
                  </a:lnTo>
                  <a:lnTo>
                    <a:pt x="1673" y="1557"/>
                  </a:lnTo>
                  <a:lnTo>
                    <a:pt x="1698" y="1559"/>
                  </a:lnTo>
                  <a:lnTo>
                    <a:pt x="1726" y="1563"/>
                  </a:lnTo>
                  <a:lnTo>
                    <a:pt x="1757" y="1567"/>
                  </a:lnTo>
                  <a:lnTo>
                    <a:pt x="1789" y="1571"/>
                  </a:lnTo>
                  <a:lnTo>
                    <a:pt x="1819" y="1574"/>
                  </a:lnTo>
                  <a:lnTo>
                    <a:pt x="1848" y="1577"/>
                  </a:lnTo>
                  <a:lnTo>
                    <a:pt x="1874" y="1578"/>
                  </a:lnTo>
                  <a:lnTo>
                    <a:pt x="1875" y="1577"/>
                  </a:lnTo>
                  <a:lnTo>
                    <a:pt x="1877" y="1575"/>
                  </a:lnTo>
                  <a:lnTo>
                    <a:pt x="1879" y="1574"/>
                  </a:lnTo>
                  <a:lnTo>
                    <a:pt x="1884" y="1573"/>
                  </a:lnTo>
                  <a:lnTo>
                    <a:pt x="1892" y="1572"/>
                  </a:lnTo>
                  <a:lnTo>
                    <a:pt x="1905" y="1571"/>
                  </a:lnTo>
                  <a:lnTo>
                    <a:pt x="1928" y="1570"/>
                  </a:lnTo>
                  <a:lnTo>
                    <a:pt x="1946" y="1570"/>
                  </a:lnTo>
                  <a:lnTo>
                    <a:pt x="1953" y="1578"/>
                  </a:lnTo>
                  <a:lnTo>
                    <a:pt x="1956" y="1586"/>
                  </a:lnTo>
                  <a:lnTo>
                    <a:pt x="1962" y="1594"/>
                  </a:lnTo>
                  <a:lnTo>
                    <a:pt x="1965" y="1599"/>
                  </a:lnTo>
                  <a:lnTo>
                    <a:pt x="1968" y="1602"/>
                  </a:lnTo>
                  <a:lnTo>
                    <a:pt x="1972" y="1606"/>
                  </a:lnTo>
                  <a:lnTo>
                    <a:pt x="1975" y="1607"/>
                  </a:lnTo>
                  <a:lnTo>
                    <a:pt x="1982" y="1613"/>
                  </a:lnTo>
                  <a:lnTo>
                    <a:pt x="1986" y="1625"/>
                  </a:lnTo>
                  <a:lnTo>
                    <a:pt x="1990" y="1635"/>
                  </a:lnTo>
                  <a:lnTo>
                    <a:pt x="2024" y="1634"/>
                  </a:lnTo>
                  <a:lnTo>
                    <a:pt x="2061" y="1631"/>
                  </a:lnTo>
                  <a:lnTo>
                    <a:pt x="2096" y="1629"/>
                  </a:lnTo>
                  <a:lnTo>
                    <a:pt x="2126" y="1628"/>
                  </a:lnTo>
                  <a:lnTo>
                    <a:pt x="2127" y="1626"/>
                  </a:lnTo>
                  <a:lnTo>
                    <a:pt x="2128" y="1623"/>
                  </a:lnTo>
                  <a:lnTo>
                    <a:pt x="2131" y="1622"/>
                  </a:lnTo>
                  <a:lnTo>
                    <a:pt x="2135" y="1620"/>
                  </a:lnTo>
                  <a:lnTo>
                    <a:pt x="2145" y="1619"/>
                  </a:lnTo>
                  <a:lnTo>
                    <a:pt x="2158" y="1619"/>
                  </a:lnTo>
                  <a:lnTo>
                    <a:pt x="2191" y="1622"/>
                  </a:lnTo>
                  <a:lnTo>
                    <a:pt x="2227" y="1628"/>
                  </a:lnTo>
                  <a:lnTo>
                    <a:pt x="2264" y="1635"/>
                  </a:lnTo>
                  <a:lnTo>
                    <a:pt x="2297" y="1642"/>
                  </a:lnTo>
                  <a:lnTo>
                    <a:pt x="2319" y="1647"/>
                  </a:lnTo>
                  <a:lnTo>
                    <a:pt x="2328" y="1649"/>
                  </a:lnTo>
                  <a:lnTo>
                    <a:pt x="2329" y="1655"/>
                  </a:lnTo>
                  <a:lnTo>
                    <a:pt x="2332" y="1659"/>
                  </a:lnTo>
                  <a:lnTo>
                    <a:pt x="2337" y="1663"/>
                  </a:lnTo>
                  <a:lnTo>
                    <a:pt x="2342" y="1664"/>
                  </a:lnTo>
                  <a:lnTo>
                    <a:pt x="2350" y="1686"/>
                  </a:lnTo>
                  <a:lnTo>
                    <a:pt x="2364" y="1693"/>
                  </a:lnTo>
                  <a:lnTo>
                    <a:pt x="2371" y="1700"/>
                  </a:lnTo>
                  <a:lnTo>
                    <a:pt x="2371" y="1714"/>
                  </a:lnTo>
                  <a:lnTo>
                    <a:pt x="2374" y="1715"/>
                  </a:lnTo>
                  <a:lnTo>
                    <a:pt x="2376" y="1717"/>
                  </a:lnTo>
                  <a:lnTo>
                    <a:pt x="2377" y="1719"/>
                  </a:lnTo>
                  <a:lnTo>
                    <a:pt x="2378" y="1723"/>
                  </a:lnTo>
                  <a:lnTo>
                    <a:pt x="2378" y="1729"/>
                  </a:lnTo>
                  <a:lnTo>
                    <a:pt x="2378" y="1736"/>
                  </a:lnTo>
                  <a:lnTo>
                    <a:pt x="2380" y="1736"/>
                  </a:lnTo>
                  <a:lnTo>
                    <a:pt x="2383" y="1738"/>
                  </a:lnTo>
                  <a:lnTo>
                    <a:pt x="2384" y="1741"/>
                  </a:lnTo>
                  <a:lnTo>
                    <a:pt x="2385" y="1744"/>
                  </a:lnTo>
                  <a:lnTo>
                    <a:pt x="2386" y="1751"/>
                  </a:lnTo>
                  <a:lnTo>
                    <a:pt x="2386" y="1757"/>
                  </a:lnTo>
                  <a:lnTo>
                    <a:pt x="2400" y="1765"/>
                  </a:lnTo>
                  <a:lnTo>
                    <a:pt x="2400" y="1780"/>
                  </a:lnTo>
                  <a:lnTo>
                    <a:pt x="2403" y="1780"/>
                  </a:lnTo>
                  <a:lnTo>
                    <a:pt x="2404" y="1781"/>
                  </a:lnTo>
                  <a:lnTo>
                    <a:pt x="2406" y="1782"/>
                  </a:lnTo>
                  <a:lnTo>
                    <a:pt x="2406" y="1784"/>
                  </a:lnTo>
                  <a:lnTo>
                    <a:pt x="2407" y="1789"/>
                  </a:lnTo>
                  <a:lnTo>
                    <a:pt x="2407" y="1793"/>
                  </a:lnTo>
                  <a:lnTo>
                    <a:pt x="2410" y="1798"/>
                  </a:lnTo>
                  <a:lnTo>
                    <a:pt x="2416" y="1807"/>
                  </a:lnTo>
                  <a:lnTo>
                    <a:pt x="2422" y="1820"/>
                  </a:lnTo>
                  <a:lnTo>
                    <a:pt x="2428" y="1836"/>
                  </a:lnTo>
                  <a:lnTo>
                    <a:pt x="2434" y="1851"/>
                  </a:lnTo>
                  <a:lnTo>
                    <a:pt x="2438" y="1867"/>
                  </a:lnTo>
                  <a:lnTo>
                    <a:pt x="2442" y="1879"/>
                  </a:lnTo>
                  <a:lnTo>
                    <a:pt x="2443" y="1887"/>
                  </a:lnTo>
                  <a:lnTo>
                    <a:pt x="2446" y="1888"/>
                  </a:lnTo>
                  <a:lnTo>
                    <a:pt x="2448" y="1891"/>
                  </a:lnTo>
                  <a:lnTo>
                    <a:pt x="2451" y="1897"/>
                  </a:lnTo>
                  <a:lnTo>
                    <a:pt x="2453" y="1902"/>
                  </a:lnTo>
                  <a:lnTo>
                    <a:pt x="2456" y="1915"/>
                  </a:lnTo>
                  <a:lnTo>
                    <a:pt x="2457" y="1924"/>
                  </a:lnTo>
                  <a:lnTo>
                    <a:pt x="2460" y="1924"/>
                  </a:lnTo>
                  <a:lnTo>
                    <a:pt x="2462" y="1925"/>
                  </a:lnTo>
                  <a:lnTo>
                    <a:pt x="2463" y="1926"/>
                  </a:lnTo>
                  <a:lnTo>
                    <a:pt x="2464" y="1928"/>
                  </a:lnTo>
                  <a:lnTo>
                    <a:pt x="2465" y="1933"/>
                  </a:lnTo>
                  <a:lnTo>
                    <a:pt x="2465" y="1938"/>
                  </a:lnTo>
                  <a:lnTo>
                    <a:pt x="2471" y="1944"/>
                  </a:lnTo>
                  <a:lnTo>
                    <a:pt x="2475" y="1952"/>
                  </a:lnTo>
                  <a:lnTo>
                    <a:pt x="2481" y="1962"/>
                  </a:lnTo>
                  <a:lnTo>
                    <a:pt x="2485" y="1971"/>
                  </a:lnTo>
                  <a:lnTo>
                    <a:pt x="2489" y="1982"/>
                  </a:lnTo>
                  <a:lnTo>
                    <a:pt x="2491" y="1992"/>
                  </a:lnTo>
                  <a:lnTo>
                    <a:pt x="2493" y="2001"/>
                  </a:lnTo>
                  <a:lnTo>
                    <a:pt x="2494" y="2010"/>
                  </a:lnTo>
                  <a:lnTo>
                    <a:pt x="2499" y="2015"/>
                  </a:lnTo>
                  <a:lnTo>
                    <a:pt x="2503" y="2021"/>
                  </a:lnTo>
                  <a:lnTo>
                    <a:pt x="2506" y="2026"/>
                  </a:lnTo>
                  <a:lnTo>
                    <a:pt x="2510" y="2032"/>
                  </a:lnTo>
                  <a:lnTo>
                    <a:pt x="2512" y="2039"/>
                  </a:lnTo>
                  <a:lnTo>
                    <a:pt x="2514" y="2045"/>
                  </a:lnTo>
                  <a:lnTo>
                    <a:pt x="2515" y="2052"/>
                  </a:lnTo>
                  <a:lnTo>
                    <a:pt x="2515" y="2060"/>
                  </a:lnTo>
                  <a:lnTo>
                    <a:pt x="2518" y="2061"/>
                  </a:lnTo>
                  <a:lnTo>
                    <a:pt x="2520" y="2061"/>
                  </a:lnTo>
                  <a:lnTo>
                    <a:pt x="2521" y="2063"/>
                  </a:lnTo>
                  <a:lnTo>
                    <a:pt x="2522" y="2064"/>
                  </a:lnTo>
                  <a:lnTo>
                    <a:pt x="2522" y="2069"/>
                  </a:lnTo>
                  <a:lnTo>
                    <a:pt x="2522" y="2074"/>
                  </a:lnTo>
                  <a:lnTo>
                    <a:pt x="2528" y="2080"/>
                  </a:lnTo>
                  <a:lnTo>
                    <a:pt x="2532" y="2086"/>
                  </a:lnTo>
                  <a:lnTo>
                    <a:pt x="2535" y="2091"/>
                  </a:lnTo>
                  <a:lnTo>
                    <a:pt x="2537" y="2097"/>
                  </a:lnTo>
                  <a:lnTo>
                    <a:pt x="2601" y="2097"/>
                  </a:lnTo>
                  <a:lnTo>
                    <a:pt x="2602" y="2099"/>
                  </a:lnTo>
                  <a:lnTo>
                    <a:pt x="2604" y="2100"/>
                  </a:lnTo>
                  <a:lnTo>
                    <a:pt x="2607" y="2102"/>
                  </a:lnTo>
                  <a:lnTo>
                    <a:pt x="2609" y="2104"/>
                  </a:lnTo>
                  <a:lnTo>
                    <a:pt x="2611" y="2107"/>
                  </a:lnTo>
                  <a:lnTo>
                    <a:pt x="2614" y="2109"/>
                  </a:lnTo>
                  <a:lnTo>
                    <a:pt x="2616" y="2113"/>
                  </a:lnTo>
                  <a:lnTo>
                    <a:pt x="2616" y="2118"/>
                  </a:lnTo>
                  <a:lnTo>
                    <a:pt x="2620" y="2119"/>
                  </a:lnTo>
                  <a:lnTo>
                    <a:pt x="2624" y="2121"/>
                  </a:lnTo>
                  <a:lnTo>
                    <a:pt x="2626" y="2126"/>
                  </a:lnTo>
                  <a:lnTo>
                    <a:pt x="2629" y="2130"/>
                  </a:lnTo>
                  <a:lnTo>
                    <a:pt x="2633" y="2144"/>
                  </a:lnTo>
                  <a:lnTo>
                    <a:pt x="2635" y="2160"/>
                  </a:lnTo>
                  <a:lnTo>
                    <a:pt x="2637" y="2194"/>
                  </a:lnTo>
                  <a:lnTo>
                    <a:pt x="2638" y="2218"/>
                  </a:lnTo>
                  <a:lnTo>
                    <a:pt x="2645" y="2226"/>
                  </a:lnTo>
                  <a:lnTo>
                    <a:pt x="2663" y="2226"/>
                  </a:lnTo>
                  <a:lnTo>
                    <a:pt x="2681" y="2226"/>
                  </a:lnTo>
                  <a:lnTo>
                    <a:pt x="2700" y="2226"/>
                  </a:lnTo>
                  <a:lnTo>
                    <a:pt x="2717" y="2226"/>
                  </a:lnTo>
                  <a:lnTo>
                    <a:pt x="2721" y="2236"/>
                  </a:lnTo>
                  <a:lnTo>
                    <a:pt x="2724" y="2247"/>
                  </a:lnTo>
                  <a:lnTo>
                    <a:pt x="2732" y="2255"/>
                  </a:lnTo>
                  <a:lnTo>
                    <a:pt x="2746" y="2262"/>
                  </a:lnTo>
                  <a:lnTo>
                    <a:pt x="2746" y="2276"/>
                  </a:lnTo>
                  <a:lnTo>
                    <a:pt x="2750" y="2276"/>
                  </a:lnTo>
                  <a:lnTo>
                    <a:pt x="2752" y="2277"/>
                  </a:lnTo>
                  <a:lnTo>
                    <a:pt x="2753" y="2279"/>
                  </a:lnTo>
                  <a:lnTo>
                    <a:pt x="2753" y="2280"/>
                  </a:lnTo>
                  <a:lnTo>
                    <a:pt x="2753" y="2281"/>
                  </a:lnTo>
                  <a:lnTo>
                    <a:pt x="2754" y="2282"/>
                  </a:lnTo>
                  <a:lnTo>
                    <a:pt x="2757" y="2283"/>
                  </a:lnTo>
                  <a:lnTo>
                    <a:pt x="2760" y="2283"/>
                  </a:lnTo>
                  <a:lnTo>
                    <a:pt x="2761" y="2306"/>
                  </a:lnTo>
                  <a:lnTo>
                    <a:pt x="2764" y="2330"/>
                  </a:lnTo>
                  <a:lnTo>
                    <a:pt x="2767" y="2351"/>
                  </a:lnTo>
                  <a:lnTo>
                    <a:pt x="2768" y="2370"/>
                  </a:lnTo>
                  <a:lnTo>
                    <a:pt x="2770" y="2371"/>
                  </a:lnTo>
                  <a:lnTo>
                    <a:pt x="2772" y="2373"/>
                  </a:lnTo>
                  <a:lnTo>
                    <a:pt x="2773" y="2377"/>
                  </a:lnTo>
                  <a:lnTo>
                    <a:pt x="2774" y="2381"/>
                  </a:lnTo>
                  <a:lnTo>
                    <a:pt x="2774" y="2391"/>
                  </a:lnTo>
                  <a:lnTo>
                    <a:pt x="2774" y="2399"/>
                  </a:lnTo>
                  <a:lnTo>
                    <a:pt x="2778" y="2399"/>
                  </a:lnTo>
                  <a:lnTo>
                    <a:pt x="2779" y="2401"/>
                  </a:lnTo>
                  <a:lnTo>
                    <a:pt x="2780" y="2404"/>
                  </a:lnTo>
                  <a:lnTo>
                    <a:pt x="2781" y="2407"/>
                  </a:lnTo>
                  <a:lnTo>
                    <a:pt x="2782" y="2414"/>
                  </a:lnTo>
                  <a:lnTo>
                    <a:pt x="2782" y="2420"/>
                  </a:lnTo>
                  <a:lnTo>
                    <a:pt x="2784" y="2420"/>
                  </a:lnTo>
                  <a:lnTo>
                    <a:pt x="2787" y="2421"/>
                  </a:lnTo>
                  <a:lnTo>
                    <a:pt x="2788" y="2423"/>
                  </a:lnTo>
                  <a:lnTo>
                    <a:pt x="2789" y="2425"/>
                  </a:lnTo>
                  <a:lnTo>
                    <a:pt x="2789" y="2429"/>
                  </a:lnTo>
                  <a:lnTo>
                    <a:pt x="2789" y="2435"/>
                  </a:lnTo>
                  <a:lnTo>
                    <a:pt x="2803" y="2435"/>
                  </a:lnTo>
                  <a:lnTo>
                    <a:pt x="2803" y="2449"/>
                  </a:lnTo>
                  <a:lnTo>
                    <a:pt x="2806" y="2449"/>
                  </a:lnTo>
                  <a:lnTo>
                    <a:pt x="2808" y="2450"/>
                  </a:lnTo>
                  <a:lnTo>
                    <a:pt x="2809" y="2452"/>
                  </a:lnTo>
                  <a:lnTo>
                    <a:pt x="2810" y="2454"/>
                  </a:lnTo>
                  <a:lnTo>
                    <a:pt x="2811" y="2458"/>
                  </a:lnTo>
                  <a:lnTo>
                    <a:pt x="2811" y="2464"/>
                  </a:lnTo>
                  <a:lnTo>
                    <a:pt x="2813" y="2464"/>
                  </a:lnTo>
                  <a:lnTo>
                    <a:pt x="2815" y="2465"/>
                  </a:lnTo>
                  <a:lnTo>
                    <a:pt x="2817" y="2466"/>
                  </a:lnTo>
                  <a:lnTo>
                    <a:pt x="2817" y="2468"/>
                  </a:lnTo>
                  <a:lnTo>
                    <a:pt x="2818" y="2473"/>
                  </a:lnTo>
                  <a:lnTo>
                    <a:pt x="2818" y="2478"/>
                  </a:lnTo>
                  <a:lnTo>
                    <a:pt x="2826" y="2485"/>
                  </a:lnTo>
                  <a:lnTo>
                    <a:pt x="2836" y="2486"/>
                  </a:lnTo>
                  <a:lnTo>
                    <a:pt x="2847" y="2490"/>
                  </a:lnTo>
                  <a:lnTo>
                    <a:pt x="2858" y="2494"/>
                  </a:lnTo>
                  <a:lnTo>
                    <a:pt x="2868" y="2500"/>
                  </a:lnTo>
                  <a:lnTo>
                    <a:pt x="2879" y="2505"/>
                  </a:lnTo>
                  <a:lnTo>
                    <a:pt x="2890" y="2510"/>
                  </a:lnTo>
                  <a:lnTo>
                    <a:pt x="2901" y="2513"/>
                  </a:lnTo>
                  <a:lnTo>
                    <a:pt x="2912" y="2514"/>
                  </a:lnTo>
                  <a:lnTo>
                    <a:pt x="2919" y="2521"/>
                  </a:lnTo>
                  <a:lnTo>
                    <a:pt x="2921" y="2526"/>
                  </a:lnTo>
                  <a:lnTo>
                    <a:pt x="2924" y="2531"/>
                  </a:lnTo>
                  <a:lnTo>
                    <a:pt x="2928" y="2534"/>
                  </a:lnTo>
                  <a:lnTo>
                    <a:pt x="2933" y="2535"/>
                  </a:lnTo>
                  <a:lnTo>
                    <a:pt x="2937" y="2546"/>
                  </a:lnTo>
                  <a:lnTo>
                    <a:pt x="2941" y="2558"/>
                  </a:lnTo>
                  <a:lnTo>
                    <a:pt x="2949" y="2558"/>
                  </a:lnTo>
                  <a:lnTo>
                    <a:pt x="2957" y="2560"/>
                  </a:lnTo>
                  <a:lnTo>
                    <a:pt x="2966" y="2562"/>
                  </a:lnTo>
                  <a:lnTo>
                    <a:pt x="2975" y="2564"/>
                  </a:lnTo>
                  <a:lnTo>
                    <a:pt x="2984" y="2567"/>
                  </a:lnTo>
                  <a:lnTo>
                    <a:pt x="2993" y="2569"/>
                  </a:lnTo>
                  <a:lnTo>
                    <a:pt x="3001" y="2571"/>
                  </a:lnTo>
                  <a:lnTo>
                    <a:pt x="3010" y="2571"/>
                  </a:lnTo>
                  <a:lnTo>
                    <a:pt x="3010" y="2567"/>
                  </a:lnTo>
                  <a:lnTo>
                    <a:pt x="3011" y="2564"/>
                  </a:lnTo>
                  <a:lnTo>
                    <a:pt x="3012" y="2564"/>
                  </a:lnTo>
                  <a:lnTo>
                    <a:pt x="3013" y="2564"/>
                  </a:lnTo>
                  <a:lnTo>
                    <a:pt x="3014" y="2564"/>
                  </a:lnTo>
                  <a:lnTo>
                    <a:pt x="3015" y="2563"/>
                  </a:lnTo>
                  <a:lnTo>
                    <a:pt x="3017" y="2561"/>
                  </a:lnTo>
                  <a:lnTo>
                    <a:pt x="3017" y="2556"/>
                  </a:lnTo>
                  <a:lnTo>
                    <a:pt x="3030" y="2555"/>
                  </a:lnTo>
                  <a:lnTo>
                    <a:pt x="3047" y="2553"/>
                  </a:lnTo>
                  <a:lnTo>
                    <a:pt x="3065" y="2551"/>
                  </a:lnTo>
                  <a:lnTo>
                    <a:pt x="3081" y="2550"/>
                  </a:lnTo>
                  <a:lnTo>
                    <a:pt x="3089" y="2564"/>
                  </a:lnTo>
                  <a:lnTo>
                    <a:pt x="3099" y="2568"/>
                  </a:lnTo>
                  <a:lnTo>
                    <a:pt x="3110" y="2571"/>
                  </a:lnTo>
                  <a:lnTo>
                    <a:pt x="3110" y="2580"/>
                  </a:lnTo>
                  <a:lnTo>
                    <a:pt x="3112" y="2584"/>
                  </a:lnTo>
                  <a:lnTo>
                    <a:pt x="3113" y="2587"/>
                  </a:lnTo>
                  <a:lnTo>
                    <a:pt x="3114" y="2588"/>
                  </a:lnTo>
                  <a:lnTo>
                    <a:pt x="3115" y="2588"/>
                  </a:lnTo>
                  <a:lnTo>
                    <a:pt x="3116" y="2588"/>
                  </a:lnTo>
                  <a:lnTo>
                    <a:pt x="3117" y="2589"/>
                  </a:lnTo>
                  <a:lnTo>
                    <a:pt x="3117" y="2592"/>
                  </a:lnTo>
                  <a:lnTo>
                    <a:pt x="3128" y="2597"/>
                  </a:lnTo>
                  <a:lnTo>
                    <a:pt x="3139" y="2600"/>
                  </a:lnTo>
                  <a:lnTo>
                    <a:pt x="3139" y="2604"/>
                  </a:lnTo>
                  <a:lnTo>
                    <a:pt x="3141" y="2607"/>
                  </a:lnTo>
                  <a:lnTo>
                    <a:pt x="3142" y="2607"/>
                  </a:lnTo>
                  <a:lnTo>
                    <a:pt x="3143" y="2607"/>
                  </a:lnTo>
                  <a:lnTo>
                    <a:pt x="3144" y="2608"/>
                  </a:lnTo>
                  <a:lnTo>
                    <a:pt x="3145" y="2608"/>
                  </a:lnTo>
                  <a:lnTo>
                    <a:pt x="3146" y="2610"/>
                  </a:lnTo>
                  <a:lnTo>
                    <a:pt x="3146" y="2615"/>
                  </a:lnTo>
                  <a:lnTo>
                    <a:pt x="3161" y="2621"/>
                  </a:lnTo>
                  <a:lnTo>
                    <a:pt x="3166" y="2622"/>
                  </a:lnTo>
                  <a:lnTo>
                    <a:pt x="3171" y="2626"/>
                  </a:lnTo>
                  <a:lnTo>
                    <a:pt x="3174" y="2630"/>
                  </a:lnTo>
                  <a:lnTo>
                    <a:pt x="3175" y="2636"/>
                  </a:lnTo>
                  <a:lnTo>
                    <a:pt x="3190" y="2636"/>
                  </a:lnTo>
                  <a:lnTo>
                    <a:pt x="3204" y="2650"/>
                  </a:lnTo>
                  <a:lnTo>
                    <a:pt x="3219" y="2665"/>
                  </a:lnTo>
                  <a:lnTo>
                    <a:pt x="3222" y="2666"/>
                  </a:lnTo>
                  <a:lnTo>
                    <a:pt x="3226" y="2668"/>
                  </a:lnTo>
                  <a:lnTo>
                    <a:pt x="3232" y="2670"/>
                  </a:lnTo>
                  <a:lnTo>
                    <a:pt x="3238" y="2675"/>
                  </a:lnTo>
                  <a:lnTo>
                    <a:pt x="3242" y="2678"/>
                  </a:lnTo>
                  <a:lnTo>
                    <a:pt x="3247" y="2683"/>
                  </a:lnTo>
                  <a:lnTo>
                    <a:pt x="3249" y="2686"/>
                  </a:lnTo>
                  <a:lnTo>
                    <a:pt x="3250" y="2689"/>
                  </a:lnTo>
                  <a:lnTo>
                    <a:pt x="3261" y="2690"/>
                  </a:lnTo>
                  <a:lnTo>
                    <a:pt x="3272" y="2693"/>
                  </a:lnTo>
                  <a:lnTo>
                    <a:pt x="3283" y="2696"/>
                  </a:lnTo>
                  <a:lnTo>
                    <a:pt x="3293" y="2697"/>
                  </a:lnTo>
                  <a:lnTo>
                    <a:pt x="3293" y="2699"/>
                  </a:lnTo>
                  <a:lnTo>
                    <a:pt x="3295" y="2700"/>
                  </a:lnTo>
                  <a:lnTo>
                    <a:pt x="3297" y="2703"/>
                  </a:lnTo>
                  <a:lnTo>
                    <a:pt x="3298" y="2703"/>
                  </a:lnTo>
                  <a:lnTo>
                    <a:pt x="3302" y="2704"/>
                  </a:lnTo>
                  <a:lnTo>
                    <a:pt x="3308" y="2704"/>
                  </a:lnTo>
                  <a:lnTo>
                    <a:pt x="3309" y="2706"/>
                  </a:lnTo>
                  <a:lnTo>
                    <a:pt x="3312" y="2708"/>
                  </a:lnTo>
                  <a:lnTo>
                    <a:pt x="3318" y="2709"/>
                  </a:lnTo>
                  <a:lnTo>
                    <a:pt x="3324" y="2711"/>
                  </a:lnTo>
                  <a:lnTo>
                    <a:pt x="3336" y="2711"/>
                  </a:lnTo>
                  <a:lnTo>
                    <a:pt x="3344" y="2712"/>
                  </a:lnTo>
                  <a:lnTo>
                    <a:pt x="3345" y="2713"/>
                  </a:lnTo>
                  <a:lnTo>
                    <a:pt x="3348" y="2713"/>
                  </a:lnTo>
                  <a:lnTo>
                    <a:pt x="3353" y="2714"/>
                  </a:lnTo>
                  <a:lnTo>
                    <a:pt x="3358" y="2714"/>
                  </a:lnTo>
                  <a:lnTo>
                    <a:pt x="3374" y="2713"/>
                  </a:lnTo>
                  <a:lnTo>
                    <a:pt x="3392" y="2712"/>
                  </a:lnTo>
                  <a:lnTo>
                    <a:pt x="3427" y="2707"/>
                  </a:lnTo>
                  <a:lnTo>
                    <a:pt x="3450" y="2706"/>
                  </a:lnTo>
                  <a:lnTo>
                    <a:pt x="3463" y="2698"/>
                  </a:lnTo>
                  <a:lnTo>
                    <a:pt x="3487" y="2688"/>
                  </a:lnTo>
                  <a:lnTo>
                    <a:pt x="3509" y="2680"/>
                  </a:lnTo>
                  <a:lnTo>
                    <a:pt x="3522" y="2677"/>
                  </a:lnTo>
                  <a:lnTo>
                    <a:pt x="3522" y="2627"/>
                  </a:lnTo>
                  <a:lnTo>
                    <a:pt x="3519" y="2626"/>
                  </a:lnTo>
                  <a:lnTo>
                    <a:pt x="3517" y="2623"/>
                  </a:lnTo>
                  <a:lnTo>
                    <a:pt x="3514" y="2620"/>
                  </a:lnTo>
                  <a:lnTo>
                    <a:pt x="3512" y="2616"/>
                  </a:lnTo>
                  <a:lnTo>
                    <a:pt x="3509" y="2604"/>
                  </a:lnTo>
                  <a:lnTo>
                    <a:pt x="3506" y="2592"/>
                  </a:lnTo>
                  <a:lnTo>
                    <a:pt x="3501" y="2579"/>
                  </a:lnTo>
                  <a:lnTo>
                    <a:pt x="3498" y="2568"/>
                  </a:lnTo>
                  <a:lnTo>
                    <a:pt x="3496" y="2563"/>
                  </a:lnTo>
                  <a:lnTo>
                    <a:pt x="3493" y="2560"/>
                  </a:lnTo>
                  <a:lnTo>
                    <a:pt x="3491" y="2558"/>
                  </a:lnTo>
                  <a:lnTo>
                    <a:pt x="3488" y="2558"/>
                  </a:lnTo>
                  <a:lnTo>
                    <a:pt x="3488" y="2552"/>
                  </a:lnTo>
                  <a:lnTo>
                    <a:pt x="3484" y="2548"/>
                  </a:lnTo>
                  <a:lnTo>
                    <a:pt x="3481" y="2544"/>
                  </a:lnTo>
                  <a:lnTo>
                    <a:pt x="3478" y="2540"/>
                  </a:lnTo>
                  <a:lnTo>
                    <a:pt x="3473" y="2538"/>
                  </a:lnTo>
                  <a:lnTo>
                    <a:pt x="3470" y="2534"/>
                  </a:lnTo>
                  <a:lnTo>
                    <a:pt x="3468" y="2531"/>
                  </a:lnTo>
                  <a:lnTo>
                    <a:pt x="3466" y="2529"/>
                  </a:lnTo>
                  <a:lnTo>
                    <a:pt x="3445" y="2529"/>
                  </a:lnTo>
                  <a:lnTo>
                    <a:pt x="3436" y="2520"/>
                  </a:lnTo>
                  <a:lnTo>
                    <a:pt x="3424" y="2507"/>
                  </a:lnTo>
                  <a:lnTo>
                    <a:pt x="3418" y="2501"/>
                  </a:lnTo>
                  <a:lnTo>
                    <a:pt x="3414" y="2494"/>
                  </a:lnTo>
                  <a:lnTo>
                    <a:pt x="3411" y="2488"/>
                  </a:lnTo>
                  <a:lnTo>
                    <a:pt x="3408" y="2485"/>
                  </a:lnTo>
                  <a:lnTo>
                    <a:pt x="3406" y="2485"/>
                  </a:lnTo>
                  <a:lnTo>
                    <a:pt x="3404" y="2483"/>
                  </a:lnTo>
                  <a:lnTo>
                    <a:pt x="3402" y="2479"/>
                  </a:lnTo>
                  <a:lnTo>
                    <a:pt x="3400" y="2476"/>
                  </a:lnTo>
                  <a:lnTo>
                    <a:pt x="3396" y="2466"/>
                  </a:lnTo>
                  <a:lnTo>
                    <a:pt x="3393" y="2455"/>
                  </a:lnTo>
                  <a:lnTo>
                    <a:pt x="3388" y="2430"/>
                  </a:lnTo>
                  <a:lnTo>
                    <a:pt x="3387" y="2414"/>
                  </a:lnTo>
                  <a:lnTo>
                    <a:pt x="3391" y="2410"/>
                  </a:lnTo>
                  <a:lnTo>
                    <a:pt x="3395" y="2401"/>
                  </a:lnTo>
                  <a:lnTo>
                    <a:pt x="3400" y="2388"/>
                  </a:lnTo>
                  <a:lnTo>
                    <a:pt x="3404" y="2373"/>
                  </a:lnTo>
                  <a:lnTo>
                    <a:pt x="3413" y="2347"/>
                  </a:lnTo>
                  <a:lnTo>
                    <a:pt x="3416" y="2334"/>
                  </a:lnTo>
                  <a:lnTo>
                    <a:pt x="3418" y="2332"/>
                  </a:lnTo>
                  <a:lnTo>
                    <a:pt x="3421" y="2327"/>
                  </a:lnTo>
                  <a:lnTo>
                    <a:pt x="3422" y="2320"/>
                  </a:lnTo>
                  <a:lnTo>
                    <a:pt x="3423" y="2311"/>
                  </a:lnTo>
                  <a:lnTo>
                    <a:pt x="3423" y="2294"/>
                  </a:lnTo>
                  <a:lnTo>
                    <a:pt x="3423" y="2283"/>
                  </a:lnTo>
                  <a:lnTo>
                    <a:pt x="3421" y="2283"/>
                  </a:lnTo>
                  <a:lnTo>
                    <a:pt x="3418" y="2280"/>
                  </a:lnTo>
                  <a:lnTo>
                    <a:pt x="3415" y="2276"/>
                  </a:lnTo>
                  <a:lnTo>
                    <a:pt x="3413" y="2272"/>
                  </a:lnTo>
                  <a:lnTo>
                    <a:pt x="3411" y="2262"/>
                  </a:lnTo>
                  <a:lnTo>
                    <a:pt x="3408" y="2255"/>
                  </a:lnTo>
                  <a:lnTo>
                    <a:pt x="3405" y="2236"/>
                  </a:lnTo>
                  <a:lnTo>
                    <a:pt x="3394" y="2197"/>
                  </a:lnTo>
                  <a:lnTo>
                    <a:pt x="3389" y="2186"/>
                  </a:lnTo>
                  <a:lnTo>
                    <a:pt x="3385" y="2176"/>
                  </a:lnTo>
                  <a:lnTo>
                    <a:pt x="3381" y="2166"/>
                  </a:lnTo>
                  <a:lnTo>
                    <a:pt x="3376" y="2157"/>
                  </a:lnTo>
                  <a:lnTo>
                    <a:pt x="3370" y="2150"/>
                  </a:lnTo>
                  <a:lnTo>
                    <a:pt x="3364" y="2145"/>
                  </a:lnTo>
                  <a:lnTo>
                    <a:pt x="3362" y="2142"/>
                  </a:lnTo>
                  <a:lnTo>
                    <a:pt x="3358" y="2140"/>
                  </a:lnTo>
                  <a:lnTo>
                    <a:pt x="3355" y="2140"/>
                  </a:lnTo>
                  <a:lnTo>
                    <a:pt x="3352" y="2139"/>
                  </a:lnTo>
                  <a:lnTo>
                    <a:pt x="3352" y="2136"/>
                  </a:lnTo>
                  <a:lnTo>
                    <a:pt x="3350" y="2134"/>
                  </a:lnTo>
                  <a:lnTo>
                    <a:pt x="3349" y="2132"/>
                  </a:lnTo>
                  <a:lnTo>
                    <a:pt x="3348" y="2132"/>
                  </a:lnTo>
                  <a:lnTo>
                    <a:pt x="3346" y="2132"/>
                  </a:lnTo>
                  <a:lnTo>
                    <a:pt x="3345" y="2131"/>
                  </a:lnTo>
                  <a:lnTo>
                    <a:pt x="3345" y="2129"/>
                  </a:lnTo>
                  <a:lnTo>
                    <a:pt x="3344" y="2125"/>
                  </a:lnTo>
                  <a:lnTo>
                    <a:pt x="3229" y="2125"/>
                  </a:lnTo>
                  <a:lnTo>
                    <a:pt x="3229" y="2128"/>
                  </a:lnTo>
                  <a:lnTo>
                    <a:pt x="3226" y="2130"/>
                  </a:lnTo>
                  <a:lnTo>
                    <a:pt x="3223" y="2132"/>
                  </a:lnTo>
                  <a:lnTo>
                    <a:pt x="3220" y="2135"/>
                  </a:lnTo>
                  <a:lnTo>
                    <a:pt x="3210" y="2138"/>
                  </a:lnTo>
                  <a:lnTo>
                    <a:pt x="3195" y="2141"/>
                  </a:lnTo>
                  <a:lnTo>
                    <a:pt x="3180" y="2145"/>
                  </a:lnTo>
                  <a:lnTo>
                    <a:pt x="3161" y="2147"/>
                  </a:lnTo>
                  <a:lnTo>
                    <a:pt x="3141" y="2149"/>
                  </a:lnTo>
                  <a:lnTo>
                    <a:pt x="3119" y="2150"/>
                  </a:lnTo>
                  <a:lnTo>
                    <a:pt x="3077" y="2152"/>
                  </a:lnTo>
                  <a:lnTo>
                    <a:pt x="3037" y="2154"/>
                  </a:lnTo>
                  <a:lnTo>
                    <a:pt x="3004" y="2154"/>
                  </a:lnTo>
                  <a:lnTo>
                    <a:pt x="2984" y="2154"/>
                  </a:lnTo>
                  <a:lnTo>
                    <a:pt x="2975" y="2151"/>
                  </a:lnTo>
                  <a:lnTo>
                    <a:pt x="2957" y="2147"/>
                  </a:lnTo>
                  <a:lnTo>
                    <a:pt x="2938" y="2141"/>
                  </a:lnTo>
                  <a:lnTo>
                    <a:pt x="2926" y="2139"/>
                  </a:lnTo>
                  <a:lnTo>
                    <a:pt x="2926" y="2137"/>
                  </a:lnTo>
                  <a:lnTo>
                    <a:pt x="2925" y="2136"/>
                  </a:lnTo>
                  <a:lnTo>
                    <a:pt x="2924" y="2134"/>
                  </a:lnTo>
                  <a:lnTo>
                    <a:pt x="2922" y="2134"/>
                  </a:lnTo>
                  <a:lnTo>
                    <a:pt x="2917" y="2132"/>
                  </a:lnTo>
                  <a:lnTo>
                    <a:pt x="2912" y="2132"/>
                  </a:lnTo>
                  <a:lnTo>
                    <a:pt x="2911" y="2127"/>
                  </a:lnTo>
                  <a:lnTo>
                    <a:pt x="2907" y="2122"/>
                  </a:lnTo>
                  <a:lnTo>
                    <a:pt x="2903" y="2119"/>
                  </a:lnTo>
                  <a:lnTo>
                    <a:pt x="2897" y="2118"/>
                  </a:lnTo>
                  <a:lnTo>
                    <a:pt x="2883" y="2089"/>
                  </a:lnTo>
                  <a:lnTo>
                    <a:pt x="2876" y="2082"/>
                  </a:lnTo>
                  <a:lnTo>
                    <a:pt x="2868" y="2068"/>
                  </a:lnTo>
                  <a:lnTo>
                    <a:pt x="2861" y="2053"/>
                  </a:lnTo>
                  <a:lnTo>
                    <a:pt x="2854" y="2050"/>
                  </a:lnTo>
                  <a:lnTo>
                    <a:pt x="2842" y="2042"/>
                  </a:lnTo>
                  <a:lnTo>
                    <a:pt x="2836" y="2039"/>
                  </a:lnTo>
                  <a:lnTo>
                    <a:pt x="2830" y="2034"/>
                  </a:lnTo>
                  <a:lnTo>
                    <a:pt x="2823" y="2032"/>
                  </a:lnTo>
                  <a:lnTo>
                    <a:pt x="2818" y="2031"/>
                  </a:lnTo>
                  <a:lnTo>
                    <a:pt x="2818" y="2027"/>
                  </a:lnTo>
                  <a:lnTo>
                    <a:pt x="2817" y="2025"/>
                  </a:lnTo>
                  <a:lnTo>
                    <a:pt x="2816" y="2024"/>
                  </a:lnTo>
                  <a:lnTo>
                    <a:pt x="2815" y="2024"/>
                  </a:lnTo>
                  <a:lnTo>
                    <a:pt x="2813" y="2024"/>
                  </a:lnTo>
                  <a:lnTo>
                    <a:pt x="2812" y="2023"/>
                  </a:lnTo>
                  <a:lnTo>
                    <a:pt x="2811" y="2021"/>
                  </a:lnTo>
                  <a:lnTo>
                    <a:pt x="2811" y="2017"/>
                  </a:lnTo>
                  <a:lnTo>
                    <a:pt x="2789" y="2017"/>
                  </a:lnTo>
                  <a:lnTo>
                    <a:pt x="2787" y="2014"/>
                  </a:lnTo>
                  <a:lnTo>
                    <a:pt x="2780" y="2012"/>
                  </a:lnTo>
                  <a:lnTo>
                    <a:pt x="2771" y="2010"/>
                  </a:lnTo>
                  <a:lnTo>
                    <a:pt x="2760" y="2007"/>
                  </a:lnTo>
                  <a:lnTo>
                    <a:pt x="2738" y="2004"/>
                  </a:lnTo>
                  <a:lnTo>
                    <a:pt x="2724" y="2003"/>
                  </a:lnTo>
                  <a:lnTo>
                    <a:pt x="2717" y="1988"/>
                  </a:lnTo>
                  <a:lnTo>
                    <a:pt x="2710" y="1981"/>
                  </a:lnTo>
                  <a:lnTo>
                    <a:pt x="2700" y="1977"/>
                  </a:lnTo>
                  <a:lnTo>
                    <a:pt x="2688" y="1974"/>
                  </a:lnTo>
                  <a:lnTo>
                    <a:pt x="2688" y="1895"/>
                  </a:lnTo>
                  <a:lnTo>
                    <a:pt x="2686" y="1894"/>
                  </a:lnTo>
                  <a:lnTo>
                    <a:pt x="2684" y="1890"/>
                  </a:lnTo>
                  <a:lnTo>
                    <a:pt x="2682" y="1886"/>
                  </a:lnTo>
                  <a:lnTo>
                    <a:pt x="2679" y="1880"/>
                  </a:lnTo>
                  <a:lnTo>
                    <a:pt x="2677" y="1865"/>
                  </a:lnTo>
                  <a:lnTo>
                    <a:pt x="2676" y="1847"/>
                  </a:lnTo>
                  <a:lnTo>
                    <a:pt x="2674" y="1812"/>
                  </a:lnTo>
                  <a:lnTo>
                    <a:pt x="2674" y="1793"/>
                  </a:lnTo>
                  <a:lnTo>
                    <a:pt x="2672" y="1785"/>
                  </a:lnTo>
                  <a:lnTo>
                    <a:pt x="2668" y="1774"/>
                  </a:lnTo>
                  <a:lnTo>
                    <a:pt x="2666" y="1760"/>
                  </a:lnTo>
                  <a:lnTo>
                    <a:pt x="2664" y="1743"/>
                  </a:lnTo>
                  <a:lnTo>
                    <a:pt x="2661" y="1713"/>
                  </a:lnTo>
                  <a:lnTo>
                    <a:pt x="2659" y="1693"/>
                  </a:lnTo>
                  <a:lnTo>
                    <a:pt x="2657" y="1692"/>
                  </a:lnTo>
                  <a:lnTo>
                    <a:pt x="2655" y="1689"/>
                  </a:lnTo>
                  <a:lnTo>
                    <a:pt x="2653" y="1686"/>
                  </a:lnTo>
                  <a:lnTo>
                    <a:pt x="2652" y="1680"/>
                  </a:lnTo>
                  <a:lnTo>
                    <a:pt x="2649" y="1668"/>
                  </a:lnTo>
                  <a:lnTo>
                    <a:pt x="2646" y="1654"/>
                  </a:lnTo>
                  <a:lnTo>
                    <a:pt x="2644" y="1646"/>
                  </a:lnTo>
                  <a:lnTo>
                    <a:pt x="2642" y="1639"/>
                  </a:lnTo>
                  <a:lnTo>
                    <a:pt x="2639" y="1632"/>
                  </a:lnTo>
                  <a:lnTo>
                    <a:pt x="2636" y="1626"/>
                  </a:lnTo>
                  <a:lnTo>
                    <a:pt x="2633" y="1621"/>
                  </a:lnTo>
                  <a:lnTo>
                    <a:pt x="2628" y="1617"/>
                  </a:lnTo>
                  <a:lnTo>
                    <a:pt x="2623" y="1615"/>
                  </a:lnTo>
                  <a:lnTo>
                    <a:pt x="2616" y="1613"/>
                  </a:lnTo>
                  <a:lnTo>
                    <a:pt x="2616" y="1599"/>
                  </a:lnTo>
                  <a:lnTo>
                    <a:pt x="2609" y="1592"/>
                  </a:lnTo>
                  <a:lnTo>
                    <a:pt x="2595" y="1581"/>
                  </a:lnTo>
                  <a:lnTo>
                    <a:pt x="2580" y="1570"/>
                  </a:lnTo>
                  <a:lnTo>
                    <a:pt x="2580" y="1555"/>
                  </a:lnTo>
                  <a:lnTo>
                    <a:pt x="2577" y="1555"/>
                  </a:lnTo>
                  <a:lnTo>
                    <a:pt x="2572" y="1553"/>
                  </a:lnTo>
                  <a:lnTo>
                    <a:pt x="2570" y="1551"/>
                  </a:lnTo>
                  <a:lnTo>
                    <a:pt x="2567" y="1546"/>
                  </a:lnTo>
                  <a:lnTo>
                    <a:pt x="2561" y="1535"/>
                  </a:lnTo>
                  <a:lnTo>
                    <a:pt x="2558" y="1522"/>
                  </a:lnTo>
                  <a:lnTo>
                    <a:pt x="2554" y="1505"/>
                  </a:lnTo>
                  <a:lnTo>
                    <a:pt x="2552" y="1486"/>
                  </a:lnTo>
                  <a:lnTo>
                    <a:pt x="2551" y="1465"/>
                  </a:lnTo>
                  <a:lnTo>
                    <a:pt x="2550" y="1444"/>
                  </a:lnTo>
                  <a:lnTo>
                    <a:pt x="2549" y="1401"/>
                  </a:lnTo>
                  <a:lnTo>
                    <a:pt x="2550" y="1361"/>
                  </a:lnTo>
                  <a:lnTo>
                    <a:pt x="2551" y="1330"/>
                  </a:lnTo>
                  <a:lnTo>
                    <a:pt x="2551" y="1311"/>
                  </a:lnTo>
                  <a:lnTo>
                    <a:pt x="2549" y="1309"/>
                  </a:lnTo>
                  <a:lnTo>
                    <a:pt x="2546" y="1304"/>
                  </a:lnTo>
                  <a:lnTo>
                    <a:pt x="2541" y="1296"/>
                  </a:lnTo>
                  <a:lnTo>
                    <a:pt x="2538" y="1289"/>
                  </a:lnTo>
                  <a:lnTo>
                    <a:pt x="2532" y="1272"/>
                  </a:lnTo>
                  <a:lnTo>
                    <a:pt x="2530" y="1261"/>
                  </a:lnTo>
                  <a:lnTo>
                    <a:pt x="2523" y="1246"/>
                  </a:lnTo>
                  <a:lnTo>
                    <a:pt x="2509" y="1215"/>
                  </a:lnTo>
                  <a:lnTo>
                    <a:pt x="2500" y="1198"/>
                  </a:lnTo>
                  <a:lnTo>
                    <a:pt x="2493" y="1182"/>
                  </a:lnTo>
                  <a:lnTo>
                    <a:pt x="2489" y="1168"/>
                  </a:lnTo>
                  <a:lnTo>
                    <a:pt x="2486" y="1159"/>
                  </a:lnTo>
                  <a:lnTo>
                    <a:pt x="2472" y="1152"/>
                  </a:lnTo>
                  <a:lnTo>
                    <a:pt x="2471" y="1147"/>
                  </a:lnTo>
                  <a:lnTo>
                    <a:pt x="2469" y="1142"/>
                  </a:lnTo>
                  <a:lnTo>
                    <a:pt x="2465" y="1138"/>
                  </a:lnTo>
                  <a:lnTo>
                    <a:pt x="2462" y="1135"/>
                  </a:lnTo>
                  <a:lnTo>
                    <a:pt x="2457" y="1130"/>
                  </a:lnTo>
                  <a:lnTo>
                    <a:pt x="2454" y="1126"/>
                  </a:lnTo>
                  <a:lnTo>
                    <a:pt x="2452" y="1121"/>
                  </a:lnTo>
                  <a:lnTo>
                    <a:pt x="2451" y="1117"/>
                  </a:lnTo>
                  <a:lnTo>
                    <a:pt x="2447" y="1116"/>
                  </a:lnTo>
                  <a:lnTo>
                    <a:pt x="2445" y="1115"/>
                  </a:lnTo>
                  <a:lnTo>
                    <a:pt x="2443" y="1111"/>
                  </a:lnTo>
                  <a:lnTo>
                    <a:pt x="2441" y="1108"/>
                  </a:lnTo>
                  <a:lnTo>
                    <a:pt x="2437" y="1101"/>
                  </a:lnTo>
                  <a:lnTo>
                    <a:pt x="2436" y="1094"/>
                  </a:lnTo>
                  <a:lnTo>
                    <a:pt x="2434" y="1094"/>
                  </a:lnTo>
                  <a:lnTo>
                    <a:pt x="2431" y="1092"/>
                  </a:lnTo>
                  <a:lnTo>
                    <a:pt x="2428" y="1090"/>
                  </a:lnTo>
                  <a:lnTo>
                    <a:pt x="2425" y="1087"/>
                  </a:lnTo>
                  <a:lnTo>
                    <a:pt x="2419" y="1080"/>
                  </a:lnTo>
                  <a:lnTo>
                    <a:pt x="2415" y="1073"/>
                  </a:lnTo>
                  <a:lnTo>
                    <a:pt x="2414" y="1043"/>
                  </a:lnTo>
                  <a:lnTo>
                    <a:pt x="2410" y="1007"/>
                  </a:lnTo>
                  <a:lnTo>
                    <a:pt x="2408" y="971"/>
                  </a:lnTo>
                  <a:lnTo>
                    <a:pt x="2407" y="936"/>
                  </a:lnTo>
                  <a:lnTo>
                    <a:pt x="2405" y="935"/>
                  </a:lnTo>
                  <a:lnTo>
                    <a:pt x="2402" y="930"/>
                  </a:lnTo>
                  <a:lnTo>
                    <a:pt x="2399" y="925"/>
                  </a:lnTo>
                  <a:lnTo>
                    <a:pt x="2397" y="917"/>
                  </a:lnTo>
                  <a:lnTo>
                    <a:pt x="2394" y="902"/>
                  </a:lnTo>
                  <a:lnTo>
                    <a:pt x="2393" y="892"/>
                  </a:lnTo>
                  <a:lnTo>
                    <a:pt x="2390" y="892"/>
                  </a:lnTo>
                  <a:lnTo>
                    <a:pt x="2389" y="891"/>
                  </a:lnTo>
                  <a:lnTo>
                    <a:pt x="2387" y="890"/>
                  </a:lnTo>
                  <a:lnTo>
                    <a:pt x="2387" y="888"/>
                  </a:lnTo>
                  <a:lnTo>
                    <a:pt x="2386" y="884"/>
                  </a:lnTo>
                  <a:lnTo>
                    <a:pt x="2386" y="879"/>
                  </a:lnTo>
                  <a:lnTo>
                    <a:pt x="2384" y="878"/>
                  </a:lnTo>
                  <a:lnTo>
                    <a:pt x="2381" y="877"/>
                  </a:lnTo>
                  <a:lnTo>
                    <a:pt x="2380" y="876"/>
                  </a:lnTo>
                  <a:lnTo>
                    <a:pt x="2379" y="875"/>
                  </a:lnTo>
                  <a:lnTo>
                    <a:pt x="2378" y="869"/>
                  </a:lnTo>
                  <a:lnTo>
                    <a:pt x="2378" y="865"/>
                  </a:lnTo>
                  <a:lnTo>
                    <a:pt x="2364" y="865"/>
                  </a:lnTo>
                  <a:lnTo>
                    <a:pt x="2364" y="850"/>
                  </a:lnTo>
                  <a:lnTo>
                    <a:pt x="2359" y="849"/>
                  </a:lnTo>
                  <a:lnTo>
                    <a:pt x="2354" y="846"/>
                  </a:lnTo>
                  <a:lnTo>
                    <a:pt x="2348" y="841"/>
                  </a:lnTo>
                  <a:lnTo>
                    <a:pt x="2342" y="836"/>
                  </a:lnTo>
                  <a:lnTo>
                    <a:pt x="2320" y="836"/>
                  </a:lnTo>
                  <a:lnTo>
                    <a:pt x="2298" y="837"/>
                  </a:lnTo>
                  <a:lnTo>
                    <a:pt x="2275" y="838"/>
                  </a:lnTo>
                  <a:lnTo>
                    <a:pt x="2253" y="839"/>
                  </a:lnTo>
                  <a:lnTo>
                    <a:pt x="2231" y="840"/>
                  </a:lnTo>
                  <a:lnTo>
                    <a:pt x="2210" y="841"/>
                  </a:lnTo>
                  <a:lnTo>
                    <a:pt x="2189" y="842"/>
                  </a:lnTo>
                  <a:lnTo>
                    <a:pt x="2169" y="842"/>
                  </a:lnTo>
                  <a:lnTo>
                    <a:pt x="2155" y="857"/>
                  </a:lnTo>
                  <a:lnTo>
                    <a:pt x="2140" y="857"/>
                  </a:lnTo>
                  <a:lnTo>
                    <a:pt x="2140" y="859"/>
                  </a:lnTo>
                  <a:lnTo>
                    <a:pt x="2139" y="861"/>
                  </a:lnTo>
                  <a:lnTo>
                    <a:pt x="2137" y="863"/>
                  </a:lnTo>
                  <a:lnTo>
                    <a:pt x="2135" y="865"/>
                  </a:lnTo>
                  <a:lnTo>
                    <a:pt x="2129" y="867"/>
                  </a:lnTo>
                  <a:lnTo>
                    <a:pt x="2122" y="869"/>
                  </a:lnTo>
                  <a:lnTo>
                    <a:pt x="2116" y="871"/>
                  </a:lnTo>
                  <a:lnTo>
                    <a:pt x="2110" y="875"/>
                  </a:lnTo>
                  <a:lnTo>
                    <a:pt x="2108" y="877"/>
                  </a:lnTo>
                  <a:lnTo>
                    <a:pt x="2106" y="879"/>
                  </a:lnTo>
                  <a:lnTo>
                    <a:pt x="2105" y="882"/>
                  </a:lnTo>
                  <a:lnTo>
                    <a:pt x="2105" y="886"/>
                  </a:lnTo>
                  <a:lnTo>
                    <a:pt x="2098" y="892"/>
                  </a:lnTo>
                  <a:lnTo>
                    <a:pt x="2090" y="895"/>
                  </a:lnTo>
                  <a:lnTo>
                    <a:pt x="2080" y="898"/>
                  </a:lnTo>
                  <a:lnTo>
                    <a:pt x="2076" y="899"/>
                  </a:lnTo>
                  <a:lnTo>
                    <a:pt x="2072" y="902"/>
                  </a:lnTo>
                  <a:lnTo>
                    <a:pt x="2070" y="905"/>
                  </a:lnTo>
                  <a:lnTo>
                    <a:pt x="2069" y="907"/>
                  </a:lnTo>
                  <a:lnTo>
                    <a:pt x="2052" y="906"/>
                  </a:lnTo>
                  <a:lnTo>
                    <a:pt x="2036" y="902"/>
                  </a:lnTo>
                  <a:lnTo>
                    <a:pt x="2021" y="898"/>
                  </a:lnTo>
                  <a:lnTo>
                    <a:pt x="2004" y="892"/>
                  </a:lnTo>
                  <a:lnTo>
                    <a:pt x="1990" y="888"/>
                  </a:lnTo>
                  <a:lnTo>
                    <a:pt x="1974" y="884"/>
                  </a:lnTo>
                  <a:lnTo>
                    <a:pt x="1959" y="880"/>
                  </a:lnTo>
                  <a:lnTo>
                    <a:pt x="1946" y="879"/>
                  </a:lnTo>
                  <a:lnTo>
                    <a:pt x="1945" y="876"/>
                  </a:lnTo>
                  <a:lnTo>
                    <a:pt x="1944" y="873"/>
                  </a:lnTo>
                  <a:lnTo>
                    <a:pt x="1942" y="871"/>
                  </a:lnTo>
                  <a:lnTo>
                    <a:pt x="1938" y="869"/>
                  </a:lnTo>
                  <a:lnTo>
                    <a:pt x="1930" y="866"/>
                  </a:lnTo>
                  <a:lnTo>
                    <a:pt x="1925" y="865"/>
                  </a:lnTo>
                  <a:lnTo>
                    <a:pt x="1922" y="860"/>
                  </a:lnTo>
                  <a:lnTo>
                    <a:pt x="1914" y="854"/>
                  </a:lnTo>
                  <a:lnTo>
                    <a:pt x="1904" y="848"/>
                  </a:lnTo>
                  <a:lnTo>
                    <a:pt x="1891" y="840"/>
                  </a:lnTo>
                  <a:lnTo>
                    <a:pt x="1867" y="827"/>
                  </a:lnTo>
                  <a:lnTo>
                    <a:pt x="1852" y="821"/>
                  </a:lnTo>
                  <a:lnTo>
                    <a:pt x="1850" y="818"/>
                  </a:lnTo>
                  <a:lnTo>
                    <a:pt x="1843" y="812"/>
                  </a:lnTo>
                  <a:lnTo>
                    <a:pt x="1833" y="807"/>
                  </a:lnTo>
                  <a:lnTo>
                    <a:pt x="1822" y="800"/>
                  </a:lnTo>
                  <a:lnTo>
                    <a:pt x="1801" y="786"/>
                  </a:lnTo>
                  <a:lnTo>
                    <a:pt x="1788" y="777"/>
                  </a:lnTo>
                  <a:lnTo>
                    <a:pt x="1776" y="776"/>
                  </a:lnTo>
                  <a:lnTo>
                    <a:pt x="1766" y="774"/>
                  </a:lnTo>
                  <a:lnTo>
                    <a:pt x="1755" y="772"/>
                  </a:lnTo>
                  <a:lnTo>
                    <a:pt x="1744" y="771"/>
                  </a:lnTo>
                  <a:lnTo>
                    <a:pt x="1742" y="767"/>
                  </a:lnTo>
                  <a:lnTo>
                    <a:pt x="1735" y="763"/>
                  </a:lnTo>
                  <a:lnTo>
                    <a:pt x="1725" y="759"/>
                  </a:lnTo>
                  <a:lnTo>
                    <a:pt x="1714" y="753"/>
                  </a:lnTo>
                  <a:lnTo>
                    <a:pt x="1702" y="748"/>
                  </a:lnTo>
                  <a:lnTo>
                    <a:pt x="1689" y="745"/>
                  </a:lnTo>
                  <a:lnTo>
                    <a:pt x="1679" y="743"/>
                  </a:lnTo>
                  <a:lnTo>
                    <a:pt x="1673" y="742"/>
                  </a:lnTo>
                  <a:lnTo>
                    <a:pt x="1671" y="740"/>
                  </a:lnTo>
                  <a:lnTo>
                    <a:pt x="1670" y="737"/>
                  </a:lnTo>
                  <a:lnTo>
                    <a:pt x="1667" y="736"/>
                  </a:lnTo>
                  <a:lnTo>
                    <a:pt x="1664" y="735"/>
                  </a:lnTo>
                  <a:lnTo>
                    <a:pt x="1657" y="735"/>
                  </a:lnTo>
                  <a:lnTo>
                    <a:pt x="1650" y="734"/>
                  </a:lnTo>
                  <a:lnTo>
                    <a:pt x="1636" y="721"/>
                  </a:lnTo>
                  <a:lnTo>
                    <a:pt x="1626" y="721"/>
                  </a:lnTo>
                  <a:lnTo>
                    <a:pt x="1615" y="721"/>
                  </a:lnTo>
                  <a:lnTo>
                    <a:pt x="1615" y="717"/>
                  </a:lnTo>
                  <a:lnTo>
                    <a:pt x="1612" y="716"/>
                  </a:lnTo>
                  <a:lnTo>
                    <a:pt x="1610" y="715"/>
                  </a:lnTo>
                  <a:lnTo>
                    <a:pt x="1607" y="714"/>
                  </a:lnTo>
                  <a:lnTo>
                    <a:pt x="1599" y="713"/>
                  </a:lnTo>
                  <a:lnTo>
                    <a:pt x="1593" y="713"/>
                  </a:lnTo>
                  <a:lnTo>
                    <a:pt x="1586" y="706"/>
                  </a:lnTo>
                  <a:lnTo>
                    <a:pt x="1586" y="702"/>
                  </a:lnTo>
                  <a:lnTo>
                    <a:pt x="1584" y="699"/>
                  </a:lnTo>
                  <a:lnTo>
                    <a:pt x="1583" y="698"/>
                  </a:lnTo>
                  <a:lnTo>
                    <a:pt x="1582" y="698"/>
                  </a:lnTo>
                  <a:lnTo>
                    <a:pt x="1581" y="698"/>
                  </a:lnTo>
                  <a:lnTo>
                    <a:pt x="1580" y="697"/>
                  </a:lnTo>
                  <a:lnTo>
                    <a:pt x="1579" y="695"/>
                  </a:lnTo>
                  <a:lnTo>
                    <a:pt x="1579" y="692"/>
                  </a:lnTo>
                  <a:lnTo>
                    <a:pt x="1572" y="690"/>
                  </a:lnTo>
                  <a:lnTo>
                    <a:pt x="1565" y="687"/>
                  </a:lnTo>
                  <a:lnTo>
                    <a:pt x="1562" y="685"/>
                  </a:lnTo>
                  <a:lnTo>
                    <a:pt x="1560" y="683"/>
                  </a:lnTo>
                  <a:lnTo>
                    <a:pt x="1558" y="679"/>
                  </a:lnTo>
                  <a:lnTo>
                    <a:pt x="1556" y="677"/>
                  </a:lnTo>
                  <a:lnTo>
                    <a:pt x="1535" y="677"/>
                  </a:lnTo>
                  <a:lnTo>
                    <a:pt x="1535" y="675"/>
                  </a:lnTo>
                  <a:lnTo>
                    <a:pt x="1533" y="673"/>
                  </a:lnTo>
                  <a:lnTo>
                    <a:pt x="1531" y="670"/>
                  </a:lnTo>
                  <a:lnTo>
                    <a:pt x="1529" y="669"/>
                  </a:lnTo>
                  <a:lnTo>
                    <a:pt x="1525" y="667"/>
                  </a:lnTo>
                  <a:lnTo>
                    <a:pt x="1523" y="664"/>
                  </a:lnTo>
                  <a:lnTo>
                    <a:pt x="1522" y="660"/>
                  </a:lnTo>
                  <a:lnTo>
                    <a:pt x="1521" y="655"/>
                  </a:lnTo>
                  <a:lnTo>
                    <a:pt x="1506" y="655"/>
                  </a:lnTo>
                  <a:lnTo>
                    <a:pt x="1506" y="651"/>
                  </a:lnTo>
                  <a:lnTo>
                    <a:pt x="1505" y="649"/>
                  </a:lnTo>
                  <a:lnTo>
                    <a:pt x="1504" y="648"/>
                  </a:lnTo>
                  <a:lnTo>
                    <a:pt x="1503" y="648"/>
                  </a:lnTo>
                  <a:lnTo>
                    <a:pt x="1502" y="648"/>
                  </a:lnTo>
                  <a:lnTo>
                    <a:pt x="1501" y="647"/>
                  </a:lnTo>
                  <a:lnTo>
                    <a:pt x="1500" y="645"/>
                  </a:lnTo>
                  <a:lnTo>
                    <a:pt x="1500" y="641"/>
                  </a:lnTo>
                  <a:lnTo>
                    <a:pt x="1477" y="641"/>
                  </a:lnTo>
                  <a:lnTo>
                    <a:pt x="1477" y="638"/>
                  </a:lnTo>
                  <a:lnTo>
                    <a:pt x="1476" y="637"/>
                  </a:lnTo>
                  <a:lnTo>
                    <a:pt x="1475" y="636"/>
                  </a:lnTo>
                  <a:lnTo>
                    <a:pt x="1473" y="635"/>
                  </a:lnTo>
                  <a:lnTo>
                    <a:pt x="1468" y="634"/>
                  </a:lnTo>
                  <a:lnTo>
                    <a:pt x="1464" y="634"/>
                  </a:lnTo>
                  <a:lnTo>
                    <a:pt x="1460" y="630"/>
                  </a:lnTo>
                  <a:lnTo>
                    <a:pt x="1454" y="627"/>
                  </a:lnTo>
                  <a:lnTo>
                    <a:pt x="1445" y="623"/>
                  </a:lnTo>
                  <a:lnTo>
                    <a:pt x="1434" y="620"/>
                  </a:lnTo>
                  <a:lnTo>
                    <a:pt x="1411" y="615"/>
                  </a:lnTo>
                  <a:lnTo>
                    <a:pt x="1398" y="612"/>
                  </a:lnTo>
                  <a:lnTo>
                    <a:pt x="1385" y="598"/>
                  </a:lnTo>
                  <a:lnTo>
                    <a:pt x="1378" y="597"/>
                  </a:lnTo>
                  <a:lnTo>
                    <a:pt x="1372" y="596"/>
                  </a:lnTo>
                  <a:lnTo>
                    <a:pt x="1366" y="593"/>
                  </a:lnTo>
                  <a:lnTo>
                    <a:pt x="1359" y="590"/>
                  </a:lnTo>
                  <a:lnTo>
                    <a:pt x="1345" y="586"/>
                  </a:lnTo>
                  <a:lnTo>
                    <a:pt x="1333" y="583"/>
                  </a:lnTo>
                  <a:lnTo>
                    <a:pt x="1333" y="581"/>
                  </a:lnTo>
                  <a:lnTo>
                    <a:pt x="1331" y="578"/>
                  </a:lnTo>
                  <a:lnTo>
                    <a:pt x="1329" y="575"/>
                  </a:lnTo>
                  <a:lnTo>
                    <a:pt x="1324" y="572"/>
                  </a:lnTo>
                  <a:lnTo>
                    <a:pt x="1315" y="567"/>
                  </a:lnTo>
                  <a:lnTo>
                    <a:pt x="1305" y="562"/>
                  </a:lnTo>
                  <a:lnTo>
                    <a:pt x="1294" y="557"/>
                  </a:lnTo>
                  <a:lnTo>
                    <a:pt x="1285" y="551"/>
                  </a:lnTo>
                  <a:lnTo>
                    <a:pt x="1281" y="548"/>
                  </a:lnTo>
                  <a:lnTo>
                    <a:pt x="1279" y="545"/>
                  </a:lnTo>
                  <a:lnTo>
                    <a:pt x="1276" y="543"/>
                  </a:lnTo>
                  <a:lnTo>
                    <a:pt x="1276" y="540"/>
                  </a:lnTo>
                  <a:lnTo>
                    <a:pt x="1254" y="540"/>
                  </a:lnTo>
                  <a:lnTo>
                    <a:pt x="1254" y="538"/>
                  </a:lnTo>
                  <a:lnTo>
                    <a:pt x="1253" y="535"/>
                  </a:lnTo>
                  <a:lnTo>
                    <a:pt x="1252" y="534"/>
                  </a:lnTo>
                  <a:lnTo>
                    <a:pt x="1249" y="534"/>
                  </a:lnTo>
                  <a:lnTo>
                    <a:pt x="1245" y="533"/>
                  </a:lnTo>
                  <a:lnTo>
                    <a:pt x="1239" y="533"/>
                  </a:lnTo>
                  <a:lnTo>
                    <a:pt x="1229" y="522"/>
                  </a:lnTo>
                  <a:lnTo>
                    <a:pt x="1218" y="511"/>
                  </a:lnTo>
                  <a:lnTo>
                    <a:pt x="1204" y="504"/>
                  </a:lnTo>
                  <a:lnTo>
                    <a:pt x="1199" y="502"/>
                  </a:lnTo>
                  <a:lnTo>
                    <a:pt x="1193" y="497"/>
                  </a:lnTo>
                  <a:lnTo>
                    <a:pt x="1185" y="490"/>
                  </a:lnTo>
                  <a:lnTo>
                    <a:pt x="1175" y="482"/>
                  </a:lnTo>
                  <a:lnTo>
                    <a:pt x="1157" y="465"/>
                  </a:lnTo>
                  <a:lnTo>
                    <a:pt x="1146" y="454"/>
                  </a:lnTo>
                  <a:lnTo>
                    <a:pt x="1146" y="439"/>
                  </a:lnTo>
                  <a:lnTo>
                    <a:pt x="1143" y="439"/>
                  </a:lnTo>
                  <a:lnTo>
                    <a:pt x="1142" y="438"/>
                  </a:lnTo>
                  <a:lnTo>
                    <a:pt x="1141" y="436"/>
                  </a:lnTo>
                  <a:lnTo>
                    <a:pt x="1140" y="435"/>
                  </a:lnTo>
                  <a:lnTo>
                    <a:pt x="1139" y="430"/>
                  </a:lnTo>
                  <a:lnTo>
                    <a:pt x="1139" y="425"/>
                  </a:lnTo>
                  <a:lnTo>
                    <a:pt x="1138" y="425"/>
                  </a:lnTo>
                  <a:lnTo>
                    <a:pt x="1137" y="423"/>
                  </a:lnTo>
                  <a:lnTo>
                    <a:pt x="1136" y="421"/>
                  </a:lnTo>
                  <a:lnTo>
                    <a:pt x="1136" y="418"/>
                  </a:lnTo>
                  <a:lnTo>
                    <a:pt x="1136" y="410"/>
                  </a:lnTo>
                  <a:lnTo>
                    <a:pt x="1136" y="401"/>
                  </a:lnTo>
                  <a:lnTo>
                    <a:pt x="1138" y="376"/>
                  </a:lnTo>
                  <a:lnTo>
                    <a:pt x="1142" y="347"/>
                  </a:lnTo>
                  <a:lnTo>
                    <a:pt x="1147" y="318"/>
                  </a:lnTo>
                  <a:lnTo>
                    <a:pt x="1151" y="290"/>
                  </a:lnTo>
                  <a:lnTo>
                    <a:pt x="1155" y="267"/>
                  </a:lnTo>
                  <a:lnTo>
                    <a:pt x="1156" y="253"/>
                  </a:lnTo>
                  <a:lnTo>
                    <a:pt x="1153" y="253"/>
                  </a:lnTo>
                  <a:lnTo>
                    <a:pt x="1152" y="252"/>
                  </a:lnTo>
                  <a:lnTo>
                    <a:pt x="1150" y="251"/>
                  </a:lnTo>
                  <a:lnTo>
                    <a:pt x="1150" y="248"/>
                  </a:lnTo>
                  <a:lnTo>
                    <a:pt x="1149" y="244"/>
                  </a:lnTo>
                  <a:lnTo>
                    <a:pt x="1149" y="240"/>
                  </a:lnTo>
                  <a:lnTo>
                    <a:pt x="1135" y="232"/>
                  </a:lnTo>
                  <a:lnTo>
                    <a:pt x="1133" y="221"/>
                  </a:lnTo>
                  <a:lnTo>
                    <a:pt x="1131" y="211"/>
                  </a:lnTo>
                  <a:lnTo>
                    <a:pt x="1128" y="199"/>
                  </a:lnTo>
                  <a:lnTo>
                    <a:pt x="1127" y="188"/>
                  </a:lnTo>
                  <a:lnTo>
                    <a:pt x="1124" y="188"/>
                  </a:lnTo>
                  <a:lnTo>
                    <a:pt x="1123" y="186"/>
                  </a:lnTo>
                  <a:lnTo>
                    <a:pt x="1122" y="184"/>
                  </a:lnTo>
                  <a:lnTo>
                    <a:pt x="1121" y="180"/>
                  </a:lnTo>
                  <a:lnTo>
                    <a:pt x="1120" y="174"/>
                  </a:lnTo>
                  <a:lnTo>
                    <a:pt x="1120" y="167"/>
                  </a:lnTo>
                  <a:lnTo>
                    <a:pt x="1116" y="167"/>
                  </a:lnTo>
                  <a:lnTo>
                    <a:pt x="1113" y="166"/>
                  </a:lnTo>
                  <a:lnTo>
                    <a:pt x="1113" y="165"/>
                  </a:lnTo>
                  <a:lnTo>
                    <a:pt x="1113" y="164"/>
                  </a:lnTo>
                  <a:lnTo>
                    <a:pt x="1112" y="163"/>
                  </a:lnTo>
                  <a:lnTo>
                    <a:pt x="1112" y="161"/>
                  </a:lnTo>
                  <a:lnTo>
                    <a:pt x="1110" y="160"/>
                  </a:lnTo>
                  <a:lnTo>
                    <a:pt x="1105" y="160"/>
                  </a:lnTo>
                  <a:lnTo>
                    <a:pt x="1107" y="96"/>
                  </a:lnTo>
                  <a:lnTo>
                    <a:pt x="1099" y="89"/>
                  </a:lnTo>
                  <a:lnTo>
                    <a:pt x="1092" y="81"/>
                  </a:lnTo>
                  <a:lnTo>
                    <a:pt x="1082" y="82"/>
                  </a:lnTo>
                  <a:lnTo>
                    <a:pt x="1060" y="84"/>
                  </a:lnTo>
                  <a:lnTo>
                    <a:pt x="1037" y="88"/>
                  </a:lnTo>
                  <a:lnTo>
                    <a:pt x="1026" y="88"/>
                  </a:lnTo>
                  <a:lnTo>
                    <a:pt x="1026" y="86"/>
                  </a:lnTo>
                  <a:lnTo>
                    <a:pt x="1024" y="84"/>
                  </a:lnTo>
                  <a:lnTo>
                    <a:pt x="1022" y="83"/>
                  </a:lnTo>
                  <a:lnTo>
                    <a:pt x="1018" y="82"/>
                  </a:lnTo>
                  <a:lnTo>
                    <a:pt x="1012" y="81"/>
                  </a:lnTo>
                  <a:lnTo>
                    <a:pt x="1005" y="81"/>
                  </a:lnTo>
                  <a:lnTo>
                    <a:pt x="1005" y="72"/>
                  </a:lnTo>
                  <a:lnTo>
                    <a:pt x="1003" y="59"/>
                  </a:lnTo>
                  <a:lnTo>
                    <a:pt x="1002" y="53"/>
                  </a:lnTo>
                  <a:lnTo>
                    <a:pt x="999" y="48"/>
                  </a:lnTo>
                  <a:lnTo>
                    <a:pt x="997" y="44"/>
                  </a:lnTo>
                  <a:lnTo>
                    <a:pt x="995" y="43"/>
                  </a:lnTo>
                  <a:lnTo>
                    <a:pt x="995" y="39"/>
                  </a:lnTo>
                  <a:lnTo>
                    <a:pt x="994" y="36"/>
                  </a:lnTo>
                  <a:lnTo>
                    <a:pt x="993" y="35"/>
                  </a:lnTo>
                  <a:lnTo>
                    <a:pt x="992" y="35"/>
                  </a:lnTo>
                  <a:lnTo>
                    <a:pt x="989" y="35"/>
                  </a:lnTo>
                  <a:lnTo>
                    <a:pt x="988" y="34"/>
                  </a:lnTo>
                  <a:lnTo>
                    <a:pt x="988" y="33"/>
                  </a:lnTo>
                  <a:lnTo>
                    <a:pt x="987" y="29"/>
                  </a:lnTo>
                  <a:lnTo>
                    <a:pt x="974" y="29"/>
                  </a:lnTo>
                  <a:lnTo>
                    <a:pt x="973" y="24"/>
                  </a:lnTo>
                  <a:lnTo>
                    <a:pt x="973" y="22"/>
                  </a:lnTo>
                  <a:lnTo>
                    <a:pt x="970" y="21"/>
                  </a:lnTo>
                  <a:lnTo>
                    <a:pt x="969" y="21"/>
                  </a:lnTo>
                  <a:lnTo>
                    <a:pt x="968" y="21"/>
                  </a:lnTo>
                  <a:lnTo>
                    <a:pt x="967" y="21"/>
                  </a:lnTo>
                  <a:lnTo>
                    <a:pt x="966" y="19"/>
                  </a:lnTo>
                  <a:lnTo>
                    <a:pt x="966" y="14"/>
                  </a:lnTo>
                  <a:lnTo>
                    <a:pt x="951" y="14"/>
                  </a:lnTo>
                  <a:lnTo>
                    <a:pt x="951" y="12"/>
                  </a:lnTo>
                  <a:lnTo>
                    <a:pt x="949" y="10"/>
                  </a:lnTo>
                  <a:lnTo>
                    <a:pt x="947" y="9"/>
                  </a:lnTo>
                  <a:lnTo>
                    <a:pt x="944" y="7"/>
                  </a:lnTo>
                  <a:lnTo>
                    <a:pt x="937" y="7"/>
                  </a:lnTo>
                  <a:lnTo>
                    <a:pt x="930" y="6"/>
                  </a:lnTo>
                  <a:lnTo>
                    <a:pt x="929" y="5"/>
                  </a:lnTo>
                  <a:lnTo>
                    <a:pt x="926" y="4"/>
                  </a:lnTo>
                  <a:lnTo>
                    <a:pt x="922" y="4"/>
                  </a:lnTo>
                  <a:lnTo>
                    <a:pt x="917" y="3"/>
                  </a:lnTo>
                  <a:lnTo>
                    <a:pt x="902" y="2"/>
                  </a:lnTo>
                  <a:lnTo>
                    <a:pt x="884" y="1"/>
                  </a:lnTo>
                  <a:lnTo>
                    <a:pt x="851" y="0"/>
                  </a:lnTo>
                  <a:lnTo>
                    <a:pt x="829" y="0"/>
                  </a:lnTo>
                  <a:lnTo>
                    <a:pt x="829" y="2"/>
                  </a:lnTo>
                  <a:lnTo>
                    <a:pt x="826" y="4"/>
                  </a:lnTo>
                  <a:lnTo>
                    <a:pt x="824" y="5"/>
                  </a:lnTo>
                  <a:lnTo>
                    <a:pt x="821" y="6"/>
                  </a:lnTo>
                  <a:lnTo>
                    <a:pt x="814" y="6"/>
                  </a:lnTo>
                  <a:lnTo>
                    <a:pt x="807" y="6"/>
                  </a:lnTo>
                  <a:lnTo>
                    <a:pt x="806" y="9"/>
                  </a:lnTo>
                  <a:lnTo>
                    <a:pt x="802" y="10"/>
                  </a:lnTo>
                  <a:lnTo>
                    <a:pt x="795" y="12"/>
                  </a:lnTo>
                  <a:lnTo>
                    <a:pt x="786" y="13"/>
                  </a:lnTo>
                  <a:lnTo>
                    <a:pt x="764" y="16"/>
                  </a:lnTo>
                  <a:lnTo>
                    <a:pt x="737" y="21"/>
                  </a:lnTo>
                  <a:lnTo>
                    <a:pt x="686" y="26"/>
                  </a:lnTo>
                  <a:lnTo>
                    <a:pt x="657" y="29"/>
                  </a:lnTo>
                  <a:lnTo>
                    <a:pt x="656" y="32"/>
                  </a:lnTo>
                  <a:lnTo>
                    <a:pt x="653" y="35"/>
                  </a:lnTo>
                  <a:lnTo>
                    <a:pt x="651" y="39"/>
                  </a:lnTo>
                  <a:lnTo>
                    <a:pt x="648" y="42"/>
                  </a:lnTo>
                  <a:lnTo>
                    <a:pt x="644" y="45"/>
                  </a:lnTo>
                  <a:lnTo>
                    <a:pt x="641" y="48"/>
                  </a:lnTo>
                  <a:lnTo>
                    <a:pt x="638" y="50"/>
                  </a:lnTo>
                  <a:lnTo>
                    <a:pt x="634" y="50"/>
                  </a:lnTo>
                  <a:lnTo>
                    <a:pt x="628" y="58"/>
                  </a:lnTo>
                  <a:lnTo>
                    <a:pt x="627" y="61"/>
                  </a:lnTo>
                  <a:lnTo>
                    <a:pt x="627" y="63"/>
                  </a:lnTo>
                  <a:lnTo>
                    <a:pt x="625" y="64"/>
                  </a:lnTo>
                  <a:lnTo>
                    <a:pt x="623" y="64"/>
                  </a:lnTo>
                  <a:lnTo>
                    <a:pt x="622" y="64"/>
                  </a:lnTo>
                  <a:lnTo>
                    <a:pt x="621" y="65"/>
                  </a:lnTo>
                  <a:lnTo>
                    <a:pt x="621" y="68"/>
                  </a:lnTo>
                  <a:lnTo>
                    <a:pt x="620" y="72"/>
                  </a:lnTo>
                  <a:lnTo>
                    <a:pt x="595" y="73"/>
                  </a:lnTo>
                  <a:lnTo>
                    <a:pt x="566" y="75"/>
                  </a:lnTo>
                  <a:lnTo>
                    <a:pt x="537" y="78"/>
                  </a:lnTo>
                  <a:lnTo>
                    <a:pt x="512" y="79"/>
                  </a:lnTo>
                  <a:lnTo>
                    <a:pt x="512" y="81"/>
                  </a:lnTo>
                  <a:lnTo>
                    <a:pt x="510" y="83"/>
                  </a:lnTo>
                  <a:lnTo>
                    <a:pt x="509" y="84"/>
                  </a:lnTo>
                  <a:lnTo>
                    <a:pt x="507" y="86"/>
                  </a:lnTo>
                  <a:lnTo>
                    <a:pt x="503" y="86"/>
                  </a:lnTo>
                  <a:lnTo>
                    <a:pt x="498" y="86"/>
                  </a:lnTo>
                  <a:lnTo>
                    <a:pt x="490" y="100"/>
                  </a:lnTo>
                  <a:lnTo>
                    <a:pt x="484" y="108"/>
                  </a:lnTo>
                  <a:lnTo>
                    <a:pt x="473" y="108"/>
                  </a:lnTo>
                  <a:lnTo>
                    <a:pt x="461" y="108"/>
                  </a:lnTo>
                  <a:lnTo>
                    <a:pt x="461" y="110"/>
                  </a:lnTo>
                  <a:lnTo>
                    <a:pt x="460" y="112"/>
                  </a:lnTo>
                  <a:lnTo>
                    <a:pt x="458" y="113"/>
                  </a:lnTo>
                  <a:lnTo>
                    <a:pt x="456" y="115"/>
                  </a:lnTo>
                  <a:lnTo>
                    <a:pt x="447" y="118"/>
                  </a:lnTo>
                  <a:lnTo>
                    <a:pt x="432" y="12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1" name="Freeform 14">
              <a:extLst>
                <a:ext uri="{FF2B5EF4-FFF2-40B4-BE49-F238E27FC236}">
                  <a16:creationId xmlns:a16="http://schemas.microsoft.com/office/drawing/2014/main" id="{C03B80EC-91F4-45DE-9813-9DD53F1DFBEE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370763" y="4379913"/>
              <a:ext cx="343952" cy="339725"/>
            </a:xfrm>
            <a:custGeom>
              <a:avLst/>
              <a:gdLst/>
              <a:ahLst/>
              <a:cxnLst>
                <a:cxn ang="0">
                  <a:pos x="325" y="177"/>
                </a:cxn>
                <a:cxn ang="0">
                  <a:pos x="226" y="263"/>
                </a:cxn>
                <a:cxn ang="0">
                  <a:pos x="194" y="297"/>
                </a:cxn>
                <a:cxn ang="0">
                  <a:pos x="175" y="336"/>
                </a:cxn>
                <a:cxn ang="0">
                  <a:pos x="106" y="377"/>
                </a:cxn>
                <a:cxn ang="0">
                  <a:pos x="24" y="418"/>
                </a:cxn>
                <a:cxn ang="0">
                  <a:pos x="30" y="548"/>
                </a:cxn>
                <a:cxn ang="0">
                  <a:pos x="14" y="608"/>
                </a:cxn>
                <a:cxn ang="0">
                  <a:pos x="2" y="682"/>
                </a:cxn>
                <a:cxn ang="0">
                  <a:pos x="36" y="712"/>
                </a:cxn>
                <a:cxn ang="0">
                  <a:pos x="71" y="737"/>
                </a:cxn>
                <a:cxn ang="0">
                  <a:pos x="110" y="848"/>
                </a:cxn>
                <a:cxn ang="0">
                  <a:pos x="139" y="982"/>
                </a:cxn>
                <a:cxn ang="0">
                  <a:pos x="213" y="1100"/>
                </a:cxn>
                <a:cxn ang="0">
                  <a:pos x="251" y="1332"/>
                </a:cxn>
                <a:cxn ang="0">
                  <a:pos x="283" y="1363"/>
                </a:cxn>
                <a:cxn ang="0">
                  <a:pos x="288" y="1403"/>
                </a:cxn>
                <a:cxn ang="0">
                  <a:pos x="269" y="1428"/>
                </a:cxn>
                <a:cxn ang="0">
                  <a:pos x="220" y="1562"/>
                </a:cxn>
                <a:cxn ang="0">
                  <a:pos x="183" y="1907"/>
                </a:cxn>
                <a:cxn ang="0">
                  <a:pos x="261" y="1994"/>
                </a:cxn>
                <a:cxn ang="0">
                  <a:pos x="372" y="1965"/>
                </a:cxn>
                <a:cxn ang="0">
                  <a:pos x="437" y="1925"/>
                </a:cxn>
                <a:cxn ang="0">
                  <a:pos x="500" y="1692"/>
                </a:cxn>
                <a:cxn ang="0">
                  <a:pos x="549" y="1495"/>
                </a:cxn>
                <a:cxn ang="0">
                  <a:pos x="703" y="1261"/>
                </a:cxn>
                <a:cxn ang="0">
                  <a:pos x="813" y="1175"/>
                </a:cxn>
                <a:cxn ang="0">
                  <a:pos x="989" y="1138"/>
                </a:cxn>
                <a:cxn ang="0">
                  <a:pos x="1089" y="1485"/>
                </a:cxn>
                <a:cxn ang="0">
                  <a:pos x="1171" y="1519"/>
                </a:cxn>
                <a:cxn ang="0">
                  <a:pos x="1227" y="1586"/>
                </a:cxn>
                <a:cxn ang="0">
                  <a:pos x="1309" y="1771"/>
                </a:cxn>
                <a:cxn ang="0">
                  <a:pos x="1429" y="1821"/>
                </a:cxn>
                <a:cxn ang="0">
                  <a:pos x="1517" y="1916"/>
                </a:cxn>
                <a:cxn ang="0">
                  <a:pos x="1553" y="1945"/>
                </a:cxn>
                <a:cxn ang="0">
                  <a:pos x="1595" y="2003"/>
                </a:cxn>
                <a:cxn ang="0">
                  <a:pos x="1667" y="2089"/>
                </a:cxn>
                <a:cxn ang="0">
                  <a:pos x="1751" y="2032"/>
                </a:cxn>
                <a:cxn ang="0">
                  <a:pos x="1810" y="1989"/>
                </a:cxn>
                <a:cxn ang="0">
                  <a:pos x="1833" y="1970"/>
                </a:cxn>
                <a:cxn ang="0">
                  <a:pos x="1792" y="1817"/>
                </a:cxn>
                <a:cxn ang="0">
                  <a:pos x="1708" y="1751"/>
                </a:cxn>
                <a:cxn ang="0">
                  <a:pos x="1649" y="1714"/>
                </a:cxn>
                <a:cxn ang="0">
                  <a:pos x="1572" y="1642"/>
                </a:cxn>
                <a:cxn ang="0">
                  <a:pos x="1561" y="1461"/>
                </a:cxn>
                <a:cxn ang="0">
                  <a:pos x="1620" y="1423"/>
                </a:cxn>
                <a:cxn ang="0">
                  <a:pos x="1689" y="1395"/>
                </a:cxn>
                <a:cxn ang="0">
                  <a:pos x="1710" y="1337"/>
                </a:cxn>
                <a:cxn ang="0">
                  <a:pos x="1696" y="1282"/>
                </a:cxn>
                <a:cxn ang="0">
                  <a:pos x="1627" y="1189"/>
                </a:cxn>
                <a:cxn ang="0">
                  <a:pos x="1495" y="913"/>
                </a:cxn>
                <a:cxn ang="0">
                  <a:pos x="1441" y="802"/>
                </a:cxn>
                <a:cxn ang="0">
                  <a:pos x="1342" y="764"/>
                </a:cxn>
                <a:cxn ang="0">
                  <a:pos x="1226" y="768"/>
                </a:cxn>
                <a:cxn ang="0">
                  <a:pos x="1033" y="744"/>
                </a:cxn>
                <a:cxn ang="0">
                  <a:pos x="994" y="708"/>
                </a:cxn>
                <a:cxn ang="0">
                  <a:pos x="921" y="683"/>
                </a:cxn>
                <a:cxn ang="0">
                  <a:pos x="820" y="435"/>
                </a:cxn>
                <a:cxn ang="0">
                  <a:pos x="729" y="283"/>
                </a:cxn>
                <a:cxn ang="0">
                  <a:pos x="682" y="69"/>
                </a:cxn>
                <a:cxn ang="0">
                  <a:pos x="629" y="1"/>
                </a:cxn>
                <a:cxn ang="0">
                  <a:pos x="433" y="4"/>
                </a:cxn>
              </a:cxnLst>
              <a:rect l="0" t="0" r="r" b="b"/>
              <a:pathLst>
                <a:path w="1883" h="2109">
                  <a:moveTo>
                    <a:pt x="303" y="7"/>
                  </a:moveTo>
                  <a:lnTo>
                    <a:pt x="297" y="16"/>
                  </a:lnTo>
                  <a:lnTo>
                    <a:pt x="295" y="24"/>
                  </a:lnTo>
                  <a:lnTo>
                    <a:pt x="293" y="35"/>
                  </a:lnTo>
                  <a:lnTo>
                    <a:pt x="293" y="46"/>
                  </a:lnTo>
                  <a:lnTo>
                    <a:pt x="294" y="57"/>
                  </a:lnTo>
                  <a:lnTo>
                    <a:pt x="296" y="68"/>
                  </a:lnTo>
                  <a:lnTo>
                    <a:pt x="299" y="80"/>
                  </a:lnTo>
                  <a:lnTo>
                    <a:pt x="303" y="93"/>
                  </a:lnTo>
                  <a:lnTo>
                    <a:pt x="311" y="117"/>
                  </a:lnTo>
                  <a:lnTo>
                    <a:pt x="318" y="142"/>
                  </a:lnTo>
                  <a:lnTo>
                    <a:pt x="321" y="154"/>
                  </a:lnTo>
                  <a:lnTo>
                    <a:pt x="324" y="166"/>
                  </a:lnTo>
                  <a:lnTo>
                    <a:pt x="325" y="177"/>
                  </a:lnTo>
                  <a:lnTo>
                    <a:pt x="326" y="187"/>
                  </a:lnTo>
                  <a:lnTo>
                    <a:pt x="314" y="201"/>
                  </a:lnTo>
                  <a:lnTo>
                    <a:pt x="314" y="213"/>
                  </a:lnTo>
                  <a:lnTo>
                    <a:pt x="307" y="225"/>
                  </a:lnTo>
                  <a:lnTo>
                    <a:pt x="299" y="229"/>
                  </a:lnTo>
                  <a:lnTo>
                    <a:pt x="289" y="235"/>
                  </a:lnTo>
                  <a:lnTo>
                    <a:pt x="284" y="240"/>
                  </a:lnTo>
                  <a:lnTo>
                    <a:pt x="280" y="244"/>
                  </a:lnTo>
                  <a:lnTo>
                    <a:pt x="277" y="248"/>
                  </a:lnTo>
                  <a:lnTo>
                    <a:pt x="276" y="250"/>
                  </a:lnTo>
                  <a:lnTo>
                    <a:pt x="265" y="252"/>
                  </a:lnTo>
                  <a:lnTo>
                    <a:pt x="251" y="257"/>
                  </a:lnTo>
                  <a:lnTo>
                    <a:pt x="237" y="261"/>
                  </a:lnTo>
                  <a:lnTo>
                    <a:pt x="226" y="263"/>
                  </a:lnTo>
                  <a:lnTo>
                    <a:pt x="223" y="267"/>
                  </a:lnTo>
                  <a:lnTo>
                    <a:pt x="220" y="270"/>
                  </a:lnTo>
                  <a:lnTo>
                    <a:pt x="217" y="272"/>
                  </a:lnTo>
                  <a:lnTo>
                    <a:pt x="216" y="274"/>
                  </a:lnTo>
                  <a:lnTo>
                    <a:pt x="213" y="278"/>
                  </a:lnTo>
                  <a:lnTo>
                    <a:pt x="213" y="281"/>
                  </a:lnTo>
                  <a:lnTo>
                    <a:pt x="209" y="282"/>
                  </a:lnTo>
                  <a:lnTo>
                    <a:pt x="205" y="286"/>
                  </a:lnTo>
                  <a:lnTo>
                    <a:pt x="202" y="289"/>
                  </a:lnTo>
                  <a:lnTo>
                    <a:pt x="201" y="295"/>
                  </a:lnTo>
                  <a:lnTo>
                    <a:pt x="197" y="295"/>
                  </a:lnTo>
                  <a:lnTo>
                    <a:pt x="196" y="295"/>
                  </a:lnTo>
                  <a:lnTo>
                    <a:pt x="194" y="296"/>
                  </a:lnTo>
                  <a:lnTo>
                    <a:pt x="194" y="297"/>
                  </a:lnTo>
                  <a:lnTo>
                    <a:pt x="194" y="298"/>
                  </a:lnTo>
                  <a:lnTo>
                    <a:pt x="193" y="299"/>
                  </a:lnTo>
                  <a:lnTo>
                    <a:pt x="192" y="300"/>
                  </a:lnTo>
                  <a:lnTo>
                    <a:pt x="189" y="300"/>
                  </a:lnTo>
                  <a:lnTo>
                    <a:pt x="189" y="312"/>
                  </a:lnTo>
                  <a:lnTo>
                    <a:pt x="187" y="314"/>
                  </a:lnTo>
                  <a:lnTo>
                    <a:pt x="184" y="315"/>
                  </a:lnTo>
                  <a:lnTo>
                    <a:pt x="183" y="317"/>
                  </a:lnTo>
                  <a:lnTo>
                    <a:pt x="183" y="320"/>
                  </a:lnTo>
                  <a:lnTo>
                    <a:pt x="182" y="326"/>
                  </a:lnTo>
                  <a:lnTo>
                    <a:pt x="182" y="331"/>
                  </a:lnTo>
                  <a:lnTo>
                    <a:pt x="180" y="333"/>
                  </a:lnTo>
                  <a:lnTo>
                    <a:pt x="178" y="334"/>
                  </a:lnTo>
                  <a:lnTo>
                    <a:pt x="175" y="336"/>
                  </a:lnTo>
                  <a:lnTo>
                    <a:pt x="173" y="339"/>
                  </a:lnTo>
                  <a:lnTo>
                    <a:pt x="171" y="345"/>
                  </a:lnTo>
                  <a:lnTo>
                    <a:pt x="170" y="350"/>
                  </a:lnTo>
                  <a:lnTo>
                    <a:pt x="165" y="351"/>
                  </a:lnTo>
                  <a:lnTo>
                    <a:pt x="161" y="355"/>
                  </a:lnTo>
                  <a:lnTo>
                    <a:pt x="158" y="358"/>
                  </a:lnTo>
                  <a:lnTo>
                    <a:pt x="158" y="363"/>
                  </a:lnTo>
                  <a:lnTo>
                    <a:pt x="151" y="369"/>
                  </a:lnTo>
                  <a:lnTo>
                    <a:pt x="144" y="375"/>
                  </a:lnTo>
                  <a:lnTo>
                    <a:pt x="136" y="375"/>
                  </a:lnTo>
                  <a:lnTo>
                    <a:pt x="126" y="375"/>
                  </a:lnTo>
                  <a:lnTo>
                    <a:pt x="115" y="375"/>
                  </a:lnTo>
                  <a:lnTo>
                    <a:pt x="107" y="375"/>
                  </a:lnTo>
                  <a:lnTo>
                    <a:pt x="106" y="377"/>
                  </a:lnTo>
                  <a:lnTo>
                    <a:pt x="103" y="379"/>
                  </a:lnTo>
                  <a:lnTo>
                    <a:pt x="98" y="380"/>
                  </a:lnTo>
                  <a:lnTo>
                    <a:pt x="94" y="380"/>
                  </a:lnTo>
                  <a:lnTo>
                    <a:pt x="83" y="382"/>
                  </a:lnTo>
                  <a:lnTo>
                    <a:pt x="76" y="382"/>
                  </a:lnTo>
                  <a:lnTo>
                    <a:pt x="75" y="384"/>
                  </a:lnTo>
                  <a:lnTo>
                    <a:pt x="75" y="385"/>
                  </a:lnTo>
                  <a:lnTo>
                    <a:pt x="74" y="386"/>
                  </a:lnTo>
                  <a:lnTo>
                    <a:pt x="72" y="387"/>
                  </a:lnTo>
                  <a:lnTo>
                    <a:pt x="68" y="388"/>
                  </a:lnTo>
                  <a:lnTo>
                    <a:pt x="64" y="388"/>
                  </a:lnTo>
                  <a:lnTo>
                    <a:pt x="38" y="413"/>
                  </a:lnTo>
                  <a:lnTo>
                    <a:pt x="26" y="413"/>
                  </a:lnTo>
                  <a:lnTo>
                    <a:pt x="24" y="418"/>
                  </a:lnTo>
                  <a:lnTo>
                    <a:pt x="19" y="425"/>
                  </a:lnTo>
                  <a:lnTo>
                    <a:pt x="12" y="430"/>
                  </a:lnTo>
                  <a:lnTo>
                    <a:pt x="7" y="432"/>
                  </a:lnTo>
                  <a:lnTo>
                    <a:pt x="7" y="500"/>
                  </a:lnTo>
                  <a:lnTo>
                    <a:pt x="11" y="505"/>
                  </a:lnTo>
                  <a:lnTo>
                    <a:pt x="16" y="512"/>
                  </a:lnTo>
                  <a:lnTo>
                    <a:pt x="19" y="514"/>
                  </a:lnTo>
                  <a:lnTo>
                    <a:pt x="21" y="517"/>
                  </a:lnTo>
                  <a:lnTo>
                    <a:pt x="24" y="519"/>
                  </a:lnTo>
                  <a:lnTo>
                    <a:pt x="26" y="519"/>
                  </a:lnTo>
                  <a:lnTo>
                    <a:pt x="26" y="531"/>
                  </a:lnTo>
                  <a:lnTo>
                    <a:pt x="28" y="533"/>
                  </a:lnTo>
                  <a:lnTo>
                    <a:pt x="29" y="540"/>
                  </a:lnTo>
                  <a:lnTo>
                    <a:pt x="30" y="548"/>
                  </a:lnTo>
                  <a:lnTo>
                    <a:pt x="31" y="558"/>
                  </a:lnTo>
                  <a:lnTo>
                    <a:pt x="31" y="577"/>
                  </a:lnTo>
                  <a:lnTo>
                    <a:pt x="31" y="588"/>
                  </a:lnTo>
                  <a:lnTo>
                    <a:pt x="28" y="588"/>
                  </a:lnTo>
                  <a:lnTo>
                    <a:pt x="27" y="589"/>
                  </a:lnTo>
                  <a:lnTo>
                    <a:pt x="26" y="590"/>
                  </a:lnTo>
                  <a:lnTo>
                    <a:pt x="26" y="591"/>
                  </a:lnTo>
                  <a:lnTo>
                    <a:pt x="26" y="593"/>
                  </a:lnTo>
                  <a:lnTo>
                    <a:pt x="25" y="594"/>
                  </a:lnTo>
                  <a:lnTo>
                    <a:pt x="24" y="594"/>
                  </a:lnTo>
                  <a:lnTo>
                    <a:pt x="19" y="594"/>
                  </a:lnTo>
                  <a:lnTo>
                    <a:pt x="19" y="607"/>
                  </a:lnTo>
                  <a:lnTo>
                    <a:pt x="16" y="607"/>
                  </a:lnTo>
                  <a:lnTo>
                    <a:pt x="14" y="608"/>
                  </a:lnTo>
                  <a:lnTo>
                    <a:pt x="14" y="609"/>
                  </a:lnTo>
                  <a:lnTo>
                    <a:pt x="14" y="610"/>
                  </a:lnTo>
                  <a:lnTo>
                    <a:pt x="14" y="612"/>
                  </a:lnTo>
                  <a:lnTo>
                    <a:pt x="12" y="612"/>
                  </a:lnTo>
                  <a:lnTo>
                    <a:pt x="10" y="613"/>
                  </a:lnTo>
                  <a:lnTo>
                    <a:pt x="7" y="613"/>
                  </a:lnTo>
                  <a:lnTo>
                    <a:pt x="7" y="626"/>
                  </a:lnTo>
                  <a:lnTo>
                    <a:pt x="5" y="627"/>
                  </a:lnTo>
                  <a:lnTo>
                    <a:pt x="4" y="634"/>
                  </a:lnTo>
                  <a:lnTo>
                    <a:pt x="2" y="642"/>
                  </a:lnTo>
                  <a:lnTo>
                    <a:pt x="1" y="652"/>
                  </a:lnTo>
                  <a:lnTo>
                    <a:pt x="1" y="671"/>
                  </a:lnTo>
                  <a:lnTo>
                    <a:pt x="0" y="682"/>
                  </a:lnTo>
                  <a:lnTo>
                    <a:pt x="2" y="682"/>
                  </a:lnTo>
                  <a:lnTo>
                    <a:pt x="5" y="683"/>
                  </a:lnTo>
                  <a:lnTo>
                    <a:pt x="6" y="684"/>
                  </a:lnTo>
                  <a:lnTo>
                    <a:pt x="6" y="685"/>
                  </a:lnTo>
                  <a:lnTo>
                    <a:pt x="7" y="690"/>
                  </a:lnTo>
                  <a:lnTo>
                    <a:pt x="7" y="694"/>
                  </a:lnTo>
                  <a:lnTo>
                    <a:pt x="9" y="695"/>
                  </a:lnTo>
                  <a:lnTo>
                    <a:pt x="14" y="699"/>
                  </a:lnTo>
                  <a:lnTo>
                    <a:pt x="18" y="702"/>
                  </a:lnTo>
                  <a:lnTo>
                    <a:pt x="19" y="706"/>
                  </a:lnTo>
                  <a:lnTo>
                    <a:pt x="31" y="706"/>
                  </a:lnTo>
                  <a:lnTo>
                    <a:pt x="33" y="709"/>
                  </a:lnTo>
                  <a:lnTo>
                    <a:pt x="33" y="711"/>
                  </a:lnTo>
                  <a:lnTo>
                    <a:pt x="35" y="712"/>
                  </a:lnTo>
                  <a:lnTo>
                    <a:pt x="36" y="712"/>
                  </a:lnTo>
                  <a:lnTo>
                    <a:pt x="40" y="713"/>
                  </a:lnTo>
                  <a:lnTo>
                    <a:pt x="45" y="713"/>
                  </a:lnTo>
                  <a:lnTo>
                    <a:pt x="45" y="715"/>
                  </a:lnTo>
                  <a:lnTo>
                    <a:pt x="46" y="716"/>
                  </a:lnTo>
                  <a:lnTo>
                    <a:pt x="47" y="718"/>
                  </a:lnTo>
                  <a:lnTo>
                    <a:pt x="48" y="719"/>
                  </a:lnTo>
                  <a:lnTo>
                    <a:pt x="53" y="719"/>
                  </a:lnTo>
                  <a:lnTo>
                    <a:pt x="57" y="720"/>
                  </a:lnTo>
                  <a:lnTo>
                    <a:pt x="57" y="722"/>
                  </a:lnTo>
                  <a:lnTo>
                    <a:pt x="59" y="725"/>
                  </a:lnTo>
                  <a:lnTo>
                    <a:pt x="62" y="728"/>
                  </a:lnTo>
                  <a:lnTo>
                    <a:pt x="64" y="731"/>
                  </a:lnTo>
                  <a:lnTo>
                    <a:pt x="67" y="734"/>
                  </a:lnTo>
                  <a:lnTo>
                    <a:pt x="71" y="737"/>
                  </a:lnTo>
                  <a:lnTo>
                    <a:pt x="73" y="738"/>
                  </a:lnTo>
                  <a:lnTo>
                    <a:pt x="76" y="738"/>
                  </a:lnTo>
                  <a:lnTo>
                    <a:pt x="76" y="751"/>
                  </a:lnTo>
                  <a:lnTo>
                    <a:pt x="78" y="751"/>
                  </a:lnTo>
                  <a:lnTo>
                    <a:pt x="81" y="753"/>
                  </a:lnTo>
                  <a:lnTo>
                    <a:pt x="83" y="758"/>
                  </a:lnTo>
                  <a:lnTo>
                    <a:pt x="86" y="762"/>
                  </a:lnTo>
                  <a:lnTo>
                    <a:pt x="91" y="776"/>
                  </a:lnTo>
                  <a:lnTo>
                    <a:pt x="96" y="790"/>
                  </a:lnTo>
                  <a:lnTo>
                    <a:pt x="101" y="807"/>
                  </a:lnTo>
                  <a:lnTo>
                    <a:pt x="104" y="821"/>
                  </a:lnTo>
                  <a:lnTo>
                    <a:pt x="106" y="835"/>
                  </a:lnTo>
                  <a:lnTo>
                    <a:pt x="107" y="845"/>
                  </a:lnTo>
                  <a:lnTo>
                    <a:pt x="110" y="848"/>
                  </a:lnTo>
                  <a:lnTo>
                    <a:pt x="112" y="858"/>
                  </a:lnTo>
                  <a:lnTo>
                    <a:pt x="114" y="873"/>
                  </a:lnTo>
                  <a:lnTo>
                    <a:pt x="115" y="889"/>
                  </a:lnTo>
                  <a:lnTo>
                    <a:pt x="119" y="923"/>
                  </a:lnTo>
                  <a:lnTo>
                    <a:pt x="120" y="944"/>
                  </a:lnTo>
                  <a:lnTo>
                    <a:pt x="122" y="945"/>
                  </a:lnTo>
                  <a:lnTo>
                    <a:pt x="123" y="949"/>
                  </a:lnTo>
                  <a:lnTo>
                    <a:pt x="125" y="952"/>
                  </a:lnTo>
                  <a:lnTo>
                    <a:pt x="126" y="956"/>
                  </a:lnTo>
                  <a:lnTo>
                    <a:pt x="129" y="962"/>
                  </a:lnTo>
                  <a:lnTo>
                    <a:pt x="131" y="965"/>
                  </a:lnTo>
                  <a:lnTo>
                    <a:pt x="134" y="969"/>
                  </a:lnTo>
                  <a:lnTo>
                    <a:pt x="139" y="970"/>
                  </a:lnTo>
                  <a:lnTo>
                    <a:pt x="139" y="982"/>
                  </a:lnTo>
                  <a:lnTo>
                    <a:pt x="143" y="987"/>
                  </a:lnTo>
                  <a:lnTo>
                    <a:pt x="148" y="991"/>
                  </a:lnTo>
                  <a:lnTo>
                    <a:pt x="152" y="993"/>
                  </a:lnTo>
                  <a:lnTo>
                    <a:pt x="158" y="994"/>
                  </a:lnTo>
                  <a:lnTo>
                    <a:pt x="161" y="1004"/>
                  </a:lnTo>
                  <a:lnTo>
                    <a:pt x="171" y="1022"/>
                  </a:lnTo>
                  <a:lnTo>
                    <a:pt x="178" y="1032"/>
                  </a:lnTo>
                  <a:lnTo>
                    <a:pt x="183" y="1040"/>
                  </a:lnTo>
                  <a:lnTo>
                    <a:pt x="189" y="1047"/>
                  </a:lnTo>
                  <a:lnTo>
                    <a:pt x="194" y="1050"/>
                  </a:lnTo>
                  <a:lnTo>
                    <a:pt x="198" y="1064"/>
                  </a:lnTo>
                  <a:lnTo>
                    <a:pt x="201" y="1076"/>
                  </a:lnTo>
                  <a:lnTo>
                    <a:pt x="213" y="1088"/>
                  </a:lnTo>
                  <a:lnTo>
                    <a:pt x="213" y="1100"/>
                  </a:lnTo>
                  <a:lnTo>
                    <a:pt x="216" y="1103"/>
                  </a:lnTo>
                  <a:lnTo>
                    <a:pt x="217" y="1107"/>
                  </a:lnTo>
                  <a:lnTo>
                    <a:pt x="218" y="1113"/>
                  </a:lnTo>
                  <a:lnTo>
                    <a:pt x="219" y="1120"/>
                  </a:lnTo>
                  <a:lnTo>
                    <a:pt x="219" y="1135"/>
                  </a:lnTo>
                  <a:lnTo>
                    <a:pt x="220" y="1144"/>
                  </a:lnTo>
                  <a:lnTo>
                    <a:pt x="222" y="1147"/>
                  </a:lnTo>
                  <a:lnTo>
                    <a:pt x="225" y="1155"/>
                  </a:lnTo>
                  <a:lnTo>
                    <a:pt x="227" y="1166"/>
                  </a:lnTo>
                  <a:lnTo>
                    <a:pt x="228" y="1178"/>
                  </a:lnTo>
                  <a:lnTo>
                    <a:pt x="231" y="1203"/>
                  </a:lnTo>
                  <a:lnTo>
                    <a:pt x="232" y="1213"/>
                  </a:lnTo>
                  <a:lnTo>
                    <a:pt x="245" y="1326"/>
                  </a:lnTo>
                  <a:lnTo>
                    <a:pt x="251" y="1332"/>
                  </a:lnTo>
                  <a:lnTo>
                    <a:pt x="254" y="1332"/>
                  </a:lnTo>
                  <a:lnTo>
                    <a:pt x="257" y="1335"/>
                  </a:lnTo>
                  <a:lnTo>
                    <a:pt x="261" y="1338"/>
                  </a:lnTo>
                  <a:lnTo>
                    <a:pt x="266" y="1343"/>
                  </a:lnTo>
                  <a:lnTo>
                    <a:pt x="269" y="1346"/>
                  </a:lnTo>
                  <a:lnTo>
                    <a:pt x="273" y="1350"/>
                  </a:lnTo>
                  <a:lnTo>
                    <a:pt x="275" y="1354"/>
                  </a:lnTo>
                  <a:lnTo>
                    <a:pt x="276" y="1357"/>
                  </a:lnTo>
                  <a:lnTo>
                    <a:pt x="279" y="1357"/>
                  </a:lnTo>
                  <a:lnTo>
                    <a:pt x="282" y="1358"/>
                  </a:lnTo>
                  <a:lnTo>
                    <a:pt x="282" y="1359"/>
                  </a:lnTo>
                  <a:lnTo>
                    <a:pt x="283" y="1360"/>
                  </a:lnTo>
                  <a:lnTo>
                    <a:pt x="283" y="1362"/>
                  </a:lnTo>
                  <a:lnTo>
                    <a:pt x="283" y="1363"/>
                  </a:lnTo>
                  <a:lnTo>
                    <a:pt x="285" y="1363"/>
                  </a:lnTo>
                  <a:lnTo>
                    <a:pt x="288" y="1364"/>
                  </a:lnTo>
                  <a:lnTo>
                    <a:pt x="288" y="1376"/>
                  </a:lnTo>
                  <a:lnTo>
                    <a:pt x="290" y="1376"/>
                  </a:lnTo>
                  <a:lnTo>
                    <a:pt x="292" y="1378"/>
                  </a:lnTo>
                  <a:lnTo>
                    <a:pt x="293" y="1380"/>
                  </a:lnTo>
                  <a:lnTo>
                    <a:pt x="294" y="1383"/>
                  </a:lnTo>
                  <a:lnTo>
                    <a:pt x="295" y="1389"/>
                  </a:lnTo>
                  <a:lnTo>
                    <a:pt x="295" y="1395"/>
                  </a:lnTo>
                  <a:lnTo>
                    <a:pt x="293" y="1395"/>
                  </a:lnTo>
                  <a:lnTo>
                    <a:pt x="292" y="1396"/>
                  </a:lnTo>
                  <a:lnTo>
                    <a:pt x="290" y="1397"/>
                  </a:lnTo>
                  <a:lnTo>
                    <a:pt x="289" y="1398"/>
                  </a:lnTo>
                  <a:lnTo>
                    <a:pt x="288" y="1403"/>
                  </a:lnTo>
                  <a:lnTo>
                    <a:pt x="288" y="1407"/>
                  </a:lnTo>
                  <a:lnTo>
                    <a:pt x="285" y="1407"/>
                  </a:lnTo>
                  <a:lnTo>
                    <a:pt x="283" y="1408"/>
                  </a:lnTo>
                  <a:lnTo>
                    <a:pt x="283" y="1410"/>
                  </a:lnTo>
                  <a:lnTo>
                    <a:pt x="283" y="1411"/>
                  </a:lnTo>
                  <a:lnTo>
                    <a:pt x="282" y="1412"/>
                  </a:lnTo>
                  <a:lnTo>
                    <a:pt x="282" y="1413"/>
                  </a:lnTo>
                  <a:lnTo>
                    <a:pt x="279" y="1413"/>
                  </a:lnTo>
                  <a:lnTo>
                    <a:pt x="276" y="1413"/>
                  </a:lnTo>
                  <a:lnTo>
                    <a:pt x="276" y="1426"/>
                  </a:lnTo>
                  <a:lnTo>
                    <a:pt x="273" y="1426"/>
                  </a:lnTo>
                  <a:lnTo>
                    <a:pt x="270" y="1426"/>
                  </a:lnTo>
                  <a:lnTo>
                    <a:pt x="269" y="1427"/>
                  </a:lnTo>
                  <a:lnTo>
                    <a:pt x="269" y="1428"/>
                  </a:lnTo>
                  <a:lnTo>
                    <a:pt x="269" y="1430"/>
                  </a:lnTo>
                  <a:lnTo>
                    <a:pt x="269" y="1431"/>
                  </a:lnTo>
                  <a:lnTo>
                    <a:pt x="267" y="1432"/>
                  </a:lnTo>
                  <a:lnTo>
                    <a:pt x="264" y="1432"/>
                  </a:lnTo>
                  <a:lnTo>
                    <a:pt x="263" y="1439"/>
                  </a:lnTo>
                  <a:lnTo>
                    <a:pt x="259" y="1447"/>
                  </a:lnTo>
                  <a:lnTo>
                    <a:pt x="255" y="1457"/>
                  </a:lnTo>
                  <a:lnTo>
                    <a:pt x="249" y="1470"/>
                  </a:lnTo>
                  <a:lnTo>
                    <a:pt x="244" y="1481"/>
                  </a:lnTo>
                  <a:lnTo>
                    <a:pt x="237" y="1492"/>
                  </a:lnTo>
                  <a:lnTo>
                    <a:pt x="231" y="1501"/>
                  </a:lnTo>
                  <a:lnTo>
                    <a:pt x="226" y="1507"/>
                  </a:lnTo>
                  <a:lnTo>
                    <a:pt x="225" y="1533"/>
                  </a:lnTo>
                  <a:lnTo>
                    <a:pt x="220" y="1562"/>
                  </a:lnTo>
                  <a:lnTo>
                    <a:pt x="216" y="1591"/>
                  </a:lnTo>
                  <a:lnTo>
                    <a:pt x="209" y="1623"/>
                  </a:lnTo>
                  <a:lnTo>
                    <a:pt x="203" y="1654"/>
                  </a:lnTo>
                  <a:lnTo>
                    <a:pt x="198" y="1685"/>
                  </a:lnTo>
                  <a:lnTo>
                    <a:pt x="196" y="1701"/>
                  </a:lnTo>
                  <a:lnTo>
                    <a:pt x="193" y="1716"/>
                  </a:lnTo>
                  <a:lnTo>
                    <a:pt x="192" y="1732"/>
                  </a:lnTo>
                  <a:lnTo>
                    <a:pt x="192" y="1748"/>
                  </a:lnTo>
                  <a:lnTo>
                    <a:pt x="191" y="1762"/>
                  </a:lnTo>
                  <a:lnTo>
                    <a:pt x="190" y="1787"/>
                  </a:lnTo>
                  <a:lnTo>
                    <a:pt x="188" y="1817"/>
                  </a:lnTo>
                  <a:lnTo>
                    <a:pt x="186" y="1849"/>
                  </a:lnTo>
                  <a:lnTo>
                    <a:pt x="184" y="1880"/>
                  </a:lnTo>
                  <a:lnTo>
                    <a:pt x="183" y="1907"/>
                  </a:lnTo>
                  <a:lnTo>
                    <a:pt x="184" y="1917"/>
                  </a:lnTo>
                  <a:lnTo>
                    <a:pt x="184" y="1925"/>
                  </a:lnTo>
                  <a:lnTo>
                    <a:pt x="187" y="1931"/>
                  </a:lnTo>
                  <a:lnTo>
                    <a:pt x="189" y="1932"/>
                  </a:lnTo>
                  <a:lnTo>
                    <a:pt x="189" y="1951"/>
                  </a:lnTo>
                  <a:lnTo>
                    <a:pt x="194" y="1957"/>
                  </a:lnTo>
                  <a:lnTo>
                    <a:pt x="205" y="1968"/>
                  </a:lnTo>
                  <a:lnTo>
                    <a:pt x="213" y="1979"/>
                  </a:lnTo>
                  <a:lnTo>
                    <a:pt x="220" y="1989"/>
                  </a:lnTo>
                  <a:lnTo>
                    <a:pt x="232" y="1989"/>
                  </a:lnTo>
                  <a:lnTo>
                    <a:pt x="235" y="1991"/>
                  </a:lnTo>
                  <a:lnTo>
                    <a:pt x="241" y="1992"/>
                  </a:lnTo>
                  <a:lnTo>
                    <a:pt x="250" y="1993"/>
                  </a:lnTo>
                  <a:lnTo>
                    <a:pt x="261" y="1994"/>
                  </a:lnTo>
                  <a:lnTo>
                    <a:pt x="285" y="1994"/>
                  </a:lnTo>
                  <a:lnTo>
                    <a:pt x="301" y="1994"/>
                  </a:lnTo>
                  <a:lnTo>
                    <a:pt x="314" y="1982"/>
                  </a:lnTo>
                  <a:lnTo>
                    <a:pt x="321" y="1982"/>
                  </a:lnTo>
                  <a:lnTo>
                    <a:pt x="327" y="1980"/>
                  </a:lnTo>
                  <a:lnTo>
                    <a:pt x="334" y="1979"/>
                  </a:lnTo>
                  <a:lnTo>
                    <a:pt x="342" y="1976"/>
                  </a:lnTo>
                  <a:lnTo>
                    <a:pt x="349" y="1974"/>
                  </a:lnTo>
                  <a:lnTo>
                    <a:pt x="355" y="1972"/>
                  </a:lnTo>
                  <a:lnTo>
                    <a:pt x="363" y="1971"/>
                  </a:lnTo>
                  <a:lnTo>
                    <a:pt x="370" y="1970"/>
                  </a:lnTo>
                  <a:lnTo>
                    <a:pt x="370" y="1968"/>
                  </a:lnTo>
                  <a:lnTo>
                    <a:pt x="371" y="1966"/>
                  </a:lnTo>
                  <a:lnTo>
                    <a:pt x="372" y="1965"/>
                  </a:lnTo>
                  <a:lnTo>
                    <a:pt x="374" y="1964"/>
                  </a:lnTo>
                  <a:lnTo>
                    <a:pt x="378" y="1964"/>
                  </a:lnTo>
                  <a:lnTo>
                    <a:pt x="382" y="1963"/>
                  </a:lnTo>
                  <a:lnTo>
                    <a:pt x="386" y="1959"/>
                  </a:lnTo>
                  <a:lnTo>
                    <a:pt x="392" y="1955"/>
                  </a:lnTo>
                  <a:lnTo>
                    <a:pt x="399" y="1952"/>
                  </a:lnTo>
                  <a:lnTo>
                    <a:pt x="408" y="1951"/>
                  </a:lnTo>
                  <a:lnTo>
                    <a:pt x="410" y="1949"/>
                  </a:lnTo>
                  <a:lnTo>
                    <a:pt x="418" y="1942"/>
                  </a:lnTo>
                  <a:lnTo>
                    <a:pt x="426" y="1935"/>
                  </a:lnTo>
                  <a:lnTo>
                    <a:pt x="432" y="1932"/>
                  </a:lnTo>
                  <a:lnTo>
                    <a:pt x="433" y="1930"/>
                  </a:lnTo>
                  <a:lnTo>
                    <a:pt x="434" y="1927"/>
                  </a:lnTo>
                  <a:lnTo>
                    <a:pt x="437" y="1925"/>
                  </a:lnTo>
                  <a:lnTo>
                    <a:pt x="439" y="1924"/>
                  </a:lnTo>
                  <a:lnTo>
                    <a:pt x="446" y="1921"/>
                  </a:lnTo>
                  <a:lnTo>
                    <a:pt x="451" y="1920"/>
                  </a:lnTo>
                  <a:lnTo>
                    <a:pt x="457" y="1904"/>
                  </a:lnTo>
                  <a:lnTo>
                    <a:pt x="463" y="1888"/>
                  </a:lnTo>
                  <a:lnTo>
                    <a:pt x="466" y="1886"/>
                  </a:lnTo>
                  <a:lnTo>
                    <a:pt x="469" y="1880"/>
                  </a:lnTo>
                  <a:lnTo>
                    <a:pt x="471" y="1872"/>
                  </a:lnTo>
                  <a:lnTo>
                    <a:pt x="475" y="1859"/>
                  </a:lnTo>
                  <a:lnTo>
                    <a:pt x="481" y="1828"/>
                  </a:lnTo>
                  <a:lnTo>
                    <a:pt x="487" y="1791"/>
                  </a:lnTo>
                  <a:lnTo>
                    <a:pt x="493" y="1754"/>
                  </a:lnTo>
                  <a:lnTo>
                    <a:pt x="497" y="1720"/>
                  </a:lnTo>
                  <a:lnTo>
                    <a:pt x="500" y="1692"/>
                  </a:lnTo>
                  <a:lnTo>
                    <a:pt x="501" y="1676"/>
                  </a:lnTo>
                  <a:lnTo>
                    <a:pt x="504" y="1674"/>
                  </a:lnTo>
                  <a:lnTo>
                    <a:pt x="506" y="1667"/>
                  </a:lnTo>
                  <a:lnTo>
                    <a:pt x="508" y="1658"/>
                  </a:lnTo>
                  <a:lnTo>
                    <a:pt x="509" y="1648"/>
                  </a:lnTo>
                  <a:lnTo>
                    <a:pt x="513" y="1628"/>
                  </a:lnTo>
                  <a:lnTo>
                    <a:pt x="514" y="1619"/>
                  </a:lnTo>
                  <a:lnTo>
                    <a:pt x="517" y="1615"/>
                  </a:lnTo>
                  <a:lnTo>
                    <a:pt x="524" y="1604"/>
                  </a:lnTo>
                  <a:lnTo>
                    <a:pt x="532" y="1590"/>
                  </a:lnTo>
                  <a:lnTo>
                    <a:pt x="538" y="1582"/>
                  </a:lnTo>
                  <a:lnTo>
                    <a:pt x="539" y="1559"/>
                  </a:lnTo>
                  <a:lnTo>
                    <a:pt x="543" y="1529"/>
                  </a:lnTo>
                  <a:lnTo>
                    <a:pt x="549" y="1495"/>
                  </a:lnTo>
                  <a:lnTo>
                    <a:pt x="558" y="1460"/>
                  </a:lnTo>
                  <a:lnTo>
                    <a:pt x="563" y="1441"/>
                  </a:lnTo>
                  <a:lnTo>
                    <a:pt x="570" y="1422"/>
                  </a:lnTo>
                  <a:lnTo>
                    <a:pt x="576" y="1404"/>
                  </a:lnTo>
                  <a:lnTo>
                    <a:pt x="584" y="1386"/>
                  </a:lnTo>
                  <a:lnTo>
                    <a:pt x="592" y="1368"/>
                  </a:lnTo>
                  <a:lnTo>
                    <a:pt x="602" y="1353"/>
                  </a:lnTo>
                  <a:lnTo>
                    <a:pt x="612" y="1337"/>
                  </a:lnTo>
                  <a:lnTo>
                    <a:pt x="623" y="1324"/>
                  </a:lnTo>
                  <a:lnTo>
                    <a:pt x="635" y="1310"/>
                  </a:lnTo>
                  <a:lnTo>
                    <a:pt x="648" y="1298"/>
                  </a:lnTo>
                  <a:lnTo>
                    <a:pt x="662" y="1288"/>
                  </a:lnTo>
                  <a:lnTo>
                    <a:pt x="676" y="1278"/>
                  </a:lnTo>
                  <a:lnTo>
                    <a:pt x="703" y="1261"/>
                  </a:lnTo>
                  <a:lnTo>
                    <a:pt x="730" y="1248"/>
                  </a:lnTo>
                  <a:lnTo>
                    <a:pt x="741" y="1241"/>
                  </a:lnTo>
                  <a:lnTo>
                    <a:pt x="753" y="1234"/>
                  </a:lnTo>
                  <a:lnTo>
                    <a:pt x="763" y="1228"/>
                  </a:lnTo>
                  <a:lnTo>
                    <a:pt x="772" y="1221"/>
                  </a:lnTo>
                  <a:lnTo>
                    <a:pt x="779" y="1213"/>
                  </a:lnTo>
                  <a:lnTo>
                    <a:pt x="784" y="1206"/>
                  </a:lnTo>
                  <a:lnTo>
                    <a:pt x="786" y="1202"/>
                  </a:lnTo>
                  <a:lnTo>
                    <a:pt x="787" y="1197"/>
                  </a:lnTo>
                  <a:lnTo>
                    <a:pt x="788" y="1193"/>
                  </a:lnTo>
                  <a:lnTo>
                    <a:pt x="788" y="1189"/>
                  </a:lnTo>
                  <a:lnTo>
                    <a:pt x="795" y="1186"/>
                  </a:lnTo>
                  <a:lnTo>
                    <a:pt x="804" y="1181"/>
                  </a:lnTo>
                  <a:lnTo>
                    <a:pt x="813" y="1175"/>
                  </a:lnTo>
                  <a:lnTo>
                    <a:pt x="820" y="1170"/>
                  </a:lnTo>
                  <a:lnTo>
                    <a:pt x="829" y="1170"/>
                  </a:lnTo>
                  <a:lnTo>
                    <a:pt x="837" y="1167"/>
                  </a:lnTo>
                  <a:lnTo>
                    <a:pt x="846" y="1166"/>
                  </a:lnTo>
                  <a:lnTo>
                    <a:pt x="856" y="1164"/>
                  </a:lnTo>
                  <a:lnTo>
                    <a:pt x="875" y="1157"/>
                  </a:lnTo>
                  <a:lnTo>
                    <a:pt x="897" y="1151"/>
                  </a:lnTo>
                  <a:lnTo>
                    <a:pt x="918" y="1144"/>
                  </a:lnTo>
                  <a:lnTo>
                    <a:pt x="939" y="1138"/>
                  </a:lnTo>
                  <a:lnTo>
                    <a:pt x="950" y="1135"/>
                  </a:lnTo>
                  <a:lnTo>
                    <a:pt x="961" y="1134"/>
                  </a:lnTo>
                  <a:lnTo>
                    <a:pt x="971" y="1133"/>
                  </a:lnTo>
                  <a:lnTo>
                    <a:pt x="983" y="1132"/>
                  </a:lnTo>
                  <a:lnTo>
                    <a:pt x="989" y="1138"/>
                  </a:lnTo>
                  <a:lnTo>
                    <a:pt x="995" y="1144"/>
                  </a:lnTo>
                  <a:lnTo>
                    <a:pt x="996" y="1162"/>
                  </a:lnTo>
                  <a:lnTo>
                    <a:pt x="998" y="1197"/>
                  </a:lnTo>
                  <a:lnTo>
                    <a:pt x="1002" y="1247"/>
                  </a:lnTo>
                  <a:lnTo>
                    <a:pt x="1005" y="1302"/>
                  </a:lnTo>
                  <a:lnTo>
                    <a:pt x="1009" y="1357"/>
                  </a:lnTo>
                  <a:lnTo>
                    <a:pt x="1014" y="1405"/>
                  </a:lnTo>
                  <a:lnTo>
                    <a:pt x="1017" y="1439"/>
                  </a:lnTo>
                  <a:lnTo>
                    <a:pt x="1021" y="1451"/>
                  </a:lnTo>
                  <a:lnTo>
                    <a:pt x="1021" y="1470"/>
                  </a:lnTo>
                  <a:lnTo>
                    <a:pt x="1035" y="1475"/>
                  </a:lnTo>
                  <a:lnTo>
                    <a:pt x="1045" y="1482"/>
                  </a:lnTo>
                  <a:lnTo>
                    <a:pt x="1066" y="1483"/>
                  </a:lnTo>
                  <a:lnTo>
                    <a:pt x="1089" y="1485"/>
                  </a:lnTo>
                  <a:lnTo>
                    <a:pt x="1112" y="1488"/>
                  </a:lnTo>
                  <a:lnTo>
                    <a:pt x="1132" y="1489"/>
                  </a:lnTo>
                  <a:lnTo>
                    <a:pt x="1133" y="1490"/>
                  </a:lnTo>
                  <a:lnTo>
                    <a:pt x="1134" y="1492"/>
                  </a:lnTo>
                  <a:lnTo>
                    <a:pt x="1137" y="1493"/>
                  </a:lnTo>
                  <a:lnTo>
                    <a:pt x="1140" y="1494"/>
                  </a:lnTo>
                  <a:lnTo>
                    <a:pt x="1146" y="1494"/>
                  </a:lnTo>
                  <a:lnTo>
                    <a:pt x="1151" y="1494"/>
                  </a:lnTo>
                  <a:lnTo>
                    <a:pt x="1158" y="1501"/>
                  </a:lnTo>
                  <a:lnTo>
                    <a:pt x="1159" y="1505"/>
                  </a:lnTo>
                  <a:lnTo>
                    <a:pt x="1161" y="1510"/>
                  </a:lnTo>
                  <a:lnTo>
                    <a:pt x="1166" y="1512"/>
                  </a:lnTo>
                  <a:lnTo>
                    <a:pt x="1170" y="1513"/>
                  </a:lnTo>
                  <a:lnTo>
                    <a:pt x="1171" y="1519"/>
                  </a:lnTo>
                  <a:lnTo>
                    <a:pt x="1175" y="1526"/>
                  </a:lnTo>
                  <a:lnTo>
                    <a:pt x="1178" y="1532"/>
                  </a:lnTo>
                  <a:lnTo>
                    <a:pt x="1184" y="1540"/>
                  </a:lnTo>
                  <a:lnTo>
                    <a:pt x="1189" y="1547"/>
                  </a:lnTo>
                  <a:lnTo>
                    <a:pt x="1194" y="1552"/>
                  </a:lnTo>
                  <a:lnTo>
                    <a:pt x="1198" y="1556"/>
                  </a:lnTo>
                  <a:lnTo>
                    <a:pt x="1201" y="1557"/>
                  </a:lnTo>
                  <a:lnTo>
                    <a:pt x="1202" y="1560"/>
                  </a:lnTo>
                  <a:lnTo>
                    <a:pt x="1205" y="1565"/>
                  </a:lnTo>
                  <a:lnTo>
                    <a:pt x="1209" y="1569"/>
                  </a:lnTo>
                  <a:lnTo>
                    <a:pt x="1214" y="1575"/>
                  </a:lnTo>
                  <a:lnTo>
                    <a:pt x="1218" y="1579"/>
                  </a:lnTo>
                  <a:lnTo>
                    <a:pt x="1224" y="1584"/>
                  </a:lnTo>
                  <a:lnTo>
                    <a:pt x="1227" y="1586"/>
                  </a:lnTo>
                  <a:lnTo>
                    <a:pt x="1230" y="1587"/>
                  </a:lnTo>
                  <a:lnTo>
                    <a:pt x="1230" y="1601"/>
                  </a:lnTo>
                  <a:lnTo>
                    <a:pt x="1232" y="1615"/>
                  </a:lnTo>
                  <a:lnTo>
                    <a:pt x="1233" y="1627"/>
                  </a:lnTo>
                  <a:lnTo>
                    <a:pt x="1235" y="1638"/>
                  </a:lnTo>
                  <a:lnTo>
                    <a:pt x="1237" y="1649"/>
                  </a:lnTo>
                  <a:lnTo>
                    <a:pt x="1239" y="1661"/>
                  </a:lnTo>
                  <a:lnTo>
                    <a:pt x="1243" y="1671"/>
                  </a:lnTo>
                  <a:lnTo>
                    <a:pt x="1247" y="1681"/>
                  </a:lnTo>
                  <a:lnTo>
                    <a:pt x="1256" y="1700"/>
                  </a:lnTo>
                  <a:lnTo>
                    <a:pt x="1268" y="1719"/>
                  </a:lnTo>
                  <a:lnTo>
                    <a:pt x="1282" y="1739"/>
                  </a:lnTo>
                  <a:lnTo>
                    <a:pt x="1298" y="1760"/>
                  </a:lnTo>
                  <a:lnTo>
                    <a:pt x="1309" y="1771"/>
                  </a:lnTo>
                  <a:lnTo>
                    <a:pt x="1319" y="1781"/>
                  </a:lnTo>
                  <a:lnTo>
                    <a:pt x="1329" y="1789"/>
                  </a:lnTo>
                  <a:lnTo>
                    <a:pt x="1341" y="1796"/>
                  </a:lnTo>
                  <a:lnTo>
                    <a:pt x="1353" y="1801"/>
                  </a:lnTo>
                  <a:lnTo>
                    <a:pt x="1369" y="1805"/>
                  </a:lnTo>
                  <a:lnTo>
                    <a:pt x="1387" y="1807"/>
                  </a:lnTo>
                  <a:lnTo>
                    <a:pt x="1408" y="1807"/>
                  </a:lnTo>
                  <a:lnTo>
                    <a:pt x="1408" y="1809"/>
                  </a:lnTo>
                  <a:lnTo>
                    <a:pt x="1409" y="1811"/>
                  </a:lnTo>
                  <a:lnTo>
                    <a:pt x="1410" y="1812"/>
                  </a:lnTo>
                  <a:lnTo>
                    <a:pt x="1411" y="1812"/>
                  </a:lnTo>
                  <a:lnTo>
                    <a:pt x="1416" y="1814"/>
                  </a:lnTo>
                  <a:lnTo>
                    <a:pt x="1420" y="1814"/>
                  </a:lnTo>
                  <a:lnTo>
                    <a:pt x="1429" y="1821"/>
                  </a:lnTo>
                  <a:lnTo>
                    <a:pt x="1442" y="1831"/>
                  </a:lnTo>
                  <a:lnTo>
                    <a:pt x="1456" y="1840"/>
                  </a:lnTo>
                  <a:lnTo>
                    <a:pt x="1464" y="1845"/>
                  </a:lnTo>
                  <a:lnTo>
                    <a:pt x="1474" y="1860"/>
                  </a:lnTo>
                  <a:lnTo>
                    <a:pt x="1483" y="1876"/>
                  </a:lnTo>
                  <a:lnTo>
                    <a:pt x="1495" y="1883"/>
                  </a:lnTo>
                  <a:lnTo>
                    <a:pt x="1495" y="1895"/>
                  </a:lnTo>
                  <a:lnTo>
                    <a:pt x="1501" y="1896"/>
                  </a:lnTo>
                  <a:lnTo>
                    <a:pt x="1504" y="1898"/>
                  </a:lnTo>
                  <a:lnTo>
                    <a:pt x="1507" y="1903"/>
                  </a:lnTo>
                  <a:lnTo>
                    <a:pt x="1508" y="1907"/>
                  </a:lnTo>
                  <a:lnTo>
                    <a:pt x="1512" y="1910"/>
                  </a:lnTo>
                  <a:lnTo>
                    <a:pt x="1515" y="1914"/>
                  </a:lnTo>
                  <a:lnTo>
                    <a:pt x="1517" y="1916"/>
                  </a:lnTo>
                  <a:lnTo>
                    <a:pt x="1520" y="1917"/>
                  </a:lnTo>
                  <a:lnTo>
                    <a:pt x="1523" y="1920"/>
                  </a:lnTo>
                  <a:lnTo>
                    <a:pt x="1526" y="1920"/>
                  </a:lnTo>
                  <a:lnTo>
                    <a:pt x="1527" y="1923"/>
                  </a:lnTo>
                  <a:lnTo>
                    <a:pt x="1527" y="1925"/>
                  </a:lnTo>
                  <a:lnTo>
                    <a:pt x="1528" y="1926"/>
                  </a:lnTo>
                  <a:lnTo>
                    <a:pt x="1530" y="1926"/>
                  </a:lnTo>
                  <a:lnTo>
                    <a:pt x="1531" y="1926"/>
                  </a:lnTo>
                  <a:lnTo>
                    <a:pt x="1532" y="1927"/>
                  </a:lnTo>
                  <a:lnTo>
                    <a:pt x="1533" y="1928"/>
                  </a:lnTo>
                  <a:lnTo>
                    <a:pt x="1533" y="1932"/>
                  </a:lnTo>
                  <a:lnTo>
                    <a:pt x="1545" y="1932"/>
                  </a:lnTo>
                  <a:lnTo>
                    <a:pt x="1545" y="1945"/>
                  </a:lnTo>
                  <a:lnTo>
                    <a:pt x="1553" y="1945"/>
                  </a:lnTo>
                  <a:lnTo>
                    <a:pt x="1557" y="1945"/>
                  </a:lnTo>
                  <a:lnTo>
                    <a:pt x="1559" y="1946"/>
                  </a:lnTo>
                  <a:lnTo>
                    <a:pt x="1560" y="1947"/>
                  </a:lnTo>
                  <a:lnTo>
                    <a:pt x="1560" y="1949"/>
                  </a:lnTo>
                  <a:lnTo>
                    <a:pt x="1560" y="1950"/>
                  </a:lnTo>
                  <a:lnTo>
                    <a:pt x="1561" y="1951"/>
                  </a:lnTo>
                  <a:lnTo>
                    <a:pt x="1564" y="1951"/>
                  </a:lnTo>
                  <a:lnTo>
                    <a:pt x="1569" y="1959"/>
                  </a:lnTo>
                  <a:lnTo>
                    <a:pt x="1576" y="1969"/>
                  </a:lnTo>
                  <a:lnTo>
                    <a:pt x="1585" y="1979"/>
                  </a:lnTo>
                  <a:lnTo>
                    <a:pt x="1589" y="1982"/>
                  </a:lnTo>
                  <a:lnTo>
                    <a:pt x="1590" y="1990"/>
                  </a:lnTo>
                  <a:lnTo>
                    <a:pt x="1592" y="1997"/>
                  </a:lnTo>
                  <a:lnTo>
                    <a:pt x="1595" y="2003"/>
                  </a:lnTo>
                  <a:lnTo>
                    <a:pt x="1599" y="2010"/>
                  </a:lnTo>
                  <a:lnTo>
                    <a:pt x="1602" y="2016"/>
                  </a:lnTo>
                  <a:lnTo>
                    <a:pt x="1605" y="2022"/>
                  </a:lnTo>
                  <a:lnTo>
                    <a:pt x="1608" y="2028"/>
                  </a:lnTo>
                  <a:lnTo>
                    <a:pt x="1608" y="2032"/>
                  </a:lnTo>
                  <a:lnTo>
                    <a:pt x="1613" y="2037"/>
                  </a:lnTo>
                  <a:lnTo>
                    <a:pt x="1620" y="2045"/>
                  </a:lnTo>
                  <a:lnTo>
                    <a:pt x="1629" y="2053"/>
                  </a:lnTo>
                  <a:lnTo>
                    <a:pt x="1637" y="2064"/>
                  </a:lnTo>
                  <a:lnTo>
                    <a:pt x="1646" y="2074"/>
                  </a:lnTo>
                  <a:lnTo>
                    <a:pt x="1655" y="2082"/>
                  </a:lnTo>
                  <a:lnTo>
                    <a:pt x="1659" y="2086"/>
                  </a:lnTo>
                  <a:lnTo>
                    <a:pt x="1664" y="2088"/>
                  </a:lnTo>
                  <a:lnTo>
                    <a:pt x="1667" y="2089"/>
                  </a:lnTo>
                  <a:lnTo>
                    <a:pt x="1671" y="2090"/>
                  </a:lnTo>
                  <a:lnTo>
                    <a:pt x="1677" y="2103"/>
                  </a:lnTo>
                  <a:lnTo>
                    <a:pt x="1690" y="2109"/>
                  </a:lnTo>
                  <a:lnTo>
                    <a:pt x="1699" y="2106"/>
                  </a:lnTo>
                  <a:lnTo>
                    <a:pt x="1708" y="2103"/>
                  </a:lnTo>
                  <a:lnTo>
                    <a:pt x="1708" y="2090"/>
                  </a:lnTo>
                  <a:lnTo>
                    <a:pt x="1722" y="2078"/>
                  </a:lnTo>
                  <a:lnTo>
                    <a:pt x="1722" y="2065"/>
                  </a:lnTo>
                  <a:lnTo>
                    <a:pt x="1727" y="2052"/>
                  </a:lnTo>
                  <a:lnTo>
                    <a:pt x="1734" y="2047"/>
                  </a:lnTo>
                  <a:lnTo>
                    <a:pt x="1739" y="2040"/>
                  </a:lnTo>
                  <a:lnTo>
                    <a:pt x="1746" y="2033"/>
                  </a:lnTo>
                  <a:lnTo>
                    <a:pt x="1748" y="2033"/>
                  </a:lnTo>
                  <a:lnTo>
                    <a:pt x="1751" y="2032"/>
                  </a:lnTo>
                  <a:lnTo>
                    <a:pt x="1753" y="2030"/>
                  </a:lnTo>
                  <a:lnTo>
                    <a:pt x="1755" y="2027"/>
                  </a:lnTo>
                  <a:lnTo>
                    <a:pt x="1761" y="2021"/>
                  </a:lnTo>
                  <a:lnTo>
                    <a:pt x="1765" y="2016"/>
                  </a:lnTo>
                  <a:lnTo>
                    <a:pt x="1777" y="2016"/>
                  </a:lnTo>
                  <a:lnTo>
                    <a:pt x="1778" y="2011"/>
                  </a:lnTo>
                  <a:lnTo>
                    <a:pt x="1781" y="2007"/>
                  </a:lnTo>
                  <a:lnTo>
                    <a:pt x="1783" y="2003"/>
                  </a:lnTo>
                  <a:lnTo>
                    <a:pt x="1786" y="2000"/>
                  </a:lnTo>
                  <a:lnTo>
                    <a:pt x="1793" y="1995"/>
                  </a:lnTo>
                  <a:lnTo>
                    <a:pt x="1796" y="1990"/>
                  </a:lnTo>
                  <a:lnTo>
                    <a:pt x="1803" y="1990"/>
                  </a:lnTo>
                  <a:lnTo>
                    <a:pt x="1808" y="1989"/>
                  </a:lnTo>
                  <a:lnTo>
                    <a:pt x="1810" y="1989"/>
                  </a:lnTo>
                  <a:lnTo>
                    <a:pt x="1810" y="1987"/>
                  </a:lnTo>
                  <a:lnTo>
                    <a:pt x="1810" y="1985"/>
                  </a:lnTo>
                  <a:lnTo>
                    <a:pt x="1810" y="1985"/>
                  </a:lnTo>
                  <a:lnTo>
                    <a:pt x="1812" y="1984"/>
                  </a:lnTo>
                  <a:lnTo>
                    <a:pt x="1815" y="1984"/>
                  </a:lnTo>
                  <a:lnTo>
                    <a:pt x="1815" y="1980"/>
                  </a:lnTo>
                  <a:lnTo>
                    <a:pt x="1815" y="1979"/>
                  </a:lnTo>
                  <a:lnTo>
                    <a:pt x="1816" y="1978"/>
                  </a:lnTo>
                  <a:lnTo>
                    <a:pt x="1818" y="1978"/>
                  </a:lnTo>
                  <a:lnTo>
                    <a:pt x="1819" y="1978"/>
                  </a:lnTo>
                  <a:lnTo>
                    <a:pt x="1820" y="1976"/>
                  </a:lnTo>
                  <a:lnTo>
                    <a:pt x="1821" y="1975"/>
                  </a:lnTo>
                  <a:lnTo>
                    <a:pt x="1821" y="1971"/>
                  </a:lnTo>
                  <a:lnTo>
                    <a:pt x="1833" y="1970"/>
                  </a:lnTo>
                  <a:lnTo>
                    <a:pt x="1850" y="1965"/>
                  </a:lnTo>
                  <a:lnTo>
                    <a:pt x="1868" y="1961"/>
                  </a:lnTo>
                  <a:lnTo>
                    <a:pt x="1883" y="1959"/>
                  </a:lnTo>
                  <a:lnTo>
                    <a:pt x="1882" y="1946"/>
                  </a:lnTo>
                  <a:lnTo>
                    <a:pt x="1879" y="1934"/>
                  </a:lnTo>
                  <a:lnTo>
                    <a:pt x="1875" y="1922"/>
                  </a:lnTo>
                  <a:lnTo>
                    <a:pt x="1868" y="1910"/>
                  </a:lnTo>
                  <a:lnTo>
                    <a:pt x="1860" y="1897"/>
                  </a:lnTo>
                  <a:lnTo>
                    <a:pt x="1852" y="1885"/>
                  </a:lnTo>
                  <a:lnTo>
                    <a:pt x="1843" y="1874"/>
                  </a:lnTo>
                  <a:lnTo>
                    <a:pt x="1833" y="1863"/>
                  </a:lnTo>
                  <a:lnTo>
                    <a:pt x="1815" y="1841"/>
                  </a:lnTo>
                  <a:lnTo>
                    <a:pt x="1799" y="1824"/>
                  </a:lnTo>
                  <a:lnTo>
                    <a:pt x="1792" y="1817"/>
                  </a:lnTo>
                  <a:lnTo>
                    <a:pt x="1787" y="1810"/>
                  </a:lnTo>
                  <a:lnTo>
                    <a:pt x="1784" y="1805"/>
                  </a:lnTo>
                  <a:lnTo>
                    <a:pt x="1783" y="1801"/>
                  </a:lnTo>
                  <a:lnTo>
                    <a:pt x="1771" y="1801"/>
                  </a:lnTo>
                  <a:lnTo>
                    <a:pt x="1761" y="1795"/>
                  </a:lnTo>
                  <a:lnTo>
                    <a:pt x="1746" y="1789"/>
                  </a:lnTo>
                  <a:lnTo>
                    <a:pt x="1744" y="1786"/>
                  </a:lnTo>
                  <a:lnTo>
                    <a:pt x="1739" y="1781"/>
                  </a:lnTo>
                  <a:lnTo>
                    <a:pt x="1734" y="1776"/>
                  </a:lnTo>
                  <a:lnTo>
                    <a:pt x="1727" y="1770"/>
                  </a:lnTo>
                  <a:lnTo>
                    <a:pt x="1720" y="1764"/>
                  </a:lnTo>
                  <a:lnTo>
                    <a:pt x="1714" y="1759"/>
                  </a:lnTo>
                  <a:lnTo>
                    <a:pt x="1709" y="1754"/>
                  </a:lnTo>
                  <a:lnTo>
                    <a:pt x="1708" y="1751"/>
                  </a:lnTo>
                  <a:lnTo>
                    <a:pt x="1696" y="1751"/>
                  </a:lnTo>
                  <a:lnTo>
                    <a:pt x="1695" y="1749"/>
                  </a:lnTo>
                  <a:lnTo>
                    <a:pt x="1695" y="1748"/>
                  </a:lnTo>
                  <a:lnTo>
                    <a:pt x="1694" y="1747"/>
                  </a:lnTo>
                  <a:lnTo>
                    <a:pt x="1691" y="1745"/>
                  </a:lnTo>
                  <a:lnTo>
                    <a:pt x="1688" y="1744"/>
                  </a:lnTo>
                  <a:lnTo>
                    <a:pt x="1682" y="1744"/>
                  </a:lnTo>
                  <a:lnTo>
                    <a:pt x="1681" y="1742"/>
                  </a:lnTo>
                  <a:lnTo>
                    <a:pt x="1678" y="1738"/>
                  </a:lnTo>
                  <a:lnTo>
                    <a:pt x="1672" y="1732"/>
                  </a:lnTo>
                  <a:lnTo>
                    <a:pt x="1667" y="1726"/>
                  </a:lnTo>
                  <a:lnTo>
                    <a:pt x="1660" y="1722"/>
                  </a:lnTo>
                  <a:lnTo>
                    <a:pt x="1653" y="1718"/>
                  </a:lnTo>
                  <a:lnTo>
                    <a:pt x="1649" y="1714"/>
                  </a:lnTo>
                  <a:lnTo>
                    <a:pt x="1646" y="1713"/>
                  </a:lnTo>
                  <a:lnTo>
                    <a:pt x="1639" y="1707"/>
                  </a:lnTo>
                  <a:lnTo>
                    <a:pt x="1638" y="1704"/>
                  </a:lnTo>
                  <a:lnTo>
                    <a:pt x="1632" y="1700"/>
                  </a:lnTo>
                  <a:lnTo>
                    <a:pt x="1626" y="1694"/>
                  </a:lnTo>
                  <a:lnTo>
                    <a:pt x="1618" y="1689"/>
                  </a:lnTo>
                  <a:lnTo>
                    <a:pt x="1609" y="1683"/>
                  </a:lnTo>
                  <a:lnTo>
                    <a:pt x="1602" y="1677"/>
                  </a:lnTo>
                  <a:lnTo>
                    <a:pt x="1598" y="1673"/>
                  </a:lnTo>
                  <a:lnTo>
                    <a:pt x="1595" y="1670"/>
                  </a:lnTo>
                  <a:lnTo>
                    <a:pt x="1583" y="1670"/>
                  </a:lnTo>
                  <a:lnTo>
                    <a:pt x="1580" y="1657"/>
                  </a:lnTo>
                  <a:lnTo>
                    <a:pt x="1576" y="1645"/>
                  </a:lnTo>
                  <a:lnTo>
                    <a:pt x="1572" y="1642"/>
                  </a:lnTo>
                  <a:lnTo>
                    <a:pt x="1566" y="1636"/>
                  </a:lnTo>
                  <a:lnTo>
                    <a:pt x="1562" y="1629"/>
                  </a:lnTo>
                  <a:lnTo>
                    <a:pt x="1556" y="1622"/>
                  </a:lnTo>
                  <a:lnTo>
                    <a:pt x="1545" y="1604"/>
                  </a:lnTo>
                  <a:lnTo>
                    <a:pt x="1535" y="1584"/>
                  </a:lnTo>
                  <a:lnTo>
                    <a:pt x="1526" y="1565"/>
                  </a:lnTo>
                  <a:lnTo>
                    <a:pt x="1517" y="1548"/>
                  </a:lnTo>
                  <a:lnTo>
                    <a:pt x="1512" y="1537"/>
                  </a:lnTo>
                  <a:lnTo>
                    <a:pt x="1508" y="1532"/>
                  </a:lnTo>
                  <a:lnTo>
                    <a:pt x="1508" y="1501"/>
                  </a:lnTo>
                  <a:lnTo>
                    <a:pt x="1517" y="1494"/>
                  </a:lnTo>
                  <a:lnTo>
                    <a:pt x="1540" y="1479"/>
                  </a:lnTo>
                  <a:lnTo>
                    <a:pt x="1551" y="1470"/>
                  </a:lnTo>
                  <a:lnTo>
                    <a:pt x="1561" y="1461"/>
                  </a:lnTo>
                  <a:lnTo>
                    <a:pt x="1568" y="1455"/>
                  </a:lnTo>
                  <a:lnTo>
                    <a:pt x="1571" y="1451"/>
                  </a:lnTo>
                  <a:lnTo>
                    <a:pt x="1576" y="1449"/>
                  </a:lnTo>
                  <a:lnTo>
                    <a:pt x="1585" y="1444"/>
                  </a:lnTo>
                  <a:lnTo>
                    <a:pt x="1589" y="1441"/>
                  </a:lnTo>
                  <a:lnTo>
                    <a:pt x="1592" y="1437"/>
                  </a:lnTo>
                  <a:lnTo>
                    <a:pt x="1594" y="1435"/>
                  </a:lnTo>
                  <a:lnTo>
                    <a:pt x="1595" y="1432"/>
                  </a:lnTo>
                  <a:lnTo>
                    <a:pt x="1608" y="1432"/>
                  </a:lnTo>
                  <a:lnTo>
                    <a:pt x="1609" y="1430"/>
                  </a:lnTo>
                  <a:lnTo>
                    <a:pt x="1610" y="1428"/>
                  </a:lnTo>
                  <a:lnTo>
                    <a:pt x="1611" y="1426"/>
                  </a:lnTo>
                  <a:lnTo>
                    <a:pt x="1614" y="1425"/>
                  </a:lnTo>
                  <a:lnTo>
                    <a:pt x="1620" y="1423"/>
                  </a:lnTo>
                  <a:lnTo>
                    <a:pt x="1628" y="1421"/>
                  </a:lnTo>
                  <a:lnTo>
                    <a:pt x="1645" y="1420"/>
                  </a:lnTo>
                  <a:lnTo>
                    <a:pt x="1658" y="1420"/>
                  </a:lnTo>
                  <a:lnTo>
                    <a:pt x="1658" y="1417"/>
                  </a:lnTo>
                  <a:lnTo>
                    <a:pt x="1659" y="1416"/>
                  </a:lnTo>
                  <a:lnTo>
                    <a:pt x="1660" y="1415"/>
                  </a:lnTo>
                  <a:lnTo>
                    <a:pt x="1662" y="1414"/>
                  </a:lnTo>
                  <a:lnTo>
                    <a:pt x="1666" y="1413"/>
                  </a:lnTo>
                  <a:lnTo>
                    <a:pt x="1670" y="1413"/>
                  </a:lnTo>
                  <a:lnTo>
                    <a:pt x="1671" y="1408"/>
                  </a:lnTo>
                  <a:lnTo>
                    <a:pt x="1675" y="1405"/>
                  </a:lnTo>
                  <a:lnTo>
                    <a:pt x="1678" y="1402"/>
                  </a:lnTo>
                  <a:lnTo>
                    <a:pt x="1682" y="1401"/>
                  </a:lnTo>
                  <a:lnTo>
                    <a:pt x="1689" y="1395"/>
                  </a:lnTo>
                  <a:lnTo>
                    <a:pt x="1690" y="1389"/>
                  </a:lnTo>
                  <a:lnTo>
                    <a:pt x="1694" y="1383"/>
                  </a:lnTo>
                  <a:lnTo>
                    <a:pt x="1695" y="1380"/>
                  </a:lnTo>
                  <a:lnTo>
                    <a:pt x="1697" y="1378"/>
                  </a:lnTo>
                  <a:lnTo>
                    <a:pt x="1699" y="1376"/>
                  </a:lnTo>
                  <a:lnTo>
                    <a:pt x="1701" y="1376"/>
                  </a:lnTo>
                  <a:lnTo>
                    <a:pt x="1701" y="1357"/>
                  </a:lnTo>
                  <a:lnTo>
                    <a:pt x="1704" y="1356"/>
                  </a:lnTo>
                  <a:lnTo>
                    <a:pt x="1706" y="1355"/>
                  </a:lnTo>
                  <a:lnTo>
                    <a:pt x="1706" y="1353"/>
                  </a:lnTo>
                  <a:lnTo>
                    <a:pt x="1707" y="1350"/>
                  </a:lnTo>
                  <a:lnTo>
                    <a:pt x="1708" y="1344"/>
                  </a:lnTo>
                  <a:lnTo>
                    <a:pt x="1708" y="1338"/>
                  </a:lnTo>
                  <a:lnTo>
                    <a:pt x="1710" y="1337"/>
                  </a:lnTo>
                  <a:lnTo>
                    <a:pt x="1712" y="1334"/>
                  </a:lnTo>
                  <a:lnTo>
                    <a:pt x="1713" y="1328"/>
                  </a:lnTo>
                  <a:lnTo>
                    <a:pt x="1714" y="1321"/>
                  </a:lnTo>
                  <a:lnTo>
                    <a:pt x="1714" y="1309"/>
                  </a:lnTo>
                  <a:lnTo>
                    <a:pt x="1714" y="1301"/>
                  </a:lnTo>
                  <a:lnTo>
                    <a:pt x="1710" y="1300"/>
                  </a:lnTo>
                  <a:lnTo>
                    <a:pt x="1709" y="1300"/>
                  </a:lnTo>
                  <a:lnTo>
                    <a:pt x="1708" y="1299"/>
                  </a:lnTo>
                  <a:lnTo>
                    <a:pt x="1708" y="1298"/>
                  </a:lnTo>
                  <a:lnTo>
                    <a:pt x="1708" y="1297"/>
                  </a:lnTo>
                  <a:lnTo>
                    <a:pt x="1707" y="1296"/>
                  </a:lnTo>
                  <a:lnTo>
                    <a:pt x="1706" y="1295"/>
                  </a:lnTo>
                  <a:lnTo>
                    <a:pt x="1701" y="1295"/>
                  </a:lnTo>
                  <a:lnTo>
                    <a:pt x="1696" y="1282"/>
                  </a:lnTo>
                  <a:lnTo>
                    <a:pt x="1695" y="1278"/>
                  </a:lnTo>
                  <a:lnTo>
                    <a:pt x="1693" y="1272"/>
                  </a:lnTo>
                  <a:lnTo>
                    <a:pt x="1689" y="1268"/>
                  </a:lnTo>
                  <a:lnTo>
                    <a:pt x="1686" y="1262"/>
                  </a:lnTo>
                  <a:lnTo>
                    <a:pt x="1682" y="1257"/>
                  </a:lnTo>
                  <a:lnTo>
                    <a:pt x="1679" y="1251"/>
                  </a:lnTo>
                  <a:lnTo>
                    <a:pt x="1678" y="1245"/>
                  </a:lnTo>
                  <a:lnTo>
                    <a:pt x="1677" y="1239"/>
                  </a:lnTo>
                  <a:lnTo>
                    <a:pt x="1665" y="1232"/>
                  </a:lnTo>
                  <a:lnTo>
                    <a:pt x="1661" y="1223"/>
                  </a:lnTo>
                  <a:lnTo>
                    <a:pt x="1658" y="1213"/>
                  </a:lnTo>
                  <a:lnTo>
                    <a:pt x="1646" y="1201"/>
                  </a:lnTo>
                  <a:lnTo>
                    <a:pt x="1633" y="1201"/>
                  </a:lnTo>
                  <a:lnTo>
                    <a:pt x="1627" y="1189"/>
                  </a:lnTo>
                  <a:lnTo>
                    <a:pt x="1614" y="1189"/>
                  </a:lnTo>
                  <a:lnTo>
                    <a:pt x="1608" y="1178"/>
                  </a:lnTo>
                  <a:lnTo>
                    <a:pt x="1602" y="1170"/>
                  </a:lnTo>
                  <a:lnTo>
                    <a:pt x="1589" y="1163"/>
                  </a:lnTo>
                  <a:lnTo>
                    <a:pt x="1576" y="1157"/>
                  </a:lnTo>
                  <a:lnTo>
                    <a:pt x="1557" y="1138"/>
                  </a:lnTo>
                  <a:lnTo>
                    <a:pt x="1557" y="1126"/>
                  </a:lnTo>
                  <a:lnTo>
                    <a:pt x="1556" y="1125"/>
                  </a:lnTo>
                  <a:lnTo>
                    <a:pt x="1554" y="1124"/>
                  </a:lnTo>
                  <a:lnTo>
                    <a:pt x="1553" y="1122"/>
                  </a:lnTo>
                  <a:lnTo>
                    <a:pt x="1553" y="1118"/>
                  </a:lnTo>
                  <a:lnTo>
                    <a:pt x="1552" y="1113"/>
                  </a:lnTo>
                  <a:lnTo>
                    <a:pt x="1552" y="1107"/>
                  </a:lnTo>
                  <a:lnTo>
                    <a:pt x="1495" y="913"/>
                  </a:lnTo>
                  <a:lnTo>
                    <a:pt x="1489" y="907"/>
                  </a:lnTo>
                  <a:lnTo>
                    <a:pt x="1483" y="901"/>
                  </a:lnTo>
                  <a:lnTo>
                    <a:pt x="1477" y="894"/>
                  </a:lnTo>
                  <a:lnTo>
                    <a:pt x="1473" y="891"/>
                  </a:lnTo>
                  <a:lnTo>
                    <a:pt x="1469" y="886"/>
                  </a:lnTo>
                  <a:lnTo>
                    <a:pt x="1467" y="882"/>
                  </a:lnTo>
                  <a:lnTo>
                    <a:pt x="1465" y="877"/>
                  </a:lnTo>
                  <a:lnTo>
                    <a:pt x="1463" y="868"/>
                  </a:lnTo>
                  <a:lnTo>
                    <a:pt x="1461" y="858"/>
                  </a:lnTo>
                  <a:lnTo>
                    <a:pt x="1460" y="841"/>
                  </a:lnTo>
                  <a:lnTo>
                    <a:pt x="1457" y="827"/>
                  </a:lnTo>
                  <a:lnTo>
                    <a:pt x="1453" y="818"/>
                  </a:lnTo>
                  <a:lnTo>
                    <a:pt x="1448" y="810"/>
                  </a:lnTo>
                  <a:lnTo>
                    <a:pt x="1441" y="802"/>
                  </a:lnTo>
                  <a:lnTo>
                    <a:pt x="1436" y="795"/>
                  </a:lnTo>
                  <a:lnTo>
                    <a:pt x="1428" y="786"/>
                  </a:lnTo>
                  <a:lnTo>
                    <a:pt x="1420" y="776"/>
                  </a:lnTo>
                  <a:lnTo>
                    <a:pt x="1412" y="764"/>
                  </a:lnTo>
                  <a:lnTo>
                    <a:pt x="1405" y="752"/>
                  </a:lnTo>
                  <a:lnTo>
                    <a:pt x="1391" y="753"/>
                  </a:lnTo>
                  <a:lnTo>
                    <a:pt x="1378" y="755"/>
                  </a:lnTo>
                  <a:lnTo>
                    <a:pt x="1365" y="758"/>
                  </a:lnTo>
                  <a:lnTo>
                    <a:pt x="1354" y="758"/>
                  </a:lnTo>
                  <a:lnTo>
                    <a:pt x="1354" y="760"/>
                  </a:lnTo>
                  <a:lnTo>
                    <a:pt x="1353" y="762"/>
                  </a:lnTo>
                  <a:lnTo>
                    <a:pt x="1351" y="763"/>
                  </a:lnTo>
                  <a:lnTo>
                    <a:pt x="1348" y="763"/>
                  </a:lnTo>
                  <a:lnTo>
                    <a:pt x="1342" y="764"/>
                  </a:lnTo>
                  <a:lnTo>
                    <a:pt x="1336" y="764"/>
                  </a:lnTo>
                  <a:lnTo>
                    <a:pt x="1335" y="768"/>
                  </a:lnTo>
                  <a:lnTo>
                    <a:pt x="1335" y="770"/>
                  </a:lnTo>
                  <a:lnTo>
                    <a:pt x="1334" y="770"/>
                  </a:lnTo>
                  <a:lnTo>
                    <a:pt x="1333" y="771"/>
                  </a:lnTo>
                  <a:lnTo>
                    <a:pt x="1332" y="771"/>
                  </a:lnTo>
                  <a:lnTo>
                    <a:pt x="1331" y="771"/>
                  </a:lnTo>
                  <a:lnTo>
                    <a:pt x="1330" y="773"/>
                  </a:lnTo>
                  <a:lnTo>
                    <a:pt x="1330" y="777"/>
                  </a:lnTo>
                  <a:lnTo>
                    <a:pt x="1305" y="774"/>
                  </a:lnTo>
                  <a:lnTo>
                    <a:pt x="1271" y="771"/>
                  </a:lnTo>
                  <a:lnTo>
                    <a:pt x="1253" y="769"/>
                  </a:lnTo>
                  <a:lnTo>
                    <a:pt x="1237" y="768"/>
                  </a:lnTo>
                  <a:lnTo>
                    <a:pt x="1226" y="768"/>
                  </a:lnTo>
                  <a:lnTo>
                    <a:pt x="1220" y="769"/>
                  </a:lnTo>
                  <a:lnTo>
                    <a:pt x="1083" y="769"/>
                  </a:lnTo>
                  <a:lnTo>
                    <a:pt x="1082" y="766"/>
                  </a:lnTo>
                  <a:lnTo>
                    <a:pt x="1082" y="763"/>
                  </a:lnTo>
                  <a:lnTo>
                    <a:pt x="1081" y="763"/>
                  </a:lnTo>
                  <a:lnTo>
                    <a:pt x="1080" y="763"/>
                  </a:lnTo>
                  <a:lnTo>
                    <a:pt x="1079" y="763"/>
                  </a:lnTo>
                  <a:lnTo>
                    <a:pt x="1077" y="762"/>
                  </a:lnTo>
                  <a:lnTo>
                    <a:pt x="1076" y="760"/>
                  </a:lnTo>
                  <a:lnTo>
                    <a:pt x="1076" y="757"/>
                  </a:lnTo>
                  <a:lnTo>
                    <a:pt x="1057" y="757"/>
                  </a:lnTo>
                  <a:lnTo>
                    <a:pt x="1052" y="751"/>
                  </a:lnTo>
                  <a:lnTo>
                    <a:pt x="1045" y="744"/>
                  </a:lnTo>
                  <a:lnTo>
                    <a:pt x="1033" y="744"/>
                  </a:lnTo>
                  <a:lnTo>
                    <a:pt x="1033" y="732"/>
                  </a:lnTo>
                  <a:lnTo>
                    <a:pt x="1021" y="732"/>
                  </a:lnTo>
                  <a:lnTo>
                    <a:pt x="1019" y="729"/>
                  </a:lnTo>
                  <a:lnTo>
                    <a:pt x="1019" y="726"/>
                  </a:lnTo>
                  <a:lnTo>
                    <a:pt x="1018" y="725"/>
                  </a:lnTo>
                  <a:lnTo>
                    <a:pt x="1017" y="725"/>
                  </a:lnTo>
                  <a:lnTo>
                    <a:pt x="1016" y="725"/>
                  </a:lnTo>
                  <a:lnTo>
                    <a:pt x="1015" y="724"/>
                  </a:lnTo>
                  <a:lnTo>
                    <a:pt x="1014" y="723"/>
                  </a:lnTo>
                  <a:lnTo>
                    <a:pt x="1014" y="720"/>
                  </a:lnTo>
                  <a:lnTo>
                    <a:pt x="1005" y="716"/>
                  </a:lnTo>
                  <a:lnTo>
                    <a:pt x="995" y="713"/>
                  </a:lnTo>
                  <a:lnTo>
                    <a:pt x="995" y="710"/>
                  </a:lnTo>
                  <a:lnTo>
                    <a:pt x="994" y="708"/>
                  </a:lnTo>
                  <a:lnTo>
                    <a:pt x="993" y="706"/>
                  </a:lnTo>
                  <a:lnTo>
                    <a:pt x="992" y="706"/>
                  </a:lnTo>
                  <a:lnTo>
                    <a:pt x="990" y="706"/>
                  </a:lnTo>
                  <a:lnTo>
                    <a:pt x="990" y="706"/>
                  </a:lnTo>
                  <a:lnTo>
                    <a:pt x="989" y="704"/>
                  </a:lnTo>
                  <a:lnTo>
                    <a:pt x="989" y="701"/>
                  </a:lnTo>
                  <a:lnTo>
                    <a:pt x="976" y="701"/>
                  </a:lnTo>
                  <a:lnTo>
                    <a:pt x="970" y="689"/>
                  </a:lnTo>
                  <a:lnTo>
                    <a:pt x="960" y="689"/>
                  </a:lnTo>
                  <a:lnTo>
                    <a:pt x="951" y="689"/>
                  </a:lnTo>
                  <a:lnTo>
                    <a:pt x="949" y="686"/>
                  </a:lnTo>
                  <a:lnTo>
                    <a:pt x="942" y="684"/>
                  </a:lnTo>
                  <a:lnTo>
                    <a:pt x="932" y="683"/>
                  </a:lnTo>
                  <a:lnTo>
                    <a:pt x="921" y="683"/>
                  </a:lnTo>
                  <a:lnTo>
                    <a:pt x="899" y="682"/>
                  </a:lnTo>
                  <a:lnTo>
                    <a:pt x="882" y="682"/>
                  </a:lnTo>
                  <a:lnTo>
                    <a:pt x="871" y="681"/>
                  </a:lnTo>
                  <a:lnTo>
                    <a:pt x="862" y="678"/>
                  </a:lnTo>
                  <a:lnTo>
                    <a:pt x="856" y="675"/>
                  </a:lnTo>
                  <a:lnTo>
                    <a:pt x="852" y="671"/>
                  </a:lnTo>
                  <a:lnTo>
                    <a:pt x="850" y="666"/>
                  </a:lnTo>
                  <a:lnTo>
                    <a:pt x="847" y="663"/>
                  </a:lnTo>
                  <a:lnTo>
                    <a:pt x="844" y="661"/>
                  </a:lnTo>
                  <a:lnTo>
                    <a:pt x="841" y="660"/>
                  </a:lnTo>
                  <a:lnTo>
                    <a:pt x="841" y="478"/>
                  </a:lnTo>
                  <a:lnTo>
                    <a:pt x="836" y="472"/>
                  </a:lnTo>
                  <a:lnTo>
                    <a:pt x="829" y="458"/>
                  </a:lnTo>
                  <a:lnTo>
                    <a:pt x="820" y="435"/>
                  </a:lnTo>
                  <a:lnTo>
                    <a:pt x="810" y="411"/>
                  </a:lnTo>
                  <a:lnTo>
                    <a:pt x="791" y="365"/>
                  </a:lnTo>
                  <a:lnTo>
                    <a:pt x="783" y="344"/>
                  </a:lnTo>
                  <a:lnTo>
                    <a:pt x="770" y="338"/>
                  </a:lnTo>
                  <a:lnTo>
                    <a:pt x="764" y="331"/>
                  </a:lnTo>
                  <a:lnTo>
                    <a:pt x="764" y="319"/>
                  </a:lnTo>
                  <a:lnTo>
                    <a:pt x="758" y="314"/>
                  </a:lnTo>
                  <a:lnTo>
                    <a:pt x="751" y="307"/>
                  </a:lnTo>
                  <a:lnTo>
                    <a:pt x="745" y="302"/>
                  </a:lnTo>
                  <a:lnTo>
                    <a:pt x="739" y="300"/>
                  </a:lnTo>
                  <a:lnTo>
                    <a:pt x="738" y="296"/>
                  </a:lnTo>
                  <a:lnTo>
                    <a:pt x="736" y="292"/>
                  </a:lnTo>
                  <a:lnTo>
                    <a:pt x="733" y="288"/>
                  </a:lnTo>
                  <a:lnTo>
                    <a:pt x="729" y="283"/>
                  </a:lnTo>
                  <a:lnTo>
                    <a:pt x="726" y="280"/>
                  </a:lnTo>
                  <a:lnTo>
                    <a:pt x="722" y="274"/>
                  </a:lnTo>
                  <a:lnTo>
                    <a:pt x="720" y="269"/>
                  </a:lnTo>
                  <a:lnTo>
                    <a:pt x="720" y="263"/>
                  </a:lnTo>
                  <a:lnTo>
                    <a:pt x="716" y="259"/>
                  </a:lnTo>
                  <a:lnTo>
                    <a:pt x="710" y="253"/>
                  </a:lnTo>
                  <a:lnTo>
                    <a:pt x="706" y="245"/>
                  </a:lnTo>
                  <a:lnTo>
                    <a:pt x="702" y="238"/>
                  </a:lnTo>
                  <a:lnTo>
                    <a:pt x="695" y="222"/>
                  </a:lnTo>
                  <a:lnTo>
                    <a:pt x="689" y="213"/>
                  </a:lnTo>
                  <a:lnTo>
                    <a:pt x="688" y="181"/>
                  </a:lnTo>
                  <a:lnTo>
                    <a:pt x="686" y="143"/>
                  </a:lnTo>
                  <a:lnTo>
                    <a:pt x="683" y="105"/>
                  </a:lnTo>
                  <a:lnTo>
                    <a:pt x="682" y="69"/>
                  </a:lnTo>
                  <a:lnTo>
                    <a:pt x="670" y="57"/>
                  </a:lnTo>
                  <a:lnTo>
                    <a:pt x="669" y="51"/>
                  </a:lnTo>
                  <a:lnTo>
                    <a:pt x="667" y="46"/>
                  </a:lnTo>
                  <a:lnTo>
                    <a:pt x="663" y="39"/>
                  </a:lnTo>
                  <a:lnTo>
                    <a:pt x="660" y="33"/>
                  </a:lnTo>
                  <a:lnTo>
                    <a:pt x="655" y="28"/>
                  </a:lnTo>
                  <a:lnTo>
                    <a:pt x="651" y="23"/>
                  </a:lnTo>
                  <a:lnTo>
                    <a:pt x="648" y="20"/>
                  </a:lnTo>
                  <a:lnTo>
                    <a:pt x="645" y="19"/>
                  </a:lnTo>
                  <a:lnTo>
                    <a:pt x="644" y="14"/>
                  </a:lnTo>
                  <a:lnTo>
                    <a:pt x="642" y="11"/>
                  </a:lnTo>
                  <a:lnTo>
                    <a:pt x="639" y="8"/>
                  </a:lnTo>
                  <a:lnTo>
                    <a:pt x="635" y="4"/>
                  </a:lnTo>
                  <a:lnTo>
                    <a:pt x="629" y="1"/>
                  </a:lnTo>
                  <a:lnTo>
                    <a:pt x="626" y="0"/>
                  </a:lnTo>
                  <a:lnTo>
                    <a:pt x="545" y="0"/>
                  </a:lnTo>
                  <a:lnTo>
                    <a:pt x="545" y="4"/>
                  </a:lnTo>
                  <a:lnTo>
                    <a:pt x="544" y="5"/>
                  </a:lnTo>
                  <a:lnTo>
                    <a:pt x="543" y="7"/>
                  </a:lnTo>
                  <a:lnTo>
                    <a:pt x="542" y="7"/>
                  </a:lnTo>
                  <a:lnTo>
                    <a:pt x="541" y="7"/>
                  </a:lnTo>
                  <a:lnTo>
                    <a:pt x="539" y="8"/>
                  </a:lnTo>
                  <a:lnTo>
                    <a:pt x="539" y="9"/>
                  </a:lnTo>
                  <a:lnTo>
                    <a:pt x="538" y="12"/>
                  </a:lnTo>
                  <a:lnTo>
                    <a:pt x="445" y="12"/>
                  </a:lnTo>
                  <a:lnTo>
                    <a:pt x="443" y="10"/>
                  </a:lnTo>
                  <a:lnTo>
                    <a:pt x="439" y="7"/>
                  </a:lnTo>
                  <a:lnTo>
                    <a:pt x="433" y="4"/>
                  </a:lnTo>
                  <a:lnTo>
                    <a:pt x="426" y="3"/>
                  </a:lnTo>
                  <a:lnTo>
                    <a:pt x="404" y="1"/>
                  </a:lnTo>
                  <a:lnTo>
                    <a:pt x="381" y="0"/>
                  </a:lnTo>
                  <a:lnTo>
                    <a:pt x="356" y="1"/>
                  </a:lnTo>
                  <a:lnTo>
                    <a:pt x="333" y="2"/>
                  </a:lnTo>
                  <a:lnTo>
                    <a:pt x="314" y="4"/>
                  </a:lnTo>
                  <a:lnTo>
                    <a:pt x="303" y="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2" name="Freeform 15">
              <a:extLst>
                <a:ext uri="{FF2B5EF4-FFF2-40B4-BE49-F238E27FC236}">
                  <a16:creationId xmlns:a16="http://schemas.microsoft.com/office/drawing/2014/main" id="{6221AB76-6AB5-4312-8DDA-9C1A8DC6EF8B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119938" y="4292600"/>
              <a:ext cx="306244" cy="282575"/>
            </a:xfrm>
            <a:custGeom>
              <a:avLst/>
              <a:gdLst/>
              <a:ahLst/>
              <a:cxnLst>
                <a:cxn ang="0">
                  <a:pos x="1402" y="770"/>
                </a:cxn>
                <a:cxn ang="0">
                  <a:pos x="1286" y="763"/>
                </a:cxn>
                <a:cxn ang="0">
                  <a:pos x="1187" y="690"/>
                </a:cxn>
                <a:cxn ang="0">
                  <a:pos x="1112" y="619"/>
                </a:cxn>
                <a:cxn ang="0">
                  <a:pos x="1034" y="523"/>
                </a:cxn>
                <a:cxn ang="0">
                  <a:pos x="1008" y="483"/>
                </a:cxn>
                <a:cxn ang="0">
                  <a:pos x="977" y="436"/>
                </a:cxn>
                <a:cxn ang="0">
                  <a:pos x="961" y="349"/>
                </a:cxn>
                <a:cxn ang="0">
                  <a:pos x="938" y="183"/>
                </a:cxn>
                <a:cxn ang="0">
                  <a:pos x="932" y="2"/>
                </a:cxn>
                <a:cxn ang="0">
                  <a:pos x="846" y="19"/>
                </a:cxn>
                <a:cxn ang="0">
                  <a:pos x="754" y="36"/>
                </a:cxn>
                <a:cxn ang="0">
                  <a:pos x="724" y="52"/>
                </a:cxn>
                <a:cxn ang="0">
                  <a:pos x="667" y="118"/>
                </a:cxn>
                <a:cxn ang="0">
                  <a:pos x="590" y="145"/>
                </a:cxn>
                <a:cxn ang="0">
                  <a:pos x="543" y="138"/>
                </a:cxn>
                <a:cxn ang="0">
                  <a:pos x="453" y="111"/>
                </a:cxn>
                <a:cxn ang="0">
                  <a:pos x="336" y="98"/>
                </a:cxn>
                <a:cxn ang="0">
                  <a:pos x="196" y="165"/>
                </a:cxn>
                <a:cxn ang="0">
                  <a:pos x="141" y="466"/>
                </a:cxn>
                <a:cxn ang="0">
                  <a:pos x="93" y="564"/>
                </a:cxn>
                <a:cxn ang="0">
                  <a:pos x="112" y="627"/>
                </a:cxn>
                <a:cxn ang="0">
                  <a:pos x="122" y="669"/>
                </a:cxn>
                <a:cxn ang="0">
                  <a:pos x="70" y="790"/>
                </a:cxn>
                <a:cxn ang="0">
                  <a:pos x="32" y="856"/>
                </a:cxn>
                <a:cxn ang="0">
                  <a:pos x="7" y="915"/>
                </a:cxn>
                <a:cxn ang="0">
                  <a:pos x="96" y="1034"/>
                </a:cxn>
                <a:cxn ang="0">
                  <a:pos x="216" y="1063"/>
                </a:cxn>
                <a:cxn ang="0">
                  <a:pos x="366" y="1109"/>
                </a:cxn>
                <a:cxn ang="0">
                  <a:pos x="390" y="1179"/>
                </a:cxn>
                <a:cxn ang="0">
                  <a:pos x="375" y="1419"/>
                </a:cxn>
                <a:cxn ang="0">
                  <a:pos x="389" y="1543"/>
                </a:cxn>
                <a:cxn ang="0">
                  <a:pos x="541" y="1529"/>
                </a:cxn>
                <a:cxn ang="0">
                  <a:pos x="601" y="1596"/>
                </a:cxn>
                <a:cxn ang="0">
                  <a:pos x="603" y="1635"/>
                </a:cxn>
                <a:cxn ang="0">
                  <a:pos x="654" y="1680"/>
                </a:cxn>
                <a:cxn ang="0">
                  <a:pos x="722" y="1748"/>
                </a:cxn>
                <a:cxn ang="0">
                  <a:pos x="742" y="1667"/>
                </a:cxn>
                <a:cxn ang="0">
                  <a:pos x="755" y="1637"/>
                </a:cxn>
                <a:cxn ang="0">
                  <a:pos x="858" y="1522"/>
                </a:cxn>
                <a:cxn ang="0">
                  <a:pos x="851" y="1428"/>
                </a:cxn>
                <a:cxn ang="0">
                  <a:pos x="812" y="1263"/>
                </a:cxn>
                <a:cxn ang="0">
                  <a:pos x="850" y="1214"/>
                </a:cxn>
                <a:cxn ang="0">
                  <a:pos x="886" y="1020"/>
                </a:cxn>
                <a:cxn ang="0">
                  <a:pos x="1018" y="977"/>
                </a:cxn>
                <a:cxn ang="0">
                  <a:pos x="1088" y="1000"/>
                </a:cxn>
                <a:cxn ang="0">
                  <a:pos x="1210" y="1111"/>
                </a:cxn>
                <a:cxn ang="0">
                  <a:pos x="1360" y="1342"/>
                </a:cxn>
                <a:cxn ang="0">
                  <a:pos x="1473" y="1575"/>
                </a:cxn>
                <a:cxn ang="0">
                  <a:pos x="1629" y="1650"/>
                </a:cxn>
                <a:cxn ang="0">
                  <a:pos x="1656" y="1493"/>
                </a:cxn>
                <a:cxn ang="0">
                  <a:pos x="1630" y="1399"/>
                </a:cxn>
                <a:cxn ang="0">
                  <a:pos x="1575" y="1331"/>
                </a:cxn>
                <a:cxn ang="0">
                  <a:pos x="1555" y="1272"/>
                </a:cxn>
                <a:cxn ang="0">
                  <a:pos x="1527" y="1125"/>
                </a:cxn>
                <a:cxn ang="0">
                  <a:pos x="1500" y="1080"/>
                </a:cxn>
                <a:cxn ang="0">
                  <a:pos x="1481" y="1062"/>
                </a:cxn>
                <a:cxn ang="0">
                  <a:pos x="1445" y="1044"/>
                </a:cxn>
                <a:cxn ang="0">
                  <a:pos x="1438" y="991"/>
                </a:cxn>
                <a:cxn ang="0">
                  <a:pos x="1450" y="957"/>
                </a:cxn>
                <a:cxn ang="0">
                  <a:pos x="1464" y="937"/>
                </a:cxn>
                <a:cxn ang="0">
                  <a:pos x="1457" y="866"/>
                </a:cxn>
              </a:cxnLst>
              <a:rect l="0" t="0" r="r" b="b"/>
              <a:pathLst>
                <a:path w="1680" h="1756">
                  <a:moveTo>
                    <a:pt x="1462" y="764"/>
                  </a:moveTo>
                  <a:lnTo>
                    <a:pt x="1450" y="764"/>
                  </a:lnTo>
                  <a:lnTo>
                    <a:pt x="1438" y="764"/>
                  </a:lnTo>
                  <a:lnTo>
                    <a:pt x="1427" y="764"/>
                  </a:lnTo>
                  <a:lnTo>
                    <a:pt x="1416" y="764"/>
                  </a:lnTo>
                  <a:lnTo>
                    <a:pt x="1416" y="766"/>
                  </a:lnTo>
                  <a:lnTo>
                    <a:pt x="1414" y="767"/>
                  </a:lnTo>
                  <a:lnTo>
                    <a:pt x="1412" y="769"/>
                  </a:lnTo>
                  <a:lnTo>
                    <a:pt x="1408" y="769"/>
                  </a:lnTo>
                  <a:lnTo>
                    <a:pt x="1402" y="770"/>
                  </a:lnTo>
                  <a:lnTo>
                    <a:pt x="1397" y="770"/>
                  </a:lnTo>
                  <a:lnTo>
                    <a:pt x="1396" y="771"/>
                  </a:lnTo>
                  <a:lnTo>
                    <a:pt x="1393" y="772"/>
                  </a:lnTo>
                  <a:lnTo>
                    <a:pt x="1387" y="773"/>
                  </a:lnTo>
                  <a:lnTo>
                    <a:pt x="1380" y="773"/>
                  </a:lnTo>
                  <a:lnTo>
                    <a:pt x="1364" y="772"/>
                  </a:lnTo>
                  <a:lnTo>
                    <a:pt x="1345" y="771"/>
                  </a:lnTo>
                  <a:lnTo>
                    <a:pt x="1309" y="766"/>
                  </a:lnTo>
                  <a:lnTo>
                    <a:pt x="1293" y="764"/>
                  </a:lnTo>
                  <a:lnTo>
                    <a:pt x="1286" y="763"/>
                  </a:lnTo>
                  <a:lnTo>
                    <a:pt x="1278" y="761"/>
                  </a:lnTo>
                  <a:lnTo>
                    <a:pt x="1269" y="756"/>
                  </a:lnTo>
                  <a:lnTo>
                    <a:pt x="1259" y="751"/>
                  </a:lnTo>
                  <a:lnTo>
                    <a:pt x="1248" y="744"/>
                  </a:lnTo>
                  <a:lnTo>
                    <a:pt x="1238" y="736"/>
                  </a:lnTo>
                  <a:lnTo>
                    <a:pt x="1226" y="727"/>
                  </a:lnTo>
                  <a:lnTo>
                    <a:pt x="1216" y="718"/>
                  </a:lnTo>
                  <a:lnTo>
                    <a:pt x="1206" y="709"/>
                  </a:lnTo>
                  <a:lnTo>
                    <a:pt x="1196" y="699"/>
                  </a:lnTo>
                  <a:lnTo>
                    <a:pt x="1187" y="690"/>
                  </a:lnTo>
                  <a:lnTo>
                    <a:pt x="1181" y="682"/>
                  </a:lnTo>
                  <a:lnTo>
                    <a:pt x="1174" y="673"/>
                  </a:lnTo>
                  <a:lnTo>
                    <a:pt x="1169" y="665"/>
                  </a:lnTo>
                  <a:lnTo>
                    <a:pt x="1166" y="657"/>
                  </a:lnTo>
                  <a:lnTo>
                    <a:pt x="1165" y="651"/>
                  </a:lnTo>
                  <a:lnTo>
                    <a:pt x="1155" y="651"/>
                  </a:lnTo>
                  <a:lnTo>
                    <a:pt x="1143" y="638"/>
                  </a:lnTo>
                  <a:lnTo>
                    <a:pt x="1130" y="626"/>
                  </a:lnTo>
                  <a:lnTo>
                    <a:pt x="1120" y="626"/>
                  </a:lnTo>
                  <a:lnTo>
                    <a:pt x="1112" y="619"/>
                  </a:lnTo>
                  <a:lnTo>
                    <a:pt x="1096" y="601"/>
                  </a:lnTo>
                  <a:lnTo>
                    <a:pt x="1079" y="584"/>
                  </a:lnTo>
                  <a:lnTo>
                    <a:pt x="1071" y="577"/>
                  </a:lnTo>
                  <a:lnTo>
                    <a:pt x="1070" y="571"/>
                  </a:lnTo>
                  <a:lnTo>
                    <a:pt x="1069" y="565"/>
                  </a:lnTo>
                  <a:lnTo>
                    <a:pt x="1066" y="560"/>
                  </a:lnTo>
                  <a:lnTo>
                    <a:pt x="1062" y="554"/>
                  </a:lnTo>
                  <a:lnTo>
                    <a:pt x="1053" y="544"/>
                  </a:lnTo>
                  <a:lnTo>
                    <a:pt x="1044" y="533"/>
                  </a:lnTo>
                  <a:lnTo>
                    <a:pt x="1034" y="523"/>
                  </a:lnTo>
                  <a:lnTo>
                    <a:pt x="1025" y="512"/>
                  </a:lnTo>
                  <a:lnTo>
                    <a:pt x="1022" y="507"/>
                  </a:lnTo>
                  <a:lnTo>
                    <a:pt x="1019" y="503"/>
                  </a:lnTo>
                  <a:lnTo>
                    <a:pt x="1018" y="497"/>
                  </a:lnTo>
                  <a:lnTo>
                    <a:pt x="1016" y="493"/>
                  </a:lnTo>
                  <a:lnTo>
                    <a:pt x="1013" y="493"/>
                  </a:lnTo>
                  <a:lnTo>
                    <a:pt x="1011" y="492"/>
                  </a:lnTo>
                  <a:lnTo>
                    <a:pt x="1010" y="490"/>
                  </a:lnTo>
                  <a:lnTo>
                    <a:pt x="1009" y="487"/>
                  </a:lnTo>
                  <a:lnTo>
                    <a:pt x="1008" y="483"/>
                  </a:lnTo>
                  <a:lnTo>
                    <a:pt x="1006" y="478"/>
                  </a:lnTo>
                  <a:lnTo>
                    <a:pt x="1004" y="477"/>
                  </a:lnTo>
                  <a:lnTo>
                    <a:pt x="1001" y="473"/>
                  </a:lnTo>
                  <a:lnTo>
                    <a:pt x="996" y="468"/>
                  </a:lnTo>
                  <a:lnTo>
                    <a:pt x="993" y="462"/>
                  </a:lnTo>
                  <a:lnTo>
                    <a:pt x="989" y="455"/>
                  </a:lnTo>
                  <a:lnTo>
                    <a:pt x="985" y="449"/>
                  </a:lnTo>
                  <a:lnTo>
                    <a:pt x="983" y="443"/>
                  </a:lnTo>
                  <a:lnTo>
                    <a:pt x="982" y="438"/>
                  </a:lnTo>
                  <a:lnTo>
                    <a:pt x="977" y="436"/>
                  </a:lnTo>
                  <a:lnTo>
                    <a:pt x="972" y="434"/>
                  </a:lnTo>
                  <a:lnTo>
                    <a:pt x="972" y="415"/>
                  </a:lnTo>
                  <a:lnTo>
                    <a:pt x="970" y="395"/>
                  </a:lnTo>
                  <a:lnTo>
                    <a:pt x="968" y="376"/>
                  </a:lnTo>
                  <a:lnTo>
                    <a:pt x="967" y="360"/>
                  </a:lnTo>
                  <a:lnTo>
                    <a:pt x="964" y="359"/>
                  </a:lnTo>
                  <a:lnTo>
                    <a:pt x="963" y="357"/>
                  </a:lnTo>
                  <a:lnTo>
                    <a:pt x="963" y="353"/>
                  </a:lnTo>
                  <a:lnTo>
                    <a:pt x="963" y="350"/>
                  </a:lnTo>
                  <a:lnTo>
                    <a:pt x="961" y="349"/>
                  </a:lnTo>
                  <a:lnTo>
                    <a:pt x="958" y="348"/>
                  </a:lnTo>
                  <a:lnTo>
                    <a:pt x="956" y="346"/>
                  </a:lnTo>
                  <a:lnTo>
                    <a:pt x="954" y="343"/>
                  </a:lnTo>
                  <a:lnTo>
                    <a:pt x="951" y="336"/>
                  </a:lnTo>
                  <a:lnTo>
                    <a:pt x="948" y="324"/>
                  </a:lnTo>
                  <a:lnTo>
                    <a:pt x="944" y="299"/>
                  </a:lnTo>
                  <a:lnTo>
                    <a:pt x="941" y="267"/>
                  </a:lnTo>
                  <a:lnTo>
                    <a:pt x="939" y="236"/>
                  </a:lnTo>
                  <a:lnTo>
                    <a:pt x="938" y="206"/>
                  </a:lnTo>
                  <a:lnTo>
                    <a:pt x="938" y="183"/>
                  </a:lnTo>
                  <a:lnTo>
                    <a:pt x="937" y="167"/>
                  </a:lnTo>
                  <a:lnTo>
                    <a:pt x="938" y="148"/>
                  </a:lnTo>
                  <a:lnTo>
                    <a:pt x="939" y="128"/>
                  </a:lnTo>
                  <a:lnTo>
                    <a:pt x="941" y="107"/>
                  </a:lnTo>
                  <a:lnTo>
                    <a:pt x="943" y="86"/>
                  </a:lnTo>
                  <a:lnTo>
                    <a:pt x="945" y="63"/>
                  </a:lnTo>
                  <a:lnTo>
                    <a:pt x="946" y="42"/>
                  </a:lnTo>
                  <a:lnTo>
                    <a:pt x="947" y="20"/>
                  </a:lnTo>
                  <a:lnTo>
                    <a:pt x="947" y="0"/>
                  </a:lnTo>
                  <a:lnTo>
                    <a:pt x="932" y="2"/>
                  </a:lnTo>
                  <a:lnTo>
                    <a:pt x="912" y="6"/>
                  </a:lnTo>
                  <a:lnTo>
                    <a:pt x="902" y="10"/>
                  </a:lnTo>
                  <a:lnTo>
                    <a:pt x="890" y="12"/>
                  </a:lnTo>
                  <a:lnTo>
                    <a:pt x="879" y="14"/>
                  </a:lnTo>
                  <a:lnTo>
                    <a:pt x="869" y="14"/>
                  </a:lnTo>
                  <a:lnTo>
                    <a:pt x="868" y="16"/>
                  </a:lnTo>
                  <a:lnTo>
                    <a:pt x="865" y="17"/>
                  </a:lnTo>
                  <a:lnTo>
                    <a:pt x="860" y="17"/>
                  </a:lnTo>
                  <a:lnTo>
                    <a:pt x="856" y="19"/>
                  </a:lnTo>
                  <a:lnTo>
                    <a:pt x="846" y="19"/>
                  </a:lnTo>
                  <a:lnTo>
                    <a:pt x="839" y="19"/>
                  </a:lnTo>
                  <a:lnTo>
                    <a:pt x="838" y="21"/>
                  </a:lnTo>
                  <a:lnTo>
                    <a:pt x="836" y="23"/>
                  </a:lnTo>
                  <a:lnTo>
                    <a:pt x="832" y="24"/>
                  </a:lnTo>
                  <a:lnTo>
                    <a:pt x="828" y="25"/>
                  </a:lnTo>
                  <a:lnTo>
                    <a:pt x="817" y="29"/>
                  </a:lnTo>
                  <a:lnTo>
                    <a:pt x="802" y="30"/>
                  </a:lnTo>
                  <a:lnTo>
                    <a:pt x="774" y="33"/>
                  </a:lnTo>
                  <a:lnTo>
                    <a:pt x="755" y="34"/>
                  </a:lnTo>
                  <a:lnTo>
                    <a:pt x="754" y="36"/>
                  </a:lnTo>
                  <a:lnTo>
                    <a:pt x="753" y="39"/>
                  </a:lnTo>
                  <a:lnTo>
                    <a:pt x="751" y="39"/>
                  </a:lnTo>
                  <a:lnTo>
                    <a:pt x="747" y="40"/>
                  </a:lnTo>
                  <a:lnTo>
                    <a:pt x="745" y="40"/>
                  </a:lnTo>
                  <a:lnTo>
                    <a:pt x="743" y="42"/>
                  </a:lnTo>
                  <a:lnTo>
                    <a:pt x="741" y="44"/>
                  </a:lnTo>
                  <a:lnTo>
                    <a:pt x="741" y="49"/>
                  </a:lnTo>
                  <a:lnTo>
                    <a:pt x="735" y="49"/>
                  </a:lnTo>
                  <a:lnTo>
                    <a:pt x="730" y="51"/>
                  </a:lnTo>
                  <a:lnTo>
                    <a:pt x="724" y="52"/>
                  </a:lnTo>
                  <a:lnTo>
                    <a:pt x="718" y="55"/>
                  </a:lnTo>
                  <a:lnTo>
                    <a:pt x="708" y="61"/>
                  </a:lnTo>
                  <a:lnTo>
                    <a:pt x="698" y="69"/>
                  </a:lnTo>
                  <a:lnTo>
                    <a:pt x="689" y="75"/>
                  </a:lnTo>
                  <a:lnTo>
                    <a:pt x="682" y="82"/>
                  </a:lnTo>
                  <a:lnTo>
                    <a:pt x="676" y="87"/>
                  </a:lnTo>
                  <a:lnTo>
                    <a:pt x="672" y="88"/>
                  </a:lnTo>
                  <a:lnTo>
                    <a:pt x="670" y="99"/>
                  </a:lnTo>
                  <a:lnTo>
                    <a:pt x="668" y="108"/>
                  </a:lnTo>
                  <a:lnTo>
                    <a:pt x="667" y="118"/>
                  </a:lnTo>
                  <a:lnTo>
                    <a:pt x="666" y="128"/>
                  </a:lnTo>
                  <a:lnTo>
                    <a:pt x="668" y="128"/>
                  </a:lnTo>
                  <a:lnTo>
                    <a:pt x="669" y="130"/>
                  </a:lnTo>
                  <a:lnTo>
                    <a:pt x="670" y="132"/>
                  </a:lnTo>
                  <a:lnTo>
                    <a:pt x="670" y="136"/>
                  </a:lnTo>
                  <a:lnTo>
                    <a:pt x="672" y="142"/>
                  </a:lnTo>
                  <a:lnTo>
                    <a:pt x="672" y="147"/>
                  </a:lnTo>
                  <a:lnTo>
                    <a:pt x="592" y="147"/>
                  </a:lnTo>
                  <a:lnTo>
                    <a:pt x="592" y="146"/>
                  </a:lnTo>
                  <a:lnTo>
                    <a:pt x="590" y="145"/>
                  </a:lnTo>
                  <a:lnTo>
                    <a:pt x="589" y="144"/>
                  </a:lnTo>
                  <a:lnTo>
                    <a:pt x="587" y="144"/>
                  </a:lnTo>
                  <a:lnTo>
                    <a:pt x="582" y="142"/>
                  </a:lnTo>
                  <a:lnTo>
                    <a:pt x="578" y="142"/>
                  </a:lnTo>
                  <a:lnTo>
                    <a:pt x="577" y="141"/>
                  </a:lnTo>
                  <a:lnTo>
                    <a:pt x="572" y="139"/>
                  </a:lnTo>
                  <a:lnTo>
                    <a:pt x="568" y="139"/>
                  </a:lnTo>
                  <a:lnTo>
                    <a:pt x="562" y="138"/>
                  </a:lnTo>
                  <a:lnTo>
                    <a:pt x="550" y="138"/>
                  </a:lnTo>
                  <a:lnTo>
                    <a:pt x="543" y="138"/>
                  </a:lnTo>
                  <a:lnTo>
                    <a:pt x="540" y="136"/>
                  </a:lnTo>
                  <a:lnTo>
                    <a:pt x="531" y="132"/>
                  </a:lnTo>
                  <a:lnTo>
                    <a:pt x="517" y="129"/>
                  </a:lnTo>
                  <a:lnTo>
                    <a:pt x="503" y="126"/>
                  </a:lnTo>
                  <a:lnTo>
                    <a:pt x="474" y="120"/>
                  </a:lnTo>
                  <a:lnTo>
                    <a:pt x="459" y="118"/>
                  </a:lnTo>
                  <a:lnTo>
                    <a:pt x="458" y="116"/>
                  </a:lnTo>
                  <a:lnTo>
                    <a:pt x="457" y="115"/>
                  </a:lnTo>
                  <a:lnTo>
                    <a:pt x="455" y="112"/>
                  </a:lnTo>
                  <a:lnTo>
                    <a:pt x="453" y="111"/>
                  </a:lnTo>
                  <a:lnTo>
                    <a:pt x="446" y="109"/>
                  </a:lnTo>
                  <a:lnTo>
                    <a:pt x="439" y="108"/>
                  </a:lnTo>
                  <a:lnTo>
                    <a:pt x="438" y="107"/>
                  </a:lnTo>
                  <a:lnTo>
                    <a:pt x="437" y="104"/>
                  </a:lnTo>
                  <a:lnTo>
                    <a:pt x="434" y="103"/>
                  </a:lnTo>
                  <a:lnTo>
                    <a:pt x="430" y="102"/>
                  </a:lnTo>
                  <a:lnTo>
                    <a:pt x="420" y="100"/>
                  </a:lnTo>
                  <a:lnTo>
                    <a:pt x="407" y="99"/>
                  </a:lnTo>
                  <a:lnTo>
                    <a:pt x="375" y="97"/>
                  </a:lnTo>
                  <a:lnTo>
                    <a:pt x="336" y="98"/>
                  </a:lnTo>
                  <a:lnTo>
                    <a:pt x="296" y="101"/>
                  </a:lnTo>
                  <a:lnTo>
                    <a:pt x="260" y="106"/>
                  </a:lnTo>
                  <a:lnTo>
                    <a:pt x="245" y="108"/>
                  </a:lnTo>
                  <a:lnTo>
                    <a:pt x="232" y="111"/>
                  </a:lnTo>
                  <a:lnTo>
                    <a:pt x="223" y="115"/>
                  </a:lnTo>
                  <a:lnTo>
                    <a:pt x="217" y="118"/>
                  </a:lnTo>
                  <a:lnTo>
                    <a:pt x="212" y="126"/>
                  </a:lnTo>
                  <a:lnTo>
                    <a:pt x="206" y="136"/>
                  </a:lnTo>
                  <a:lnTo>
                    <a:pt x="200" y="149"/>
                  </a:lnTo>
                  <a:lnTo>
                    <a:pt x="196" y="165"/>
                  </a:lnTo>
                  <a:lnTo>
                    <a:pt x="187" y="199"/>
                  </a:lnTo>
                  <a:lnTo>
                    <a:pt x="178" y="237"/>
                  </a:lnTo>
                  <a:lnTo>
                    <a:pt x="171" y="274"/>
                  </a:lnTo>
                  <a:lnTo>
                    <a:pt x="165" y="305"/>
                  </a:lnTo>
                  <a:lnTo>
                    <a:pt x="160" y="327"/>
                  </a:lnTo>
                  <a:lnTo>
                    <a:pt x="158" y="336"/>
                  </a:lnTo>
                  <a:lnTo>
                    <a:pt x="157" y="357"/>
                  </a:lnTo>
                  <a:lnTo>
                    <a:pt x="154" y="388"/>
                  </a:lnTo>
                  <a:lnTo>
                    <a:pt x="149" y="426"/>
                  </a:lnTo>
                  <a:lnTo>
                    <a:pt x="141" y="466"/>
                  </a:lnTo>
                  <a:lnTo>
                    <a:pt x="137" y="485"/>
                  </a:lnTo>
                  <a:lnTo>
                    <a:pt x="131" y="504"/>
                  </a:lnTo>
                  <a:lnTo>
                    <a:pt x="125" y="521"/>
                  </a:lnTo>
                  <a:lnTo>
                    <a:pt x="118" y="536"/>
                  </a:lnTo>
                  <a:lnTo>
                    <a:pt x="115" y="543"/>
                  </a:lnTo>
                  <a:lnTo>
                    <a:pt x="111" y="549"/>
                  </a:lnTo>
                  <a:lnTo>
                    <a:pt x="107" y="554"/>
                  </a:lnTo>
                  <a:lnTo>
                    <a:pt x="102" y="559"/>
                  </a:lnTo>
                  <a:lnTo>
                    <a:pt x="98" y="562"/>
                  </a:lnTo>
                  <a:lnTo>
                    <a:pt x="93" y="564"/>
                  </a:lnTo>
                  <a:lnTo>
                    <a:pt x="89" y="567"/>
                  </a:lnTo>
                  <a:lnTo>
                    <a:pt x="83" y="567"/>
                  </a:lnTo>
                  <a:lnTo>
                    <a:pt x="83" y="591"/>
                  </a:lnTo>
                  <a:lnTo>
                    <a:pt x="88" y="593"/>
                  </a:lnTo>
                  <a:lnTo>
                    <a:pt x="92" y="597"/>
                  </a:lnTo>
                  <a:lnTo>
                    <a:pt x="98" y="601"/>
                  </a:lnTo>
                  <a:lnTo>
                    <a:pt x="102" y="608"/>
                  </a:lnTo>
                  <a:lnTo>
                    <a:pt x="107" y="615"/>
                  </a:lnTo>
                  <a:lnTo>
                    <a:pt x="110" y="621"/>
                  </a:lnTo>
                  <a:lnTo>
                    <a:pt x="112" y="627"/>
                  </a:lnTo>
                  <a:lnTo>
                    <a:pt x="113" y="631"/>
                  </a:lnTo>
                  <a:lnTo>
                    <a:pt x="117" y="632"/>
                  </a:lnTo>
                  <a:lnTo>
                    <a:pt x="118" y="635"/>
                  </a:lnTo>
                  <a:lnTo>
                    <a:pt x="118" y="637"/>
                  </a:lnTo>
                  <a:lnTo>
                    <a:pt x="118" y="641"/>
                  </a:lnTo>
                  <a:lnTo>
                    <a:pt x="120" y="642"/>
                  </a:lnTo>
                  <a:lnTo>
                    <a:pt x="121" y="645"/>
                  </a:lnTo>
                  <a:lnTo>
                    <a:pt x="122" y="649"/>
                  </a:lnTo>
                  <a:lnTo>
                    <a:pt x="122" y="655"/>
                  </a:lnTo>
                  <a:lnTo>
                    <a:pt x="122" y="669"/>
                  </a:lnTo>
                  <a:lnTo>
                    <a:pt x="121" y="687"/>
                  </a:lnTo>
                  <a:lnTo>
                    <a:pt x="120" y="704"/>
                  </a:lnTo>
                  <a:lnTo>
                    <a:pt x="118" y="721"/>
                  </a:lnTo>
                  <a:lnTo>
                    <a:pt x="116" y="733"/>
                  </a:lnTo>
                  <a:lnTo>
                    <a:pt x="113" y="740"/>
                  </a:lnTo>
                  <a:lnTo>
                    <a:pt x="108" y="750"/>
                  </a:lnTo>
                  <a:lnTo>
                    <a:pt x="100" y="759"/>
                  </a:lnTo>
                  <a:lnTo>
                    <a:pt x="90" y="769"/>
                  </a:lnTo>
                  <a:lnTo>
                    <a:pt x="80" y="780"/>
                  </a:lnTo>
                  <a:lnTo>
                    <a:pt x="70" y="790"/>
                  </a:lnTo>
                  <a:lnTo>
                    <a:pt x="62" y="800"/>
                  </a:lnTo>
                  <a:lnTo>
                    <a:pt x="59" y="804"/>
                  </a:lnTo>
                  <a:lnTo>
                    <a:pt x="56" y="809"/>
                  </a:lnTo>
                  <a:lnTo>
                    <a:pt x="54" y="814"/>
                  </a:lnTo>
                  <a:lnTo>
                    <a:pt x="54" y="819"/>
                  </a:lnTo>
                  <a:lnTo>
                    <a:pt x="44" y="819"/>
                  </a:lnTo>
                  <a:lnTo>
                    <a:pt x="43" y="827"/>
                  </a:lnTo>
                  <a:lnTo>
                    <a:pt x="41" y="837"/>
                  </a:lnTo>
                  <a:lnTo>
                    <a:pt x="37" y="846"/>
                  </a:lnTo>
                  <a:lnTo>
                    <a:pt x="32" y="856"/>
                  </a:lnTo>
                  <a:lnTo>
                    <a:pt x="26" y="865"/>
                  </a:lnTo>
                  <a:lnTo>
                    <a:pt x="20" y="871"/>
                  </a:lnTo>
                  <a:lnTo>
                    <a:pt x="16" y="875"/>
                  </a:lnTo>
                  <a:lnTo>
                    <a:pt x="12" y="876"/>
                  </a:lnTo>
                  <a:lnTo>
                    <a:pt x="8" y="878"/>
                  </a:lnTo>
                  <a:lnTo>
                    <a:pt x="5" y="878"/>
                  </a:lnTo>
                  <a:lnTo>
                    <a:pt x="0" y="882"/>
                  </a:lnTo>
                  <a:lnTo>
                    <a:pt x="1" y="892"/>
                  </a:lnTo>
                  <a:lnTo>
                    <a:pt x="3" y="902"/>
                  </a:lnTo>
                  <a:lnTo>
                    <a:pt x="7" y="915"/>
                  </a:lnTo>
                  <a:lnTo>
                    <a:pt x="13" y="927"/>
                  </a:lnTo>
                  <a:lnTo>
                    <a:pt x="20" y="940"/>
                  </a:lnTo>
                  <a:lnTo>
                    <a:pt x="27" y="954"/>
                  </a:lnTo>
                  <a:lnTo>
                    <a:pt x="35" y="967"/>
                  </a:lnTo>
                  <a:lnTo>
                    <a:pt x="45" y="981"/>
                  </a:lnTo>
                  <a:lnTo>
                    <a:pt x="54" y="994"/>
                  </a:lnTo>
                  <a:lnTo>
                    <a:pt x="64" y="1006"/>
                  </a:lnTo>
                  <a:lnTo>
                    <a:pt x="75" y="1016"/>
                  </a:lnTo>
                  <a:lnTo>
                    <a:pt x="85" y="1026"/>
                  </a:lnTo>
                  <a:lnTo>
                    <a:pt x="96" y="1034"/>
                  </a:lnTo>
                  <a:lnTo>
                    <a:pt x="106" y="1041"/>
                  </a:lnTo>
                  <a:lnTo>
                    <a:pt x="110" y="1043"/>
                  </a:lnTo>
                  <a:lnTo>
                    <a:pt x="115" y="1044"/>
                  </a:lnTo>
                  <a:lnTo>
                    <a:pt x="119" y="1045"/>
                  </a:lnTo>
                  <a:lnTo>
                    <a:pt x="123" y="1045"/>
                  </a:lnTo>
                  <a:lnTo>
                    <a:pt x="139" y="1046"/>
                  </a:lnTo>
                  <a:lnTo>
                    <a:pt x="155" y="1048"/>
                  </a:lnTo>
                  <a:lnTo>
                    <a:pt x="170" y="1051"/>
                  </a:lnTo>
                  <a:lnTo>
                    <a:pt x="186" y="1054"/>
                  </a:lnTo>
                  <a:lnTo>
                    <a:pt x="216" y="1063"/>
                  </a:lnTo>
                  <a:lnTo>
                    <a:pt x="246" y="1073"/>
                  </a:lnTo>
                  <a:lnTo>
                    <a:pt x="275" y="1083"/>
                  </a:lnTo>
                  <a:lnTo>
                    <a:pt x="304" y="1091"/>
                  </a:lnTo>
                  <a:lnTo>
                    <a:pt x="318" y="1094"/>
                  </a:lnTo>
                  <a:lnTo>
                    <a:pt x="330" y="1098"/>
                  </a:lnTo>
                  <a:lnTo>
                    <a:pt x="343" y="1099"/>
                  </a:lnTo>
                  <a:lnTo>
                    <a:pt x="356" y="1100"/>
                  </a:lnTo>
                  <a:lnTo>
                    <a:pt x="357" y="1103"/>
                  </a:lnTo>
                  <a:lnTo>
                    <a:pt x="361" y="1107"/>
                  </a:lnTo>
                  <a:lnTo>
                    <a:pt x="366" y="1109"/>
                  </a:lnTo>
                  <a:lnTo>
                    <a:pt x="370" y="1110"/>
                  </a:lnTo>
                  <a:lnTo>
                    <a:pt x="370" y="1125"/>
                  </a:lnTo>
                  <a:lnTo>
                    <a:pt x="372" y="1125"/>
                  </a:lnTo>
                  <a:lnTo>
                    <a:pt x="376" y="1127"/>
                  </a:lnTo>
                  <a:lnTo>
                    <a:pt x="378" y="1129"/>
                  </a:lnTo>
                  <a:lnTo>
                    <a:pt x="380" y="1132"/>
                  </a:lnTo>
                  <a:lnTo>
                    <a:pt x="384" y="1140"/>
                  </a:lnTo>
                  <a:lnTo>
                    <a:pt x="387" y="1151"/>
                  </a:lnTo>
                  <a:lnTo>
                    <a:pt x="389" y="1164"/>
                  </a:lnTo>
                  <a:lnTo>
                    <a:pt x="390" y="1179"/>
                  </a:lnTo>
                  <a:lnTo>
                    <a:pt x="392" y="1195"/>
                  </a:lnTo>
                  <a:lnTo>
                    <a:pt x="392" y="1211"/>
                  </a:lnTo>
                  <a:lnTo>
                    <a:pt x="394" y="1244"/>
                  </a:lnTo>
                  <a:lnTo>
                    <a:pt x="392" y="1274"/>
                  </a:lnTo>
                  <a:lnTo>
                    <a:pt x="391" y="1299"/>
                  </a:lnTo>
                  <a:lnTo>
                    <a:pt x="390" y="1312"/>
                  </a:lnTo>
                  <a:lnTo>
                    <a:pt x="385" y="1339"/>
                  </a:lnTo>
                  <a:lnTo>
                    <a:pt x="380" y="1365"/>
                  </a:lnTo>
                  <a:lnTo>
                    <a:pt x="377" y="1391"/>
                  </a:lnTo>
                  <a:lnTo>
                    <a:pt x="375" y="1419"/>
                  </a:lnTo>
                  <a:lnTo>
                    <a:pt x="372" y="1446"/>
                  </a:lnTo>
                  <a:lnTo>
                    <a:pt x="371" y="1474"/>
                  </a:lnTo>
                  <a:lnTo>
                    <a:pt x="370" y="1502"/>
                  </a:lnTo>
                  <a:lnTo>
                    <a:pt x="370" y="1530"/>
                  </a:lnTo>
                  <a:lnTo>
                    <a:pt x="380" y="1530"/>
                  </a:lnTo>
                  <a:lnTo>
                    <a:pt x="380" y="1533"/>
                  </a:lnTo>
                  <a:lnTo>
                    <a:pt x="381" y="1535"/>
                  </a:lnTo>
                  <a:lnTo>
                    <a:pt x="382" y="1539"/>
                  </a:lnTo>
                  <a:lnTo>
                    <a:pt x="384" y="1541"/>
                  </a:lnTo>
                  <a:lnTo>
                    <a:pt x="389" y="1543"/>
                  </a:lnTo>
                  <a:lnTo>
                    <a:pt x="395" y="1545"/>
                  </a:lnTo>
                  <a:lnTo>
                    <a:pt x="403" y="1545"/>
                  </a:lnTo>
                  <a:lnTo>
                    <a:pt x="410" y="1545"/>
                  </a:lnTo>
                  <a:lnTo>
                    <a:pt x="419" y="1544"/>
                  </a:lnTo>
                  <a:lnTo>
                    <a:pt x="428" y="1542"/>
                  </a:lnTo>
                  <a:lnTo>
                    <a:pt x="465" y="1531"/>
                  </a:lnTo>
                  <a:lnTo>
                    <a:pt x="488" y="1524"/>
                  </a:lnTo>
                  <a:lnTo>
                    <a:pt x="511" y="1525"/>
                  </a:lnTo>
                  <a:lnTo>
                    <a:pt x="531" y="1527"/>
                  </a:lnTo>
                  <a:lnTo>
                    <a:pt x="541" y="1529"/>
                  </a:lnTo>
                  <a:lnTo>
                    <a:pt x="551" y="1532"/>
                  </a:lnTo>
                  <a:lnTo>
                    <a:pt x="559" y="1534"/>
                  </a:lnTo>
                  <a:lnTo>
                    <a:pt x="568" y="1539"/>
                  </a:lnTo>
                  <a:lnTo>
                    <a:pt x="576" y="1543"/>
                  </a:lnTo>
                  <a:lnTo>
                    <a:pt x="582" y="1550"/>
                  </a:lnTo>
                  <a:lnTo>
                    <a:pt x="588" y="1556"/>
                  </a:lnTo>
                  <a:lnTo>
                    <a:pt x="592" y="1564"/>
                  </a:lnTo>
                  <a:lnTo>
                    <a:pt x="597" y="1573"/>
                  </a:lnTo>
                  <a:lnTo>
                    <a:pt x="600" y="1583"/>
                  </a:lnTo>
                  <a:lnTo>
                    <a:pt x="601" y="1596"/>
                  </a:lnTo>
                  <a:lnTo>
                    <a:pt x="602" y="1608"/>
                  </a:lnTo>
                  <a:lnTo>
                    <a:pt x="600" y="1609"/>
                  </a:lnTo>
                  <a:lnTo>
                    <a:pt x="599" y="1610"/>
                  </a:lnTo>
                  <a:lnTo>
                    <a:pt x="598" y="1611"/>
                  </a:lnTo>
                  <a:lnTo>
                    <a:pt x="597" y="1613"/>
                  </a:lnTo>
                  <a:lnTo>
                    <a:pt x="597" y="1619"/>
                  </a:lnTo>
                  <a:lnTo>
                    <a:pt x="598" y="1626"/>
                  </a:lnTo>
                  <a:lnTo>
                    <a:pt x="599" y="1629"/>
                  </a:lnTo>
                  <a:lnTo>
                    <a:pt x="601" y="1632"/>
                  </a:lnTo>
                  <a:lnTo>
                    <a:pt x="603" y="1635"/>
                  </a:lnTo>
                  <a:lnTo>
                    <a:pt x="607" y="1638"/>
                  </a:lnTo>
                  <a:lnTo>
                    <a:pt x="611" y="1640"/>
                  </a:lnTo>
                  <a:lnTo>
                    <a:pt x="616" y="1641"/>
                  </a:lnTo>
                  <a:lnTo>
                    <a:pt x="620" y="1642"/>
                  </a:lnTo>
                  <a:lnTo>
                    <a:pt x="627" y="1642"/>
                  </a:lnTo>
                  <a:lnTo>
                    <a:pt x="641" y="1634"/>
                  </a:lnTo>
                  <a:lnTo>
                    <a:pt x="643" y="1641"/>
                  </a:lnTo>
                  <a:lnTo>
                    <a:pt x="646" y="1652"/>
                  </a:lnTo>
                  <a:lnTo>
                    <a:pt x="649" y="1666"/>
                  </a:lnTo>
                  <a:lnTo>
                    <a:pt x="654" y="1680"/>
                  </a:lnTo>
                  <a:lnTo>
                    <a:pt x="658" y="1695"/>
                  </a:lnTo>
                  <a:lnTo>
                    <a:pt x="663" y="1711"/>
                  </a:lnTo>
                  <a:lnTo>
                    <a:pt x="665" y="1726"/>
                  </a:lnTo>
                  <a:lnTo>
                    <a:pt x="666" y="1742"/>
                  </a:lnTo>
                  <a:lnTo>
                    <a:pt x="682" y="1756"/>
                  </a:lnTo>
                  <a:lnTo>
                    <a:pt x="691" y="1756"/>
                  </a:lnTo>
                  <a:lnTo>
                    <a:pt x="701" y="1756"/>
                  </a:lnTo>
                  <a:lnTo>
                    <a:pt x="712" y="1756"/>
                  </a:lnTo>
                  <a:lnTo>
                    <a:pt x="721" y="1756"/>
                  </a:lnTo>
                  <a:lnTo>
                    <a:pt x="722" y="1748"/>
                  </a:lnTo>
                  <a:lnTo>
                    <a:pt x="725" y="1740"/>
                  </a:lnTo>
                  <a:lnTo>
                    <a:pt x="728" y="1729"/>
                  </a:lnTo>
                  <a:lnTo>
                    <a:pt x="731" y="1722"/>
                  </a:lnTo>
                  <a:lnTo>
                    <a:pt x="732" y="1719"/>
                  </a:lnTo>
                  <a:lnTo>
                    <a:pt x="734" y="1714"/>
                  </a:lnTo>
                  <a:lnTo>
                    <a:pt x="735" y="1705"/>
                  </a:lnTo>
                  <a:lnTo>
                    <a:pt x="737" y="1695"/>
                  </a:lnTo>
                  <a:lnTo>
                    <a:pt x="740" y="1676"/>
                  </a:lnTo>
                  <a:lnTo>
                    <a:pt x="741" y="1667"/>
                  </a:lnTo>
                  <a:lnTo>
                    <a:pt x="742" y="1667"/>
                  </a:lnTo>
                  <a:lnTo>
                    <a:pt x="743" y="1665"/>
                  </a:lnTo>
                  <a:lnTo>
                    <a:pt x="744" y="1663"/>
                  </a:lnTo>
                  <a:lnTo>
                    <a:pt x="744" y="1659"/>
                  </a:lnTo>
                  <a:lnTo>
                    <a:pt x="745" y="1652"/>
                  </a:lnTo>
                  <a:lnTo>
                    <a:pt x="745" y="1648"/>
                  </a:lnTo>
                  <a:lnTo>
                    <a:pt x="749" y="1647"/>
                  </a:lnTo>
                  <a:lnTo>
                    <a:pt x="751" y="1646"/>
                  </a:lnTo>
                  <a:lnTo>
                    <a:pt x="753" y="1645"/>
                  </a:lnTo>
                  <a:lnTo>
                    <a:pt x="754" y="1642"/>
                  </a:lnTo>
                  <a:lnTo>
                    <a:pt x="755" y="1637"/>
                  </a:lnTo>
                  <a:lnTo>
                    <a:pt x="755" y="1634"/>
                  </a:lnTo>
                  <a:lnTo>
                    <a:pt x="760" y="1631"/>
                  </a:lnTo>
                  <a:lnTo>
                    <a:pt x="766" y="1628"/>
                  </a:lnTo>
                  <a:lnTo>
                    <a:pt x="774" y="1621"/>
                  </a:lnTo>
                  <a:lnTo>
                    <a:pt x="783" y="1612"/>
                  </a:lnTo>
                  <a:lnTo>
                    <a:pt x="804" y="1590"/>
                  </a:lnTo>
                  <a:lnTo>
                    <a:pt x="827" y="1564"/>
                  </a:lnTo>
                  <a:lnTo>
                    <a:pt x="838" y="1550"/>
                  </a:lnTo>
                  <a:lnTo>
                    <a:pt x="848" y="1535"/>
                  </a:lnTo>
                  <a:lnTo>
                    <a:pt x="858" y="1522"/>
                  </a:lnTo>
                  <a:lnTo>
                    <a:pt x="866" y="1509"/>
                  </a:lnTo>
                  <a:lnTo>
                    <a:pt x="874" y="1495"/>
                  </a:lnTo>
                  <a:lnTo>
                    <a:pt x="879" y="1484"/>
                  </a:lnTo>
                  <a:lnTo>
                    <a:pt x="883" y="1474"/>
                  </a:lnTo>
                  <a:lnTo>
                    <a:pt x="884" y="1465"/>
                  </a:lnTo>
                  <a:lnTo>
                    <a:pt x="879" y="1463"/>
                  </a:lnTo>
                  <a:lnTo>
                    <a:pt x="872" y="1457"/>
                  </a:lnTo>
                  <a:lnTo>
                    <a:pt x="866" y="1448"/>
                  </a:lnTo>
                  <a:lnTo>
                    <a:pt x="859" y="1438"/>
                  </a:lnTo>
                  <a:lnTo>
                    <a:pt x="851" y="1428"/>
                  </a:lnTo>
                  <a:lnTo>
                    <a:pt x="845" y="1419"/>
                  </a:lnTo>
                  <a:lnTo>
                    <a:pt x="839" y="1414"/>
                  </a:lnTo>
                  <a:lnTo>
                    <a:pt x="835" y="1411"/>
                  </a:lnTo>
                  <a:lnTo>
                    <a:pt x="831" y="1397"/>
                  </a:lnTo>
                  <a:lnTo>
                    <a:pt x="826" y="1373"/>
                  </a:lnTo>
                  <a:lnTo>
                    <a:pt x="819" y="1343"/>
                  </a:lnTo>
                  <a:lnTo>
                    <a:pt x="813" y="1310"/>
                  </a:lnTo>
                  <a:lnTo>
                    <a:pt x="812" y="1293"/>
                  </a:lnTo>
                  <a:lnTo>
                    <a:pt x="812" y="1277"/>
                  </a:lnTo>
                  <a:lnTo>
                    <a:pt x="812" y="1263"/>
                  </a:lnTo>
                  <a:lnTo>
                    <a:pt x="816" y="1250"/>
                  </a:lnTo>
                  <a:lnTo>
                    <a:pt x="818" y="1244"/>
                  </a:lnTo>
                  <a:lnTo>
                    <a:pt x="820" y="1238"/>
                  </a:lnTo>
                  <a:lnTo>
                    <a:pt x="823" y="1234"/>
                  </a:lnTo>
                  <a:lnTo>
                    <a:pt x="827" y="1231"/>
                  </a:lnTo>
                  <a:lnTo>
                    <a:pt x="831" y="1227"/>
                  </a:lnTo>
                  <a:lnTo>
                    <a:pt x="837" y="1225"/>
                  </a:lnTo>
                  <a:lnTo>
                    <a:pt x="842" y="1224"/>
                  </a:lnTo>
                  <a:lnTo>
                    <a:pt x="849" y="1223"/>
                  </a:lnTo>
                  <a:lnTo>
                    <a:pt x="850" y="1214"/>
                  </a:lnTo>
                  <a:lnTo>
                    <a:pt x="852" y="1192"/>
                  </a:lnTo>
                  <a:lnTo>
                    <a:pt x="856" y="1161"/>
                  </a:lnTo>
                  <a:lnTo>
                    <a:pt x="860" y="1127"/>
                  </a:lnTo>
                  <a:lnTo>
                    <a:pt x="865" y="1091"/>
                  </a:lnTo>
                  <a:lnTo>
                    <a:pt x="870" y="1060"/>
                  </a:lnTo>
                  <a:lnTo>
                    <a:pt x="872" y="1048"/>
                  </a:lnTo>
                  <a:lnTo>
                    <a:pt x="875" y="1038"/>
                  </a:lnTo>
                  <a:lnTo>
                    <a:pt x="877" y="1030"/>
                  </a:lnTo>
                  <a:lnTo>
                    <a:pt x="878" y="1026"/>
                  </a:lnTo>
                  <a:lnTo>
                    <a:pt x="886" y="1020"/>
                  </a:lnTo>
                  <a:lnTo>
                    <a:pt x="895" y="1015"/>
                  </a:lnTo>
                  <a:lnTo>
                    <a:pt x="904" y="1012"/>
                  </a:lnTo>
                  <a:lnTo>
                    <a:pt x="914" y="1010"/>
                  </a:lnTo>
                  <a:lnTo>
                    <a:pt x="935" y="1007"/>
                  </a:lnTo>
                  <a:lnTo>
                    <a:pt x="955" y="1005"/>
                  </a:lnTo>
                  <a:lnTo>
                    <a:pt x="970" y="1002"/>
                  </a:lnTo>
                  <a:lnTo>
                    <a:pt x="982" y="996"/>
                  </a:lnTo>
                  <a:lnTo>
                    <a:pt x="994" y="990"/>
                  </a:lnTo>
                  <a:lnTo>
                    <a:pt x="1006" y="983"/>
                  </a:lnTo>
                  <a:lnTo>
                    <a:pt x="1018" y="977"/>
                  </a:lnTo>
                  <a:lnTo>
                    <a:pt x="1031" y="972"/>
                  </a:lnTo>
                  <a:lnTo>
                    <a:pt x="1038" y="969"/>
                  </a:lnTo>
                  <a:lnTo>
                    <a:pt x="1046" y="968"/>
                  </a:lnTo>
                  <a:lnTo>
                    <a:pt x="1053" y="967"/>
                  </a:lnTo>
                  <a:lnTo>
                    <a:pt x="1061" y="967"/>
                  </a:lnTo>
                  <a:lnTo>
                    <a:pt x="1066" y="974"/>
                  </a:lnTo>
                  <a:lnTo>
                    <a:pt x="1075" y="986"/>
                  </a:lnTo>
                  <a:lnTo>
                    <a:pt x="1079" y="992"/>
                  </a:lnTo>
                  <a:lnTo>
                    <a:pt x="1085" y="996"/>
                  </a:lnTo>
                  <a:lnTo>
                    <a:pt x="1088" y="1000"/>
                  </a:lnTo>
                  <a:lnTo>
                    <a:pt x="1091" y="1001"/>
                  </a:lnTo>
                  <a:lnTo>
                    <a:pt x="1091" y="1006"/>
                  </a:lnTo>
                  <a:lnTo>
                    <a:pt x="1095" y="1012"/>
                  </a:lnTo>
                  <a:lnTo>
                    <a:pt x="1098" y="1017"/>
                  </a:lnTo>
                  <a:lnTo>
                    <a:pt x="1105" y="1024"/>
                  </a:lnTo>
                  <a:lnTo>
                    <a:pt x="1119" y="1038"/>
                  </a:lnTo>
                  <a:lnTo>
                    <a:pt x="1138" y="1053"/>
                  </a:lnTo>
                  <a:lnTo>
                    <a:pt x="1160" y="1070"/>
                  </a:lnTo>
                  <a:lnTo>
                    <a:pt x="1185" y="1089"/>
                  </a:lnTo>
                  <a:lnTo>
                    <a:pt x="1210" y="1111"/>
                  </a:lnTo>
                  <a:lnTo>
                    <a:pt x="1234" y="1136"/>
                  </a:lnTo>
                  <a:lnTo>
                    <a:pt x="1255" y="1159"/>
                  </a:lnTo>
                  <a:lnTo>
                    <a:pt x="1274" y="1185"/>
                  </a:lnTo>
                  <a:lnTo>
                    <a:pt x="1291" y="1211"/>
                  </a:lnTo>
                  <a:lnTo>
                    <a:pt x="1307" y="1236"/>
                  </a:lnTo>
                  <a:lnTo>
                    <a:pt x="1320" y="1260"/>
                  </a:lnTo>
                  <a:lnTo>
                    <a:pt x="1332" y="1281"/>
                  </a:lnTo>
                  <a:lnTo>
                    <a:pt x="1341" y="1299"/>
                  </a:lnTo>
                  <a:lnTo>
                    <a:pt x="1348" y="1312"/>
                  </a:lnTo>
                  <a:lnTo>
                    <a:pt x="1360" y="1342"/>
                  </a:lnTo>
                  <a:lnTo>
                    <a:pt x="1373" y="1376"/>
                  </a:lnTo>
                  <a:lnTo>
                    <a:pt x="1385" y="1413"/>
                  </a:lnTo>
                  <a:lnTo>
                    <a:pt x="1399" y="1450"/>
                  </a:lnTo>
                  <a:lnTo>
                    <a:pt x="1406" y="1469"/>
                  </a:lnTo>
                  <a:lnTo>
                    <a:pt x="1415" y="1488"/>
                  </a:lnTo>
                  <a:lnTo>
                    <a:pt x="1424" y="1507"/>
                  </a:lnTo>
                  <a:lnTo>
                    <a:pt x="1435" y="1525"/>
                  </a:lnTo>
                  <a:lnTo>
                    <a:pt x="1446" y="1543"/>
                  </a:lnTo>
                  <a:lnTo>
                    <a:pt x="1459" y="1560"/>
                  </a:lnTo>
                  <a:lnTo>
                    <a:pt x="1473" y="1575"/>
                  </a:lnTo>
                  <a:lnTo>
                    <a:pt x="1489" y="1590"/>
                  </a:lnTo>
                  <a:lnTo>
                    <a:pt x="1502" y="1600"/>
                  </a:lnTo>
                  <a:lnTo>
                    <a:pt x="1517" y="1610"/>
                  </a:lnTo>
                  <a:lnTo>
                    <a:pt x="1531" y="1618"/>
                  </a:lnTo>
                  <a:lnTo>
                    <a:pt x="1546" y="1625"/>
                  </a:lnTo>
                  <a:lnTo>
                    <a:pt x="1561" y="1630"/>
                  </a:lnTo>
                  <a:lnTo>
                    <a:pt x="1578" y="1636"/>
                  </a:lnTo>
                  <a:lnTo>
                    <a:pt x="1595" y="1641"/>
                  </a:lnTo>
                  <a:lnTo>
                    <a:pt x="1614" y="1646"/>
                  </a:lnTo>
                  <a:lnTo>
                    <a:pt x="1629" y="1650"/>
                  </a:lnTo>
                  <a:lnTo>
                    <a:pt x="1646" y="1657"/>
                  </a:lnTo>
                  <a:lnTo>
                    <a:pt x="1663" y="1663"/>
                  </a:lnTo>
                  <a:lnTo>
                    <a:pt x="1680" y="1669"/>
                  </a:lnTo>
                  <a:lnTo>
                    <a:pt x="1668" y="1562"/>
                  </a:lnTo>
                  <a:lnTo>
                    <a:pt x="1667" y="1552"/>
                  </a:lnTo>
                  <a:lnTo>
                    <a:pt x="1664" y="1527"/>
                  </a:lnTo>
                  <a:lnTo>
                    <a:pt x="1663" y="1515"/>
                  </a:lnTo>
                  <a:lnTo>
                    <a:pt x="1661" y="1504"/>
                  </a:lnTo>
                  <a:lnTo>
                    <a:pt x="1658" y="1496"/>
                  </a:lnTo>
                  <a:lnTo>
                    <a:pt x="1656" y="1493"/>
                  </a:lnTo>
                  <a:lnTo>
                    <a:pt x="1655" y="1484"/>
                  </a:lnTo>
                  <a:lnTo>
                    <a:pt x="1655" y="1469"/>
                  </a:lnTo>
                  <a:lnTo>
                    <a:pt x="1654" y="1462"/>
                  </a:lnTo>
                  <a:lnTo>
                    <a:pt x="1653" y="1456"/>
                  </a:lnTo>
                  <a:lnTo>
                    <a:pt x="1652" y="1452"/>
                  </a:lnTo>
                  <a:lnTo>
                    <a:pt x="1649" y="1449"/>
                  </a:lnTo>
                  <a:lnTo>
                    <a:pt x="1649" y="1437"/>
                  </a:lnTo>
                  <a:lnTo>
                    <a:pt x="1637" y="1425"/>
                  </a:lnTo>
                  <a:lnTo>
                    <a:pt x="1634" y="1413"/>
                  </a:lnTo>
                  <a:lnTo>
                    <a:pt x="1630" y="1399"/>
                  </a:lnTo>
                  <a:lnTo>
                    <a:pt x="1625" y="1396"/>
                  </a:lnTo>
                  <a:lnTo>
                    <a:pt x="1619" y="1389"/>
                  </a:lnTo>
                  <a:lnTo>
                    <a:pt x="1614" y="1381"/>
                  </a:lnTo>
                  <a:lnTo>
                    <a:pt x="1607" y="1371"/>
                  </a:lnTo>
                  <a:lnTo>
                    <a:pt x="1597" y="1353"/>
                  </a:lnTo>
                  <a:lnTo>
                    <a:pt x="1594" y="1343"/>
                  </a:lnTo>
                  <a:lnTo>
                    <a:pt x="1588" y="1342"/>
                  </a:lnTo>
                  <a:lnTo>
                    <a:pt x="1584" y="1340"/>
                  </a:lnTo>
                  <a:lnTo>
                    <a:pt x="1579" y="1336"/>
                  </a:lnTo>
                  <a:lnTo>
                    <a:pt x="1575" y="1331"/>
                  </a:lnTo>
                  <a:lnTo>
                    <a:pt x="1575" y="1319"/>
                  </a:lnTo>
                  <a:lnTo>
                    <a:pt x="1570" y="1318"/>
                  </a:lnTo>
                  <a:lnTo>
                    <a:pt x="1567" y="1314"/>
                  </a:lnTo>
                  <a:lnTo>
                    <a:pt x="1565" y="1311"/>
                  </a:lnTo>
                  <a:lnTo>
                    <a:pt x="1562" y="1305"/>
                  </a:lnTo>
                  <a:lnTo>
                    <a:pt x="1561" y="1301"/>
                  </a:lnTo>
                  <a:lnTo>
                    <a:pt x="1559" y="1298"/>
                  </a:lnTo>
                  <a:lnTo>
                    <a:pt x="1558" y="1294"/>
                  </a:lnTo>
                  <a:lnTo>
                    <a:pt x="1556" y="1293"/>
                  </a:lnTo>
                  <a:lnTo>
                    <a:pt x="1555" y="1272"/>
                  </a:lnTo>
                  <a:lnTo>
                    <a:pt x="1551" y="1238"/>
                  </a:lnTo>
                  <a:lnTo>
                    <a:pt x="1550" y="1222"/>
                  </a:lnTo>
                  <a:lnTo>
                    <a:pt x="1548" y="1207"/>
                  </a:lnTo>
                  <a:lnTo>
                    <a:pt x="1546" y="1197"/>
                  </a:lnTo>
                  <a:lnTo>
                    <a:pt x="1543" y="1194"/>
                  </a:lnTo>
                  <a:lnTo>
                    <a:pt x="1542" y="1184"/>
                  </a:lnTo>
                  <a:lnTo>
                    <a:pt x="1540" y="1170"/>
                  </a:lnTo>
                  <a:lnTo>
                    <a:pt x="1537" y="1156"/>
                  </a:lnTo>
                  <a:lnTo>
                    <a:pt x="1532" y="1139"/>
                  </a:lnTo>
                  <a:lnTo>
                    <a:pt x="1527" y="1125"/>
                  </a:lnTo>
                  <a:lnTo>
                    <a:pt x="1522" y="1111"/>
                  </a:lnTo>
                  <a:lnTo>
                    <a:pt x="1519" y="1107"/>
                  </a:lnTo>
                  <a:lnTo>
                    <a:pt x="1517" y="1102"/>
                  </a:lnTo>
                  <a:lnTo>
                    <a:pt x="1514" y="1100"/>
                  </a:lnTo>
                  <a:lnTo>
                    <a:pt x="1512" y="1100"/>
                  </a:lnTo>
                  <a:lnTo>
                    <a:pt x="1512" y="1087"/>
                  </a:lnTo>
                  <a:lnTo>
                    <a:pt x="1509" y="1087"/>
                  </a:lnTo>
                  <a:lnTo>
                    <a:pt x="1507" y="1086"/>
                  </a:lnTo>
                  <a:lnTo>
                    <a:pt x="1503" y="1083"/>
                  </a:lnTo>
                  <a:lnTo>
                    <a:pt x="1500" y="1080"/>
                  </a:lnTo>
                  <a:lnTo>
                    <a:pt x="1498" y="1077"/>
                  </a:lnTo>
                  <a:lnTo>
                    <a:pt x="1495" y="1074"/>
                  </a:lnTo>
                  <a:lnTo>
                    <a:pt x="1493" y="1071"/>
                  </a:lnTo>
                  <a:lnTo>
                    <a:pt x="1493" y="1069"/>
                  </a:lnTo>
                  <a:lnTo>
                    <a:pt x="1489" y="1068"/>
                  </a:lnTo>
                  <a:lnTo>
                    <a:pt x="1484" y="1068"/>
                  </a:lnTo>
                  <a:lnTo>
                    <a:pt x="1483" y="1067"/>
                  </a:lnTo>
                  <a:lnTo>
                    <a:pt x="1482" y="1065"/>
                  </a:lnTo>
                  <a:lnTo>
                    <a:pt x="1481" y="1064"/>
                  </a:lnTo>
                  <a:lnTo>
                    <a:pt x="1481" y="1062"/>
                  </a:lnTo>
                  <a:lnTo>
                    <a:pt x="1476" y="1062"/>
                  </a:lnTo>
                  <a:lnTo>
                    <a:pt x="1472" y="1061"/>
                  </a:lnTo>
                  <a:lnTo>
                    <a:pt x="1471" y="1061"/>
                  </a:lnTo>
                  <a:lnTo>
                    <a:pt x="1469" y="1060"/>
                  </a:lnTo>
                  <a:lnTo>
                    <a:pt x="1469" y="1058"/>
                  </a:lnTo>
                  <a:lnTo>
                    <a:pt x="1467" y="1055"/>
                  </a:lnTo>
                  <a:lnTo>
                    <a:pt x="1455" y="1055"/>
                  </a:lnTo>
                  <a:lnTo>
                    <a:pt x="1454" y="1051"/>
                  </a:lnTo>
                  <a:lnTo>
                    <a:pt x="1450" y="1048"/>
                  </a:lnTo>
                  <a:lnTo>
                    <a:pt x="1445" y="1044"/>
                  </a:lnTo>
                  <a:lnTo>
                    <a:pt x="1443" y="1043"/>
                  </a:lnTo>
                  <a:lnTo>
                    <a:pt x="1443" y="1039"/>
                  </a:lnTo>
                  <a:lnTo>
                    <a:pt x="1442" y="1034"/>
                  </a:lnTo>
                  <a:lnTo>
                    <a:pt x="1442" y="1033"/>
                  </a:lnTo>
                  <a:lnTo>
                    <a:pt x="1441" y="1032"/>
                  </a:lnTo>
                  <a:lnTo>
                    <a:pt x="1438" y="1031"/>
                  </a:lnTo>
                  <a:lnTo>
                    <a:pt x="1436" y="1031"/>
                  </a:lnTo>
                  <a:lnTo>
                    <a:pt x="1437" y="1020"/>
                  </a:lnTo>
                  <a:lnTo>
                    <a:pt x="1437" y="1001"/>
                  </a:lnTo>
                  <a:lnTo>
                    <a:pt x="1438" y="991"/>
                  </a:lnTo>
                  <a:lnTo>
                    <a:pt x="1440" y="983"/>
                  </a:lnTo>
                  <a:lnTo>
                    <a:pt x="1441" y="976"/>
                  </a:lnTo>
                  <a:lnTo>
                    <a:pt x="1443" y="975"/>
                  </a:lnTo>
                  <a:lnTo>
                    <a:pt x="1443" y="962"/>
                  </a:lnTo>
                  <a:lnTo>
                    <a:pt x="1446" y="962"/>
                  </a:lnTo>
                  <a:lnTo>
                    <a:pt x="1448" y="961"/>
                  </a:lnTo>
                  <a:lnTo>
                    <a:pt x="1450" y="961"/>
                  </a:lnTo>
                  <a:lnTo>
                    <a:pt x="1450" y="959"/>
                  </a:lnTo>
                  <a:lnTo>
                    <a:pt x="1450" y="958"/>
                  </a:lnTo>
                  <a:lnTo>
                    <a:pt x="1450" y="957"/>
                  </a:lnTo>
                  <a:lnTo>
                    <a:pt x="1452" y="956"/>
                  </a:lnTo>
                  <a:lnTo>
                    <a:pt x="1455" y="956"/>
                  </a:lnTo>
                  <a:lnTo>
                    <a:pt x="1455" y="943"/>
                  </a:lnTo>
                  <a:lnTo>
                    <a:pt x="1460" y="943"/>
                  </a:lnTo>
                  <a:lnTo>
                    <a:pt x="1461" y="943"/>
                  </a:lnTo>
                  <a:lnTo>
                    <a:pt x="1462" y="942"/>
                  </a:lnTo>
                  <a:lnTo>
                    <a:pt x="1462" y="940"/>
                  </a:lnTo>
                  <a:lnTo>
                    <a:pt x="1462" y="939"/>
                  </a:lnTo>
                  <a:lnTo>
                    <a:pt x="1463" y="938"/>
                  </a:lnTo>
                  <a:lnTo>
                    <a:pt x="1464" y="937"/>
                  </a:lnTo>
                  <a:lnTo>
                    <a:pt x="1467" y="937"/>
                  </a:lnTo>
                  <a:lnTo>
                    <a:pt x="1467" y="926"/>
                  </a:lnTo>
                  <a:lnTo>
                    <a:pt x="1467" y="907"/>
                  </a:lnTo>
                  <a:lnTo>
                    <a:pt x="1466" y="897"/>
                  </a:lnTo>
                  <a:lnTo>
                    <a:pt x="1465" y="889"/>
                  </a:lnTo>
                  <a:lnTo>
                    <a:pt x="1464" y="882"/>
                  </a:lnTo>
                  <a:lnTo>
                    <a:pt x="1462" y="880"/>
                  </a:lnTo>
                  <a:lnTo>
                    <a:pt x="1462" y="868"/>
                  </a:lnTo>
                  <a:lnTo>
                    <a:pt x="1460" y="868"/>
                  </a:lnTo>
                  <a:lnTo>
                    <a:pt x="1457" y="866"/>
                  </a:lnTo>
                  <a:lnTo>
                    <a:pt x="1455" y="863"/>
                  </a:lnTo>
                  <a:lnTo>
                    <a:pt x="1452" y="861"/>
                  </a:lnTo>
                  <a:lnTo>
                    <a:pt x="1447" y="854"/>
                  </a:lnTo>
                  <a:lnTo>
                    <a:pt x="1443" y="849"/>
                  </a:lnTo>
                  <a:lnTo>
                    <a:pt x="1443" y="781"/>
                  </a:lnTo>
                  <a:lnTo>
                    <a:pt x="1447" y="779"/>
                  </a:lnTo>
                  <a:lnTo>
                    <a:pt x="1453" y="775"/>
                  </a:lnTo>
                  <a:lnTo>
                    <a:pt x="1459" y="770"/>
                  </a:lnTo>
                  <a:lnTo>
                    <a:pt x="1462" y="76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3" name="Freeform 16">
              <a:extLst>
                <a:ext uri="{FF2B5EF4-FFF2-40B4-BE49-F238E27FC236}">
                  <a16:creationId xmlns:a16="http://schemas.microsoft.com/office/drawing/2014/main" id="{820F58D4-36C3-4FA2-8FBC-C20A72C9FA2B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231063" y="4154488"/>
              <a:ext cx="416952" cy="342900"/>
            </a:xfrm>
            <a:custGeom>
              <a:avLst/>
              <a:gdLst/>
              <a:ahLst/>
              <a:cxnLst>
                <a:cxn ang="0">
                  <a:pos x="788" y="36"/>
                </a:cxn>
                <a:cxn ang="0">
                  <a:pos x="639" y="88"/>
                </a:cxn>
                <a:cxn ang="0">
                  <a:pos x="519" y="119"/>
                </a:cxn>
                <a:cxn ang="0">
                  <a:pos x="463" y="153"/>
                </a:cxn>
                <a:cxn ang="0">
                  <a:pos x="345" y="144"/>
                </a:cxn>
                <a:cxn ang="0">
                  <a:pos x="227" y="53"/>
                </a:cxn>
                <a:cxn ang="0">
                  <a:pos x="128" y="15"/>
                </a:cxn>
                <a:cxn ang="0">
                  <a:pos x="61" y="76"/>
                </a:cxn>
                <a:cxn ang="0">
                  <a:pos x="16" y="250"/>
                </a:cxn>
                <a:cxn ang="0">
                  <a:pos x="5" y="461"/>
                </a:cxn>
                <a:cxn ang="0">
                  <a:pos x="22" y="644"/>
                </a:cxn>
                <a:cxn ang="0">
                  <a:pos x="126" y="721"/>
                </a:cxn>
                <a:cxn ang="0">
                  <a:pos x="244" y="755"/>
                </a:cxn>
                <a:cxn ang="0">
                  <a:pos x="307" y="795"/>
                </a:cxn>
                <a:cxn ang="0">
                  <a:pos x="369" y="879"/>
                </a:cxn>
                <a:cxn ang="0">
                  <a:pos x="382" y="1122"/>
                </a:cxn>
                <a:cxn ang="0">
                  <a:pos x="406" y="1344"/>
                </a:cxn>
                <a:cxn ang="0">
                  <a:pos x="436" y="1456"/>
                </a:cxn>
                <a:cxn ang="0">
                  <a:pos x="468" y="1506"/>
                </a:cxn>
                <a:cxn ang="0">
                  <a:pos x="586" y="1632"/>
                </a:cxn>
                <a:cxn ang="0">
                  <a:pos x="702" y="1745"/>
                </a:cxn>
                <a:cxn ang="0">
                  <a:pos x="851" y="1763"/>
                </a:cxn>
                <a:cxn ang="0">
                  <a:pos x="951" y="1730"/>
                </a:cxn>
                <a:cxn ang="0">
                  <a:pos x="1023" y="1718"/>
                </a:cxn>
                <a:cxn ang="0">
                  <a:pos x="1062" y="1663"/>
                </a:cxn>
                <a:cxn ang="0">
                  <a:pos x="1081" y="1632"/>
                </a:cxn>
                <a:cxn ang="0">
                  <a:pos x="1156" y="1591"/>
                </a:cxn>
                <a:cxn ang="0">
                  <a:pos x="1182" y="1436"/>
                </a:cxn>
                <a:cxn ang="0">
                  <a:pos x="1305" y="1346"/>
                </a:cxn>
                <a:cxn ang="0">
                  <a:pos x="1505" y="1343"/>
                </a:cxn>
                <a:cxn ang="0">
                  <a:pos x="1549" y="1400"/>
                </a:cxn>
                <a:cxn ang="0">
                  <a:pos x="1605" y="1623"/>
                </a:cxn>
                <a:cxn ang="0">
                  <a:pos x="1689" y="1754"/>
                </a:cxn>
                <a:cxn ang="0">
                  <a:pos x="1778" y="2025"/>
                </a:cxn>
                <a:cxn ang="0">
                  <a:pos x="1872" y="2049"/>
                </a:cxn>
                <a:cxn ang="0">
                  <a:pos x="1912" y="2075"/>
                </a:cxn>
                <a:cxn ang="0">
                  <a:pos x="2099" y="2112"/>
                </a:cxn>
                <a:cxn ang="0">
                  <a:pos x="2215" y="2107"/>
                </a:cxn>
                <a:cxn ang="0">
                  <a:pos x="2280" y="2083"/>
                </a:cxn>
                <a:cxn ang="0">
                  <a:pos x="2275" y="1946"/>
                </a:cxn>
                <a:cxn ang="0">
                  <a:pos x="2256" y="1668"/>
                </a:cxn>
                <a:cxn ang="0">
                  <a:pos x="2219" y="1578"/>
                </a:cxn>
                <a:cxn ang="0">
                  <a:pos x="2173" y="1516"/>
                </a:cxn>
                <a:cxn ang="0">
                  <a:pos x="2122" y="1441"/>
                </a:cxn>
                <a:cxn ang="0">
                  <a:pos x="2048" y="1263"/>
                </a:cxn>
                <a:cxn ang="0">
                  <a:pos x="1968" y="1088"/>
                </a:cxn>
                <a:cxn ang="0">
                  <a:pos x="1889" y="974"/>
                </a:cxn>
                <a:cxn ang="0">
                  <a:pos x="1836" y="901"/>
                </a:cxn>
                <a:cxn ang="0">
                  <a:pos x="1769" y="946"/>
                </a:cxn>
                <a:cxn ang="0">
                  <a:pos x="1744" y="977"/>
                </a:cxn>
                <a:cxn ang="0">
                  <a:pos x="1656" y="1016"/>
                </a:cxn>
                <a:cxn ang="0">
                  <a:pos x="1497" y="1039"/>
                </a:cxn>
                <a:cxn ang="0">
                  <a:pos x="1454" y="827"/>
                </a:cxn>
                <a:cxn ang="0">
                  <a:pos x="1413" y="710"/>
                </a:cxn>
                <a:cxn ang="0">
                  <a:pos x="1355" y="634"/>
                </a:cxn>
                <a:cxn ang="0">
                  <a:pos x="1288" y="536"/>
                </a:cxn>
                <a:cxn ang="0">
                  <a:pos x="1239" y="489"/>
                </a:cxn>
                <a:cxn ang="0">
                  <a:pos x="1198" y="433"/>
                </a:cxn>
                <a:cxn ang="0">
                  <a:pos x="1158" y="107"/>
                </a:cxn>
                <a:cxn ang="0">
                  <a:pos x="1073" y="95"/>
                </a:cxn>
                <a:cxn ang="0">
                  <a:pos x="948" y="81"/>
                </a:cxn>
                <a:cxn ang="0">
                  <a:pos x="913" y="61"/>
                </a:cxn>
                <a:cxn ang="0">
                  <a:pos x="868" y="18"/>
                </a:cxn>
              </a:cxnLst>
              <a:rect l="0" t="0" r="r" b="b"/>
              <a:pathLst>
                <a:path w="2286" h="2120">
                  <a:moveTo>
                    <a:pt x="846" y="0"/>
                  </a:moveTo>
                  <a:lnTo>
                    <a:pt x="837" y="1"/>
                  </a:lnTo>
                  <a:lnTo>
                    <a:pt x="831" y="1"/>
                  </a:lnTo>
                  <a:lnTo>
                    <a:pt x="829" y="3"/>
                  </a:lnTo>
                  <a:lnTo>
                    <a:pt x="828" y="3"/>
                  </a:lnTo>
                  <a:lnTo>
                    <a:pt x="828" y="4"/>
                  </a:lnTo>
                  <a:lnTo>
                    <a:pt x="828" y="5"/>
                  </a:lnTo>
                  <a:lnTo>
                    <a:pt x="827" y="5"/>
                  </a:lnTo>
                  <a:lnTo>
                    <a:pt x="823" y="5"/>
                  </a:lnTo>
                  <a:lnTo>
                    <a:pt x="819" y="14"/>
                  </a:lnTo>
                  <a:lnTo>
                    <a:pt x="808" y="20"/>
                  </a:lnTo>
                  <a:lnTo>
                    <a:pt x="797" y="27"/>
                  </a:lnTo>
                  <a:lnTo>
                    <a:pt x="792" y="32"/>
                  </a:lnTo>
                  <a:lnTo>
                    <a:pt x="788" y="36"/>
                  </a:lnTo>
                  <a:lnTo>
                    <a:pt x="788" y="45"/>
                  </a:lnTo>
                  <a:lnTo>
                    <a:pt x="783" y="49"/>
                  </a:lnTo>
                  <a:lnTo>
                    <a:pt x="779" y="54"/>
                  </a:lnTo>
                  <a:lnTo>
                    <a:pt x="779" y="67"/>
                  </a:lnTo>
                  <a:lnTo>
                    <a:pt x="774" y="73"/>
                  </a:lnTo>
                  <a:lnTo>
                    <a:pt x="770" y="81"/>
                  </a:lnTo>
                  <a:lnTo>
                    <a:pt x="766" y="81"/>
                  </a:lnTo>
                  <a:lnTo>
                    <a:pt x="764" y="82"/>
                  </a:lnTo>
                  <a:lnTo>
                    <a:pt x="762" y="83"/>
                  </a:lnTo>
                  <a:lnTo>
                    <a:pt x="761" y="85"/>
                  </a:lnTo>
                  <a:lnTo>
                    <a:pt x="753" y="87"/>
                  </a:lnTo>
                  <a:lnTo>
                    <a:pt x="747" y="90"/>
                  </a:lnTo>
                  <a:lnTo>
                    <a:pt x="640" y="85"/>
                  </a:lnTo>
                  <a:lnTo>
                    <a:pt x="639" y="88"/>
                  </a:lnTo>
                  <a:lnTo>
                    <a:pt x="636" y="92"/>
                  </a:lnTo>
                  <a:lnTo>
                    <a:pt x="634" y="94"/>
                  </a:lnTo>
                  <a:lnTo>
                    <a:pt x="631" y="94"/>
                  </a:lnTo>
                  <a:lnTo>
                    <a:pt x="631" y="99"/>
                  </a:lnTo>
                  <a:lnTo>
                    <a:pt x="629" y="103"/>
                  </a:lnTo>
                  <a:lnTo>
                    <a:pt x="626" y="106"/>
                  </a:lnTo>
                  <a:lnTo>
                    <a:pt x="622" y="107"/>
                  </a:lnTo>
                  <a:lnTo>
                    <a:pt x="622" y="116"/>
                  </a:lnTo>
                  <a:lnTo>
                    <a:pt x="619" y="116"/>
                  </a:lnTo>
                  <a:lnTo>
                    <a:pt x="617" y="117"/>
                  </a:lnTo>
                  <a:lnTo>
                    <a:pt x="615" y="119"/>
                  </a:lnTo>
                  <a:lnTo>
                    <a:pt x="614" y="121"/>
                  </a:lnTo>
                  <a:lnTo>
                    <a:pt x="524" y="121"/>
                  </a:lnTo>
                  <a:lnTo>
                    <a:pt x="519" y="119"/>
                  </a:lnTo>
                  <a:lnTo>
                    <a:pt x="511" y="117"/>
                  </a:lnTo>
                  <a:lnTo>
                    <a:pt x="502" y="116"/>
                  </a:lnTo>
                  <a:lnTo>
                    <a:pt x="493" y="116"/>
                  </a:lnTo>
                  <a:lnTo>
                    <a:pt x="493" y="119"/>
                  </a:lnTo>
                  <a:lnTo>
                    <a:pt x="492" y="120"/>
                  </a:lnTo>
                  <a:lnTo>
                    <a:pt x="491" y="120"/>
                  </a:lnTo>
                  <a:lnTo>
                    <a:pt x="489" y="121"/>
                  </a:lnTo>
                  <a:lnTo>
                    <a:pt x="484" y="121"/>
                  </a:lnTo>
                  <a:lnTo>
                    <a:pt x="480" y="121"/>
                  </a:lnTo>
                  <a:lnTo>
                    <a:pt x="475" y="136"/>
                  </a:lnTo>
                  <a:lnTo>
                    <a:pt x="471" y="148"/>
                  </a:lnTo>
                  <a:lnTo>
                    <a:pt x="468" y="149"/>
                  </a:lnTo>
                  <a:lnTo>
                    <a:pt x="465" y="151"/>
                  </a:lnTo>
                  <a:lnTo>
                    <a:pt x="463" y="153"/>
                  </a:lnTo>
                  <a:lnTo>
                    <a:pt x="462" y="157"/>
                  </a:lnTo>
                  <a:lnTo>
                    <a:pt x="457" y="161"/>
                  </a:lnTo>
                  <a:lnTo>
                    <a:pt x="444" y="161"/>
                  </a:lnTo>
                  <a:lnTo>
                    <a:pt x="439" y="164"/>
                  </a:lnTo>
                  <a:lnTo>
                    <a:pt x="434" y="167"/>
                  </a:lnTo>
                  <a:lnTo>
                    <a:pt x="425" y="168"/>
                  </a:lnTo>
                  <a:lnTo>
                    <a:pt x="416" y="169"/>
                  </a:lnTo>
                  <a:lnTo>
                    <a:pt x="396" y="170"/>
                  </a:lnTo>
                  <a:lnTo>
                    <a:pt x="378" y="170"/>
                  </a:lnTo>
                  <a:lnTo>
                    <a:pt x="375" y="167"/>
                  </a:lnTo>
                  <a:lnTo>
                    <a:pt x="371" y="162"/>
                  </a:lnTo>
                  <a:lnTo>
                    <a:pt x="366" y="159"/>
                  </a:lnTo>
                  <a:lnTo>
                    <a:pt x="359" y="154"/>
                  </a:lnTo>
                  <a:lnTo>
                    <a:pt x="345" y="144"/>
                  </a:lnTo>
                  <a:lnTo>
                    <a:pt x="328" y="133"/>
                  </a:lnTo>
                  <a:lnTo>
                    <a:pt x="310" y="122"/>
                  </a:lnTo>
                  <a:lnTo>
                    <a:pt x="293" y="111"/>
                  </a:lnTo>
                  <a:lnTo>
                    <a:pt x="286" y="105"/>
                  </a:lnTo>
                  <a:lnTo>
                    <a:pt x="280" y="101"/>
                  </a:lnTo>
                  <a:lnTo>
                    <a:pt x="274" y="95"/>
                  </a:lnTo>
                  <a:lnTo>
                    <a:pt x="271" y="90"/>
                  </a:lnTo>
                  <a:lnTo>
                    <a:pt x="267" y="90"/>
                  </a:lnTo>
                  <a:lnTo>
                    <a:pt x="263" y="87"/>
                  </a:lnTo>
                  <a:lnTo>
                    <a:pt x="260" y="85"/>
                  </a:lnTo>
                  <a:lnTo>
                    <a:pt x="255" y="82"/>
                  </a:lnTo>
                  <a:lnTo>
                    <a:pt x="246" y="73"/>
                  </a:lnTo>
                  <a:lnTo>
                    <a:pt x="236" y="63"/>
                  </a:lnTo>
                  <a:lnTo>
                    <a:pt x="227" y="53"/>
                  </a:lnTo>
                  <a:lnTo>
                    <a:pt x="217" y="45"/>
                  </a:lnTo>
                  <a:lnTo>
                    <a:pt x="213" y="42"/>
                  </a:lnTo>
                  <a:lnTo>
                    <a:pt x="208" y="38"/>
                  </a:lnTo>
                  <a:lnTo>
                    <a:pt x="204" y="37"/>
                  </a:lnTo>
                  <a:lnTo>
                    <a:pt x="199" y="36"/>
                  </a:lnTo>
                  <a:lnTo>
                    <a:pt x="197" y="33"/>
                  </a:lnTo>
                  <a:lnTo>
                    <a:pt x="194" y="30"/>
                  </a:lnTo>
                  <a:lnTo>
                    <a:pt x="189" y="28"/>
                  </a:lnTo>
                  <a:lnTo>
                    <a:pt x="186" y="27"/>
                  </a:lnTo>
                  <a:lnTo>
                    <a:pt x="184" y="23"/>
                  </a:lnTo>
                  <a:lnTo>
                    <a:pt x="182" y="18"/>
                  </a:lnTo>
                  <a:lnTo>
                    <a:pt x="166" y="18"/>
                  </a:lnTo>
                  <a:lnTo>
                    <a:pt x="147" y="16"/>
                  </a:lnTo>
                  <a:lnTo>
                    <a:pt x="128" y="15"/>
                  </a:lnTo>
                  <a:lnTo>
                    <a:pt x="110" y="14"/>
                  </a:lnTo>
                  <a:lnTo>
                    <a:pt x="106" y="18"/>
                  </a:lnTo>
                  <a:lnTo>
                    <a:pt x="102" y="24"/>
                  </a:lnTo>
                  <a:lnTo>
                    <a:pt x="93" y="35"/>
                  </a:lnTo>
                  <a:lnTo>
                    <a:pt x="84" y="47"/>
                  </a:lnTo>
                  <a:lnTo>
                    <a:pt x="79" y="54"/>
                  </a:lnTo>
                  <a:lnTo>
                    <a:pt x="79" y="63"/>
                  </a:lnTo>
                  <a:lnTo>
                    <a:pt x="75" y="64"/>
                  </a:lnTo>
                  <a:lnTo>
                    <a:pt x="73" y="65"/>
                  </a:lnTo>
                  <a:lnTo>
                    <a:pt x="72" y="66"/>
                  </a:lnTo>
                  <a:lnTo>
                    <a:pt x="71" y="68"/>
                  </a:lnTo>
                  <a:lnTo>
                    <a:pt x="70" y="73"/>
                  </a:lnTo>
                  <a:lnTo>
                    <a:pt x="70" y="76"/>
                  </a:lnTo>
                  <a:lnTo>
                    <a:pt x="61" y="76"/>
                  </a:lnTo>
                  <a:lnTo>
                    <a:pt x="60" y="81"/>
                  </a:lnTo>
                  <a:lnTo>
                    <a:pt x="55" y="85"/>
                  </a:lnTo>
                  <a:lnTo>
                    <a:pt x="51" y="91"/>
                  </a:lnTo>
                  <a:lnTo>
                    <a:pt x="48" y="94"/>
                  </a:lnTo>
                  <a:lnTo>
                    <a:pt x="39" y="94"/>
                  </a:lnTo>
                  <a:lnTo>
                    <a:pt x="34" y="99"/>
                  </a:lnTo>
                  <a:lnTo>
                    <a:pt x="33" y="103"/>
                  </a:lnTo>
                  <a:lnTo>
                    <a:pt x="31" y="110"/>
                  </a:lnTo>
                  <a:lnTo>
                    <a:pt x="29" y="114"/>
                  </a:lnTo>
                  <a:lnTo>
                    <a:pt x="25" y="116"/>
                  </a:lnTo>
                  <a:lnTo>
                    <a:pt x="24" y="151"/>
                  </a:lnTo>
                  <a:lnTo>
                    <a:pt x="21" y="186"/>
                  </a:lnTo>
                  <a:lnTo>
                    <a:pt x="17" y="219"/>
                  </a:lnTo>
                  <a:lnTo>
                    <a:pt x="16" y="250"/>
                  </a:lnTo>
                  <a:lnTo>
                    <a:pt x="15" y="250"/>
                  </a:lnTo>
                  <a:lnTo>
                    <a:pt x="14" y="251"/>
                  </a:lnTo>
                  <a:lnTo>
                    <a:pt x="13" y="254"/>
                  </a:lnTo>
                  <a:lnTo>
                    <a:pt x="12" y="256"/>
                  </a:lnTo>
                  <a:lnTo>
                    <a:pt x="12" y="261"/>
                  </a:lnTo>
                  <a:lnTo>
                    <a:pt x="12" y="268"/>
                  </a:lnTo>
                  <a:lnTo>
                    <a:pt x="12" y="275"/>
                  </a:lnTo>
                  <a:lnTo>
                    <a:pt x="11" y="280"/>
                  </a:lnTo>
                  <a:lnTo>
                    <a:pt x="11" y="283"/>
                  </a:lnTo>
                  <a:lnTo>
                    <a:pt x="10" y="285"/>
                  </a:lnTo>
                  <a:lnTo>
                    <a:pt x="8" y="286"/>
                  </a:lnTo>
                  <a:lnTo>
                    <a:pt x="7" y="286"/>
                  </a:lnTo>
                  <a:lnTo>
                    <a:pt x="7" y="456"/>
                  </a:lnTo>
                  <a:lnTo>
                    <a:pt x="5" y="461"/>
                  </a:lnTo>
                  <a:lnTo>
                    <a:pt x="3" y="468"/>
                  </a:lnTo>
                  <a:lnTo>
                    <a:pt x="2" y="477"/>
                  </a:lnTo>
                  <a:lnTo>
                    <a:pt x="1" y="486"/>
                  </a:lnTo>
                  <a:lnTo>
                    <a:pt x="0" y="506"/>
                  </a:lnTo>
                  <a:lnTo>
                    <a:pt x="0" y="528"/>
                  </a:lnTo>
                  <a:lnTo>
                    <a:pt x="2" y="572"/>
                  </a:lnTo>
                  <a:lnTo>
                    <a:pt x="3" y="607"/>
                  </a:lnTo>
                  <a:lnTo>
                    <a:pt x="5" y="607"/>
                  </a:lnTo>
                  <a:lnTo>
                    <a:pt x="6" y="610"/>
                  </a:lnTo>
                  <a:lnTo>
                    <a:pt x="7" y="613"/>
                  </a:lnTo>
                  <a:lnTo>
                    <a:pt x="7" y="616"/>
                  </a:lnTo>
                  <a:lnTo>
                    <a:pt x="10" y="621"/>
                  </a:lnTo>
                  <a:lnTo>
                    <a:pt x="16" y="632"/>
                  </a:lnTo>
                  <a:lnTo>
                    <a:pt x="22" y="644"/>
                  </a:lnTo>
                  <a:lnTo>
                    <a:pt x="25" y="652"/>
                  </a:lnTo>
                  <a:lnTo>
                    <a:pt x="29" y="653"/>
                  </a:lnTo>
                  <a:lnTo>
                    <a:pt x="34" y="655"/>
                  </a:lnTo>
                  <a:lnTo>
                    <a:pt x="39" y="659"/>
                  </a:lnTo>
                  <a:lnTo>
                    <a:pt x="44" y="664"/>
                  </a:lnTo>
                  <a:lnTo>
                    <a:pt x="54" y="674"/>
                  </a:lnTo>
                  <a:lnTo>
                    <a:pt x="61" y="683"/>
                  </a:lnTo>
                  <a:lnTo>
                    <a:pt x="77" y="692"/>
                  </a:lnTo>
                  <a:lnTo>
                    <a:pt x="92" y="701"/>
                  </a:lnTo>
                  <a:lnTo>
                    <a:pt x="93" y="705"/>
                  </a:lnTo>
                  <a:lnTo>
                    <a:pt x="98" y="708"/>
                  </a:lnTo>
                  <a:lnTo>
                    <a:pt x="103" y="711"/>
                  </a:lnTo>
                  <a:lnTo>
                    <a:pt x="111" y="715"/>
                  </a:lnTo>
                  <a:lnTo>
                    <a:pt x="126" y="721"/>
                  </a:lnTo>
                  <a:lnTo>
                    <a:pt x="137" y="728"/>
                  </a:lnTo>
                  <a:lnTo>
                    <a:pt x="149" y="728"/>
                  </a:lnTo>
                  <a:lnTo>
                    <a:pt x="167" y="729"/>
                  </a:lnTo>
                  <a:lnTo>
                    <a:pt x="176" y="730"/>
                  </a:lnTo>
                  <a:lnTo>
                    <a:pt x="183" y="731"/>
                  </a:lnTo>
                  <a:lnTo>
                    <a:pt x="186" y="732"/>
                  </a:lnTo>
                  <a:lnTo>
                    <a:pt x="188" y="734"/>
                  </a:lnTo>
                  <a:lnTo>
                    <a:pt x="189" y="735"/>
                  </a:lnTo>
                  <a:lnTo>
                    <a:pt x="190" y="737"/>
                  </a:lnTo>
                  <a:lnTo>
                    <a:pt x="206" y="739"/>
                  </a:lnTo>
                  <a:lnTo>
                    <a:pt x="222" y="741"/>
                  </a:lnTo>
                  <a:lnTo>
                    <a:pt x="231" y="750"/>
                  </a:lnTo>
                  <a:lnTo>
                    <a:pt x="237" y="753"/>
                  </a:lnTo>
                  <a:lnTo>
                    <a:pt x="244" y="755"/>
                  </a:lnTo>
                  <a:lnTo>
                    <a:pt x="252" y="757"/>
                  </a:lnTo>
                  <a:lnTo>
                    <a:pt x="257" y="759"/>
                  </a:lnTo>
                  <a:lnTo>
                    <a:pt x="271" y="759"/>
                  </a:lnTo>
                  <a:lnTo>
                    <a:pt x="272" y="763"/>
                  </a:lnTo>
                  <a:lnTo>
                    <a:pt x="275" y="767"/>
                  </a:lnTo>
                  <a:lnTo>
                    <a:pt x="280" y="770"/>
                  </a:lnTo>
                  <a:lnTo>
                    <a:pt x="284" y="773"/>
                  </a:lnTo>
                  <a:lnTo>
                    <a:pt x="285" y="776"/>
                  </a:lnTo>
                  <a:lnTo>
                    <a:pt x="290" y="780"/>
                  </a:lnTo>
                  <a:lnTo>
                    <a:pt x="292" y="783"/>
                  </a:lnTo>
                  <a:lnTo>
                    <a:pt x="295" y="784"/>
                  </a:lnTo>
                  <a:lnTo>
                    <a:pt x="299" y="785"/>
                  </a:lnTo>
                  <a:lnTo>
                    <a:pt x="302" y="786"/>
                  </a:lnTo>
                  <a:lnTo>
                    <a:pt x="307" y="795"/>
                  </a:lnTo>
                  <a:lnTo>
                    <a:pt x="313" y="797"/>
                  </a:lnTo>
                  <a:lnTo>
                    <a:pt x="320" y="799"/>
                  </a:lnTo>
                  <a:lnTo>
                    <a:pt x="324" y="804"/>
                  </a:lnTo>
                  <a:lnTo>
                    <a:pt x="329" y="813"/>
                  </a:lnTo>
                  <a:lnTo>
                    <a:pt x="333" y="815"/>
                  </a:lnTo>
                  <a:lnTo>
                    <a:pt x="338" y="817"/>
                  </a:lnTo>
                  <a:lnTo>
                    <a:pt x="340" y="824"/>
                  </a:lnTo>
                  <a:lnTo>
                    <a:pt x="342" y="830"/>
                  </a:lnTo>
                  <a:lnTo>
                    <a:pt x="346" y="832"/>
                  </a:lnTo>
                  <a:lnTo>
                    <a:pt x="349" y="836"/>
                  </a:lnTo>
                  <a:lnTo>
                    <a:pt x="352" y="843"/>
                  </a:lnTo>
                  <a:lnTo>
                    <a:pt x="356" y="851"/>
                  </a:lnTo>
                  <a:lnTo>
                    <a:pt x="362" y="867"/>
                  </a:lnTo>
                  <a:lnTo>
                    <a:pt x="369" y="879"/>
                  </a:lnTo>
                  <a:lnTo>
                    <a:pt x="369" y="892"/>
                  </a:lnTo>
                  <a:lnTo>
                    <a:pt x="378" y="901"/>
                  </a:lnTo>
                  <a:lnTo>
                    <a:pt x="379" y="921"/>
                  </a:lnTo>
                  <a:lnTo>
                    <a:pt x="381" y="943"/>
                  </a:lnTo>
                  <a:lnTo>
                    <a:pt x="385" y="968"/>
                  </a:lnTo>
                  <a:lnTo>
                    <a:pt x="386" y="994"/>
                  </a:lnTo>
                  <a:lnTo>
                    <a:pt x="388" y="994"/>
                  </a:lnTo>
                  <a:lnTo>
                    <a:pt x="390" y="994"/>
                  </a:lnTo>
                  <a:lnTo>
                    <a:pt x="390" y="1014"/>
                  </a:lnTo>
                  <a:lnTo>
                    <a:pt x="389" y="1036"/>
                  </a:lnTo>
                  <a:lnTo>
                    <a:pt x="388" y="1057"/>
                  </a:lnTo>
                  <a:lnTo>
                    <a:pt x="386" y="1080"/>
                  </a:lnTo>
                  <a:lnTo>
                    <a:pt x="384" y="1101"/>
                  </a:lnTo>
                  <a:lnTo>
                    <a:pt x="382" y="1122"/>
                  </a:lnTo>
                  <a:lnTo>
                    <a:pt x="381" y="1142"/>
                  </a:lnTo>
                  <a:lnTo>
                    <a:pt x="380" y="1161"/>
                  </a:lnTo>
                  <a:lnTo>
                    <a:pt x="381" y="1177"/>
                  </a:lnTo>
                  <a:lnTo>
                    <a:pt x="381" y="1200"/>
                  </a:lnTo>
                  <a:lnTo>
                    <a:pt x="382" y="1230"/>
                  </a:lnTo>
                  <a:lnTo>
                    <a:pt x="384" y="1261"/>
                  </a:lnTo>
                  <a:lnTo>
                    <a:pt x="387" y="1293"/>
                  </a:lnTo>
                  <a:lnTo>
                    <a:pt x="391" y="1318"/>
                  </a:lnTo>
                  <a:lnTo>
                    <a:pt x="394" y="1330"/>
                  </a:lnTo>
                  <a:lnTo>
                    <a:pt x="397" y="1337"/>
                  </a:lnTo>
                  <a:lnTo>
                    <a:pt x="399" y="1340"/>
                  </a:lnTo>
                  <a:lnTo>
                    <a:pt x="401" y="1342"/>
                  </a:lnTo>
                  <a:lnTo>
                    <a:pt x="404" y="1343"/>
                  </a:lnTo>
                  <a:lnTo>
                    <a:pt x="406" y="1344"/>
                  </a:lnTo>
                  <a:lnTo>
                    <a:pt x="406" y="1347"/>
                  </a:lnTo>
                  <a:lnTo>
                    <a:pt x="406" y="1351"/>
                  </a:lnTo>
                  <a:lnTo>
                    <a:pt x="407" y="1353"/>
                  </a:lnTo>
                  <a:lnTo>
                    <a:pt x="410" y="1354"/>
                  </a:lnTo>
                  <a:lnTo>
                    <a:pt x="411" y="1370"/>
                  </a:lnTo>
                  <a:lnTo>
                    <a:pt x="413" y="1389"/>
                  </a:lnTo>
                  <a:lnTo>
                    <a:pt x="415" y="1409"/>
                  </a:lnTo>
                  <a:lnTo>
                    <a:pt x="415" y="1428"/>
                  </a:lnTo>
                  <a:lnTo>
                    <a:pt x="420" y="1430"/>
                  </a:lnTo>
                  <a:lnTo>
                    <a:pt x="425" y="1432"/>
                  </a:lnTo>
                  <a:lnTo>
                    <a:pt x="426" y="1437"/>
                  </a:lnTo>
                  <a:lnTo>
                    <a:pt x="428" y="1443"/>
                  </a:lnTo>
                  <a:lnTo>
                    <a:pt x="432" y="1449"/>
                  </a:lnTo>
                  <a:lnTo>
                    <a:pt x="436" y="1456"/>
                  </a:lnTo>
                  <a:lnTo>
                    <a:pt x="439" y="1462"/>
                  </a:lnTo>
                  <a:lnTo>
                    <a:pt x="444" y="1467"/>
                  </a:lnTo>
                  <a:lnTo>
                    <a:pt x="447" y="1471"/>
                  </a:lnTo>
                  <a:lnTo>
                    <a:pt x="449" y="1472"/>
                  </a:lnTo>
                  <a:lnTo>
                    <a:pt x="451" y="1477"/>
                  </a:lnTo>
                  <a:lnTo>
                    <a:pt x="452" y="1481"/>
                  </a:lnTo>
                  <a:lnTo>
                    <a:pt x="453" y="1484"/>
                  </a:lnTo>
                  <a:lnTo>
                    <a:pt x="454" y="1486"/>
                  </a:lnTo>
                  <a:lnTo>
                    <a:pt x="456" y="1487"/>
                  </a:lnTo>
                  <a:lnTo>
                    <a:pt x="459" y="1487"/>
                  </a:lnTo>
                  <a:lnTo>
                    <a:pt x="461" y="1491"/>
                  </a:lnTo>
                  <a:lnTo>
                    <a:pt x="462" y="1497"/>
                  </a:lnTo>
                  <a:lnTo>
                    <a:pt x="465" y="1501"/>
                  </a:lnTo>
                  <a:lnTo>
                    <a:pt x="468" y="1506"/>
                  </a:lnTo>
                  <a:lnTo>
                    <a:pt x="477" y="1517"/>
                  </a:lnTo>
                  <a:lnTo>
                    <a:pt x="487" y="1527"/>
                  </a:lnTo>
                  <a:lnTo>
                    <a:pt x="496" y="1538"/>
                  </a:lnTo>
                  <a:lnTo>
                    <a:pt x="505" y="1548"/>
                  </a:lnTo>
                  <a:lnTo>
                    <a:pt x="509" y="1554"/>
                  </a:lnTo>
                  <a:lnTo>
                    <a:pt x="512" y="1559"/>
                  </a:lnTo>
                  <a:lnTo>
                    <a:pt x="513" y="1565"/>
                  </a:lnTo>
                  <a:lnTo>
                    <a:pt x="514" y="1571"/>
                  </a:lnTo>
                  <a:lnTo>
                    <a:pt x="522" y="1578"/>
                  </a:lnTo>
                  <a:lnTo>
                    <a:pt x="539" y="1595"/>
                  </a:lnTo>
                  <a:lnTo>
                    <a:pt x="555" y="1613"/>
                  </a:lnTo>
                  <a:lnTo>
                    <a:pt x="563" y="1620"/>
                  </a:lnTo>
                  <a:lnTo>
                    <a:pt x="573" y="1620"/>
                  </a:lnTo>
                  <a:lnTo>
                    <a:pt x="586" y="1632"/>
                  </a:lnTo>
                  <a:lnTo>
                    <a:pt x="598" y="1645"/>
                  </a:lnTo>
                  <a:lnTo>
                    <a:pt x="608" y="1645"/>
                  </a:lnTo>
                  <a:lnTo>
                    <a:pt x="609" y="1651"/>
                  </a:lnTo>
                  <a:lnTo>
                    <a:pt x="612" y="1659"/>
                  </a:lnTo>
                  <a:lnTo>
                    <a:pt x="617" y="1667"/>
                  </a:lnTo>
                  <a:lnTo>
                    <a:pt x="624" y="1676"/>
                  </a:lnTo>
                  <a:lnTo>
                    <a:pt x="630" y="1684"/>
                  </a:lnTo>
                  <a:lnTo>
                    <a:pt x="639" y="1693"/>
                  </a:lnTo>
                  <a:lnTo>
                    <a:pt x="649" y="1703"/>
                  </a:lnTo>
                  <a:lnTo>
                    <a:pt x="659" y="1712"/>
                  </a:lnTo>
                  <a:lnTo>
                    <a:pt x="669" y="1721"/>
                  </a:lnTo>
                  <a:lnTo>
                    <a:pt x="681" y="1730"/>
                  </a:lnTo>
                  <a:lnTo>
                    <a:pt x="691" y="1738"/>
                  </a:lnTo>
                  <a:lnTo>
                    <a:pt x="702" y="1745"/>
                  </a:lnTo>
                  <a:lnTo>
                    <a:pt x="712" y="1750"/>
                  </a:lnTo>
                  <a:lnTo>
                    <a:pt x="721" y="1755"/>
                  </a:lnTo>
                  <a:lnTo>
                    <a:pt x="729" y="1757"/>
                  </a:lnTo>
                  <a:lnTo>
                    <a:pt x="736" y="1758"/>
                  </a:lnTo>
                  <a:lnTo>
                    <a:pt x="752" y="1760"/>
                  </a:lnTo>
                  <a:lnTo>
                    <a:pt x="788" y="1765"/>
                  </a:lnTo>
                  <a:lnTo>
                    <a:pt x="807" y="1766"/>
                  </a:lnTo>
                  <a:lnTo>
                    <a:pt x="823" y="1767"/>
                  </a:lnTo>
                  <a:lnTo>
                    <a:pt x="830" y="1767"/>
                  </a:lnTo>
                  <a:lnTo>
                    <a:pt x="836" y="1766"/>
                  </a:lnTo>
                  <a:lnTo>
                    <a:pt x="839" y="1765"/>
                  </a:lnTo>
                  <a:lnTo>
                    <a:pt x="840" y="1764"/>
                  </a:lnTo>
                  <a:lnTo>
                    <a:pt x="845" y="1764"/>
                  </a:lnTo>
                  <a:lnTo>
                    <a:pt x="851" y="1763"/>
                  </a:lnTo>
                  <a:lnTo>
                    <a:pt x="855" y="1763"/>
                  </a:lnTo>
                  <a:lnTo>
                    <a:pt x="857" y="1761"/>
                  </a:lnTo>
                  <a:lnTo>
                    <a:pt x="859" y="1760"/>
                  </a:lnTo>
                  <a:lnTo>
                    <a:pt x="859" y="1758"/>
                  </a:lnTo>
                  <a:lnTo>
                    <a:pt x="870" y="1758"/>
                  </a:lnTo>
                  <a:lnTo>
                    <a:pt x="880" y="1758"/>
                  </a:lnTo>
                  <a:lnTo>
                    <a:pt x="891" y="1758"/>
                  </a:lnTo>
                  <a:lnTo>
                    <a:pt x="903" y="1758"/>
                  </a:lnTo>
                  <a:lnTo>
                    <a:pt x="904" y="1757"/>
                  </a:lnTo>
                  <a:lnTo>
                    <a:pt x="905" y="1756"/>
                  </a:lnTo>
                  <a:lnTo>
                    <a:pt x="917" y="1756"/>
                  </a:lnTo>
                  <a:lnTo>
                    <a:pt x="943" y="1731"/>
                  </a:lnTo>
                  <a:lnTo>
                    <a:pt x="947" y="1731"/>
                  </a:lnTo>
                  <a:lnTo>
                    <a:pt x="951" y="1730"/>
                  </a:lnTo>
                  <a:lnTo>
                    <a:pt x="953" y="1729"/>
                  </a:lnTo>
                  <a:lnTo>
                    <a:pt x="954" y="1728"/>
                  </a:lnTo>
                  <a:lnTo>
                    <a:pt x="954" y="1727"/>
                  </a:lnTo>
                  <a:lnTo>
                    <a:pt x="955" y="1725"/>
                  </a:lnTo>
                  <a:lnTo>
                    <a:pt x="962" y="1725"/>
                  </a:lnTo>
                  <a:lnTo>
                    <a:pt x="973" y="1723"/>
                  </a:lnTo>
                  <a:lnTo>
                    <a:pt x="977" y="1723"/>
                  </a:lnTo>
                  <a:lnTo>
                    <a:pt x="982" y="1722"/>
                  </a:lnTo>
                  <a:lnTo>
                    <a:pt x="985" y="1720"/>
                  </a:lnTo>
                  <a:lnTo>
                    <a:pt x="986" y="1718"/>
                  </a:lnTo>
                  <a:lnTo>
                    <a:pt x="994" y="1718"/>
                  </a:lnTo>
                  <a:lnTo>
                    <a:pt x="1005" y="1718"/>
                  </a:lnTo>
                  <a:lnTo>
                    <a:pt x="1015" y="1718"/>
                  </a:lnTo>
                  <a:lnTo>
                    <a:pt x="1023" y="1718"/>
                  </a:lnTo>
                  <a:lnTo>
                    <a:pt x="1030" y="1712"/>
                  </a:lnTo>
                  <a:lnTo>
                    <a:pt x="1037" y="1706"/>
                  </a:lnTo>
                  <a:lnTo>
                    <a:pt x="1037" y="1701"/>
                  </a:lnTo>
                  <a:lnTo>
                    <a:pt x="1040" y="1698"/>
                  </a:lnTo>
                  <a:lnTo>
                    <a:pt x="1044" y="1694"/>
                  </a:lnTo>
                  <a:lnTo>
                    <a:pt x="1049" y="1693"/>
                  </a:lnTo>
                  <a:lnTo>
                    <a:pt x="1050" y="1688"/>
                  </a:lnTo>
                  <a:lnTo>
                    <a:pt x="1052" y="1682"/>
                  </a:lnTo>
                  <a:lnTo>
                    <a:pt x="1054" y="1679"/>
                  </a:lnTo>
                  <a:lnTo>
                    <a:pt x="1057" y="1677"/>
                  </a:lnTo>
                  <a:lnTo>
                    <a:pt x="1059" y="1676"/>
                  </a:lnTo>
                  <a:lnTo>
                    <a:pt x="1061" y="1674"/>
                  </a:lnTo>
                  <a:lnTo>
                    <a:pt x="1061" y="1669"/>
                  </a:lnTo>
                  <a:lnTo>
                    <a:pt x="1062" y="1663"/>
                  </a:lnTo>
                  <a:lnTo>
                    <a:pt x="1062" y="1660"/>
                  </a:lnTo>
                  <a:lnTo>
                    <a:pt x="1063" y="1658"/>
                  </a:lnTo>
                  <a:lnTo>
                    <a:pt x="1066" y="1657"/>
                  </a:lnTo>
                  <a:lnTo>
                    <a:pt x="1068" y="1655"/>
                  </a:lnTo>
                  <a:lnTo>
                    <a:pt x="1068" y="1643"/>
                  </a:lnTo>
                  <a:lnTo>
                    <a:pt x="1071" y="1643"/>
                  </a:lnTo>
                  <a:lnTo>
                    <a:pt x="1072" y="1642"/>
                  </a:lnTo>
                  <a:lnTo>
                    <a:pt x="1073" y="1641"/>
                  </a:lnTo>
                  <a:lnTo>
                    <a:pt x="1073" y="1640"/>
                  </a:lnTo>
                  <a:lnTo>
                    <a:pt x="1073" y="1639"/>
                  </a:lnTo>
                  <a:lnTo>
                    <a:pt x="1075" y="1638"/>
                  </a:lnTo>
                  <a:lnTo>
                    <a:pt x="1076" y="1638"/>
                  </a:lnTo>
                  <a:lnTo>
                    <a:pt x="1080" y="1638"/>
                  </a:lnTo>
                  <a:lnTo>
                    <a:pt x="1081" y="1632"/>
                  </a:lnTo>
                  <a:lnTo>
                    <a:pt x="1084" y="1629"/>
                  </a:lnTo>
                  <a:lnTo>
                    <a:pt x="1088" y="1625"/>
                  </a:lnTo>
                  <a:lnTo>
                    <a:pt x="1092" y="1624"/>
                  </a:lnTo>
                  <a:lnTo>
                    <a:pt x="1092" y="1621"/>
                  </a:lnTo>
                  <a:lnTo>
                    <a:pt x="1095" y="1617"/>
                  </a:lnTo>
                  <a:lnTo>
                    <a:pt x="1096" y="1615"/>
                  </a:lnTo>
                  <a:lnTo>
                    <a:pt x="1099" y="1613"/>
                  </a:lnTo>
                  <a:lnTo>
                    <a:pt x="1102" y="1610"/>
                  </a:lnTo>
                  <a:lnTo>
                    <a:pt x="1105" y="1606"/>
                  </a:lnTo>
                  <a:lnTo>
                    <a:pt x="1116" y="1604"/>
                  </a:lnTo>
                  <a:lnTo>
                    <a:pt x="1130" y="1600"/>
                  </a:lnTo>
                  <a:lnTo>
                    <a:pt x="1144" y="1595"/>
                  </a:lnTo>
                  <a:lnTo>
                    <a:pt x="1155" y="1593"/>
                  </a:lnTo>
                  <a:lnTo>
                    <a:pt x="1156" y="1591"/>
                  </a:lnTo>
                  <a:lnTo>
                    <a:pt x="1159" y="1587"/>
                  </a:lnTo>
                  <a:lnTo>
                    <a:pt x="1163" y="1583"/>
                  </a:lnTo>
                  <a:lnTo>
                    <a:pt x="1168" y="1578"/>
                  </a:lnTo>
                  <a:lnTo>
                    <a:pt x="1178" y="1572"/>
                  </a:lnTo>
                  <a:lnTo>
                    <a:pt x="1186" y="1568"/>
                  </a:lnTo>
                  <a:lnTo>
                    <a:pt x="1193" y="1556"/>
                  </a:lnTo>
                  <a:lnTo>
                    <a:pt x="1193" y="1544"/>
                  </a:lnTo>
                  <a:lnTo>
                    <a:pt x="1205" y="1530"/>
                  </a:lnTo>
                  <a:lnTo>
                    <a:pt x="1204" y="1520"/>
                  </a:lnTo>
                  <a:lnTo>
                    <a:pt x="1203" y="1509"/>
                  </a:lnTo>
                  <a:lnTo>
                    <a:pt x="1200" y="1497"/>
                  </a:lnTo>
                  <a:lnTo>
                    <a:pt x="1197" y="1485"/>
                  </a:lnTo>
                  <a:lnTo>
                    <a:pt x="1190" y="1460"/>
                  </a:lnTo>
                  <a:lnTo>
                    <a:pt x="1182" y="1436"/>
                  </a:lnTo>
                  <a:lnTo>
                    <a:pt x="1178" y="1423"/>
                  </a:lnTo>
                  <a:lnTo>
                    <a:pt x="1175" y="1411"/>
                  </a:lnTo>
                  <a:lnTo>
                    <a:pt x="1173" y="1400"/>
                  </a:lnTo>
                  <a:lnTo>
                    <a:pt x="1172" y="1389"/>
                  </a:lnTo>
                  <a:lnTo>
                    <a:pt x="1172" y="1378"/>
                  </a:lnTo>
                  <a:lnTo>
                    <a:pt x="1174" y="1367"/>
                  </a:lnTo>
                  <a:lnTo>
                    <a:pt x="1176" y="1359"/>
                  </a:lnTo>
                  <a:lnTo>
                    <a:pt x="1182" y="1350"/>
                  </a:lnTo>
                  <a:lnTo>
                    <a:pt x="1193" y="1347"/>
                  </a:lnTo>
                  <a:lnTo>
                    <a:pt x="1212" y="1345"/>
                  </a:lnTo>
                  <a:lnTo>
                    <a:pt x="1235" y="1344"/>
                  </a:lnTo>
                  <a:lnTo>
                    <a:pt x="1260" y="1343"/>
                  </a:lnTo>
                  <a:lnTo>
                    <a:pt x="1283" y="1344"/>
                  </a:lnTo>
                  <a:lnTo>
                    <a:pt x="1305" y="1346"/>
                  </a:lnTo>
                  <a:lnTo>
                    <a:pt x="1312" y="1347"/>
                  </a:lnTo>
                  <a:lnTo>
                    <a:pt x="1318" y="1350"/>
                  </a:lnTo>
                  <a:lnTo>
                    <a:pt x="1322" y="1353"/>
                  </a:lnTo>
                  <a:lnTo>
                    <a:pt x="1324" y="1355"/>
                  </a:lnTo>
                  <a:lnTo>
                    <a:pt x="1417" y="1355"/>
                  </a:lnTo>
                  <a:lnTo>
                    <a:pt x="1418" y="1352"/>
                  </a:lnTo>
                  <a:lnTo>
                    <a:pt x="1418" y="1351"/>
                  </a:lnTo>
                  <a:lnTo>
                    <a:pt x="1420" y="1350"/>
                  </a:lnTo>
                  <a:lnTo>
                    <a:pt x="1421" y="1350"/>
                  </a:lnTo>
                  <a:lnTo>
                    <a:pt x="1422" y="1350"/>
                  </a:lnTo>
                  <a:lnTo>
                    <a:pt x="1423" y="1348"/>
                  </a:lnTo>
                  <a:lnTo>
                    <a:pt x="1424" y="1347"/>
                  </a:lnTo>
                  <a:lnTo>
                    <a:pt x="1424" y="1343"/>
                  </a:lnTo>
                  <a:lnTo>
                    <a:pt x="1505" y="1343"/>
                  </a:lnTo>
                  <a:lnTo>
                    <a:pt x="1508" y="1344"/>
                  </a:lnTo>
                  <a:lnTo>
                    <a:pt x="1514" y="1347"/>
                  </a:lnTo>
                  <a:lnTo>
                    <a:pt x="1518" y="1351"/>
                  </a:lnTo>
                  <a:lnTo>
                    <a:pt x="1521" y="1354"/>
                  </a:lnTo>
                  <a:lnTo>
                    <a:pt x="1523" y="1357"/>
                  </a:lnTo>
                  <a:lnTo>
                    <a:pt x="1524" y="1362"/>
                  </a:lnTo>
                  <a:lnTo>
                    <a:pt x="1527" y="1363"/>
                  </a:lnTo>
                  <a:lnTo>
                    <a:pt x="1530" y="1366"/>
                  </a:lnTo>
                  <a:lnTo>
                    <a:pt x="1534" y="1371"/>
                  </a:lnTo>
                  <a:lnTo>
                    <a:pt x="1539" y="1376"/>
                  </a:lnTo>
                  <a:lnTo>
                    <a:pt x="1542" y="1382"/>
                  </a:lnTo>
                  <a:lnTo>
                    <a:pt x="1546" y="1389"/>
                  </a:lnTo>
                  <a:lnTo>
                    <a:pt x="1548" y="1394"/>
                  </a:lnTo>
                  <a:lnTo>
                    <a:pt x="1549" y="1400"/>
                  </a:lnTo>
                  <a:lnTo>
                    <a:pt x="1561" y="1412"/>
                  </a:lnTo>
                  <a:lnTo>
                    <a:pt x="1562" y="1448"/>
                  </a:lnTo>
                  <a:lnTo>
                    <a:pt x="1565" y="1486"/>
                  </a:lnTo>
                  <a:lnTo>
                    <a:pt x="1567" y="1524"/>
                  </a:lnTo>
                  <a:lnTo>
                    <a:pt x="1568" y="1556"/>
                  </a:lnTo>
                  <a:lnTo>
                    <a:pt x="1574" y="1565"/>
                  </a:lnTo>
                  <a:lnTo>
                    <a:pt x="1581" y="1581"/>
                  </a:lnTo>
                  <a:lnTo>
                    <a:pt x="1585" y="1588"/>
                  </a:lnTo>
                  <a:lnTo>
                    <a:pt x="1589" y="1596"/>
                  </a:lnTo>
                  <a:lnTo>
                    <a:pt x="1595" y="1602"/>
                  </a:lnTo>
                  <a:lnTo>
                    <a:pt x="1599" y="1606"/>
                  </a:lnTo>
                  <a:lnTo>
                    <a:pt x="1599" y="1612"/>
                  </a:lnTo>
                  <a:lnTo>
                    <a:pt x="1601" y="1617"/>
                  </a:lnTo>
                  <a:lnTo>
                    <a:pt x="1605" y="1623"/>
                  </a:lnTo>
                  <a:lnTo>
                    <a:pt x="1608" y="1626"/>
                  </a:lnTo>
                  <a:lnTo>
                    <a:pt x="1612" y="1631"/>
                  </a:lnTo>
                  <a:lnTo>
                    <a:pt x="1615" y="1635"/>
                  </a:lnTo>
                  <a:lnTo>
                    <a:pt x="1617" y="1639"/>
                  </a:lnTo>
                  <a:lnTo>
                    <a:pt x="1618" y="1643"/>
                  </a:lnTo>
                  <a:lnTo>
                    <a:pt x="1624" y="1645"/>
                  </a:lnTo>
                  <a:lnTo>
                    <a:pt x="1630" y="1650"/>
                  </a:lnTo>
                  <a:lnTo>
                    <a:pt x="1637" y="1657"/>
                  </a:lnTo>
                  <a:lnTo>
                    <a:pt x="1643" y="1662"/>
                  </a:lnTo>
                  <a:lnTo>
                    <a:pt x="1643" y="1674"/>
                  </a:lnTo>
                  <a:lnTo>
                    <a:pt x="1649" y="1681"/>
                  </a:lnTo>
                  <a:lnTo>
                    <a:pt x="1662" y="1687"/>
                  </a:lnTo>
                  <a:lnTo>
                    <a:pt x="1670" y="1708"/>
                  </a:lnTo>
                  <a:lnTo>
                    <a:pt x="1689" y="1754"/>
                  </a:lnTo>
                  <a:lnTo>
                    <a:pt x="1699" y="1778"/>
                  </a:lnTo>
                  <a:lnTo>
                    <a:pt x="1708" y="1801"/>
                  </a:lnTo>
                  <a:lnTo>
                    <a:pt x="1715" y="1815"/>
                  </a:lnTo>
                  <a:lnTo>
                    <a:pt x="1720" y="1821"/>
                  </a:lnTo>
                  <a:lnTo>
                    <a:pt x="1720" y="2003"/>
                  </a:lnTo>
                  <a:lnTo>
                    <a:pt x="1723" y="2004"/>
                  </a:lnTo>
                  <a:lnTo>
                    <a:pt x="1726" y="2006"/>
                  </a:lnTo>
                  <a:lnTo>
                    <a:pt x="1729" y="2009"/>
                  </a:lnTo>
                  <a:lnTo>
                    <a:pt x="1731" y="2014"/>
                  </a:lnTo>
                  <a:lnTo>
                    <a:pt x="1735" y="2018"/>
                  </a:lnTo>
                  <a:lnTo>
                    <a:pt x="1741" y="2021"/>
                  </a:lnTo>
                  <a:lnTo>
                    <a:pt x="1750" y="2024"/>
                  </a:lnTo>
                  <a:lnTo>
                    <a:pt x="1761" y="2025"/>
                  </a:lnTo>
                  <a:lnTo>
                    <a:pt x="1778" y="2025"/>
                  </a:lnTo>
                  <a:lnTo>
                    <a:pt x="1800" y="2026"/>
                  </a:lnTo>
                  <a:lnTo>
                    <a:pt x="1811" y="2026"/>
                  </a:lnTo>
                  <a:lnTo>
                    <a:pt x="1821" y="2027"/>
                  </a:lnTo>
                  <a:lnTo>
                    <a:pt x="1828" y="2029"/>
                  </a:lnTo>
                  <a:lnTo>
                    <a:pt x="1830" y="2032"/>
                  </a:lnTo>
                  <a:lnTo>
                    <a:pt x="1839" y="2032"/>
                  </a:lnTo>
                  <a:lnTo>
                    <a:pt x="1849" y="2032"/>
                  </a:lnTo>
                  <a:lnTo>
                    <a:pt x="1855" y="2044"/>
                  </a:lnTo>
                  <a:lnTo>
                    <a:pt x="1868" y="2044"/>
                  </a:lnTo>
                  <a:lnTo>
                    <a:pt x="1868" y="2047"/>
                  </a:lnTo>
                  <a:lnTo>
                    <a:pt x="1869" y="2049"/>
                  </a:lnTo>
                  <a:lnTo>
                    <a:pt x="1869" y="2049"/>
                  </a:lnTo>
                  <a:lnTo>
                    <a:pt x="1871" y="2049"/>
                  </a:lnTo>
                  <a:lnTo>
                    <a:pt x="1872" y="2049"/>
                  </a:lnTo>
                  <a:lnTo>
                    <a:pt x="1873" y="2051"/>
                  </a:lnTo>
                  <a:lnTo>
                    <a:pt x="1874" y="2053"/>
                  </a:lnTo>
                  <a:lnTo>
                    <a:pt x="1874" y="2056"/>
                  </a:lnTo>
                  <a:lnTo>
                    <a:pt x="1884" y="2059"/>
                  </a:lnTo>
                  <a:lnTo>
                    <a:pt x="1893" y="2063"/>
                  </a:lnTo>
                  <a:lnTo>
                    <a:pt x="1893" y="2066"/>
                  </a:lnTo>
                  <a:lnTo>
                    <a:pt x="1894" y="2067"/>
                  </a:lnTo>
                  <a:lnTo>
                    <a:pt x="1895" y="2068"/>
                  </a:lnTo>
                  <a:lnTo>
                    <a:pt x="1896" y="2068"/>
                  </a:lnTo>
                  <a:lnTo>
                    <a:pt x="1897" y="2068"/>
                  </a:lnTo>
                  <a:lnTo>
                    <a:pt x="1898" y="2069"/>
                  </a:lnTo>
                  <a:lnTo>
                    <a:pt x="1898" y="2072"/>
                  </a:lnTo>
                  <a:lnTo>
                    <a:pt x="1900" y="2075"/>
                  </a:lnTo>
                  <a:lnTo>
                    <a:pt x="1912" y="2075"/>
                  </a:lnTo>
                  <a:lnTo>
                    <a:pt x="1912" y="2087"/>
                  </a:lnTo>
                  <a:lnTo>
                    <a:pt x="1924" y="2087"/>
                  </a:lnTo>
                  <a:lnTo>
                    <a:pt x="1931" y="2094"/>
                  </a:lnTo>
                  <a:lnTo>
                    <a:pt x="1936" y="2100"/>
                  </a:lnTo>
                  <a:lnTo>
                    <a:pt x="1955" y="2100"/>
                  </a:lnTo>
                  <a:lnTo>
                    <a:pt x="1955" y="2103"/>
                  </a:lnTo>
                  <a:lnTo>
                    <a:pt x="1956" y="2105"/>
                  </a:lnTo>
                  <a:lnTo>
                    <a:pt x="1958" y="2106"/>
                  </a:lnTo>
                  <a:lnTo>
                    <a:pt x="1959" y="2106"/>
                  </a:lnTo>
                  <a:lnTo>
                    <a:pt x="1960" y="2106"/>
                  </a:lnTo>
                  <a:lnTo>
                    <a:pt x="1961" y="2106"/>
                  </a:lnTo>
                  <a:lnTo>
                    <a:pt x="1961" y="2109"/>
                  </a:lnTo>
                  <a:lnTo>
                    <a:pt x="1962" y="2112"/>
                  </a:lnTo>
                  <a:lnTo>
                    <a:pt x="2099" y="2112"/>
                  </a:lnTo>
                  <a:lnTo>
                    <a:pt x="2105" y="2111"/>
                  </a:lnTo>
                  <a:lnTo>
                    <a:pt x="2116" y="2111"/>
                  </a:lnTo>
                  <a:lnTo>
                    <a:pt x="2132" y="2112"/>
                  </a:lnTo>
                  <a:lnTo>
                    <a:pt x="2150" y="2114"/>
                  </a:lnTo>
                  <a:lnTo>
                    <a:pt x="2184" y="2117"/>
                  </a:lnTo>
                  <a:lnTo>
                    <a:pt x="2209" y="2120"/>
                  </a:lnTo>
                  <a:lnTo>
                    <a:pt x="2209" y="2116"/>
                  </a:lnTo>
                  <a:lnTo>
                    <a:pt x="2210" y="2114"/>
                  </a:lnTo>
                  <a:lnTo>
                    <a:pt x="2211" y="2114"/>
                  </a:lnTo>
                  <a:lnTo>
                    <a:pt x="2212" y="2114"/>
                  </a:lnTo>
                  <a:lnTo>
                    <a:pt x="2213" y="2113"/>
                  </a:lnTo>
                  <a:lnTo>
                    <a:pt x="2214" y="2113"/>
                  </a:lnTo>
                  <a:lnTo>
                    <a:pt x="2214" y="2111"/>
                  </a:lnTo>
                  <a:lnTo>
                    <a:pt x="2215" y="2107"/>
                  </a:lnTo>
                  <a:lnTo>
                    <a:pt x="2221" y="2107"/>
                  </a:lnTo>
                  <a:lnTo>
                    <a:pt x="2227" y="2106"/>
                  </a:lnTo>
                  <a:lnTo>
                    <a:pt x="2230" y="2106"/>
                  </a:lnTo>
                  <a:lnTo>
                    <a:pt x="2232" y="2105"/>
                  </a:lnTo>
                  <a:lnTo>
                    <a:pt x="2233" y="2103"/>
                  </a:lnTo>
                  <a:lnTo>
                    <a:pt x="2233" y="2101"/>
                  </a:lnTo>
                  <a:lnTo>
                    <a:pt x="2241" y="2101"/>
                  </a:lnTo>
                  <a:lnTo>
                    <a:pt x="2250" y="2100"/>
                  </a:lnTo>
                  <a:lnTo>
                    <a:pt x="2260" y="2097"/>
                  </a:lnTo>
                  <a:lnTo>
                    <a:pt x="2270" y="2096"/>
                  </a:lnTo>
                  <a:lnTo>
                    <a:pt x="2273" y="2094"/>
                  </a:lnTo>
                  <a:lnTo>
                    <a:pt x="2278" y="2092"/>
                  </a:lnTo>
                  <a:lnTo>
                    <a:pt x="2278" y="2083"/>
                  </a:lnTo>
                  <a:lnTo>
                    <a:pt x="2280" y="2083"/>
                  </a:lnTo>
                  <a:lnTo>
                    <a:pt x="2281" y="2081"/>
                  </a:lnTo>
                  <a:lnTo>
                    <a:pt x="2282" y="2077"/>
                  </a:lnTo>
                  <a:lnTo>
                    <a:pt x="2282" y="2074"/>
                  </a:lnTo>
                  <a:lnTo>
                    <a:pt x="2284" y="2072"/>
                  </a:lnTo>
                  <a:lnTo>
                    <a:pt x="2285" y="2065"/>
                  </a:lnTo>
                  <a:lnTo>
                    <a:pt x="2285" y="2056"/>
                  </a:lnTo>
                  <a:lnTo>
                    <a:pt x="2286" y="2045"/>
                  </a:lnTo>
                  <a:lnTo>
                    <a:pt x="2285" y="2035"/>
                  </a:lnTo>
                  <a:lnTo>
                    <a:pt x="2285" y="2025"/>
                  </a:lnTo>
                  <a:lnTo>
                    <a:pt x="2284" y="2019"/>
                  </a:lnTo>
                  <a:lnTo>
                    <a:pt x="2282" y="2016"/>
                  </a:lnTo>
                  <a:lnTo>
                    <a:pt x="2280" y="1992"/>
                  </a:lnTo>
                  <a:lnTo>
                    <a:pt x="2278" y="1969"/>
                  </a:lnTo>
                  <a:lnTo>
                    <a:pt x="2275" y="1946"/>
                  </a:lnTo>
                  <a:lnTo>
                    <a:pt x="2273" y="1922"/>
                  </a:lnTo>
                  <a:lnTo>
                    <a:pt x="2265" y="1909"/>
                  </a:lnTo>
                  <a:lnTo>
                    <a:pt x="2263" y="1890"/>
                  </a:lnTo>
                  <a:lnTo>
                    <a:pt x="2261" y="1867"/>
                  </a:lnTo>
                  <a:lnTo>
                    <a:pt x="2259" y="1856"/>
                  </a:lnTo>
                  <a:lnTo>
                    <a:pt x="2257" y="1846"/>
                  </a:lnTo>
                  <a:lnTo>
                    <a:pt x="2253" y="1836"/>
                  </a:lnTo>
                  <a:lnTo>
                    <a:pt x="2251" y="1830"/>
                  </a:lnTo>
                  <a:lnTo>
                    <a:pt x="2251" y="1713"/>
                  </a:lnTo>
                  <a:lnTo>
                    <a:pt x="2252" y="1711"/>
                  </a:lnTo>
                  <a:lnTo>
                    <a:pt x="2253" y="1706"/>
                  </a:lnTo>
                  <a:lnTo>
                    <a:pt x="2255" y="1697"/>
                  </a:lnTo>
                  <a:lnTo>
                    <a:pt x="2255" y="1688"/>
                  </a:lnTo>
                  <a:lnTo>
                    <a:pt x="2256" y="1668"/>
                  </a:lnTo>
                  <a:lnTo>
                    <a:pt x="2256" y="1655"/>
                  </a:lnTo>
                  <a:lnTo>
                    <a:pt x="2253" y="1650"/>
                  </a:lnTo>
                  <a:lnTo>
                    <a:pt x="2250" y="1642"/>
                  </a:lnTo>
                  <a:lnTo>
                    <a:pt x="2246" y="1635"/>
                  </a:lnTo>
                  <a:lnTo>
                    <a:pt x="2242" y="1633"/>
                  </a:lnTo>
                  <a:lnTo>
                    <a:pt x="2241" y="1628"/>
                  </a:lnTo>
                  <a:lnTo>
                    <a:pt x="2240" y="1620"/>
                  </a:lnTo>
                  <a:lnTo>
                    <a:pt x="2237" y="1613"/>
                  </a:lnTo>
                  <a:lnTo>
                    <a:pt x="2234" y="1605"/>
                  </a:lnTo>
                  <a:lnTo>
                    <a:pt x="2231" y="1597"/>
                  </a:lnTo>
                  <a:lnTo>
                    <a:pt x="2227" y="1592"/>
                  </a:lnTo>
                  <a:lnTo>
                    <a:pt x="2223" y="1586"/>
                  </a:lnTo>
                  <a:lnTo>
                    <a:pt x="2220" y="1584"/>
                  </a:lnTo>
                  <a:lnTo>
                    <a:pt x="2219" y="1578"/>
                  </a:lnTo>
                  <a:lnTo>
                    <a:pt x="2215" y="1573"/>
                  </a:lnTo>
                  <a:lnTo>
                    <a:pt x="2211" y="1566"/>
                  </a:lnTo>
                  <a:lnTo>
                    <a:pt x="2207" y="1559"/>
                  </a:lnTo>
                  <a:lnTo>
                    <a:pt x="2201" y="1553"/>
                  </a:lnTo>
                  <a:lnTo>
                    <a:pt x="2196" y="1546"/>
                  </a:lnTo>
                  <a:lnTo>
                    <a:pt x="2194" y="1540"/>
                  </a:lnTo>
                  <a:lnTo>
                    <a:pt x="2193" y="1535"/>
                  </a:lnTo>
                  <a:lnTo>
                    <a:pt x="2189" y="1533"/>
                  </a:lnTo>
                  <a:lnTo>
                    <a:pt x="2184" y="1530"/>
                  </a:lnTo>
                  <a:lnTo>
                    <a:pt x="2183" y="1527"/>
                  </a:lnTo>
                  <a:lnTo>
                    <a:pt x="2182" y="1524"/>
                  </a:lnTo>
                  <a:lnTo>
                    <a:pt x="2179" y="1520"/>
                  </a:lnTo>
                  <a:lnTo>
                    <a:pt x="2176" y="1518"/>
                  </a:lnTo>
                  <a:lnTo>
                    <a:pt x="2173" y="1516"/>
                  </a:lnTo>
                  <a:lnTo>
                    <a:pt x="2169" y="1514"/>
                  </a:lnTo>
                  <a:lnTo>
                    <a:pt x="2165" y="1513"/>
                  </a:lnTo>
                  <a:lnTo>
                    <a:pt x="2162" y="1513"/>
                  </a:lnTo>
                  <a:lnTo>
                    <a:pt x="2160" y="1508"/>
                  </a:lnTo>
                  <a:lnTo>
                    <a:pt x="2156" y="1504"/>
                  </a:lnTo>
                  <a:lnTo>
                    <a:pt x="2152" y="1500"/>
                  </a:lnTo>
                  <a:lnTo>
                    <a:pt x="2148" y="1499"/>
                  </a:lnTo>
                  <a:lnTo>
                    <a:pt x="2144" y="1495"/>
                  </a:lnTo>
                  <a:lnTo>
                    <a:pt x="2140" y="1486"/>
                  </a:lnTo>
                  <a:lnTo>
                    <a:pt x="2140" y="1472"/>
                  </a:lnTo>
                  <a:lnTo>
                    <a:pt x="2131" y="1468"/>
                  </a:lnTo>
                  <a:lnTo>
                    <a:pt x="2131" y="1459"/>
                  </a:lnTo>
                  <a:lnTo>
                    <a:pt x="2131" y="1450"/>
                  </a:lnTo>
                  <a:lnTo>
                    <a:pt x="2122" y="1441"/>
                  </a:lnTo>
                  <a:lnTo>
                    <a:pt x="2122" y="1423"/>
                  </a:lnTo>
                  <a:lnTo>
                    <a:pt x="2115" y="1414"/>
                  </a:lnTo>
                  <a:lnTo>
                    <a:pt x="2107" y="1400"/>
                  </a:lnTo>
                  <a:lnTo>
                    <a:pt x="2098" y="1381"/>
                  </a:lnTo>
                  <a:lnTo>
                    <a:pt x="2089" y="1360"/>
                  </a:lnTo>
                  <a:lnTo>
                    <a:pt x="2081" y="1340"/>
                  </a:lnTo>
                  <a:lnTo>
                    <a:pt x="2075" y="1319"/>
                  </a:lnTo>
                  <a:lnTo>
                    <a:pt x="2069" y="1304"/>
                  </a:lnTo>
                  <a:lnTo>
                    <a:pt x="2068" y="1294"/>
                  </a:lnTo>
                  <a:lnTo>
                    <a:pt x="2064" y="1290"/>
                  </a:lnTo>
                  <a:lnTo>
                    <a:pt x="2059" y="1286"/>
                  </a:lnTo>
                  <a:lnTo>
                    <a:pt x="2056" y="1280"/>
                  </a:lnTo>
                  <a:lnTo>
                    <a:pt x="2052" y="1275"/>
                  </a:lnTo>
                  <a:lnTo>
                    <a:pt x="2048" y="1263"/>
                  </a:lnTo>
                  <a:lnTo>
                    <a:pt x="2044" y="1249"/>
                  </a:lnTo>
                  <a:lnTo>
                    <a:pt x="2040" y="1235"/>
                  </a:lnTo>
                  <a:lnTo>
                    <a:pt x="2036" y="1221"/>
                  </a:lnTo>
                  <a:lnTo>
                    <a:pt x="2033" y="1216"/>
                  </a:lnTo>
                  <a:lnTo>
                    <a:pt x="2030" y="1210"/>
                  </a:lnTo>
                  <a:lnTo>
                    <a:pt x="2027" y="1205"/>
                  </a:lnTo>
                  <a:lnTo>
                    <a:pt x="2023" y="1200"/>
                  </a:lnTo>
                  <a:lnTo>
                    <a:pt x="2023" y="1182"/>
                  </a:lnTo>
                  <a:lnTo>
                    <a:pt x="2015" y="1167"/>
                  </a:lnTo>
                  <a:lnTo>
                    <a:pt x="2006" y="1151"/>
                  </a:lnTo>
                  <a:lnTo>
                    <a:pt x="2006" y="1138"/>
                  </a:lnTo>
                  <a:lnTo>
                    <a:pt x="1996" y="1125"/>
                  </a:lnTo>
                  <a:lnTo>
                    <a:pt x="1977" y="1102"/>
                  </a:lnTo>
                  <a:lnTo>
                    <a:pt x="1968" y="1088"/>
                  </a:lnTo>
                  <a:lnTo>
                    <a:pt x="1960" y="1077"/>
                  </a:lnTo>
                  <a:lnTo>
                    <a:pt x="1954" y="1067"/>
                  </a:lnTo>
                  <a:lnTo>
                    <a:pt x="1952" y="1062"/>
                  </a:lnTo>
                  <a:lnTo>
                    <a:pt x="1948" y="1053"/>
                  </a:lnTo>
                  <a:lnTo>
                    <a:pt x="1941" y="1048"/>
                  </a:lnTo>
                  <a:lnTo>
                    <a:pt x="1934" y="1044"/>
                  </a:lnTo>
                  <a:lnTo>
                    <a:pt x="1930" y="1036"/>
                  </a:lnTo>
                  <a:lnTo>
                    <a:pt x="1920" y="1021"/>
                  </a:lnTo>
                  <a:lnTo>
                    <a:pt x="1910" y="1008"/>
                  </a:lnTo>
                  <a:lnTo>
                    <a:pt x="1903" y="999"/>
                  </a:lnTo>
                  <a:lnTo>
                    <a:pt x="1903" y="990"/>
                  </a:lnTo>
                  <a:lnTo>
                    <a:pt x="1896" y="984"/>
                  </a:lnTo>
                  <a:lnTo>
                    <a:pt x="1889" y="977"/>
                  </a:lnTo>
                  <a:lnTo>
                    <a:pt x="1889" y="974"/>
                  </a:lnTo>
                  <a:lnTo>
                    <a:pt x="1888" y="969"/>
                  </a:lnTo>
                  <a:lnTo>
                    <a:pt x="1887" y="967"/>
                  </a:lnTo>
                  <a:lnTo>
                    <a:pt x="1886" y="966"/>
                  </a:lnTo>
                  <a:lnTo>
                    <a:pt x="1884" y="965"/>
                  </a:lnTo>
                  <a:lnTo>
                    <a:pt x="1881" y="963"/>
                  </a:lnTo>
                  <a:lnTo>
                    <a:pt x="1876" y="959"/>
                  </a:lnTo>
                  <a:lnTo>
                    <a:pt x="1876" y="950"/>
                  </a:lnTo>
                  <a:lnTo>
                    <a:pt x="1872" y="948"/>
                  </a:lnTo>
                  <a:lnTo>
                    <a:pt x="1867" y="946"/>
                  </a:lnTo>
                  <a:lnTo>
                    <a:pt x="1867" y="937"/>
                  </a:lnTo>
                  <a:lnTo>
                    <a:pt x="1858" y="932"/>
                  </a:lnTo>
                  <a:lnTo>
                    <a:pt x="1858" y="923"/>
                  </a:lnTo>
                  <a:lnTo>
                    <a:pt x="1849" y="914"/>
                  </a:lnTo>
                  <a:lnTo>
                    <a:pt x="1836" y="901"/>
                  </a:lnTo>
                  <a:lnTo>
                    <a:pt x="1826" y="902"/>
                  </a:lnTo>
                  <a:lnTo>
                    <a:pt x="1817" y="904"/>
                  </a:lnTo>
                  <a:lnTo>
                    <a:pt x="1808" y="909"/>
                  </a:lnTo>
                  <a:lnTo>
                    <a:pt x="1800" y="914"/>
                  </a:lnTo>
                  <a:lnTo>
                    <a:pt x="1787" y="914"/>
                  </a:lnTo>
                  <a:lnTo>
                    <a:pt x="1786" y="917"/>
                  </a:lnTo>
                  <a:lnTo>
                    <a:pt x="1782" y="921"/>
                  </a:lnTo>
                  <a:lnTo>
                    <a:pt x="1778" y="927"/>
                  </a:lnTo>
                  <a:lnTo>
                    <a:pt x="1773" y="928"/>
                  </a:lnTo>
                  <a:lnTo>
                    <a:pt x="1773" y="937"/>
                  </a:lnTo>
                  <a:lnTo>
                    <a:pt x="1771" y="938"/>
                  </a:lnTo>
                  <a:lnTo>
                    <a:pt x="1770" y="940"/>
                  </a:lnTo>
                  <a:lnTo>
                    <a:pt x="1769" y="942"/>
                  </a:lnTo>
                  <a:lnTo>
                    <a:pt x="1769" y="946"/>
                  </a:lnTo>
                  <a:lnTo>
                    <a:pt x="1768" y="947"/>
                  </a:lnTo>
                  <a:lnTo>
                    <a:pt x="1767" y="948"/>
                  </a:lnTo>
                  <a:lnTo>
                    <a:pt x="1766" y="949"/>
                  </a:lnTo>
                  <a:lnTo>
                    <a:pt x="1766" y="951"/>
                  </a:lnTo>
                  <a:lnTo>
                    <a:pt x="1764" y="956"/>
                  </a:lnTo>
                  <a:lnTo>
                    <a:pt x="1764" y="959"/>
                  </a:lnTo>
                  <a:lnTo>
                    <a:pt x="1762" y="960"/>
                  </a:lnTo>
                  <a:lnTo>
                    <a:pt x="1761" y="962"/>
                  </a:lnTo>
                  <a:lnTo>
                    <a:pt x="1760" y="965"/>
                  </a:lnTo>
                  <a:lnTo>
                    <a:pt x="1760" y="968"/>
                  </a:lnTo>
                  <a:lnTo>
                    <a:pt x="1757" y="969"/>
                  </a:lnTo>
                  <a:lnTo>
                    <a:pt x="1752" y="971"/>
                  </a:lnTo>
                  <a:lnTo>
                    <a:pt x="1749" y="974"/>
                  </a:lnTo>
                  <a:lnTo>
                    <a:pt x="1744" y="977"/>
                  </a:lnTo>
                  <a:lnTo>
                    <a:pt x="1739" y="980"/>
                  </a:lnTo>
                  <a:lnTo>
                    <a:pt x="1734" y="984"/>
                  </a:lnTo>
                  <a:lnTo>
                    <a:pt x="1730" y="986"/>
                  </a:lnTo>
                  <a:lnTo>
                    <a:pt x="1724" y="986"/>
                  </a:lnTo>
                  <a:lnTo>
                    <a:pt x="1718" y="995"/>
                  </a:lnTo>
                  <a:lnTo>
                    <a:pt x="1711" y="1004"/>
                  </a:lnTo>
                  <a:lnTo>
                    <a:pt x="1671" y="1004"/>
                  </a:lnTo>
                  <a:lnTo>
                    <a:pt x="1671" y="1007"/>
                  </a:lnTo>
                  <a:lnTo>
                    <a:pt x="1668" y="1008"/>
                  </a:lnTo>
                  <a:lnTo>
                    <a:pt x="1665" y="1008"/>
                  </a:lnTo>
                  <a:lnTo>
                    <a:pt x="1662" y="1008"/>
                  </a:lnTo>
                  <a:lnTo>
                    <a:pt x="1662" y="1010"/>
                  </a:lnTo>
                  <a:lnTo>
                    <a:pt x="1660" y="1013"/>
                  </a:lnTo>
                  <a:lnTo>
                    <a:pt x="1656" y="1016"/>
                  </a:lnTo>
                  <a:lnTo>
                    <a:pt x="1653" y="1017"/>
                  </a:lnTo>
                  <a:lnTo>
                    <a:pt x="1653" y="1026"/>
                  </a:lnTo>
                  <a:lnTo>
                    <a:pt x="1649" y="1029"/>
                  </a:lnTo>
                  <a:lnTo>
                    <a:pt x="1645" y="1033"/>
                  </a:lnTo>
                  <a:lnTo>
                    <a:pt x="1642" y="1036"/>
                  </a:lnTo>
                  <a:lnTo>
                    <a:pt x="1639" y="1039"/>
                  </a:lnTo>
                  <a:lnTo>
                    <a:pt x="1636" y="1040"/>
                  </a:lnTo>
                  <a:lnTo>
                    <a:pt x="1634" y="1043"/>
                  </a:lnTo>
                  <a:lnTo>
                    <a:pt x="1632" y="1045"/>
                  </a:lnTo>
                  <a:lnTo>
                    <a:pt x="1630" y="1048"/>
                  </a:lnTo>
                  <a:lnTo>
                    <a:pt x="1596" y="1047"/>
                  </a:lnTo>
                  <a:lnTo>
                    <a:pt x="1560" y="1044"/>
                  </a:lnTo>
                  <a:lnTo>
                    <a:pt x="1527" y="1042"/>
                  </a:lnTo>
                  <a:lnTo>
                    <a:pt x="1497" y="1039"/>
                  </a:lnTo>
                  <a:lnTo>
                    <a:pt x="1488" y="1030"/>
                  </a:lnTo>
                  <a:lnTo>
                    <a:pt x="1479" y="1021"/>
                  </a:lnTo>
                  <a:lnTo>
                    <a:pt x="1470" y="1021"/>
                  </a:lnTo>
                  <a:lnTo>
                    <a:pt x="1465" y="1017"/>
                  </a:lnTo>
                  <a:lnTo>
                    <a:pt x="1465" y="1008"/>
                  </a:lnTo>
                  <a:lnTo>
                    <a:pt x="1464" y="1004"/>
                  </a:lnTo>
                  <a:lnTo>
                    <a:pt x="1463" y="992"/>
                  </a:lnTo>
                  <a:lnTo>
                    <a:pt x="1462" y="976"/>
                  </a:lnTo>
                  <a:lnTo>
                    <a:pt x="1462" y="957"/>
                  </a:lnTo>
                  <a:lnTo>
                    <a:pt x="1462" y="920"/>
                  </a:lnTo>
                  <a:lnTo>
                    <a:pt x="1461" y="901"/>
                  </a:lnTo>
                  <a:lnTo>
                    <a:pt x="1460" y="878"/>
                  </a:lnTo>
                  <a:lnTo>
                    <a:pt x="1456" y="852"/>
                  </a:lnTo>
                  <a:lnTo>
                    <a:pt x="1454" y="827"/>
                  </a:lnTo>
                  <a:lnTo>
                    <a:pt x="1452" y="804"/>
                  </a:lnTo>
                  <a:lnTo>
                    <a:pt x="1443" y="795"/>
                  </a:lnTo>
                  <a:lnTo>
                    <a:pt x="1443" y="779"/>
                  </a:lnTo>
                  <a:lnTo>
                    <a:pt x="1443" y="764"/>
                  </a:lnTo>
                  <a:lnTo>
                    <a:pt x="1441" y="763"/>
                  </a:lnTo>
                  <a:lnTo>
                    <a:pt x="1440" y="760"/>
                  </a:lnTo>
                  <a:lnTo>
                    <a:pt x="1440" y="758"/>
                  </a:lnTo>
                  <a:lnTo>
                    <a:pt x="1438" y="755"/>
                  </a:lnTo>
                  <a:lnTo>
                    <a:pt x="1430" y="746"/>
                  </a:lnTo>
                  <a:lnTo>
                    <a:pt x="1430" y="737"/>
                  </a:lnTo>
                  <a:lnTo>
                    <a:pt x="1425" y="735"/>
                  </a:lnTo>
                  <a:lnTo>
                    <a:pt x="1422" y="732"/>
                  </a:lnTo>
                  <a:lnTo>
                    <a:pt x="1416" y="721"/>
                  </a:lnTo>
                  <a:lnTo>
                    <a:pt x="1413" y="710"/>
                  </a:lnTo>
                  <a:lnTo>
                    <a:pt x="1404" y="706"/>
                  </a:lnTo>
                  <a:lnTo>
                    <a:pt x="1399" y="692"/>
                  </a:lnTo>
                  <a:lnTo>
                    <a:pt x="1395" y="679"/>
                  </a:lnTo>
                  <a:lnTo>
                    <a:pt x="1386" y="674"/>
                  </a:lnTo>
                  <a:lnTo>
                    <a:pt x="1385" y="670"/>
                  </a:lnTo>
                  <a:lnTo>
                    <a:pt x="1382" y="667"/>
                  </a:lnTo>
                  <a:lnTo>
                    <a:pt x="1378" y="662"/>
                  </a:lnTo>
                  <a:lnTo>
                    <a:pt x="1375" y="658"/>
                  </a:lnTo>
                  <a:lnTo>
                    <a:pt x="1370" y="653"/>
                  </a:lnTo>
                  <a:lnTo>
                    <a:pt x="1367" y="649"/>
                  </a:lnTo>
                  <a:lnTo>
                    <a:pt x="1364" y="643"/>
                  </a:lnTo>
                  <a:lnTo>
                    <a:pt x="1364" y="639"/>
                  </a:lnTo>
                  <a:lnTo>
                    <a:pt x="1359" y="636"/>
                  </a:lnTo>
                  <a:lnTo>
                    <a:pt x="1355" y="634"/>
                  </a:lnTo>
                  <a:lnTo>
                    <a:pt x="1350" y="625"/>
                  </a:lnTo>
                  <a:lnTo>
                    <a:pt x="1346" y="616"/>
                  </a:lnTo>
                  <a:lnTo>
                    <a:pt x="1342" y="614"/>
                  </a:lnTo>
                  <a:lnTo>
                    <a:pt x="1337" y="607"/>
                  </a:lnTo>
                  <a:lnTo>
                    <a:pt x="1329" y="599"/>
                  </a:lnTo>
                  <a:lnTo>
                    <a:pt x="1321" y="588"/>
                  </a:lnTo>
                  <a:lnTo>
                    <a:pt x="1313" y="577"/>
                  </a:lnTo>
                  <a:lnTo>
                    <a:pt x="1307" y="567"/>
                  </a:lnTo>
                  <a:lnTo>
                    <a:pt x="1302" y="558"/>
                  </a:lnTo>
                  <a:lnTo>
                    <a:pt x="1301" y="554"/>
                  </a:lnTo>
                  <a:lnTo>
                    <a:pt x="1297" y="549"/>
                  </a:lnTo>
                  <a:lnTo>
                    <a:pt x="1292" y="547"/>
                  </a:lnTo>
                  <a:lnTo>
                    <a:pt x="1288" y="545"/>
                  </a:lnTo>
                  <a:lnTo>
                    <a:pt x="1288" y="536"/>
                  </a:lnTo>
                  <a:lnTo>
                    <a:pt x="1283" y="534"/>
                  </a:lnTo>
                  <a:lnTo>
                    <a:pt x="1279" y="532"/>
                  </a:lnTo>
                  <a:lnTo>
                    <a:pt x="1277" y="525"/>
                  </a:lnTo>
                  <a:lnTo>
                    <a:pt x="1274" y="518"/>
                  </a:lnTo>
                  <a:lnTo>
                    <a:pt x="1265" y="518"/>
                  </a:lnTo>
                  <a:lnTo>
                    <a:pt x="1263" y="514"/>
                  </a:lnTo>
                  <a:lnTo>
                    <a:pt x="1261" y="509"/>
                  </a:lnTo>
                  <a:lnTo>
                    <a:pt x="1258" y="508"/>
                  </a:lnTo>
                  <a:lnTo>
                    <a:pt x="1254" y="506"/>
                  </a:lnTo>
                  <a:lnTo>
                    <a:pt x="1252" y="504"/>
                  </a:lnTo>
                  <a:lnTo>
                    <a:pt x="1252" y="500"/>
                  </a:lnTo>
                  <a:lnTo>
                    <a:pt x="1248" y="496"/>
                  </a:lnTo>
                  <a:lnTo>
                    <a:pt x="1243" y="491"/>
                  </a:lnTo>
                  <a:lnTo>
                    <a:pt x="1239" y="489"/>
                  </a:lnTo>
                  <a:lnTo>
                    <a:pt x="1234" y="487"/>
                  </a:lnTo>
                  <a:lnTo>
                    <a:pt x="1234" y="478"/>
                  </a:lnTo>
                  <a:lnTo>
                    <a:pt x="1230" y="476"/>
                  </a:lnTo>
                  <a:lnTo>
                    <a:pt x="1225" y="474"/>
                  </a:lnTo>
                  <a:lnTo>
                    <a:pt x="1224" y="469"/>
                  </a:lnTo>
                  <a:lnTo>
                    <a:pt x="1222" y="465"/>
                  </a:lnTo>
                  <a:lnTo>
                    <a:pt x="1220" y="461"/>
                  </a:lnTo>
                  <a:lnTo>
                    <a:pt x="1216" y="460"/>
                  </a:lnTo>
                  <a:lnTo>
                    <a:pt x="1215" y="457"/>
                  </a:lnTo>
                  <a:lnTo>
                    <a:pt x="1214" y="452"/>
                  </a:lnTo>
                  <a:lnTo>
                    <a:pt x="1212" y="448"/>
                  </a:lnTo>
                  <a:lnTo>
                    <a:pt x="1209" y="443"/>
                  </a:lnTo>
                  <a:lnTo>
                    <a:pt x="1203" y="437"/>
                  </a:lnTo>
                  <a:lnTo>
                    <a:pt x="1198" y="433"/>
                  </a:lnTo>
                  <a:lnTo>
                    <a:pt x="1196" y="399"/>
                  </a:lnTo>
                  <a:lnTo>
                    <a:pt x="1193" y="361"/>
                  </a:lnTo>
                  <a:lnTo>
                    <a:pt x="1187" y="321"/>
                  </a:lnTo>
                  <a:lnTo>
                    <a:pt x="1181" y="278"/>
                  </a:lnTo>
                  <a:lnTo>
                    <a:pt x="1174" y="236"/>
                  </a:lnTo>
                  <a:lnTo>
                    <a:pt x="1168" y="193"/>
                  </a:lnTo>
                  <a:lnTo>
                    <a:pt x="1166" y="173"/>
                  </a:lnTo>
                  <a:lnTo>
                    <a:pt x="1164" y="153"/>
                  </a:lnTo>
                  <a:lnTo>
                    <a:pt x="1163" y="134"/>
                  </a:lnTo>
                  <a:lnTo>
                    <a:pt x="1163" y="116"/>
                  </a:lnTo>
                  <a:lnTo>
                    <a:pt x="1159" y="116"/>
                  </a:lnTo>
                  <a:lnTo>
                    <a:pt x="1158" y="114"/>
                  </a:lnTo>
                  <a:lnTo>
                    <a:pt x="1158" y="111"/>
                  </a:lnTo>
                  <a:lnTo>
                    <a:pt x="1158" y="107"/>
                  </a:lnTo>
                  <a:lnTo>
                    <a:pt x="1136" y="107"/>
                  </a:lnTo>
                  <a:lnTo>
                    <a:pt x="1135" y="106"/>
                  </a:lnTo>
                  <a:lnTo>
                    <a:pt x="1132" y="105"/>
                  </a:lnTo>
                  <a:lnTo>
                    <a:pt x="1127" y="104"/>
                  </a:lnTo>
                  <a:lnTo>
                    <a:pt x="1121" y="104"/>
                  </a:lnTo>
                  <a:lnTo>
                    <a:pt x="1111" y="103"/>
                  </a:lnTo>
                  <a:lnTo>
                    <a:pt x="1105" y="103"/>
                  </a:lnTo>
                  <a:lnTo>
                    <a:pt x="1104" y="101"/>
                  </a:lnTo>
                  <a:lnTo>
                    <a:pt x="1101" y="100"/>
                  </a:lnTo>
                  <a:lnTo>
                    <a:pt x="1099" y="99"/>
                  </a:lnTo>
                  <a:lnTo>
                    <a:pt x="1096" y="99"/>
                  </a:lnTo>
                  <a:lnTo>
                    <a:pt x="1092" y="97"/>
                  </a:lnTo>
                  <a:lnTo>
                    <a:pt x="1085" y="96"/>
                  </a:lnTo>
                  <a:lnTo>
                    <a:pt x="1073" y="95"/>
                  </a:lnTo>
                  <a:lnTo>
                    <a:pt x="1061" y="95"/>
                  </a:lnTo>
                  <a:lnTo>
                    <a:pt x="1036" y="94"/>
                  </a:lnTo>
                  <a:lnTo>
                    <a:pt x="1020" y="94"/>
                  </a:lnTo>
                  <a:lnTo>
                    <a:pt x="1019" y="96"/>
                  </a:lnTo>
                  <a:lnTo>
                    <a:pt x="1018" y="97"/>
                  </a:lnTo>
                  <a:lnTo>
                    <a:pt x="1017" y="97"/>
                  </a:lnTo>
                  <a:lnTo>
                    <a:pt x="1013" y="99"/>
                  </a:lnTo>
                  <a:lnTo>
                    <a:pt x="1008" y="99"/>
                  </a:lnTo>
                  <a:lnTo>
                    <a:pt x="1000" y="97"/>
                  </a:lnTo>
                  <a:lnTo>
                    <a:pt x="986" y="95"/>
                  </a:lnTo>
                  <a:lnTo>
                    <a:pt x="980" y="94"/>
                  </a:lnTo>
                  <a:lnTo>
                    <a:pt x="972" y="87"/>
                  </a:lnTo>
                  <a:lnTo>
                    <a:pt x="962" y="81"/>
                  </a:lnTo>
                  <a:lnTo>
                    <a:pt x="948" y="81"/>
                  </a:lnTo>
                  <a:lnTo>
                    <a:pt x="948" y="80"/>
                  </a:lnTo>
                  <a:lnTo>
                    <a:pt x="947" y="78"/>
                  </a:lnTo>
                  <a:lnTo>
                    <a:pt x="945" y="77"/>
                  </a:lnTo>
                  <a:lnTo>
                    <a:pt x="943" y="77"/>
                  </a:lnTo>
                  <a:lnTo>
                    <a:pt x="939" y="76"/>
                  </a:lnTo>
                  <a:lnTo>
                    <a:pt x="935" y="76"/>
                  </a:lnTo>
                  <a:lnTo>
                    <a:pt x="934" y="74"/>
                  </a:lnTo>
                  <a:lnTo>
                    <a:pt x="932" y="73"/>
                  </a:lnTo>
                  <a:lnTo>
                    <a:pt x="929" y="72"/>
                  </a:lnTo>
                  <a:lnTo>
                    <a:pt x="926" y="72"/>
                  </a:lnTo>
                  <a:lnTo>
                    <a:pt x="924" y="67"/>
                  </a:lnTo>
                  <a:lnTo>
                    <a:pt x="922" y="63"/>
                  </a:lnTo>
                  <a:lnTo>
                    <a:pt x="917" y="63"/>
                  </a:lnTo>
                  <a:lnTo>
                    <a:pt x="913" y="61"/>
                  </a:lnTo>
                  <a:lnTo>
                    <a:pt x="909" y="57"/>
                  </a:lnTo>
                  <a:lnTo>
                    <a:pt x="908" y="54"/>
                  </a:lnTo>
                  <a:lnTo>
                    <a:pt x="899" y="54"/>
                  </a:lnTo>
                  <a:lnTo>
                    <a:pt x="898" y="51"/>
                  </a:lnTo>
                  <a:lnTo>
                    <a:pt x="897" y="48"/>
                  </a:lnTo>
                  <a:lnTo>
                    <a:pt x="894" y="46"/>
                  </a:lnTo>
                  <a:lnTo>
                    <a:pt x="890" y="45"/>
                  </a:lnTo>
                  <a:lnTo>
                    <a:pt x="889" y="42"/>
                  </a:lnTo>
                  <a:lnTo>
                    <a:pt x="886" y="39"/>
                  </a:lnTo>
                  <a:lnTo>
                    <a:pt x="881" y="37"/>
                  </a:lnTo>
                  <a:lnTo>
                    <a:pt x="877" y="36"/>
                  </a:lnTo>
                  <a:lnTo>
                    <a:pt x="877" y="23"/>
                  </a:lnTo>
                  <a:lnTo>
                    <a:pt x="873" y="20"/>
                  </a:lnTo>
                  <a:lnTo>
                    <a:pt x="868" y="18"/>
                  </a:lnTo>
                  <a:lnTo>
                    <a:pt x="868" y="9"/>
                  </a:lnTo>
                  <a:lnTo>
                    <a:pt x="859" y="9"/>
                  </a:lnTo>
                  <a:lnTo>
                    <a:pt x="84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4" name="Freeform 17">
              <a:extLst>
                <a:ext uri="{FF2B5EF4-FFF2-40B4-BE49-F238E27FC236}">
                  <a16:creationId xmlns:a16="http://schemas.microsoft.com/office/drawing/2014/main" id="{B1474A86-46BF-4AFD-82FC-D6B09C86A83C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451725" y="4187825"/>
              <a:ext cx="389161" cy="193675"/>
            </a:xfrm>
            <a:custGeom>
              <a:avLst/>
              <a:gdLst/>
              <a:ahLst/>
              <a:cxnLst>
                <a:cxn ang="0">
                  <a:pos x="1359" y="1032"/>
                </a:cxn>
                <a:cxn ang="0">
                  <a:pos x="1416" y="1097"/>
                </a:cxn>
                <a:cxn ang="0">
                  <a:pos x="1474" y="1161"/>
                </a:cxn>
                <a:cxn ang="0">
                  <a:pos x="1498" y="1178"/>
                </a:cxn>
                <a:cxn ang="0">
                  <a:pos x="1536" y="1201"/>
                </a:cxn>
                <a:cxn ang="0">
                  <a:pos x="1587" y="1174"/>
                </a:cxn>
                <a:cxn ang="0">
                  <a:pos x="1611" y="1149"/>
                </a:cxn>
                <a:cxn ang="0">
                  <a:pos x="1810" y="1051"/>
                </a:cxn>
                <a:cxn ang="0">
                  <a:pos x="2087" y="925"/>
                </a:cxn>
                <a:cxn ang="0">
                  <a:pos x="2144" y="786"/>
                </a:cxn>
                <a:cxn ang="0">
                  <a:pos x="2087" y="709"/>
                </a:cxn>
                <a:cxn ang="0">
                  <a:pos x="2057" y="682"/>
                </a:cxn>
                <a:cxn ang="0">
                  <a:pos x="1993" y="646"/>
                </a:cxn>
                <a:cxn ang="0">
                  <a:pos x="1829" y="638"/>
                </a:cxn>
                <a:cxn ang="0">
                  <a:pos x="1722" y="577"/>
                </a:cxn>
                <a:cxn ang="0">
                  <a:pos x="1666" y="533"/>
                </a:cxn>
                <a:cxn ang="0">
                  <a:pos x="1580" y="471"/>
                </a:cxn>
                <a:cxn ang="0">
                  <a:pos x="1561" y="446"/>
                </a:cxn>
                <a:cxn ang="0">
                  <a:pos x="1535" y="391"/>
                </a:cxn>
                <a:cxn ang="0">
                  <a:pos x="1535" y="230"/>
                </a:cxn>
                <a:cxn ang="0">
                  <a:pos x="1337" y="241"/>
                </a:cxn>
                <a:cxn ang="0">
                  <a:pos x="1287" y="269"/>
                </a:cxn>
                <a:cxn ang="0">
                  <a:pos x="1230" y="303"/>
                </a:cxn>
                <a:cxn ang="0">
                  <a:pos x="1179" y="356"/>
                </a:cxn>
                <a:cxn ang="0">
                  <a:pos x="1132" y="260"/>
                </a:cxn>
                <a:cxn ang="0">
                  <a:pos x="1095" y="223"/>
                </a:cxn>
                <a:cxn ang="0">
                  <a:pos x="1065" y="218"/>
                </a:cxn>
                <a:cxn ang="0">
                  <a:pos x="1008" y="254"/>
                </a:cxn>
                <a:cxn ang="0">
                  <a:pos x="865" y="267"/>
                </a:cxn>
                <a:cxn ang="0">
                  <a:pos x="806" y="170"/>
                </a:cxn>
                <a:cxn ang="0">
                  <a:pos x="680" y="113"/>
                </a:cxn>
                <a:cxn ang="0">
                  <a:pos x="525" y="89"/>
                </a:cxn>
                <a:cxn ang="0">
                  <a:pos x="369" y="96"/>
                </a:cxn>
                <a:cxn ang="0">
                  <a:pos x="270" y="51"/>
                </a:cxn>
                <a:cxn ang="0">
                  <a:pos x="210" y="2"/>
                </a:cxn>
                <a:cxn ang="0">
                  <a:pos x="15" y="28"/>
                </a:cxn>
                <a:cxn ang="0">
                  <a:pos x="38" y="316"/>
                </a:cxn>
                <a:cxn ang="0">
                  <a:pos x="72" y="393"/>
                </a:cxn>
                <a:cxn ang="0">
                  <a:pos x="107" y="435"/>
                </a:cxn>
                <a:cxn ang="0">
                  <a:pos x="155" y="494"/>
                </a:cxn>
                <a:cxn ang="0">
                  <a:pos x="212" y="570"/>
                </a:cxn>
                <a:cxn ang="0">
                  <a:pos x="267" y="652"/>
                </a:cxn>
                <a:cxn ang="0">
                  <a:pos x="298" y="769"/>
                </a:cxn>
                <a:cxn ang="0">
                  <a:pos x="330" y="947"/>
                </a:cxn>
                <a:cxn ang="0">
                  <a:pos x="491" y="946"/>
                </a:cxn>
                <a:cxn ang="0">
                  <a:pos x="560" y="912"/>
                </a:cxn>
                <a:cxn ang="0">
                  <a:pos x="604" y="877"/>
                </a:cxn>
                <a:cxn ang="0">
                  <a:pos x="615" y="845"/>
                </a:cxn>
                <a:cxn ang="0">
                  <a:pos x="658" y="697"/>
                </a:cxn>
                <a:cxn ang="0">
                  <a:pos x="628" y="606"/>
                </a:cxn>
                <a:cxn ang="0">
                  <a:pos x="766" y="606"/>
                </a:cxn>
                <a:cxn ang="0">
                  <a:pos x="902" y="652"/>
                </a:cxn>
                <a:cxn ang="0">
                  <a:pos x="1017" y="687"/>
                </a:cxn>
                <a:cxn ang="0">
                  <a:pos x="1191" y="731"/>
                </a:cxn>
                <a:cxn ang="0">
                  <a:pos x="1232" y="754"/>
                </a:cxn>
                <a:cxn ang="0">
                  <a:pos x="1364" y="807"/>
                </a:cxn>
                <a:cxn ang="0">
                  <a:pos x="1391" y="825"/>
                </a:cxn>
                <a:cxn ang="0">
                  <a:pos x="1411" y="844"/>
                </a:cxn>
                <a:cxn ang="0">
                  <a:pos x="1443" y="894"/>
                </a:cxn>
                <a:cxn ang="0">
                  <a:pos x="1441" y="917"/>
                </a:cxn>
              </a:cxnLst>
              <a:rect l="0" t="0" r="r" b="b"/>
              <a:pathLst>
                <a:path w="2153" h="1210">
                  <a:moveTo>
                    <a:pt x="1424" y="931"/>
                  </a:moveTo>
                  <a:lnTo>
                    <a:pt x="1409" y="951"/>
                  </a:lnTo>
                  <a:lnTo>
                    <a:pt x="1399" y="962"/>
                  </a:lnTo>
                  <a:lnTo>
                    <a:pt x="1387" y="962"/>
                  </a:lnTo>
                  <a:lnTo>
                    <a:pt x="1386" y="966"/>
                  </a:lnTo>
                  <a:lnTo>
                    <a:pt x="1383" y="970"/>
                  </a:lnTo>
                  <a:lnTo>
                    <a:pt x="1379" y="973"/>
                  </a:lnTo>
                  <a:lnTo>
                    <a:pt x="1374" y="974"/>
                  </a:lnTo>
                  <a:lnTo>
                    <a:pt x="1371" y="985"/>
                  </a:lnTo>
                  <a:lnTo>
                    <a:pt x="1366" y="1008"/>
                  </a:lnTo>
                  <a:lnTo>
                    <a:pt x="1361" y="1020"/>
                  </a:lnTo>
                  <a:lnTo>
                    <a:pt x="1359" y="1032"/>
                  </a:lnTo>
                  <a:lnTo>
                    <a:pt x="1357" y="1045"/>
                  </a:lnTo>
                  <a:lnTo>
                    <a:pt x="1355" y="1055"/>
                  </a:lnTo>
                  <a:lnTo>
                    <a:pt x="1362" y="1065"/>
                  </a:lnTo>
                  <a:lnTo>
                    <a:pt x="1368" y="1079"/>
                  </a:lnTo>
                  <a:lnTo>
                    <a:pt x="1372" y="1080"/>
                  </a:lnTo>
                  <a:lnTo>
                    <a:pt x="1378" y="1084"/>
                  </a:lnTo>
                  <a:lnTo>
                    <a:pt x="1382" y="1087"/>
                  </a:lnTo>
                  <a:lnTo>
                    <a:pt x="1387" y="1091"/>
                  </a:lnTo>
                  <a:lnTo>
                    <a:pt x="1411" y="1091"/>
                  </a:lnTo>
                  <a:lnTo>
                    <a:pt x="1412" y="1094"/>
                  </a:lnTo>
                  <a:lnTo>
                    <a:pt x="1414" y="1096"/>
                  </a:lnTo>
                  <a:lnTo>
                    <a:pt x="1416" y="1097"/>
                  </a:lnTo>
                  <a:lnTo>
                    <a:pt x="1418" y="1097"/>
                  </a:lnTo>
                  <a:lnTo>
                    <a:pt x="1425" y="1098"/>
                  </a:lnTo>
                  <a:lnTo>
                    <a:pt x="1430" y="1098"/>
                  </a:lnTo>
                  <a:lnTo>
                    <a:pt x="1436" y="1105"/>
                  </a:lnTo>
                  <a:lnTo>
                    <a:pt x="1443" y="1110"/>
                  </a:lnTo>
                  <a:lnTo>
                    <a:pt x="1445" y="1116"/>
                  </a:lnTo>
                  <a:lnTo>
                    <a:pt x="1449" y="1123"/>
                  </a:lnTo>
                  <a:lnTo>
                    <a:pt x="1456" y="1129"/>
                  </a:lnTo>
                  <a:lnTo>
                    <a:pt x="1462" y="1135"/>
                  </a:lnTo>
                  <a:lnTo>
                    <a:pt x="1462" y="1147"/>
                  </a:lnTo>
                  <a:lnTo>
                    <a:pt x="1467" y="1154"/>
                  </a:lnTo>
                  <a:lnTo>
                    <a:pt x="1474" y="1161"/>
                  </a:lnTo>
                  <a:lnTo>
                    <a:pt x="1477" y="1161"/>
                  </a:lnTo>
                  <a:lnTo>
                    <a:pt x="1479" y="1161"/>
                  </a:lnTo>
                  <a:lnTo>
                    <a:pt x="1479" y="1162"/>
                  </a:lnTo>
                  <a:lnTo>
                    <a:pt x="1479" y="1163"/>
                  </a:lnTo>
                  <a:lnTo>
                    <a:pt x="1479" y="1164"/>
                  </a:lnTo>
                  <a:lnTo>
                    <a:pt x="1481" y="1165"/>
                  </a:lnTo>
                  <a:lnTo>
                    <a:pt x="1483" y="1166"/>
                  </a:lnTo>
                  <a:lnTo>
                    <a:pt x="1486" y="1166"/>
                  </a:lnTo>
                  <a:lnTo>
                    <a:pt x="1487" y="1171"/>
                  </a:lnTo>
                  <a:lnTo>
                    <a:pt x="1489" y="1175"/>
                  </a:lnTo>
                  <a:lnTo>
                    <a:pt x="1494" y="1177"/>
                  </a:lnTo>
                  <a:lnTo>
                    <a:pt x="1498" y="1178"/>
                  </a:lnTo>
                  <a:lnTo>
                    <a:pt x="1498" y="1182"/>
                  </a:lnTo>
                  <a:lnTo>
                    <a:pt x="1499" y="1184"/>
                  </a:lnTo>
                  <a:lnTo>
                    <a:pt x="1501" y="1185"/>
                  </a:lnTo>
                  <a:lnTo>
                    <a:pt x="1502" y="1185"/>
                  </a:lnTo>
                  <a:lnTo>
                    <a:pt x="1503" y="1185"/>
                  </a:lnTo>
                  <a:lnTo>
                    <a:pt x="1504" y="1186"/>
                  </a:lnTo>
                  <a:lnTo>
                    <a:pt x="1504" y="1187"/>
                  </a:lnTo>
                  <a:lnTo>
                    <a:pt x="1505" y="1191"/>
                  </a:lnTo>
                  <a:lnTo>
                    <a:pt x="1512" y="1192"/>
                  </a:lnTo>
                  <a:lnTo>
                    <a:pt x="1520" y="1194"/>
                  </a:lnTo>
                  <a:lnTo>
                    <a:pt x="1527" y="1197"/>
                  </a:lnTo>
                  <a:lnTo>
                    <a:pt x="1536" y="1201"/>
                  </a:lnTo>
                  <a:lnTo>
                    <a:pt x="1545" y="1204"/>
                  </a:lnTo>
                  <a:lnTo>
                    <a:pt x="1554" y="1206"/>
                  </a:lnTo>
                  <a:lnTo>
                    <a:pt x="1563" y="1209"/>
                  </a:lnTo>
                  <a:lnTo>
                    <a:pt x="1573" y="1210"/>
                  </a:lnTo>
                  <a:lnTo>
                    <a:pt x="1577" y="1196"/>
                  </a:lnTo>
                  <a:lnTo>
                    <a:pt x="1579" y="1178"/>
                  </a:lnTo>
                  <a:lnTo>
                    <a:pt x="1583" y="1178"/>
                  </a:lnTo>
                  <a:lnTo>
                    <a:pt x="1584" y="1177"/>
                  </a:lnTo>
                  <a:lnTo>
                    <a:pt x="1585" y="1177"/>
                  </a:lnTo>
                  <a:lnTo>
                    <a:pt x="1585" y="1175"/>
                  </a:lnTo>
                  <a:lnTo>
                    <a:pt x="1585" y="1174"/>
                  </a:lnTo>
                  <a:lnTo>
                    <a:pt x="1587" y="1174"/>
                  </a:lnTo>
                  <a:lnTo>
                    <a:pt x="1588" y="1173"/>
                  </a:lnTo>
                  <a:lnTo>
                    <a:pt x="1591" y="1173"/>
                  </a:lnTo>
                  <a:lnTo>
                    <a:pt x="1592" y="1165"/>
                  </a:lnTo>
                  <a:lnTo>
                    <a:pt x="1592" y="1161"/>
                  </a:lnTo>
                  <a:lnTo>
                    <a:pt x="1593" y="1159"/>
                  </a:lnTo>
                  <a:lnTo>
                    <a:pt x="1594" y="1158"/>
                  </a:lnTo>
                  <a:lnTo>
                    <a:pt x="1596" y="1158"/>
                  </a:lnTo>
                  <a:lnTo>
                    <a:pt x="1597" y="1158"/>
                  </a:lnTo>
                  <a:lnTo>
                    <a:pt x="1598" y="1157"/>
                  </a:lnTo>
                  <a:lnTo>
                    <a:pt x="1598" y="1154"/>
                  </a:lnTo>
                  <a:lnTo>
                    <a:pt x="1604" y="1153"/>
                  </a:lnTo>
                  <a:lnTo>
                    <a:pt x="1611" y="1149"/>
                  </a:lnTo>
                  <a:lnTo>
                    <a:pt x="1618" y="1145"/>
                  </a:lnTo>
                  <a:lnTo>
                    <a:pt x="1626" y="1139"/>
                  </a:lnTo>
                  <a:lnTo>
                    <a:pt x="1633" y="1134"/>
                  </a:lnTo>
                  <a:lnTo>
                    <a:pt x="1642" y="1129"/>
                  </a:lnTo>
                  <a:lnTo>
                    <a:pt x="1649" y="1125"/>
                  </a:lnTo>
                  <a:lnTo>
                    <a:pt x="1657" y="1123"/>
                  </a:lnTo>
                  <a:lnTo>
                    <a:pt x="1678" y="1118"/>
                  </a:lnTo>
                  <a:lnTo>
                    <a:pt x="1709" y="1109"/>
                  </a:lnTo>
                  <a:lnTo>
                    <a:pt x="1740" y="1101"/>
                  </a:lnTo>
                  <a:lnTo>
                    <a:pt x="1760" y="1098"/>
                  </a:lnTo>
                  <a:lnTo>
                    <a:pt x="1777" y="1079"/>
                  </a:lnTo>
                  <a:lnTo>
                    <a:pt x="1810" y="1051"/>
                  </a:lnTo>
                  <a:lnTo>
                    <a:pt x="1831" y="1036"/>
                  </a:lnTo>
                  <a:lnTo>
                    <a:pt x="1856" y="1019"/>
                  </a:lnTo>
                  <a:lnTo>
                    <a:pt x="1869" y="1011"/>
                  </a:lnTo>
                  <a:lnTo>
                    <a:pt x="1884" y="1003"/>
                  </a:lnTo>
                  <a:lnTo>
                    <a:pt x="1899" y="994"/>
                  </a:lnTo>
                  <a:lnTo>
                    <a:pt x="1916" y="988"/>
                  </a:lnTo>
                  <a:lnTo>
                    <a:pt x="1953" y="972"/>
                  </a:lnTo>
                  <a:lnTo>
                    <a:pt x="1987" y="959"/>
                  </a:lnTo>
                  <a:lnTo>
                    <a:pt x="2017" y="947"/>
                  </a:lnTo>
                  <a:lnTo>
                    <a:pt x="2044" y="940"/>
                  </a:lnTo>
                  <a:lnTo>
                    <a:pt x="2067" y="932"/>
                  </a:lnTo>
                  <a:lnTo>
                    <a:pt x="2087" y="925"/>
                  </a:lnTo>
                  <a:lnTo>
                    <a:pt x="2102" y="920"/>
                  </a:lnTo>
                  <a:lnTo>
                    <a:pt x="2116" y="914"/>
                  </a:lnTo>
                  <a:lnTo>
                    <a:pt x="2122" y="909"/>
                  </a:lnTo>
                  <a:lnTo>
                    <a:pt x="2128" y="904"/>
                  </a:lnTo>
                  <a:lnTo>
                    <a:pt x="2131" y="897"/>
                  </a:lnTo>
                  <a:lnTo>
                    <a:pt x="2132" y="889"/>
                  </a:lnTo>
                  <a:lnTo>
                    <a:pt x="2135" y="864"/>
                  </a:lnTo>
                  <a:lnTo>
                    <a:pt x="2135" y="820"/>
                  </a:lnTo>
                  <a:lnTo>
                    <a:pt x="2136" y="811"/>
                  </a:lnTo>
                  <a:lnTo>
                    <a:pt x="2138" y="802"/>
                  </a:lnTo>
                  <a:lnTo>
                    <a:pt x="2140" y="793"/>
                  </a:lnTo>
                  <a:lnTo>
                    <a:pt x="2144" y="786"/>
                  </a:lnTo>
                  <a:lnTo>
                    <a:pt x="2147" y="777"/>
                  </a:lnTo>
                  <a:lnTo>
                    <a:pt x="2149" y="769"/>
                  </a:lnTo>
                  <a:lnTo>
                    <a:pt x="2151" y="761"/>
                  </a:lnTo>
                  <a:lnTo>
                    <a:pt x="2153" y="753"/>
                  </a:lnTo>
                  <a:lnTo>
                    <a:pt x="2147" y="753"/>
                  </a:lnTo>
                  <a:lnTo>
                    <a:pt x="2142" y="752"/>
                  </a:lnTo>
                  <a:lnTo>
                    <a:pt x="2137" y="749"/>
                  </a:lnTo>
                  <a:lnTo>
                    <a:pt x="2131" y="747"/>
                  </a:lnTo>
                  <a:lnTo>
                    <a:pt x="2121" y="738"/>
                  </a:lnTo>
                  <a:lnTo>
                    <a:pt x="2110" y="729"/>
                  </a:lnTo>
                  <a:lnTo>
                    <a:pt x="2099" y="719"/>
                  </a:lnTo>
                  <a:lnTo>
                    <a:pt x="2087" y="709"/>
                  </a:lnTo>
                  <a:lnTo>
                    <a:pt x="2081" y="704"/>
                  </a:lnTo>
                  <a:lnTo>
                    <a:pt x="2076" y="701"/>
                  </a:lnTo>
                  <a:lnTo>
                    <a:pt x="2069" y="697"/>
                  </a:lnTo>
                  <a:lnTo>
                    <a:pt x="2063" y="695"/>
                  </a:lnTo>
                  <a:lnTo>
                    <a:pt x="2063" y="691"/>
                  </a:lnTo>
                  <a:lnTo>
                    <a:pt x="2062" y="690"/>
                  </a:lnTo>
                  <a:lnTo>
                    <a:pt x="2061" y="688"/>
                  </a:lnTo>
                  <a:lnTo>
                    <a:pt x="2060" y="688"/>
                  </a:lnTo>
                  <a:lnTo>
                    <a:pt x="2059" y="688"/>
                  </a:lnTo>
                  <a:lnTo>
                    <a:pt x="2058" y="687"/>
                  </a:lnTo>
                  <a:lnTo>
                    <a:pt x="2058" y="686"/>
                  </a:lnTo>
                  <a:lnTo>
                    <a:pt x="2057" y="682"/>
                  </a:lnTo>
                  <a:lnTo>
                    <a:pt x="2044" y="682"/>
                  </a:lnTo>
                  <a:lnTo>
                    <a:pt x="2044" y="680"/>
                  </a:lnTo>
                  <a:lnTo>
                    <a:pt x="2042" y="677"/>
                  </a:lnTo>
                  <a:lnTo>
                    <a:pt x="2039" y="674"/>
                  </a:lnTo>
                  <a:lnTo>
                    <a:pt x="2034" y="671"/>
                  </a:lnTo>
                  <a:lnTo>
                    <a:pt x="2026" y="666"/>
                  </a:lnTo>
                  <a:lnTo>
                    <a:pt x="2020" y="664"/>
                  </a:lnTo>
                  <a:lnTo>
                    <a:pt x="2017" y="659"/>
                  </a:lnTo>
                  <a:lnTo>
                    <a:pt x="2014" y="656"/>
                  </a:lnTo>
                  <a:lnTo>
                    <a:pt x="2010" y="653"/>
                  </a:lnTo>
                  <a:lnTo>
                    <a:pt x="2004" y="649"/>
                  </a:lnTo>
                  <a:lnTo>
                    <a:pt x="1993" y="646"/>
                  </a:lnTo>
                  <a:lnTo>
                    <a:pt x="1980" y="644"/>
                  </a:lnTo>
                  <a:lnTo>
                    <a:pt x="1965" y="643"/>
                  </a:lnTo>
                  <a:lnTo>
                    <a:pt x="1948" y="643"/>
                  </a:lnTo>
                  <a:lnTo>
                    <a:pt x="1932" y="644"/>
                  </a:lnTo>
                  <a:lnTo>
                    <a:pt x="1915" y="644"/>
                  </a:lnTo>
                  <a:lnTo>
                    <a:pt x="1897" y="645"/>
                  </a:lnTo>
                  <a:lnTo>
                    <a:pt x="1880" y="645"/>
                  </a:lnTo>
                  <a:lnTo>
                    <a:pt x="1863" y="645"/>
                  </a:lnTo>
                  <a:lnTo>
                    <a:pt x="1849" y="644"/>
                  </a:lnTo>
                  <a:lnTo>
                    <a:pt x="1842" y="643"/>
                  </a:lnTo>
                  <a:lnTo>
                    <a:pt x="1836" y="641"/>
                  </a:lnTo>
                  <a:lnTo>
                    <a:pt x="1829" y="638"/>
                  </a:lnTo>
                  <a:lnTo>
                    <a:pt x="1824" y="636"/>
                  </a:lnTo>
                  <a:lnTo>
                    <a:pt x="1819" y="633"/>
                  </a:lnTo>
                  <a:lnTo>
                    <a:pt x="1815" y="629"/>
                  </a:lnTo>
                  <a:lnTo>
                    <a:pt x="1811" y="625"/>
                  </a:lnTo>
                  <a:lnTo>
                    <a:pt x="1809" y="620"/>
                  </a:lnTo>
                  <a:lnTo>
                    <a:pt x="1784" y="620"/>
                  </a:lnTo>
                  <a:lnTo>
                    <a:pt x="1776" y="614"/>
                  </a:lnTo>
                  <a:lnTo>
                    <a:pt x="1757" y="598"/>
                  </a:lnTo>
                  <a:lnTo>
                    <a:pt x="1747" y="590"/>
                  </a:lnTo>
                  <a:lnTo>
                    <a:pt x="1737" y="584"/>
                  </a:lnTo>
                  <a:lnTo>
                    <a:pt x="1728" y="579"/>
                  </a:lnTo>
                  <a:lnTo>
                    <a:pt x="1722" y="577"/>
                  </a:lnTo>
                  <a:lnTo>
                    <a:pt x="1716" y="570"/>
                  </a:lnTo>
                  <a:lnTo>
                    <a:pt x="1715" y="567"/>
                  </a:lnTo>
                  <a:lnTo>
                    <a:pt x="1715" y="566"/>
                  </a:lnTo>
                  <a:lnTo>
                    <a:pt x="1714" y="565"/>
                  </a:lnTo>
                  <a:lnTo>
                    <a:pt x="1713" y="565"/>
                  </a:lnTo>
                  <a:lnTo>
                    <a:pt x="1712" y="565"/>
                  </a:lnTo>
                  <a:lnTo>
                    <a:pt x="1710" y="563"/>
                  </a:lnTo>
                  <a:lnTo>
                    <a:pt x="1709" y="562"/>
                  </a:lnTo>
                  <a:lnTo>
                    <a:pt x="1709" y="558"/>
                  </a:lnTo>
                  <a:lnTo>
                    <a:pt x="1694" y="552"/>
                  </a:lnTo>
                  <a:lnTo>
                    <a:pt x="1678" y="546"/>
                  </a:lnTo>
                  <a:lnTo>
                    <a:pt x="1666" y="533"/>
                  </a:lnTo>
                  <a:lnTo>
                    <a:pt x="1654" y="521"/>
                  </a:lnTo>
                  <a:lnTo>
                    <a:pt x="1635" y="521"/>
                  </a:lnTo>
                  <a:lnTo>
                    <a:pt x="1622" y="509"/>
                  </a:lnTo>
                  <a:lnTo>
                    <a:pt x="1610" y="509"/>
                  </a:lnTo>
                  <a:lnTo>
                    <a:pt x="1608" y="503"/>
                  </a:lnTo>
                  <a:lnTo>
                    <a:pt x="1603" y="497"/>
                  </a:lnTo>
                  <a:lnTo>
                    <a:pt x="1597" y="492"/>
                  </a:lnTo>
                  <a:lnTo>
                    <a:pt x="1591" y="490"/>
                  </a:lnTo>
                  <a:lnTo>
                    <a:pt x="1589" y="481"/>
                  </a:lnTo>
                  <a:lnTo>
                    <a:pt x="1585" y="471"/>
                  </a:lnTo>
                  <a:lnTo>
                    <a:pt x="1582" y="471"/>
                  </a:lnTo>
                  <a:lnTo>
                    <a:pt x="1580" y="471"/>
                  </a:lnTo>
                  <a:lnTo>
                    <a:pt x="1579" y="470"/>
                  </a:lnTo>
                  <a:lnTo>
                    <a:pt x="1579" y="469"/>
                  </a:lnTo>
                  <a:lnTo>
                    <a:pt x="1579" y="468"/>
                  </a:lnTo>
                  <a:lnTo>
                    <a:pt x="1579" y="466"/>
                  </a:lnTo>
                  <a:lnTo>
                    <a:pt x="1577" y="465"/>
                  </a:lnTo>
                  <a:lnTo>
                    <a:pt x="1573" y="465"/>
                  </a:lnTo>
                  <a:lnTo>
                    <a:pt x="1572" y="460"/>
                  </a:lnTo>
                  <a:lnTo>
                    <a:pt x="1569" y="453"/>
                  </a:lnTo>
                  <a:lnTo>
                    <a:pt x="1568" y="451"/>
                  </a:lnTo>
                  <a:lnTo>
                    <a:pt x="1565" y="449"/>
                  </a:lnTo>
                  <a:lnTo>
                    <a:pt x="1563" y="447"/>
                  </a:lnTo>
                  <a:lnTo>
                    <a:pt x="1561" y="446"/>
                  </a:lnTo>
                  <a:lnTo>
                    <a:pt x="1561" y="434"/>
                  </a:lnTo>
                  <a:lnTo>
                    <a:pt x="1549" y="434"/>
                  </a:lnTo>
                  <a:lnTo>
                    <a:pt x="1549" y="422"/>
                  </a:lnTo>
                  <a:lnTo>
                    <a:pt x="1544" y="422"/>
                  </a:lnTo>
                  <a:lnTo>
                    <a:pt x="1543" y="421"/>
                  </a:lnTo>
                  <a:lnTo>
                    <a:pt x="1542" y="420"/>
                  </a:lnTo>
                  <a:lnTo>
                    <a:pt x="1542" y="418"/>
                  </a:lnTo>
                  <a:lnTo>
                    <a:pt x="1542" y="417"/>
                  </a:lnTo>
                  <a:lnTo>
                    <a:pt x="1541" y="416"/>
                  </a:lnTo>
                  <a:lnTo>
                    <a:pt x="1540" y="416"/>
                  </a:lnTo>
                  <a:lnTo>
                    <a:pt x="1535" y="415"/>
                  </a:lnTo>
                  <a:lnTo>
                    <a:pt x="1535" y="391"/>
                  </a:lnTo>
                  <a:lnTo>
                    <a:pt x="1534" y="385"/>
                  </a:lnTo>
                  <a:lnTo>
                    <a:pt x="1532" y="370"/>
                  </a:lnTo>
                  <a:lnTo>
                    <a:pt x="1531" y="348"/>
                  </a:lnTo>
                  <a:lnTo>
                    <a:pt x="1531" y="324"/>
                  </a:lnTo>
                  <a:lnTo>
                    <a:pt x="1530" y="273"/>
                  </a:lnTo>
                  <a:lnTo>
                    <a:pt x="1530" y="242"/>
                  </a:lnTo>
                  <a:lnTo>
                    <a:pt x="1532" y="242"/>
                  </a:lnTo>
                  <a:lnTo>
                    <a:pt x="1533" y="241"/>
                  </a:lnTo>
                  <a:lnTo>
                    <a:pt x="1534" y="240"/>
                  </a:lnTo>
                  <a:lnTo>
                    <a:pt x="1535" y="238"/>
                  </a:lnTo>
                  <a:lnTo>
                    <a:pt x="1535" y="234"/>
                  </a:lnTo>
                  <a:lnTo>
                    <a:pt x="1535" y="230"/>
                  </a:lnTo>
                  <a:lnTo>
                    <a:pt x="1530" y="223"/>
                  </a:lnTo>
                  <a:lnTo>
                    <a:pt x="1523" y="218"/>
                  </a:lnTo>
                  <a:lnTo>
                    <a:pt x="1499" y="218"/>
                  </a:lnTo>
                  <a:lnTo>
                    <a:pt x="1475" y="220"/>
                  </a:lnTo>
                  <a:lnTo>
                    <a:pt x="1450" y="223"/>
                  </a:lnTo>
                  <a:lnTo>
                    <a:pt x="1426" y="226"/>
                  </a:lnTo>
                  <a:lnTo>
                    <a:pt x="1401" y="230"/>
                  </a:lnTo>
                  <a:lnTo>
                    <a:pt x="1379" y="233"/>
                  </a:lnTo>
                  <a:lnTo>
                    <a:pt x="1357" y="234"/>
                  </a:lnTo>
                  <a:lnTo>
                    <a:pt x="1338" y="235"/>
                  </a:lnTo>
                  <a:lnTo>
                    <a:pt x="1337" y="239"/>
                  </a:lnTo>
                  <a:lnTo>
                    <a:pt x="1337" y="241"/>
                  </a:lnTo>
                  <a:lnTo>
                    <a:pt x="1335" y="242"/>
                  </a:lnTo>
                  <a:lnTo>
                    <a:pt x="1334" y="242"/>
                  </a:lnTo>
                  <a:lnTo>
                    <a:pt x="1333" y="242"/>
                  </a:lnTo>
                  <a:lnTo>
                    <a:pt x="1332" y="242"/>
                  </a:lnTo>
                  <a:lnTo>
                    <a:pt x="1331" y="244"/>
                  </a:lnTo>
                  <a:lnTo>
                    <a:pt x="1331" y="248"/>
                  </a:lnTo>
                  <a:lnTo>
                    <a:pt x="1325" y="249"/>
                  </a:lnTo>
                  <a:lnTo>
                    <a:pt x="1318" y="251"/>
                  </a:lnTo>
                  <a:lnTo>
                    <a:pt x="1310" y="254"/>
                  </a:lnTo>
                  <a:lnTo>
                    <a:pt x="1302" y="259"/>
                  </a:lnTo>
                  <a:lnTo>
                    <a:pt x="1294" y="263"/>
                  </a:lnTo>
                  <a:lnTo>
                    <a:pt x="1287" y="269"/>
                  </a:lnTo>
                  <a:lnTo>
                    <a:pt x="1285" y="271"/>
                  </a:lnTo>
                  <a:lnTo>
                    <a:pt x="1283" y="274"/>
                  </a:lnTo>
                  <a:lnTo>
                    <a:pt x="1282" y="277"/>
                  </a:lnTo>
                  <a:lnTo>
                    <a:pt x="1281" y="279"/>
                  </a:lnTo>
                  <a:lnTo>
                    <a:pt x="1268" y="279"/>
                  </a:lnTo>
                  <a:lnTo>
                    <a:pt x="1263" y="286"/>
                  </a:lnTo>
                  <a:lnTo>
                    <a:pt x="1263" y="298"/>
                  </a:lnTo>
                  <a:lnTo>
                    <a:pt x="1251" y="298"/>
                  </a:lnTo>
                  <a:lnTo>
                    <a:pt x="1248" y="300"/>
                  </a:lnTo>
                  <a:lnTo>
                    <a:pt x="1244" y="301"/>
                  </a:lnTo>
                  <a:lnTo>
                    <a:pt x="1238" y="302"/>
                  </a:lnTo>
                  <a:lnTo>
                    <a:pt x="1230" y="303"/>
                  </a:lnTo>
                  <a:lnTo>
                    <a:pt x="1216" y="303"/>
                  </a:lnTo>
                  <a:lnTo>
                    <a:pt x="1207" y="303"/>
                  </a:lnTo>
                  <a:lnTo>
                    <a:pt x="1207" y="316"/>
                  </a:lnTo>
                  <a:lnTo>
                    <a:pt x="1205" y="318"/>
                  </a:lnTo>
                  <a:lnTo>
                    <a:pt x="1204" y="322"/>
                  </a:lnTo>
                  <a:lnTo>
                    <a:pt x="1203" y="328"/>
                  </a:lnTo>
                  <a:lnTo>
                    <a:pt x="1201" y="336"/>
                  </a:lnTo>
                  <a:lnTo>
                    <a:pt x="1200" y="350"/>
                  </a:lnTo>
                  <a:lnTo>
                    <a:pt x="1200" y="359"/>
                  </a:lnTo>
                  <a:lnTo>
                    <a:pt x="1193" y="359"/>
                  </a:lnTo>
                  <a:lnTo>
                    <a:pt x="1185" y="358"/>
                  </a:lnTo>
                  <a:lnTo>
                    <a:pt x="1179" y="356"/>
                  </a:lnTo>
                  <a:lnTo>
                    <a:pt x="1174" y="353"/>
                  </a:lnTo>
                  <a:lnTo>
                    <a:pt x="1163" y="347"/>
                  </a:lnTo>
                  <a:lnTo>
                    <a:pt x="1151" y="341"/>
                  </a:lnTo>
                  <a:lnTo>
                    <a:pt x="1151" y="298"/>
                  </a:lnTo>
                  <a:lnTo>
                    <a:pt x="1149" y="298"/>
                  </a:lnTo>
                  <a:lnTo>
                    <a:pt x="1148" y="297"/>
                  </a:lnTo>
                  <a:lnTo>
                    <a:pt x="1147" y="296"/>
                  </a:lnTo>
                  <a:lnTo>
                    <a:pt x="1146" y="293"/>
                  </a:lnTo>
                  <a:lnTo>
                    <a:pt x="1145" y="290"/>
                  </a:lnTo>
                  <a:lnTo>
                    <a:pt x="1145" y="286"/>
                  </a:lnTo>
                  <a:lnTo>
                    <a:pt x="1139" y="276"/>
                  </a:lnTo>
                  <a:lnTo>
                    <a:pt x="1132" y="260"/>
                  </a:lnTo>
                  <a:lnTo>
                    <a:pt x="1130" y="260"/>
                  </a:lnTo>
                  <a:lnTo>
                    <a:pt x="1127" y="258"/>
                  </a:lnTo>
                  <a:lnTo>
                    <a:pt x="1123" y="254"/>
                  </a:lnTo>
                  <a:lnTo>
                    <a:pt x="1121" y="250"/>
                  </a:lnTo>
                  <a:lnTo>
                    <a:pt x="1115" y="242"/>
                  </a:lnTo>
                  <a:lnTo>
                    <a:pt x="1113" y="235"/>
                  </a:lnTo>
                  <a:lnTo>
                    <a:pt x="1110" y="233"/>
                  </a:lnTo>
                  <a:lnTo>
                    <a:pt x="1107" y="230"/>
                  </a:lnTo>
                  <a:lnTo>
                    <a:pt x="1104" y="228"/>
                  </a:lnTo>
                  <a:lnTo>
                    <a:pt x="1102" y="225"/>
                  </a:lnTo>
                  <a:lnTo>
                    <a:pt x="1099" y="224"/>
                  </a:lnTo>
                  <a:lnTo>
                    <a:pt x="1095" y="223"/>
                  </a:lnTo>
                  <a:lnTo>
                    <a:pt x="1094" y="220"/>
                  </a:lnTo>
                  <a:lnTo>
                    <a:pt x="1094" y="218"/>
                  </a:lnTo>
                  <a:lnTo>
                    <a:pt x="1093" y="218"/>
                  </a:lnTo>
                  <a:lnTo>
                    <a:pt x="1092" y="218"/>
                  </a:lnTo>
                  <a:lnTo>
                    <a:pt x="1091" y="216"/>
                  </a:lnTo>
                  <a:lnTo>
                    <a:pt x="1090" y="216"/>
                  </a:lnTo>
                  <a:lnTo>
                    <a:pt x="1089" y="214"/>
                  </a:lnTo>
                  <a:lnTo>
                    <a:pt x="1089" y="211"/>
                  </a:lnTo>
                  <a:lnTo>
                    <a:pt x="1082" y="211"/>
                  </a:lnTo>
                  <a:lnTo>
                    <a:pt x="1076" y="213"/>
                  </a:lnTo>
                  <a:lnTo>
                    <a:pt x="1070" y="215"/>
                  </a:lnTo>
                  <a:lnTo>
                    <a:pt x="1065" y="218"/>
                  </a:lnTo>
                  <a:lnTo>
                    <a:pt x="1055" y="224"/>
                  </a:lnTo>
                  <a:lnTo>
                    <a:pt x="1045" y="230"/>
                  </a:lnTo>
                  <a:lnTo>
                    <a:pt x="1044" y="234"/>
                  </a:lnTo>
                  <a:lnTo>
                    <a:pt x="1042" y="238"/>
                  </a:lnTo>
                  <a:lnTo>
                    <a:pt x="1037" y="241"/>
                  </a:lnTo>
                  <a:lnTo>
                    <a:pt x="1033" y="242"/>
                  </a:lnTo>
                  <a:lnTo>
                    <a:pt x="1032" y="244"/>
                  </a:lnTo>
                  <a:lnTo>
                    <a:pt x="1030" y="247"/>
                  </a:lnTo>
                  <a:lnTo>
                    <a:pt x="1027" y="249"/>
                  </a:lnTo>
                  <a:lnTo>
                    <a:pt x="1023" y="250"/>
                  </a:lnTo>
                  <a:lnTo>
                    <a:pt x="1015" y="253"/>
                  </a:lnTo>
                  <a:lnTo>
                    <a:pt x="1008" y="254"/>
                  </a:lnTo>
                  <a:lnTo>
                    <a:pt x="1008" y="257"/>
                  </a:lnTo>
                  <a:lnTo>
                    <a:pt x="1007" y="260"/>
                  </a:lnTo>
                  <a:lnTo>
                    <a:pt x="1005" y="262"/>
                  </a:lnTo>
                  <a:lnTo>
                    <a:pt x="1003" y="263"/>
                  </a:lnTo>
                  <a:lnTo>
                    <a:pt x="996" y="267"/>
                  </a:lnTo>
                  <a:lnTo>
                    <a:pt x="987" y="269"/>
                  </a:lnTo>
                  <a:lnTo>
                    <a:pt x="977" y="271"/>
                  </a:lnTo>
                  <a:lnTo>
                    <a:pt x="966" y="272"/>
                  </a:lnTo>
                  <a:lnTo>
                    <a:pt x="954" y="272"/>
                  </a:lnTo>
                  <a:lnTo>
                    <a:pt x="941" y="272"/>
                  </a:lnTo>
                  <a:lnTo>
                    <a:pt x="893" y="269"/>
                  </a:lnTo>
                  <a:lnTo>
                    <a:pt x="865" y="267"/>
                  </a:lnTo>
                  <a:lnTo>
                    <a:pt x="859" y="260"/>
                  </a:lnTo>
                  <a:lnTo>
                    <a:pt x="857" y="251"/>
                  </a:lnTo>
                  <a:lnTo>
                    <a:pt x="853" y="242"/>
                  </a:lnTo>
                  <a:lnTo>
                    <a:pt x="841" y="230"/>
                  </a:lnTo>
                  <a:lnTo>
                    <a:pt x="829" y="218"/>
                  </a:lnTo>
                  <a:lnTo>
                    <a:pt x="829" y="204"/>
                  </a:lnTo>
                  <a:lnTo>
                    <a:pt x="816" y="199"/>
                  </a:lnTo>
                  <a:lnTo>
                    <a:pt x="810" y="192"/>
                  </a:lnTo>
                  <a:lnTo>
                    <a:pt x="810" y="183"/>
                  </a:lnTo>
                  <a:lnTo>
                    <a:pt x="810" y="174"/>
                  </a:lnTo>
                  <a:lnTo>
                    <a:pt x="807" y="173"/>
                  </a:lnTo>
                  <a:lnTo>
                    <a:pt x="806" y="170"/>
                  </a:lnTo>
                  <a:lnTo>
                    <a:pt x="804" y="166"/>
                  </a:lnTo>
                  <a:lnTo>
                    <a:pt x="803" y="161"/>
                  </a:lnTo>
                  <a:lnTo>
                    <a:pt x="801" y="156"/>
                  </a:lnTo>
                  <a:lnTo>
                    <a:pt x="798" y="153"/>
                  </a:lnTo>
                  <a:lnTo>
                    <a:pt x="795" y="149"/>
                  </a:lnTo>
                  <a:lnTo>
                    <a:pt x="791" y="148"/>
                  </a:lnTo>
                  <a:lnTo>
                    <a:pt x="791" y="136"/>
                  </a:lnTo>
                  <a:lnTo>
                    <a:pt x="775" y="124"/>
                  </a:lnTo>
                  <a:lnTo>
                    <a:pt x="759" y="111"/>
                  </a:lnTo>
                  <a:lnTo>
                    <a:pt x="744" y="111"/>
                  </a:lnTo>
                  <a:lnTo>
                    <a:pt x="716" y="113"/>
                  </a:lnTo>
                  <a:lnTo>
                    <a:pt x="680" y="113"/>
                  </a:lnTo>
                  <a:lnTo>
                    <a:pt x="642" y="111"/>
                  </a:lnTo>
                  <a:lnTo>
                    <a:pt x="605" y="109"/>
                  </a:lnTo>
                  <a:lnTo>
                    <a:pt x="573" y="106"/>
                  </a:lnTo>
                  <a:lnTo>
                    <a:pt x="561" y="104"/>
                  </a:lnTo>
                  <a:lnTo>
                    <a:pt x="551" y="100"/>
                  </a:lnTo>
                  <a:lnTo>
                    <a:pt x="547" y="99"/>
                  </a:lnTo>
                  <a:lnTo>
                    <a:pt x="545" y="97"/>
                  </a:lnTo>
                  <a:lnTo>
                    <a:pt x="543" y="95"/>
                  </a:lnTo>
                  <a:lnTo>
                    <a:pt x="543" y="93"/>
                  </a:lnTo>
                  <a:lnTo>
                    <a:pt x="537" y="93"/>
                  </a:lnTo>
                  <a:lnTo>
                    <a:pt x="532" y="91"/>
                  </a:lnTo>
                  <a:lnTo>
                    <a:pt x="525" y="89"/>
                  </a:lnTo>
                  <a:lnTo>
                    <a:pt x="519" y="86"/>
                  </a:lnTo>
                  <a:lnTo>
                    <a:pt x="514" y="82"/>
                  </a:lnTo>
                  <a:lnTo>
                    <a:pt x="509" y="80"/>
                  </a:lnTo>
                  <a:lnTo>
                    <a:pt x="507" y="77"/>
                  </a:lnTo>
                  <a:lnTo>
                    <a:pt x="506" y="75"/>
                  </a:lnTo>
                  <a:lnTo>
                    <a:pt x="490" y="75"/>
                  </a:lnTo>
                  <a:lnTo>
                    <a:pt x="476" y="76"/>
                  </a:lnTo>
                  <a:lnTo>
                    <a:pt x="461" y="77"/>
                  </a:lnTo>
                  <a:lnTo>
                    <a:pt x="448" y="79"/>
                  </a:lnTo>
                  <a:lnTo>
                    <a:pt x="421" y="84"/>
                  </a:lnTo>
                  <a:lnTo>
                    <a:pt x="394" y="90"/>
                  </a:lnTo>
                  <a:lnTo>
                    <a:pt x="369" y="96"/>
                  </a:lnTo>
                  <a:lnTo>
                    <a:pt x="342" y="100"/>
                  </a:lnTo>
                  <a:lnTo>
                    <a:pt x="328" y="103"/>
                  </a:lnTo>
                  <a:lnTo>
                    <a:pt x="316" y="104"/>
                  </a:lnTo>
                  <a:lnTo>
                    <a:pt x="302" y="105"/>
                  </a:lnTo>
                  <a:lnTo>
                    <a:pt x="288" y="105"/>
                  </a:lnTo>
                  <a:lnTo>
                    <a:pt x="285" y="93"/>
                  </a:lnTo>
                  <a:lnTo>
                    <a:pt x="282" y="80"/>
                  </a:lnTo>
                  <a:lnTo>
                    <a:pt x="279" y="79"/>
                  </a:lnTo>
                  <a:lnTo>
                    <a:pt x="277" y="76"/>
                  </a:lnTo>
                  <a:lnTo>
                    <a:pt x="275" y="70"/>
                  </a:lnTo>
                  <a:lnTo>
                    <a:pt x="274" y="65"/>
                  </a:lnTo>
                  <a:lnTo>
                    <a:pt x="270" y="51"/>
                  </a:lnTo>
                  <a:lnTo>
                    <a:pt x="269" y="43"/>
                  </a:lnTo>
                  <a:lnTo>
                    <a:pt x="264" y="38"/>
                  </a:lnTo>
                  <a:lnTo>
                    <a:pt x="257" y="31"/>
                  </a:lnTo>
                  <a:lnTo>
                    <a:pt x="250" y="27"/>
                  </a:lnTo>
                  <a:lnTo>
                    <a:pt x="245" y="24"/>
                  </a:lnTo>
                  <a:lnTo>
                    <a:pt x="245" y="12"/>
                  </a:lnTo>
                  <a:lnTo>
                    <a:pt x="238" y="5"/>
                  </a:lnTo>
                  <a:lnTo>
                    <a:pt x="226" y="5"/>
                  </a:lnTo>
                  <a:lnTo>
                    <a:pt x="214" y="5"/>
                  </a:lnTo>
                  <a:lnTo>
                    <a:pt x="214" y="4"/>
                  </a:lnTo>
                  <a:lnTo>
                    <a:pt x="212" y="3"/>
                  </a:lnTo>
                  <a:lnTo>
                    <a:pt x="210" y="2"/>
                  </a:lnTo>
                  <a:lnTo>
                    <a:pt x="207" y="1"/>
                  </a:lnTo>
                  <a:lnTo>
                    <a:pt x="199" y="0"/>
                  </a:lnTo>
                  <a:lnTo>
                    <a:pt x="189" y="0"/>
                  </a:lnTo>
                  <a:lnTo>
                    <a:pt x="162" y="2"/>
                  </a:lnTo>
                  <a:lnTo>
                    <a:pt x="133" y="7"/>
                  </a:lnTo>
                  <a:lnTo>
                    <a:pt x="103" y="11"/>
                  </a:lnTo>
                  <a:lnTo>
                    <a:pt x="77" y="17"/>
                  </a:lnTo>
                  <a:lnTo>
                    <a:pt x="59" y="21"/>
                  </a:lnTo>
                  <a:lnTo>
                    <a:pt x="53" y="24"/>
                  </a:lnTo>
                  <a:lnTo>
                    <a:pt x="40" y="26"/>
                  </a:lnTo>
                  <a:lnTo>
                    <a:pt x="28" y="27"/>
                  </a:lnTo>
                  <a:lnTo>
                    <a:pt x="15" y="28"/>
                  </a:lnTo>
                  <a:lnTo>
                    <a:pt x="0" y="31"/>
                  </a:lnTo>
                  <a:lnTo>
                    <a:pt x="1" y="32"/>
                  </a:lnTo>
                  <a:lnTo>
                    <a:pt x="5" y="33"/>
                  </a:lnTo>
                  <a:lnTo>
                    <a:pt x="5" y="51"/>
                  </a:lnTo>
                  <a:lnTo>
                    <a:pt x="6" y="70"/>
                  </a:lnTo>
                  <a:lnTo>
                    <a:pt x="8" y="90"/>
                  </a:lnTo>
                  <a:lnTo>
                    <a:pt x="10" y="110"/>
                  </a:lnTo>
                  <a:lnTo>
                    <a:pt x="16" y="153"/>
                  </a:lnTo>
                  <a:lnTo>
                    <a:pt x="23" y="195"/>
                  </a:lnTo>
                  <a:lnTo>
                    <a:pt x="29" y="238"/>
                  </a:lnTo>
                  <a:lnTo>
                    <a:pt x="35" y="278"/>
                  </a:lnTo>
                  <a:lnTo>
                    <a:pt x="38" y="316"/>
                  </a:lnTo>
                  <a:lnTo>
                    <a:pt x="40" y="350"/>
                  </a:lnTo>
                  <a:lnTo>
                    <a:pt x="45" y="354"/>
                  </a:lnTo>
                  <a:lnTo>
                    <a:pt x="51" y="360"/>
                  </a:lnTo>
                  <a:lnTo>
                    <a:pt x="54" y="365"/>
                  </a:lnTo>
                  <a:lnTo>
                    <a:pt x="56" y="369"/>
                  </a:lnTo>
                  <a:lnTo>
                    <a:pt x="57" y="374"/>
                  </a:lnTo>
                  <a:lnTo>
                    <a:pt x="58" y="377"/>
                  </a:lnTo>
                  <a:lnTo>
                    <a:pt x="62" y="378"/>
                  </a:lnTo>
                  <a:lnTo>
                    <a:pt x="64" y="382"/>
                  </a:lnTo>
                  <a:lnTo>
                    <a:pt x="66" y="386"/>
                  </a:lnTo>
                  <a:lnTo>
                    <a:pt x="67" y="391"/>
                  </a:lnTo>
                  <a:lnTo>
                    <a:pt x="72" y="393"/>
                  </a:lnTo>
                  <a:lnTo>
                    <a:pt x="76" y="395"/>
                  </a:lnTo>
                  <a:lnTo>
                    <a:pt x="76" y="404"/>
                  </a:lnTo>
                  <a:lnTo>
                    <a:pt x="81" y="406"/>
                  </a:lnTo>
                  <a:lnTo>
                    <a:pt x="85" y="408"/>
                  </a:lnTo>
                  <a:lnTo>
                    <a:pt x="90" y="413"/>
                  </a:lnTo>
                  <a:lnTo>
                    <a:pt x="94" y="417"/>
                  </a:lnTo>
                  <a:lnTo>
                    <a:pt x="94" y="421"/>
                  </a:lnTo>
                  <a:lnTo>
                    <a:pt x="96" y="423"/>
                  </a:lnTo>
                  <a:lnTo>
                    <a:pt x="100" y="425"/>
                  </a:lnTo>
                  <a:lnTo>
                    <a:pt x="103" y="426"/>
                  </a:lnTo>
                  <a:lnTo>
                    <a:pt x="105" y="431"/>
                  </a:lnTo>
                  <a:lnTo>
                    <a:pt x="107" y="435"/>
                  </a:lnTo>
                  <a:lnTo>
                    <a:pt x="116" y="435"/>
                  </a:lnTo>
                  <a:lnTo>
                    <a:pt x="119" y="442"/>
                  </a:lnTo>
                  <a:lnTo>
                    <a:pt x="121" y="449"/>
                  </a:lnTo>
                  <a:lnTo>
                    <a:pt x="125" y="451"/>
                  </a:lnTo>
                  <a:lnTo>
                    <a:pt x="130" y="453"/>
                  </a:lnTo>
                  <a:lnTo>
                    <a:pt x="130" y="462"/>
                  </a:lnTo>
                  <a:lnTo>
                    <a:pt x="134" y="464"/>
                  </a:lnTo>
                  <a:lnTo>
                    <a:pt x="139" y="466"/>
                  </a:lnTo>
                  <a:lnTo>
                    <a:pt x="143" y="471"/>
                  </a:lnTo>
                  <a:lnTo>
                    <a:pt x="144" y="475"/>
                  </a:lnTo>
                  <a:lnTo>
                    <a:pt x="149" y="484"/>
                  </a:lnTo>
                  <a:lnTo>
                    <a:pt x="155" y="494"/>
                  </a:lnTo>
                  <a:lnTo>
                    <a:pt x="163" y="505"/>
                  </a:lnTo>
                  <a:lnTo>
                    <a:pt x="171" y="516"/>
                  </a:lnTo>
                  <a:lnTo>
                    <a:pt x="179" y="524"/>
                  </a:lnTo>
                  <a:lnTo>
                    <a:pt x="184" y="531"/>
                  </a:lnTo>
                  <a:lnTo>
                    <a:pt x="188" y="533"/>
                  </a:lnTo>
                  <a:lnTo>
                    <a:pt x="192" y="542"/>
                  </a:lnTo>
                  <a:lnTo>
                    <a:pt x="197" y="551"/>
                  </a:lnTo>
                  <a:lnTo>
                    <a:pt x="201" y="553"/>
                  </a:lnTo>
                  <a:lnTo>
                    <a:pt x="206" y="556"/>
                  </a:lnTo>
                  <a:lnTo>
                    <a:pt x="206" y="560"/>
                  </a:lnTo>
                  <a:lnTo>
                    <a:pt x="209" y="566"/>
                  </a:lnTo>
                  <a:lnTo>
                    <a:pt x="212" y="570"/>
                  </a:lnTo>
                  <a:lnTo>
                    <a:pt x="217" y="575"/>
                  </a:lnTo>
                  <a:lnTo>
                    <a:pt x="220" y="579"/>
                  </a:lnTo>
                  <a:lnTo>
                    <a:pt x="224" y="584"/>
                  </a:lnTo>
                  <a:lnTo>
                    <a:pt x="227" y="587"/>
                  </a:lnTo>
                  <a:lnTo>
                    <a:pt x="228" y="591"/>
                  </a:lnTo>
                  <a:lnTo>
                    <a:pt x="237" y="596"/>
                  </a:lnTo>
                  <a:lnTo>
                    <a:pt x="241" y="609"/>
                  </a:lnTo>
                  <a:lnTo>
                    <a:pt x="246" y="623"/>
                  </a:lnTo>
                  <a:lnTo>
                    <a:pt x="255" y="627"/>
                  </a:lnTo>
                  <a:lnTo>
                    <a:pt x="258" y="638"/>
                  </a:lnTo>
                  <a:lnTo>
                    <a:pt x="264" y="649"/>
                  </a:lnTo>
                  <a:lnTo>
                    <a:pt x="267" y="652"/>
                  </a:lnTo>
                  <a:lnTo>
                    <a:pt x="272" y="654"/>
                  </a:lnTo>
                  <a:lnTo>
                    <a:pt x="272" y="663"/>
                  </a:lnTo>
                  <a:lnTo>
                    <a:pt x="280" y="672"/>
                  </a:lnTo>
                  <a:lnTo>
                    <a:pt x="282" y="675"/>
                  </a:lnTo>
                  <a:lnTo>
                    <a:pt x="282" y="677"/>
                  </a:lnTo>
                  <a:lnTo>
                    <a:pt x="283" y="680"/>
                  </a:lnTo>
                  <a:lnTo>
                    <a:pt x="285" y="681"/>
                  </a:lnTo>
                  <a:lnTo>
                    <a:pt x="285" y="696"/>
                  </a:lnTo>
                  <a:lnTo>
                    <a:pt x="285" y="712"/>
                  </a:lnTo>
                  <a:lnTo>
                    <a:pt x="294" y="721"/>
                  </a:lnTo>
                  <a:lnTo>
                    <a:pt x="296" y="744"/>
                  </a:lnTo>
                  <a:lnTo>
                    <a:pt x="298" y="769"/>
                  </a:lnTo>
                  <a:lnTo>
                    <a:pt x="302" y="795"/>
                  </a:lnTo>
                  <a:lnTo>
                    <a:pt x="303" y="818"/>
                  </a:lnTo>
                  <a:lnTo>
                    <a:pt x="304" y="837"/>
                  </a:lnTo>
                  <a:lnTo>
                    <a:pt x="304" y="874"/>
                  </a:lnTo>
                  <a:lnTo>
                    <a:pt x="304" y="893"/>
                  </a:lnTo>
                  <a:lnTo>
                    <a:pt x="305" y="909"/>
                  </a:lnTo>
                  <a:lnTo>
                    <a:pt x="306" y="921"/>
                  </a:lnTo>
                  <a:lnTo>
                    <a:pt x="307" y="925"/>
                  </a:lnTo>
                  <a:lnTo>
                    <a:pt x="307" y="934"/>
                  </a:lnTo>
                  <a:lnTo>
                    <a:pt x="312" y="938"/>
                  </a:lnTo>
                  <a:lnTo>
                    <a:pt x="321" y="938"/>
                  </a:lnTo>
                  <a:lnTo>
                    <a:pt x="330" y="947"/>
                  </a:lnTo>
                  <a:lnTo>
                    <a:pt x="339" y="956"/>
                  </a:lnTo>
                  <a:lnTo>
                    <a:pt x="369" y="959"/>
                  </a:lnTo>
                  <a:lnTo>
                    <a:pt x="402" y="961"/>
                  </a:lnTo>
                  <a:lnTo>
                    <a:pt x="438" y="964"/>
                  </a:lnTo>
                  <a:lnTo>
                    <a:pt x="472" y="965"/>
                  </a:lnTo>
                  <a:lnTo>
                    <a:pt x="474" y="962"/>
                  </a:lnTo>
                  <a:lnTo>
                    <a:pt x="476" y="960"/>
                  </a:lnTo>
                  <a:lnTo>
                    <a:pt x="478" y="957"/>
                  </a:lnTo>
                  <a:lnTo>
                    <a:pt x="481" y="956"/>
                  </a:lnTo>
                  <a:lnTo>
                    <a:pt x="484" y="953"/>
                  </a:lnTo>
                  <a:lnTo>
                    <a:pt x="487" y="950"/>
                  </a:lnTo>
                  <a:lnTo>
                    <a:pt x="491" y="946"/>
                  </a:lnTo>
                  <a:lnTo>
                    <a:pt x="495" y="943"/>
                  </a:lnTo>
                  <a:lnTo>
                    <a:pt x="495" y="934"/>
                  </a:lnTo>
                  <a:lnTo>
                    <a:pt x="498" y="933"/>
                  </a:lnTo>
                  <a:lnTo>
                    <a:pt x="502" y="930"/>
                  </a:lnTo>
                  <a:lnTo>
                    <a:pt x="504" y="927"/>
                  </a:lnTo>
                  <a:lnTo>
                    <a:pt x="504" y="925"/>
                  </a:lnTo>
                  <a:lnTo>
                    <a:pt x="507" y="925"/>
                  </a:lnTo>
                  <a:lnTo>
                    <a:pt x="510" y="925"/>
                  </a:lnTo>
                  <a:lnTo>
                    <a:pt x="513" y="924"/>
                  </a:lnTo>
                  <a:lnTo>
                    <a:pt x="513" y="921"/>
                  </a:lnTo>
                  <a:lnTo>
                    <a:pt x="553" y="921"/>
                  </a:lnTo>
                  <a:lnTo>
                    <a:pt x="560" y="912"/>
                  </a:lnTo>
                  <a:lnTo>
                    <a:pt x="566" y="903"/>
                  </a:lnTo>
                  <a:lnTo>
                    <a:pt x="572" y="903"/>
                  </a:lnTo>
                  <a:lnTo>
                    <a:pt x="576" y="901"/>
                  </a:lnTo>
                  <a:lnTo>
                    <a:pt x="581" y="897"/>
                  </a:lnTo>
                  <a:lnTo>
                    <a:pt x="586" y="894"/>
                  </a:lnTo>
                  <a:lnTo>
                    <a:pt x="591" y="891"/>
                  </a:lnTo>
                  <a:lnTo>
                    <a:pt x="594" y="888"/>
                  </a:lnTo>
                  <a:lnTo>
                    <a:pt x="599" y="886"/>
                  </a:lnTo>
                  <a:lnTo>
                    <a:pt x="602" y="885"/>
                  </a:lnTo>
                  <a:lnTo>
                    <a:pt x="602" y="882"/>
                  </a:lnTo>
                  <a:lnTo>
                    <a:pt x="603" y="879"/>
                  </a:lnTo>
                  <a:lnTo>
                    <a:pt x="604" y="877"/>
                  </a:lnTo>
                  <a:lnTo>
                    <a:pt x="606" y="876"/>
                  </a:lnTo>
                  <a:lnTo>
                    <a:pt x="606" y="873"/>
                  </a:lnTo>
                  <a:lnTo>
                    <a:pt x="608" y="868"/>
                  </a:lnTo>
                  <a:lnTo>
                    <a:pt x="608" y="866"/>
                  </a:lnTo>
                  <a:lnTo>
                    <a:pt x="609" y="865"/>
                  </a:lnTo>
                  <a:lnTo>
                    <a:pt x="610" y="864"/>
                  </a:lnTo>
                  <a:lnTo>
                    <a:pt x="611" y="863"/>
                  </a:lnTo>
                  <a:lnTo>
                    <a:pt x="611" y="859"/>
                  </a:lnTo>
                  <a:lnTo>
                    <a:pt x="612" y="857"/>
                  </a:lnTo>
                  <a:lnTo>
                    <a:pt x="613" y="855"/>
                  </a:lnTo>
                  <a:lnTo>
                    <a:pt x="615" y="854"/>
                  </a:lnTo>
                  <a:lnTo>
                    <a:pt x="615" y="845"/>
                  </a:lnTo>
                  <a:lnTo>
                    <a:pt x="620" y="844"/>
                  </a:lnTo>
                  <a:lnTo>
                    <a:pt x="624" y="838"/>
                  </a:lnTo>
                  <a:lnTo>
                    <a:pt x="628" y="834"/>
                  </a:lnTo>
                  <a:lnTo>
                    <a:pt x="629" y="831"/>
                  </a:lnTo>
                  <a:lnTo>
                    <a:pt x="642" y="831"/>
                  </a:lnTo>
                  <a:lnTo>
                    <a:pt x="649" y="827"/>
                  </a:lnTo>
                  <a:lnTo>
                    <a:pt x="657" y="822"/>
                  </a:lnTo>
                  <a:lnTo>
                    <a:pt x="664" y="820"/>
                  </a:lnTo>
                  <a:lnTo>
                    <a:pt x="673" y="819"/>
                  </a:lnTo>
                  <a:lnTo>
                    <a:pt x="673" y="720"/>
                  </a:lnTo>
                  <a:lnTo>
                    <a:pt x="661" y="713"/>
                  </a:lnTo>
                  <a:lnTo>
                    <a:pt x="658" y="697"/>
                  </a:lnTo>
                  <a:lnTo>
                    <a:pt x="654" y="682"/>
                  </a:lnTo>
                  <a:lnTo>
                    <a:pt x="642" y="676"/>
                  </a:lnTo>
                  <a:lnTo>
                    <a:pt x="642" y="665"/>
                  </a:lnTo>
                  <a:lnTo>
                    <a:pt x="642" y="652"/>
                  </a:lnTo>
                  <a:lnTo>
                    <a:pt x="642" y="638"/>
                  </a:lnTo>
                  <a:lnTo>
                    <a:pt x="642" y="626"/>
                  </a:lnTo>
                  <a:lnTo>
                    <a:pt x="638" y="626"/>
                  </a:lnTo>
                  <a:lnTo>
                    <a:pt x="635" y="623"/>
                  </a:lnTo>
                  <a:lnTo>
                    <a:pt x="633" y="618"/>
                  </a:lnTo>
                  <a:lnTo>
                    <a:pt x="632" y="614"/>
                  </a:lnTo>
                  <a:lnTo>
                    <a:pt x="630" y="609"/>
                  </a:lnTo>
                  <a:lnTo>
                    <a:pt x="628" y="606"/>
                  </a:lnTo>
                  <a:lnTo>
                    <a:pt x="625" y="604"/>
                  </a:lnTo>
                  <a:lnTo>
                    <a:pt x="623" y="603"/>
                  </a:lnTo>
                  <a:lnTo>
                    <a:pt x="620" y="601"/>
                  </a:lnTo>
                  <a:lnTo>
                    <a:pt x="618" y="601"/>
                  </a:lnTo>
                  <a:lnTo>
                    <a:pt x="618" y="589"/>
                  </a:lnTo>
                  <a:lnTo>
                    <a:pt x="651" y="591"/>
                  </a:lnTo>
                  <a:lnTo>
                    <a:pt x="686" y="596"/>
                  </a:lnTo>
                  <a:lnTo>
                    <a:pt x="702" y="598"/>
                  </a:lnTo>
                  <a:lnTo>
                    <a:pt x="720" y="599"/>
                  </a:lnTo>
                  <a:lnTo>
                    <a:pt x="737" y="601"/>
                  </a:lnTo>
                  <a:lnTo>
                    <a:pt x="754" y="601"/>
                  </a:lnTo>
                  <a:lnTo>
                    <a:pt x="766" y="606"/>
                  </a:lnTo>
                  <a:lnTo>
                    <a:pt x="795" y="614"/>
                  </a:lnTo>
                  <a:lnTo>
                    <a:pt x="824" y="623"/>
                  </a:lnTo>
                  <a:lnTo>
                    <a:pt x="841" y="626"/>
                  </a:lnTo>
                  <a:lnTo>
                    <a:pt x="853" y="636"/>
                  </a:lnTo>
                  <a:lnTo>
                    <a:pt x="865" y="645"/>
                  </a:lnTo>
                  <a:lnTo>
                    <a:pt x="884" y="645"/>
                  </a:lnTo>
                  <a:lnTo>
                    <a:pt x="884" y="647"/>
                  </a:lnTo>
                  <a:lnTo>
                    <a:pt x="886" y="648"/>
                  </a:lnTo>
                  <a:lnTo>
                    <a:pt x="888" y="649"/>
                  </a:lnTo>
                  <a:lnTo>
                    <a:pt x="891" y="651"/>
                  </a:lnTo>
                  <a:lnTo>
                    <a:pt x="897" y="652"/>
                  </a:lnTo>
                  <a:lnTo>
                    <a:pt x="902" y="652"/>
                  </a:lnTo>
                  <a:lnTo>
                    <a:pt x="908" y="656"/>
                  </a:lnTo>
                  <a:lnTo>
                    <a:pt x="913" y="659"/>
                  </a:lnTo>
                  <a:lnTo>
                    <a:pt x="919" y="664"/>
                  </a:lnTo>
                  <a:lnTo>
                    <a:pt x="926" y="666"/>
                  </a:lnTo>
                  <a:lnTo>
                    <a:pt x="939" y="672"/>
                  </a:lnTo>
                  <a:lnTo>
                    <a:pt x="954" y="676"/>
                  </a:lnTo>
                  <a:lnTo>
                    <a:pt x="968" y="680"/>
                  </a:lnTo>
                  <a:lnTo>
                    <a:pt x="982" y="681"/>
                  </a:lnTo>
                  <a:lnTo>
                    <a:pt x="996" y="682"/>
                  </a:lnTo>
                  <a:lnTo>
                    <a:pt x="1008" y="682"/>
                  </a:lnTo>
                  <a:lnTo>
                    <a:pt x="1011" y="685"/>
                  </a:lnTo>
                  <a:lnTo>
                    <a:pt x="1017" y="687"/>
                  </a:lnTo>
                  <a:lnTo>
                    <a:pt x="1026" y="688"/>
                  </a:lnTo>
                  <a:lnTo>
                    <a:pt x="1037" y="691"/>
                  </a:lnTo>
                  <a:lnTo>
                    <a:pt x="1057" y="694"/>
                  </a:lnTo>
                  <a:lnTo>
                    <a:pt x="1070" y="695"/>
                  </a:lnTo>
                  <a:lnTo>
                    <a:pt x="1084" y="697"/>
                  </a:lnTo>
                  <a:lnTo>
                    <a:pt x="1111" y="704"/>
                  </a:lnTo>
                  <a:lnTo>
                    <a:pt x="1137" y="711"/>
                  </a:lnTo>
                  <a:lnTo>
                    <a:pt x="1151" y="713"/>
                  </a:lnTo>
                  <a:lnTo>
                    <a:pt x="1163" y="725"/>
                  </a:lnTo>
                  <a:lnTo>
                    <a:pt x="1172" y="726"/>
                  </a:lnTo>
                  <a:lnTo>
                    <a:pt x="1182" y="729"/>
                  </a:lnTo>
                  <a:lnTo>
                    <a:pt x="1191" y="731"/>
                  </a:lnTo>
                  <a:lnTo>
                    <a:pt x="1200" y="732"/>
                  </a:lnTo>
                  <a:lnTo>
                    <a:pt x="1203" y="735"/>
                  </a:lnTo>
                  <a:lnTo>
                    <a:pt x="1207" y="739"/>
                  </a:lnTo>
                  <a:lnTo>
                    <a:pt x="1209" y="741"/>
                  </a:lnTo>
                  <a:lnTo>
                    <a:pt x="1211" y="743"/>
                  </a:lnTo>
                  <a:lnTo>
                    <a:pt x="1213" y="747"/>
                  </a:lnTo>
                  <a:lnTo>
                    <a:pt x="1213" y="751"/>
                  </a:lnTo>
                  <a:lnTo>
                    <a:pt x="1218" y="751"/>
                  </a:lnTo>
                  <a:lnTo>
                    <a:pt x="1225" y="751"/>
                  </a:lnTo>
                  <a:lnTo>
                    <a:pt x="1227" y="752"/>
                  </a:lnTo>
                  <a:lnTo>
                    <a:pt x="1229" y="753"/>
                  </a:lnTo>
                  <a:lnTo>
                    <a:pt x="1232" y="754"/>
                  </a:lnTo>
                  <a:lnTo>
                    <a:pt x="1232" y="757"/>
                  </a:lnTo>
                  <a:lnTo>
                    <a:pt x="1251" y="757"/>
                  </a:lnTo>
                  <a:lnTo>
                    <a:pt x="1253" y="760"/>
                  </a:lnTo>
                  <a:lnTo>
                    <a:pt x="1258" y="762"/>
                  </a:lnTo>
                  <a:lnTo>
                    <a:pt x="1266" y="766"/>
                  </a:lnTo>
                  <a:lnTo>
                    <a:pt x="1276" y="769"/>
                  </a:lnTo>
                  <a:lnTo>
                    <a:pt x="1297" y="773"/>
                  </a:lnTo>
                  <a:lnTo>
                    <a:pt x="1312" y="776"/>
                  </a:lnTo>
                  <a:lnTo>
                    <a:pt x="1362" y="800"/>
                  </a:lnTo>
                  <a:lnTo>
                    <a:pt x="1362" y="803"/>
                  </a:lnTo>
                  <a:lnTo>
                    <a:pt x="1363" y="806"/>
                  </a:lnTo>
                  <a:lnTo>
                    <a:pt x="1364" y="807"/>
                  </a:lnTo>
                  <a:lnTo>
                    <a:pt x="1366" y="807"/>
                  </a:lnTo>
                  <a:lnTo>
                    <a:pt x="1367" y="807"/>
                  </a:lnTo>
                  <a:lnTo>
                    <a:pt x="1367" y="807"/>
                  </a:lnTo>
                  <a:lnTo>
                    <a:pt x="1368" y="809"/>
                  </a:lnTo>
                  <a:lnTo>
                    <a:pt x="1368" y="812"/>
                  </a:lnTo>
                  <a:lnTo>
                    <a:pt x="1378" y="816"/>
                  </a:lnTo>
                  <a:lnTo>
                    <a:pt x="1387" y="819"/>
                  </a:lnTo>
                  <a:lnTo>
                    <a:pt x="1387" y="822"/>
                  </a:lnTo>
                  <a:lnTo>
                    <a:pt x="1388" y="825"/>
                  </a:lnTo>
                  <a:lnTo>
                    <a:pt x="1389" y="825"/>
                  </a:lnTo>
                  <a:lnTo>
                    <a:pt x="1390" y="825"/>
                  </a:lnTo>
                  <a:lnTo>
                    <a:pt x="1391" y="825"/>
                  </a:lnTo>
                  <a:lnTo>
                    <a:pt x="1392" y="826"/>
                  </a:lnTo>
                  <a:lnTo>
                    <a:pt x="1392" y="828"/>
                  </a:lnTo>
                  <a:lnTo>
                    <a:pt x="1393" y="831"/>
                  </a:lnTo>
                  <a:lnTo>
                    <a:pt x="1406" y="831"/>
                  </a:lnTo>
                  <a:lnTo>
                    <a:pt x="1406" y="835"/>
                  </a:lnTo>
                  <a:lnTo>
                    <a:pt x="1407" y="837"/>
                  </a:lnTo>
                  <a:lnTo>
                    <a:pt x="1407" y="837"/>
                  </a:lnTo>
                  <a:lnTo>
                    <a:pt x="1408" y="837"/>
                  </a:lnTo>
                  <a:lnTo>
                    <a:pt x="1409" y="838"/>
                  </a:lnTo>
                  <a:lnTo>
                    <a:pt x="1410" y="838"/>
                  </a:lnTo>
                  <a:lnTo>
                    <a:pt x="1411" y="840"/>
                  </a:lnTo>
                  <a:lnTo>
                    <a:pt x="1411" y="844"/>
                  </a:lnTo>
                  <a:lnTo>
                    <a:pt x="1424" y="844"/>
                  </a:lnTo>
                  <a:lnTo>
                    <a:pt x="1424" y="856"/>
                  </a:lnTo>
                  <a:lnTo>
                    <a:pt x="1430" y="863"/>
                  </a:lnTo>
                  <a:lnTo>
                    <a:pt x="1434" y="863"/>
                  </a:lnTo>
                  <a:lnTo>
                    <a:pt x="1436" y="864"/>
                  </a:lnTo>
                  <a:lnTo>
                    <a:pt x="1436" y="865"/>
                  </a:lnTo>
                  <a:lnTo>
                    <a:pt x="1436" y="866"/>
                  </a:lnTo>
                  <a:lnTo>
                    <a:pt x="1437" y="867"/>
                  </a:lnTo>
                  <a:lnTo>
                    <a:pt x="1437" y="867"/>
                  </a:lnTo>
                  <a:lnTo>
                    <a:pt x="1439" y="868"/>
                  </a:lnTo>
                  <a:lnTo>
                    <a:pt x="1443" y="868"/>
                  </a:lnTo>
                  <a:lnTo>
                    <a:pt x="1443" y="894"/>
                  </a:lnTo>
                  <a:lnTo>
                    <a:pt x="1445" y="894"/>
                  </a:lnTo>
                  <a:lnTo>
                    <a:pt x="1446" y="895"/>
                  </a:lnTo>
                  <a:lnTo>
                    <a:pt x="1447" y="897"/>
                  </a:lnTo>
                  <a:lnTo>
                    <a:pt x="1448" y="901"/>
                  </a:lnTo>
                  <a:lnTo>
                    <a:pt x="1449" y="906"/>
                  </a:lnTo>
                  <a:lnTo>
                    <a:pt x="1449" y="912"/>
                  </a:lnTo>
                  <a:lnTo>
                    <a:pt x="1445" y="912"/>
                  </a:lnTo>
                  <a:lnTo>
                    <a:pt x="1444" y="913"/>
                  </a:lnTo>
                  <a:lnTo>
                    <a:pt x="1443" y="914"/>
                  </a:lnTo>
                  <a:lnTo>
                    <a:pt x="1443" y="915"/>
                  </a:lnTo>
                  <a:lnTo>
                    <a:pt x="1443" y="916"/>
                  </a:lnTo>
                  <a:lnTo>
                    <a:pt x="1441" y="917"/>
                  </a:lnTo>
                  <a:lnTo>
                    <a:pt x="1440" y="918"/>
                  </a:lnTo>
                  <a:lnTo>
                    <a:pt x="1436" y="918"/>
                  </a:lnTo>
                  <a:lnTo>
                    <a:pt x="1436" y="931"/>
                  </a:lnTo>
                  <a:lnTo>
                    <a:pt x="1424" y="93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5" name="Freeform 18">
              <a:extLst>
                <a:ext uri="{FF2B5EF4-FFF2-40B4-BE49-F238E27FC236}">
                  <a16:creationId xmlns:a16="http://schemas.microsoft.com/office/drawing/2014/main" id="{5C93393B-E4A7-4E54-AEB7-EE05FF162C3C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994525" y="4014788"/>
              <a:ext cx="324655" cy="290513"/>
            </a:xfrm>
            <a:custGeom>
              <a:avLst/>
              <a:gdLst/>
              <a:ahLst/>
              <a:cxnLst>
                <a:cxn ang="0">
                  <a:pos x="1544" y="680"/>
                </a:cxn>
                <a:cxn ang="0">
                  <a:pos x="1460" y="731"/>
                </a:cxn>
                <a:cxn ang="0">
                  <a:pos x="1413" y="814"/>
                </a:cxn>
                <a:cxn ang="0">
                  <a:pos x="1397" y="949"/>
                </a:cxn>
                <a:cxn ang="0">
                  <a:pos x="1396" y="1279"/>
                </a:cxn>
                <a:cxn ang="0">
                  <a:pos x="1487" y="1371"/>
                </a:cxn>
                <a:cxn ang="0">
                  <a:pos x="1611" y="1404"/>
                </a:cxn>
                <a:cxn ang="0">
                  <a:pos x="1684" y="1447"/>
                </a:cxn>
                <a:cxn ang="0">
                  <a:pos x="1741" y="1506"/>
                </a:cxn>
                <a:cxn ang="0">
                  <a:pos x="1722" y="1669"/>
                </a:cxn>
                <a:cxn ang="0">
                  <a:pos x="1634" y="1687"/>
                </a:cxn>
                <a:cxn ang="0">
                  <a:pos x="1550" y="1712"/>
                </a:cxn>
                <a:cxn ang="0">
                  <a:pos x="1502" y="1793"/>
                </a:cxn>
                <a:cxn ang="0">
                  <a:pos x="1382" y="1795"/>
                </a:cxn>
                <a:cxn ang="0">
                  <a:pos x="1270" y="1764"/>
                </a:cxn>
                <a:cxn ang="0">
                  <a:pos x="1166" y="1748"/>
                </a:cxn>
                <a:cxn ang="0">
                  <a:pos x="1146" y="1688"/>
                </a:cxn>
                <a:cxn ang="0">
                  <a:pos x="1123" y="1637"/>
                </a:cxn>
                <a:cxn ang="0">
                  <a:pos x="1094" y="1585"/>
                </a:cxn>
                <a:cxn ang="0">
                  <a:pos x="1003" y="1486"/>
                </a:cxn>
                <a:cxn ang="0">
                  <a:pos x="965" y="1426"/>
                </a:cxn>
                <a:cxn ang="0">
                  <a:pos x="890" y="1314"/>
                </a:cxn>
                <a:cxn ang="0">
                  <a:pos x="851" y="1245"/>
                </a:cxn>
                <a:cxn ang="0">
                  <a:pos x="789" y="1179"/>
                </a:cxn>
                <a:cxn ang="0">
                  <a:pos x="725" y="1109"/>
                </a:cxn>
                <a:cxn ang="0">
                  <a:pos x="677" y="1048"/>
                </a:cxn>
                <a:cxn ang="0">
                  <a:pos x="628" y="995"/>
                </a:cxn>
                <a:cxn ang="0">
                  <a:pos x="462" y="960"/>
                </a:cxn>
                <a:cxn ang="0">
                  <a:pos x="436" y="841"/>
                </a:cxn>
                <a:cxn ang="0">
                  <a:pos x="427" y="747"/>
                </a:cxn>
                <a:cxn ang="0">
                  <a:pos x="386" y="691"/>
                </a:cxn>
                <a:cxn ang="0">
                  <a:pos x="283" y="629"/>
                </a:cxn>
                <a:cxn ang="0">
                  <a:pos x="234" y="601"/>
                </a:cxn>
                <a:cxn ang="0">
                  <a:pos x="88" y="587"/>
                </a:cxn>
                <a:cxn ang="0">
                  <a:pos x="18" y="530"/>
                </a:cxn>
                <a:cxn ang="0">
                  <a:pos x="1" y="455"/>
                </a:cxn>
                <a:cxn ang="0">
                  <a:pos x="55" y="314"/>
                </a:cxn>
                <a:cxn ang="0">
                  <a:pos x="70" y="264"/>
                </a:cxn>
                <a:cxn ang="0">
                  <a:pos x="343" y="71"/>
                </a:cxn>
                <a:cxn ang="0">
                  <a:pos x="429" y="56"/>
                </a:cxn>
                <a:cxn ang="0">
                  <a:pos x="531" y="3"/>
                </a:cxn>
                <a:cxn ang="0">
                  <a:pos x="568" y="51"/>
                </a:cxn>
                <a:cxn ang="0">
                  <a:pos x="752" y="76"/>
                </a:cxn>
                <a:cxn ang="0">
                  <a:pos x="787" y="106"/>
                </a:cxn>
                <a:cxn ang="0">
                  <a:pos x="816" y="144"/>
                </a:cxn>
                <a:cxn ang="0">
                  <a:pos x="866" y="180"/>
                </a:cxn>
                <a:cxn ang="0">
                  <a:pos x="911" y="230"/>
                </a:cxn>
                <a:cxn ang="0">
                  <a:pos x="857" y="278"/>
                </a:cxn>
                <a:cxn ang="0">
                  <a:pos x="821" y="332"/>
                </a:cxn>
                <a:cxn ang="0">
                  <a:pos x="755" y="389"/>
                </a:cxn>
                <a:cxn ang="0">
                  <a:pos x="780" y="429"/>
                </a:cxn>
                <a:cxn ang="0">
                  <a:pos x="839" y="464"/>
                </a:cxn>
                <a:cxn ang="0">
                  <a:pos x="971" y="506"/>
                </a:cxn>
                <a:cxn ang="0">
                  <a:pos x="1061" y="571"/>
                </a:cxn>
                <a:cxn ang="0">
                  <a:pos x="1166" y="587"/>
                </a:cxn>
                <a:cxn ang="0">
                  <a:pos x="1232" y="599"/>
                </a:cxn>
                <a:cxn ang="0">
                  <a:pos x="1264" y="539"/>
                </a:cxn>
                <a:cxn ang="0">
                  <a:pos x="1298" y="508"/>
                </a:cxn>
                <a:cxn ang="0">
                  <a:pos x="1353" y="429"/>
                </a:cxn>
                <a:cxn ang="0">
                  <a:pos x="1409" y="360"/>
                </a:cxn>
                <a:cxn ang="0">
                  <a:pos x="1457" y="335"/>
                </a:cxn>
                <a:cxn ang="0">
                  <a:pos x="1476" y="316"/>
                </a:cxn>
              </a:cxnLst>
              <a:rect l="0" t="0" r="r" b="b"/>
              <a:pathLst>
                <a:path w="1777" h="1804">
                  <a:moveTo>
                    <a:pt x="1505" y="380"/>
                  </a:moveTo>
                  <a:lnTo>
                    <a:pt x="1519" y="394"/>
                  </a:lnTo>
                  <a:lnTo>
                    <a:pt x="1518" y="413"/>
                  </a:lnTo>
                  <a:lnTo>
                    <a:pt x="1517" y="438"/>
                  </a:lnTo>
                  <a:lnTo>
                    <a:pt x="1515" y="466"/>
                  </a:lnTo>
                  <a:lnTo>
                    <a:pt x="1512" y="496"/>
                  </a:lnTo>
                  <a:lnTo>
                    <a:pt x="1511" y="525"/>
                  </a:lnTo>
                  <a:lnTo>
                    <a:pt x="1510" y="552"/>
                  </a:lnTo>
                  <a:lnTo>
                    <a:pt x="1510" y="573"/>
                  </a:lnTo>
                  <a:lnTo>
                    <a:pt x="1512" y="587"/>
                  </a:lnTo>
                  <a:lnTo>
                    <a:pt x="1518" y="603"/>
                  </a:lnTo>
                  <a:lnTo>
                    <a:pt x="1525" y="625"/>
                  </a:lnTo>
                  <a:lnTo>
                    <a:pt x="1534" y="651"/>
                  </a:lnTo>
                  <a:lnTo>
                    <a:pt x="1544" y="680"/>
                  </a:lnTo>
                  <a:lnTo>
                    <a:pt x="1533" y="679"/>
                  </a:lnTo>
                  <a:lnTo>
                    <a:pt x="1520" y="678"/>
                  </a:lnTo>
                  <a:lnTo>
                    <a:pt x="1509" y="678"/>
                  </a:lnTo>
                  <a:lnTo>
                    <a:pt x="1499" y="677"/>
                  </a:lnTo>
                  <a:lnTo>
                    <a:pt x="1495" y="681"/>
                  </a:lnTo>
                  <a:lnTo>
                    <a:pt x="1491" y="687"/>
                  </a:lnTo>
                  <a:lnTo>
                    <a:pt x="1482" y="698"/>
                  </a:lnTo>
                  <a:lnTo>
                    <a:pt x="1473" y="710"/>
                  </a:lnTo>
                  <a:lnTo>
                    <a:pt x="1468" y="717"/>
                  </a:lnTo>
                  <a:lnTo>
                    <a:pt x="1468" y="726"/>
                  </a:lnTo>
                  <a:lnTo>
                    <a:pt x="1464" y="727"/>
                  </a:lnTo>
                  <a:lnTo>
                    <a:pt x="1462" y="728"/>
                  </a:lnTo>
                  <a:lnTo>
                    <a:pt x="1461" y="729"/>
                  </a:lnTo>
                  <a:lnTo>
                    <a:pt x="1460" y="731"/>
                  </a:lnTo>
                  <a:lnTo>
                    <a:pt x="1459" y="736"/>
                  </a:lnTo>
                  <a:lnTo>
                    <a:pt x="1459" y="739"/>
                  </a:lnTo>
                  <a:lnTo>
                    <a:pt x="1450" y="739"/>
                  </a:lnTo>
                  <a:lnTo>
                    <a:pt x="1449" y="744"/>
                  </a:lnTo>
                  <a:lnTo>
                    <a:pt x="1444" y="748"/>
                  </a:lnTo>
                  <a:lnTo>
                    <a:pt x="1440" y="754"/>
                  </a:lnTo>
                  <a:lnTo>
                    <a:pt x="1437" y="757"/>
                  </a:lnTo>
                  <a:lnTo>
                    <a:pt x="1428" y="757"/>
                  </a:lnTo>
                  <a:lnTo>
                    <a:pt x="1423" y="762"/>
                  </a:lnTo>
                  <a:lnTo>
                    <a:pt x="1422" y="766"/>
                  </a:lnTo>
                  <a:lnTo>
                    <a:pt x="1420" y="773"/>
                  </a:lnTo>
                  <a:lnTo>
                    <a:pt x="1418" y="777"/>
                  </a:lnTo>
                  <a:lnTo>
                    <a:pt x="1414" y="779"/>
                  </a:lnTo>
                  <a:lnTo>
                    <a:pt x="1413" y="814"/>
                  </a:lnTo>
                  <a:lnTo>
                    <a:pt x="1410" y="849"/>
                  </a:lnTo>
                  <a:lnTo>
                    <a:pt x="1406" y="882"/>
                  </a:lnTo>
                  <a:lnTo>
                    <a:pt x="1405" y="913"/>
                  </a:lnTo>
                  <a:lnTo>
                    <a:pt x="1404" y="913"/>
                  </a:lnTo>
                  <a:lnTo>
                    <a:pt x="1403" y="914"/>
                  </a:lnTo>
                  <a:lnTo>
                    <a:pt x="1402" y="917"/>
                  </a:lnTo>
                  <a:lnTo>
                    <a:pt x="1401" y="919"/>
                  </a:lnTo>
                  <a:lnTo>
                    <a:pt x="1401" y="924"/>
                  </a:lnTo>
                  <a:lnTo>
                    <a:pt x="1401" y="931"/>
                  </a:lnTo>
                  <a:lnTo>
                    <a:pt x="1401" y="938"/>
                  </a:lnTo>
                  <a:lnTo>
                    <a:pt x="1400" y="943"/>
                  </a:lnTo>
                  <a:lnTo>
                    <a:pt x="1400" y="946"/>
                  </a:lnTo>
                  <a:lnTo>
                    <a:pt x="1399" y="948"/>
                  </a:lnTo>
                  <a:lnTo>
                    <a:pt x="1397" y="949"/>
                  </a:lnTo>
                  <a:lnTo>
                    <a:pt x="1396" y="949"/>
                  </a:lnTo>
                  <a:lnTo>
                    <a:pt x="1396" y="1119"/>
                  </a:lnTo>
                  <a:lnTo>
                    <a:pt x="1394" y="1124"/>
                  </a:lnTo>
                  <a:lnTo>
                    <a:pt x="1392" y="1131"/>
                  </a:lnTo>
                  <a:lnTo>
                    <a:pt x="1391" y="1140"/>
                  </a:lnTo>
                  <a:lnTo>
                    <a:pt x="1390" y="1149"/>
                  </a:lnTo>
                  <a:lnTo>
                    <a:pt x="1389" y="1169"/>
                  </a:lnTo>
                  <a:lnTo>
                    <a:pt x="1389" y="1191"/>
                  </a:lnTo>
                  <a:lnTo>
                    <a:pt x="1391" y="1235"/>
                  </a:lnTo>
                  <a:lnTo>
                    <a:pt x="1392" y="1270"/>
                  </a:lnTo>
                  <a:lnTo>
                    <a:pt x="1394" y="1270"/>
                  </a:lnTo>
                  <a:lnTo>
                    <a:pt x="1395" y="1273"/>
                  </a:lnTo>
                  <a:lnTo>
                    <a:pt x="1396" y="1276"/>
                  </a:lnTo>
                  <a:lnTo>
                    <a:pt x="1396" y="1279"/>
                  </a:lnTo>
                  <a:lnTo>
                    <a:pt x="1399" y="1284"/>
                  </a:lnTo>
                  <a:lnTo>
                    <a:pt x="1405" y="1295"/>
                  </a:lnTo>
                  <a:lnTo>
                    <a:pt x="1411" y="1307"/>
                  </a:lnTo>
                  <a:lnTo>
                    <a:pt x="1414" y="1315"/>
                  </a:lnTo>
                  <a:lnTo>
                    <a:pt x="1418" y="1316"/>
                  </a:lnTo>
                  <a:lnTo>
                    <a:pt x="1423" y="1318"/>
                  </a:lnTo>
                  <a:lnTo>
                    <a:pt x="1428" y="1322"/>
                  </a:lnTo>
                  <a:lnTo>
                    <a:pt x="1433" y="1327"/>
                  </a:lnTo>
                  <a:lnTo>
                    <a:pt x="1443" y="1337"/>
                  </a:lnTo>
                  <a:lnTo>
                    <a:pt x="1450" y="1346"/>
                  </a:lnTo>
                  <a:lnTo>
                    <a:pt x="1466" y="1355"/>
                  </a:lnTo>
                  <a:lnTo>
                    <a:pt x="1481" y="1364"/>
                  </a:lnTo>
                  <a:lnTo>
                    <a:pt x="1482" y="1368"/>
                  </a:lnTo>
                  <a:lnTo>
                    <a:pt x="1487" y="1371"/>
                  </a:lnTo>
                  <a:lnTo>
                    <a:pt x="1492" y="1374"/>
                  </a:lnTo>
                  <a:lnTo>
                    <a:pt x="1500" y="1378"/>
                  </a:lnTo>
                  <a:lnTo>
                    <a:pt x="1515" y="1384"/>
                  </a:lnTo>
                  <a:lnTo>
                    <a:pt x="1526" y="1391"/>
                  </a:lnTo>
                  <a:lnTo>
                    <a:pt x="1538" y="1391"/>
                  </a:lnTo>
                  <a:lnTo>
                    <a:pt x="1556" y="1392"/>
                  </a:lnTo>
                  <a:lnTo>
                    <a:pt x="1565" y="1393"/>
                  </a:lnTo>
                  <a:lnTo>
                    <a:pt x="1572" y="1394"/>
                  </a:lnTo>
                  <a:lnTo>
                    <a:pt x="1575" y="1395"/>
                  </a:lnTo>
                  <a:lnTo>
                    <a:pt x="1577" y="1397"/>
                  </a:lnTo>
                  <a:lnTo>
                    <a:pt x="1578" y="1398"/>
                  </a:lnTo>
                  <a:lnTo>
                    <a:pt x="1579" y="1400"/>
                  </a:lnTo>
                  <a:lnTo>
                    <a:pt x="1595" y="1402"/>
                  </a:lnTo>
                  <a:lnTo>
                    <a:pt x="1611" y="1404"/>
                  </a:lnTo>
                  <a:lnTo>
                    <a:pt x="1620" y="1413"/>
                  </a:lnTo>
                  <a:lnTo>
                    <a:pt x="1626" y="1416"/>
                  </a:lnTo>
                  <a:lnTo>
                    <a:pt x="1633" y="1418"/>
                  </a:lnTo>
                  <a:lnTo>
                    <a:pt x="1641" y="1420"/>
                  </a:lnTo>
                  <a:lnTo>
                    <a:pt x="1646" y="1422"/>
                  </a:lnTo>
                  <a:lnTo>
                    <a:pt x="1660" y="1422"/>
                  </a:lnTo>
                  <a:lnTo>
                    <a:pt x="1661" y="1426"/>
                  </a:lnTo>
                  <a:lnTo>
                    <a:pt x="1664" y="1430"/>
                  </a:lnTo>
                  <a:lnTo>
                    <a:pt x="1669" y="1433"/>
                  </a:lnTo>
                  <a:lnTo>
                    <a:pt x="1673" y="1436"/>
                  </a:lnTo>
                  <a:lnTo>
                    <a:pt x="1674" y="1439"/>
                  </a:lnTo>
                  <a:lnTo>
                    <a:pt x="1679" y="1443"/>
                  </a:lnTo>
                  <a:lnTo>
                    <a:pt x="1681" y="1446"/>
                  </a:lnTo>
                  <a:lnTo>
                    <a:pt x="1684" y="1447"/>
                  </a:lnTo>
                  <a:lnTo>
                    <a:pt x="1688" y="1448"/>
                  </a:lnTo>
                  <a:lnTo>
                    <a:pt x="1691" y="1449"/>
                  </a:lnTo>
                  <a:lnTo>
                    <a:pt x="1696" y="1458"/>
                  </a:lnTo>
                  <a:lnTo>
                    <a:pt x="1702" y="1460"/>
                  </a:lnTo>
                  <a:lnTo>
                    <a:pt x="1709" y="1462"/>
                  </a:lnTo>
                  <a:lnTo>
                    <a:pt x="1713" y="1467"/>
                  </a:lnTo>
                  <a:lnTo>
                    <a:pt x="1718" y="1476"/>
                  </a:lnTo>
                  <a:lnTo>
                    <a:pt x="1722" y="1478"/>
                  </a:lnTo>
                  <a:lnTo>
                    <a:pt x="1727" y="1480"/>
                  </a:lnTo>
                  <a:lnTo>
                    <a:pt x="1729" y="1487"/>
                  </a:lnTo>
                  <a:lnTo>
                    <a:pt x="1731" y="1493"/>
                  </a:lnTo>
                  <a:lnTo>
                    <a:pt x="1735" y="1495"/>
                  </a:lnTo>
                  <a:lnTo>
                    <a:pt x="1738" y="1499"/>
                  </a:lnTo>
                  <a:lnTo>
                    <a:pt x="1741" y="1506"/>
                  </a:lnTo>
                  <a:lnTo>
                    <a:pt x="1745" y="1514"/>
                  </a:lnTo>
                  <a:lnTo>
                    <a:pt x="1751" y="1530"/>
                  </a:lnTo>
                  <a:lnTo>
                    <a:pt x="1758" y="1542"/>
                  </a:lnTo>
                  <a:lnTo>
                    <a:pt x="1758" y="1555"/>
                  </a:lnTo>
                  <a:lnTo>
                    <a:pt x="1767" y="1564"/>
                  </a:lnTo>
                  <a:lnTo>
                    <a:pt x="1768" y="1584"/>
                  </a:lnTo>
                  <a:lnTo>
                    <a:pt x="1770" y="1606"/>
                  </a:lnTo>
                  <a:lnTo>
                    <a:pt x="1774" y="1631"/>
                  </a:lnTo>
                  <a:lnTo>
                    <a:pt x="1775" y="1657"/>
                  </a:lnTo>
                  <a:lnTo>
                    <a:pt x="1777" y="1657"/>
                  </a:lnTo>
                  <a:lnTo>
                    <a:pt x="1761" y="1659"/>
                  </a:lnTo>
                  <a:lnTo>
                    <a:pt x="1742" y="1664"/>
                  </a:lnTo>
                  <a:lnTo>
                    <a:pt x="1732" y="1667"/>
                  </a:lnTo>
                  <a:lnTo>
                    <a:pt x="1722" y="1669"/>
                  </a:lnTo>
                  <a:lnTo>
                    <a:pt x="1711" y="1671"/>
                  </a:lnTo>
                  <a:lnTo>
                    <a:pt x="1701" y="1671"/>
                  </a:lnTo>
                  <a:lnTo>
                    <a:pt x="1700" y="1673"/>
                  </a:lnTo>
                  <a:lnTo>
                    <a:pt x="1697" y="1674"/>
                  </a:lnTo>
                  <a:lnTo>
                    <a:pt x="1692" y="1674"/>
                  </a:lnTo>
                  <a:lnTo>
                    <a:pt x="1688" y="1676"/>
                  </a:lnTo>
                  <a:lnTo>
                    <a:pt x="1678" y="1676"/>
                  </a:lnTo>
                  <a:lnTo>
                    <a:pt x="1671" y="1676"/>
                  </a:lnTo>
                  <a:lnTo>
                    <a:pt x="1670" y="1678"/>
                  </a:lnTo>
                  <a:lnTo>
                    <a:pt x="1668" y="1680"/>
                  </a:lnTo>
                  <a:lnTo>
                    <a:pt x="1664" y="1681"/>
                  </a:lnTo>
                  <a:lnTo>
                    <a:pt x="1660" y="1682"/>
                  </a:lnTo>
                  <a:lnTo>
                    <a:pt x="1649" y="1686"/>
                  </a:lnTo>
                  <a:lnTo>
                    <a:pt x="1634" y="1687"/>
                  </a:lnTo>
                  <a:lnTo>
                    <a:pt x="1606" y="1690"/>
                  </a:lnTo>
                  <a:lnTo>
                    <a:pt x="1587" y="1691"/>
                  </a:lnTo>
                  <a:lnTo>
                    <a:pt x="1586" y="1693"/>
                  </a:lnTo>
                  <a:lnTo>
                    <a:pt x="1585" y="1696"/>
                  </a:lnTo>
                  <a:lnTo>
                    <a:pt x="1583" y="1696"/>
                  </a:lnTo>
                  <a:lnTo>
                    <a:pt x="1579" y="1697"/>
                  </a:lnTo>
                  <a:lnTo>
                    <a:pt x="1577" y="1697"/>
                  </a:lnTo>
                  <a:lnTo>
                    <a:pt x="1575" y="1699"/>
                  </a:lnTo>
                  <a:lnTo>
                    <a:pt x="1573" y="1701"/>
                  </a:lnTo>
                  <a:lnTo>
                    <a:pt x="1573" y="1706"/>
                  </a:lnTo>
                  <a:lnTo>
                    <a:pt x="1567" y="1706"/>
                  </a:lnTo>
                  <a:lnTo>
                    <a:pt x="1562" y="1708"/>
                  </a:lnTo>
                  <a:lnTo>
                    <a:pt x="1556" y="1709"/>
                  </a:lnTo>
                  <a:lnTo>
                    <a:pt x="1550" y="1712"/>
                  </a:lnTo>
                  <a:lnTo>
                    <a:pt x="1540" y="1718"/>
                  </a:lnTo>
                  <a:lnTo>
                    <a:pt x="1530" y="1726"/>
                  </a:lnTo>
                  <a:lnTo>
                    <a:pt x="1521" y="1732"/>
                  </a:lnTo>
                  <a:lnTo>
                    <a:pt x="1514" y="1739"/>
                  </a:lnTo>
                  <a:lnTo>
                    <a:pt x="1508" y="1744"/>
                  </a:lnTo>
                  <a:lnTo>
                    <a:pt x="1504" y="1745"/>
                  </a:lnTo>
                  <a:lnTo>
                    <a:pt x="1502" y="1756"/>
                  </a:lnTo>
                  <a:lnTo>
                    <a:pt x="1500" y="1765"/>
                  </a:lnTo>
                  <a:lnTo>
                    <a:pt x="1499" y="1775"/>
                  </a:lnTo>
                  <a:lnTo>
                    <a:pt x="1498" y="1785"/>
                  </a:lnTo>
                  <a:lnTo>
                    <a:pt x="1500" y="1785"/>
                  </a:lnTo>
                  <a:lnTo>
                    <a:pt x="1501" y="1787"/>
                  </a:lnTo>
                  <a:lnTo>
                    <a:pt x="1502" y="1789"/>
                  </a:lnTo>
                  <a:lnTo>
                    <a:pt x="1502" y="1793"/>
                  </a:lnTo>
                  <a:lnTo>
                    <a:pt x="1504" y="1799"/>
                  </a:lnTo>
                  <a:lnTo>
                    <a:pt x="1504" y="1804"/>
                  </a:lnTo>
                  <a:lnTo>
                    <a:pt x="1424" y="1804"/>
                  </a:lnTo>
                  <a:lnTo>
                    <a:pt x="1424" y="1803"/>
                  </a:lnTo>
                  <a:lnTo>
                    <a:pt x="1422" y="1802"/>
                  </a:lnTo>
                  <a:lnTo>
                    <a:pt x="1421" y="1801"/>
                  </a:lnTo>
                  <a:lnTo>
                    <a:pt x="1419" y="1801"/>
                  </a:lnTo>
                  <a:lnTo>
                    <a:pt x="1414" y="1799"/>
                  </a:lnTo>
                  <a:lnTo>
                    <a:pt x="1410" y="1799"/>
                  </a:lnTo>
                  <a:lnTo>
                    <a:pt x="1409" y="1798"/>
                  </a:lnTo>
                  <a:lnTo>
                    <a:pt x="1404" y="1796"/>
                  </a:lnTo>
                  <a:lnTo>
                    <a:pt x="1400" y="1796"/>
                  </a:lnTo>
                  <a:lnTo>
                    <a:pt x="1394" y="1795"/>
                  </a:lnTo>
                  <a:lnTo>
                    <a:pt x="1382" y="1795"/>
                  </a:lnTo>
                  <a:lnTo>
                    <a:pt x="1375" y="1795"/>
                  </a:lnTo>
                  <a:lnTo>
                    <a:pt x="1372" y="1793"/>
                  </a:lnTo>
                  <a:lnTo>
                    <a:pt x="1363" y="1789"/>
                  </a:lnTo>
                  <a:lnTo>
                    <a:pt x="1349" y="1786"/>
                  </a:lnTo>
                  <a:lnTo>
                    <a:pt x="1335" y="1783"/>
                  </a:lnTo>
                  <a:lnTo>
                    <a:pt x="1306" y="1777"/>
                  </a:lnTo>
                  <a:lnTo>
                    <a:pt x="1291" y="1775"/>
                  </a:lnTo>
                  <a:lnTo>
                    <a:pt x="1290" y="1773"/>
                  </a:lnTo>
                  <a:lnTo>
                    <a:pt x="1289" y="1772"/>
                  </a:lnTo>
                  <a:lnTo>
                    <a:pt x="1287" y="1769"/>
                  </a:lnTo>
                  <a:lnTo>
                    <a:pt x="1285" y="1768"/>
                  </a:lnTo>
                  <a:lnTo>
                    <a:pt x="1278" y="1766"/>
                  </a:lnTo>
                  <a:lnTo>
                    <a:pt x="1271" y="1765"/>
                  </a:lnTo>
                  <a:lnTo>
                    <a:pt x="1270" y="1764"/>
                  </a:lnTo>
                  <a:lnTo>
                    <a:pt x="1269" y="1761"/>
                  </a:lnTo>
                  <a:lnTo>
                    <a:pt x="1267" y="1760"/>
                  </a:lnTo>
                  <a:lnTo>
                    <a:pt x="1264" y="1759"/>
                  </a:lnTo>
                  <a:lnTo>
                    <a:pt x="1253" y="1757"/>
                  </a:lnTo>
                  <a:lnTo>
                    <a:pt x="1241" y="1756"/>
                  </a:lnTo>
                  <a:lnTo>
                    <a:pt x="1210" y="1754"/>
                  </a:lnTo>
                  <a:lnTo>
                    <a:pt x="1174" y="1755"/>
                  </a:lnTo>
                  <a:lnTo>
                    <a:pt x="1174" y="1754"/>
                  </a:lnTo>
                  <a:lnTo>
                    <a:pt x="1170" y="1754"/>
                  </a:lnTo>
                  <a:lnTo>
                    <a:pt x="1168" y="1753"/>
                  </a:lnTo>
                  <a:lnTo>
                    <a:pt x="1166" y="1751"/>
                  </a:lnTo>
                  <a:lnTo>
                    <a:pt x="1166" y="1750"/>
                  </a:lnTo>
                  <a:lnTo>
                    <a:pt x="1166" y="1749"/>
                  </a:lnTo>
                  <a:lnTo>
                    <a:pt x="1166" y="1748"/>
                  </a:lnTo>
                  <a:lnTo>
                    <a:pt x="1164" y="1747"/>
                  </a:lnTo>
                  <a:lnTo>
                    <a:pt x="1160" y="1747"/>
                  </a:lnTo>
                  <a:lnTo>
                    <a:pt x="1160" y="1734"/>
                  </a:lnTo>
                  <a:lnTo>
                    <a:pt x="1157" y="1732"/>
                  </a:lnTo>
                  <a:lnTo>
                    <a:pt x="1156" y="1732"/>
                  </a:lnTo>
                  <a:lnTo>
                    <a:pt x="1154" y="1730"/>
                  </a:lnTo>
                  <a:lnTo>
                    <a:pt x="1154" y="1729"/>
                  </a:lnTo>
                  <a:lnTo>
                    <a:pt x="1153" y="1725"/>
                  </a:lnTo>
                  <a:lnTo>
                    <a:pt x="1153" y="1719"/>
                  </a:lnTo>
                  <a:lnTo>
                    <a:pt x="1151" y="1718"/>
                  </a:lnTo>
                  <a:lnTo>
                    <a:pt x="1149" y="1714"/>
                  </a:lnTo>
                  <a:lnTo>
                    <a:pt x="1147" y="1708"/>
                  </a:lnTo>
                  <a:lnTo>
                    <a:pt x="1147" y="1701"/>
                  </a:lnTo>
                  <a:lnTo>
                    <a:pt x="1146" y="1688"/>
                  </a:lnTo>
                  <a:lnTo>
                    <a:pt x="1146" y="1678"/>
                  </a:lnTo>
                  <a:lnTo>
                    <a:pt x="1143" y="1677"/>
                  </a:lnTo>
                  <a:lnTo>
                    <a:pt x="1141" y="1674"/>
                  </a:lnTo>
                  <a:lnTo>
                    <a:pt x="1139" y="1671"/>
                  </a:lnTo>
                  <a:lnTo>
                    <a:pt x="1136" y="1667"/>
                  </a:lnTo>
                  <a:lnTo>
                    <a:pt x="1133" y="1658"/>
                  </a:lnTo>
                  <a:lnTo>
                    <a:pt x="1132" y="1650"/>
                  </a:lnTo>
                  <a:lnTo>
                    <a:pt x="1130" y="1650"/>
                  </a:lnTo>
                  <a:lnTo>
                    <a:pt x="1128" y="1649"/>
                  </a:lnTo>
                  <a:lnTo>
                    <a:pt x="1127" y="1648"/>
                  </a:lnTo>
                  <a:lnTo>
                    <a:pt x="1126" y="1647"/>
                  </a:lnTo>
                  <a:lnTo>
                    <a:pt x="1125" y="1642"/>
                  </a:lnTo>
                  <a:lnTo>
                    <a:pt x="1125" y="1637"/>
                  </a:lnTo>
                  <a:lnTo>
                    <a:pt x="1123" y="1637"/>
                  </a:lnTo>
                  <a:lnTo>
                    <a:pt x="1122" y="1634"/>
                  </a:lnTo>
                  <a:lnTo>
                    <a:pt x="1121" y="1632"/>
                  </a:lnTo>
                  <a:lnTo>
                    <a:pt x="1120" y="1629"/>
                  </a:lnTo>
                  <a:lnTo>
                    <a:pt x="1118" y="1622"/>
                  </a:lnTo>
                  <a:lnTo>
                    <a:pt x="1118" y="1616"/>
                  </a:lnTo>
                  <a:lnTo>
                    <a:pt x="1116" y="1615"/>
                  </a:lnTo>
                  <a:lnTo>
                    <a:pt x="1114" y="1614"/>
                  </a:lnTo>
                  <a:lnTo>
                    <a:pt x="1113" y="1611"/>
                  </a:lnTo>
                  <a:lnTo>
                    <a:pt x="1113" y="1609"/>
                  </a:lnTo>
                  <a:lnTo>
                    <a:pt x="1112" y="1601"/>
                  </a:lnTo>
                  <a:lnTo>
                    <a:pt x="1112" y="1595"/>
                  </a:lnTo>
                  <a:lnTo>
                    <a:pt x="1098" y="1595"/>
                  </a:lnTo>
                  <a:lnTo>
                    <a:pt x="1096" y="1590"/>
                  </a:lnTo>
                  <a:lnTo>
                    <a:pt x="1094" y="1585"/>
                  </a:lnTo>
                  <a:lnTo>
                    <a:pt x="1089" y="1583"/>
                  </a:lnTo>
                  <a:lnTo>
                    <a:pt x="1084" y="1582"/>
                  </a:lnTo>
                  <a:lnTo>
                    <a:pt x="1070" y="1567"/>
                  </a:lnTo>
                  <a:lnTo>
                    <a:pt x="1056" y="1554"/>
                  </a:lnTo>
                  <a:lnTo>
                    <a:pt x="1043" y="1554"/>
                  </a:lnTo>
                  <a:lnTo>
                    <a:pt x="1043" y="1539"/>
                  </a:lnTo>
                  <a:lnTo>
                    <a:pt x="1039" y="1538"/>
                  </a:lnTo>
                  <a:lnTo>
                    <a:pt x="1035" y="1536"/>
                  </a:lnTo>
                  <a:lnTo>
                    <a:pt x="1030" y="1530"/>
                  </a:lnTo>
                  <a:lnTo>
                    <a:pt x="1026" y="1525"/>
                  </a:lnTo>
                  <a:lnTo>
                    <a:pt x="1016" y="1514"/>
                  </a:lnTo>
                  <a:lnTo>
                    <a:pt x="1008" y="1506"/>
                  </a:lnTo>
                  <a:lnTo>
                    <a:pt x="1007" y="1497"/>
                  </a:lnTo>
                  <a:lnTo>
                    <a:pt x="1003" y="1486"/>
                  </a:lnTo>
                  <a:lnTo>
                    <a:pt x="1001" y="1480"/>
                  </a:lnTo>
                  <a:lnTo>
                    <a:pt x="999" y="1476"/>
                  </a:lnTo>
                  <a:lnTo>
                    <a:pt x="997" y="1472"/>
                  </a:lnTo>
                  <a:lnTo>
                    <a:pt x="995" y="1471"/>
                  </a:lnTo>
                  <a:lnTo>
                    <a:pt x="993" y="1466"/>
                  </a:lnTo>
                  <a:lnTo>
                    <a:pt x="992" y="1460"/>
                  </a:lnTo>
                  <a:lnTo>
                    <a:pt x="990" y="1456"/>
                  </a:lnTo>
                  <a:lnTo>
                    <a:pt x="988" y="1450"/>
                  </a:lnTo>
                  <a:lnTo>
                    <a:pt x="984" y="1445"/>
                  </a:lnTo>
                  <a:lnTo>
                    <a:pt x="982" y="1440"/>
                  </a:lnTo>
                  <a:lnTo>
                    <a:pt x="981" y="1434"/>
                  </a:lnTo>
                  <a:lnTo>
                    <a:pt x="980" y="1430"/>
                  </a:lnTo>
                  <a:lnTo>
                    <a:pt x="967" y="1430"/>
                  </a:lnTo>
                  <a:lnTo>
                    <a:pt x="965" y="1426"/>
                  </a:lnTo>
                  <a:lnTo>
                    <a:pt x="961" y="1418"/>
                  </a:lnTo>
                  <a:lnTo>
                    <a:pt x="955" y="1409"/>
                  </a:lnTo>
                  <a:lnTo>
                    <a:pt x="949" y="1399"/>
                  </a:lnTo>
                  <a:lnTo>
                    <a:pt x="941" y="1390"/>
                  </a:lnTo>
                  <a:lnTo>
                    <a:pt x="934" y="1382"/>
                  </a:lnTo>
                  <a:lnTo>
                    <a:pt x="929" y="1376"/>
                  </a:lnTo>
                  <a:lnTo>
                    <a:pt x="925" y="1374"/>
                  </a:lnTo>
                  <a:lnTo>
                    <a:pt x="925" y="1361"/>
                  </a:lnTo>
                  <a:lnTo>
                    <a:pt x="921" y="1359"/>
                  </a:lnTo>
                  <a:lnTo>
                    <a:pt x="915" y="1353"/>
                  </a:lnTo>
                  <a:lnTo>
                    <a:pt x="909" y="1344"/>
                  </a:lnTo>
                  <a:lnTo>
                    <a:pt x="902" y="1334"/>
                  </a:lnTo>
                  <a:lnTo>
                    <a:pt x="895" y="1324"/>
                  </a:lnTo>
                  <a:lnTo>
                    <a:pt x="890" y="1314"/>
                  </a:lnTo>
                  <a:lnTo>
                    <a:pt x="885" y="1305"/>
                  </a:lnTo>
                  <a:lnTo>
                    <a:pt x="884" y="1298"/>
                  </a:lnTo>
                  <a:lnTo>
                    <a:pt x="881" y="1298"/>
                  </a:lnTo>
                  <a:lnTo>
                    <a:pt x="878" y="1297"/>
                  </a:lnTo>
                  <a:lnTo>
                    <a:pt x="876" y="1295"/>
                  </a:lnTo>
                  <a:lnTo>
                    <a:pt x="874" y="1293"/>
                  </a:lnTo>
                  <a:lnTo>
                    <a:pt x="868" y="1287"/>
                  </a:lnTo>
                  <a:lnTo>
                    <a:pt x="865" y="1279"/>
                  </a:lnTo>
                  <a:lnTo>
                    <a:pt x="862" y="1272"/>
                  </a:lnTo>
                  <a:lnTo>
                    <a:pt x="858" y="1264"/>
                  </a:lnTo>
                  <a:lnTo>
                    <a:pt x="857" y="1256"/>
                  </a:lnTo>
                  <a:lnTo>
                    <a:pt x="856" y="1250"/>
                  </a:lnTo>
                  <a:lnTo>
                    <a:pt x="854" y="1248"/>
                  </a:lnTo>
                  <a:lnTo>
                    <a:pt x="851" y="1245"/>
                  </a:lnTo>
                  <a:lnTo>
                    <a:pt x="847" y="1239"/>
                  </a:lnTo>
                  <a:lnTo>
                    <a:pt x="844" y="1232"/>
                  </a:lnTo>
                  <a:lnTo>
                    <a:pt x="839" y="1227"/>
                  </a:lnTo>
                  <a:lnTo>
                    <a:pt x="835" y="1221"/>
                  </a:lnTo>
                  <a:lnTo>
                    <a:pt x="832" y="1219"/>
                  </a:lnTo>
                  <a:lnTo>
                    <a:pt x="828" y="1217"/>
                  </a:lnTo>
                  <a:lnTo>
                    <a:pt x="825" y="1216"/>
                  </a:lnTo>
                  <a:lnTo>
                    <a:pt x="821" y="1216"/>
                  </a:lnTo>
                  <a:lnTo>
                    <a:pt x="821" y="1201"/>
                  </a:lnTo>
                  <a:lnTo>
                    <a:pt x="815" y="1195"/>
                  </a:lnTo>
                  <a:lnTo>
                    <a:pt x="805" y="1191"/>
                  </a:lnTo>
                  <a:lnTo>
                    <a:pt x="794" y="1188"/>
                  </a:lnTo>
                  <a:lnTo>
                    <a:pt x="792" y="1183"/>
                  </a:lnTo>
                  <a:lnTo>
                    <a:pt x="789" y="1179"/>
                  </a:lnTo>
                  <a:lnTo>
                    <a:pt x="786" y="1176"/>
                  </a:lnTo>
                  <a:lnTo>
                    <a:pt x="780" y="1174"/>
                  </a:lnTo>
                  <a:lnTo>
                    <a:pt x="776" y="1170"/>
                  </a:lnTo>
                  <a:lnTo>
                    <a:pt x="766" y="1160"/>
                  </a:lnTo>
                  <a:lnTo>
                    <a:pt x="760" y="1155"/>
                  </a:lnTo>
                  <a:lnTo>
                    <a:pt x="753" y="1151"/>
                  </a:lnTo>
                  <a:lnTo>
                    <a:pt x="749" y="1148"/>
                  </a:lnTo>
                  <a:lnTo>
                    <a:pt x="746" y="1147"/>
                  </a:lnTo>
                  <a:lnTo>
                    <a:pt x="743" y="1139"/>
                  </a:lnTo>
                  <a:lnTo>
                    <a:pt x="739" y="1129"/>
                  </a:lnTo>
                  <a:lnTo>
                    <a:pt x="734" y="1120"/>
                  </a:lnTo>
                  <a:lnTo>
                    <a:pt x="732" y="1112"/>
                  </a:lnTo>
                  <a:lnTo>
                    <a:pt x="729" y="1111"/>
                  </a:lnTo>
                  <a:lnTo>
                    <a:pt x="725" y="1109"/>
                  </a:lnTo>
                  <a:lnTo>
                    <a:pt x="722" y="1105"/>
                  </a:lnTo>
                  <a:lnTo>
                    <a:pt x="719" y="1101"/>
                  </a:lnTo>
                  <a:lnTo>
                    <a:pt x="713" y="1092"/>
                  </a:lnTo>
                  <a:lnTo>
                    <a:pt x="711" y="1084"/>
                  </a:lnTo>
                  <a:lnTo>
                    <a:pt x="706" y="1084"/>
                  </a:lnTo>
                  <a:lnTo>
                    <a:pt x="703" y="1082"/>
                  </a:lnTo>
                  <a:lnTo>
                    <a:pt x="701" y="1080"/>
                  </a:lnTo>
                  <a:lnTo>
                    <a:pt x="699" y="1076"/>
                  </a:lnTo>
                  <a:lnTo>
                    <a:pt x="698" y="1070"/>
                  </a:lnTo>
                  <a:lnTo>
                    <a:pt x="698" y="1064"/>
                  </a:lnTo>
                  <a:lnTo>
                    <a:pt x="691" y="1057"/>
                  </a:lnTo>
                  <a:lnTo>
                    <a:pt x="683" y="1049"/>
                  </a:lnTo>
                  <a:lnTo>
                    <a:pt x="680" y="1049"/>
                  </a:lnTo>
                  <a:lnTo>
                    <a:pt x="677" y="1048"/>
                  </a:lnTo>
                  <a:lnTo>
                    <a:pt x="676" y="1047"/>
                  </a:lnTo>
                  <a:lnTo>
                    <a:pt x="676" y="1046"/>
                  </a:lnTo>
                  <a:lnTo>
                    <a:pt x="676" y="1045"/>
                  </a:lnTo>
                  <a:lnTo>
                    <a:pt x="675" y="1044"/>
                  </a:lnTo>
                  <a:lnTo>
                    <a:pt x="674" y="1043"/>
                  </a:lnTo>
                  <a:lnTo>
                    <a:pt x="670" y="1043"/>
                  </a:lnTo>
                  <a:lnTo>
                    <a:pt x="669" y="1038"/>
                  </a:lnTo>
                  <a:lnTo>
                    <a:pt x="665" y="1033"/>
                  </a:lnTo>
                  <a:lnTo>
                    <a:pt x="661" y="1027"/>
                  </a:lnTo>
                  <a:lnTo>
                    <a:pt x="656" y="1023"/>
                  </a:lnTo>
                  <a:lnTo>
                    <a:pt x="642" y="1023"/>
                  </a:lnTo>
                  <a:lnTo>
                    <a:pt x="642" y="1008"/>
                  </a:lnTo>
                  <a:lnTo>
                    <a:pt x="635" y="1001"/>
                  </a:lnTo>
                  <a:lnTo>
                    <a:pt x="628" y="995"/>
                  </a:lnTo>
                  <a:lnTo>
                    <a:pt x="622" y="988"/>
                  </a:lnTo>
                  <a:lnTo>
                    <a:pt x="615" y="980"/>
                  </a:lnTo>
                  <a:lnTo>
                    <a:pt x="607" y="974"/>
                  </a:lnTo>
                  <a:lnTo>
                    <a:pt x="594" y="974"/>
                  </a:lnTo>
                  <a:lnTo>
                    <a:pt x="580" y="974"/>
                  </a:lnTo>
                  <a:lnTo>
                    <a:pt x="579" y="972"/>
                  </a:lnTo>
                  <a:lnTo>
                    <a:pt x="576" y="971"/>
                  </a:lnTo>
                  <a:lnTo>
                    <a:pt x="571" y="970"/>
                  </a:lnTo>
                  <a:lnTo>
                    <a:pt x="565" y="970"/>
                  </a:lnTo>
                  <a:lnTo>
                    <a:pt x="549" y="969"/>
                  </a:lnTo>
                  <a:lnTo>
                    <a:pt x="530" y="968"/>
                  </a:lnTo>
                  <a:lnTo>
                    <a:pt x="492" y="967"/>
                  </a:lnTo>
                  <a:lnTo>
                    <a:pt x="470" y="967"/>
                  </a:lnTo>
                  <a:lnTo>
                    <a:pt x="462" y="960"/>
                  </a:lnTo>
                  <a:lnTo>
                    <a:pt x="462" y="955"/>
                  </a:lnTo>
                  <a:lnTo>
                    <a:pt x="460" y="949"/>
                  </a:lnTo>
                  <a:lnTo>
                    <a:pt x="456" y="942"/>
                  </a:lnTo>
                  <a:lnTo>
                    <a:pt x="452" y="936"/>
                  </a:lnTo>
                  <a:lnTo>
                    <a:pt x="449" y="928"/>
                  </a:lnTo>
                  <a:lnTo>
                    <a:pt x="445" y="920"/>
                  </a:lnTo>
                  <a:lnTo>
                    <a:pt x="443" y="912"/>
                  </a:lnTo>
                  <a:lnTo>
                    <a:pt x="442" y="904"/>
                  </a:lnTo>
                  <a:lnTo>
                    <a:pt x="440" y="903"/>
                  </a:lnTo>
                  <a:lnTo>
                    <a:pt x="437" y="900"/>
                  </a:lnTo>
                  <a:lnTo>
                    <a:pt x="436" y="893"/>
                  </a:lnTo>
                  <a:lnTo>
                    <a:pt x="436" y="885"/>
                  </a:lnTo>
                  <a:lnTo>
                    <a:pt x="435" y="865"/>
                  </a:lnTo>
                  <a:lnTo>
                    <a:pt x="436" y="841"/>
                  </a:lnTo>
                  <a:lnTo>
                    <a:pt x="440" y="794"/>
                  </a:lnTo>
                  <a:lnTo>
                    <a:pt x="442" y="767"/>
                  </a:lnTo>
                  <a:lnTo>
                    <a:pt x="440" y="766"/>
                  </a:lnTo>
                  <a:lnTo>
                    <a:pt x="437" y="766"/>
                  </a:lnTo>
                  <a:lnTo>
                    <a:pt x="436" y="764"/>
                  </a:lnTo>
                  <a:lnTo>
                    <a:pt x="436" y="763"/>
                  </a:lnTo>
                  <a:lnTo>
                    <a:pt x="435" y="758"/>
                  </a:lnTo>
                  <a:lnTo>
                    <a:pt x="435" y="753"/>
                  </a:lnTo>
                  <a:lnTo>
                    <a:pt x="431" y="753"/>
                  </a:lnTo>
                  <a:lnTo>
                    <a:pt x="429" y="751"/>
                  </a:lnTo>
                  <a:lnTo>
                    <a:pt x="429" y="750"/>
                  </a:lnTo>
                  <a:lnTo>
                    <a:pt x="429" y="749"/>
                  </a:lnTo>
                  <a:lnTo>
                    <a:pt x="427" y="748"/>
                  </a:lnTo>
                  <a:lnTo>
                    <a:pt x="427" y="747"/>
                  </a:lnTo>
                  <a:lnTo>
                    <a:pt x="425" y="746"/>
                  </a:lnTo>
                  <a:lnTo>
                    <a:pt x="421" y="746"/>
                  </a:lnTo>
                  <a:lnTo>
                    <a:pt x="421" y="726"/>
                  </a:lnTo>
                  <a:lnTo>
                    <a:pt x="417" y="725"/>
                  </a:lnTo>
                  <a:lnTo>
                    <a:pt x="415" y="725"/>
                  </a:lnTo>
                  <a:lnTo>
                    <a:pt x="414" y="724"/>
                  </a:lnTo>
                  <a:lnTo>
                    <a:pt x="414" y="722"/>
                  </a:lnTo>
                  <a:lnTo>
                    <a:pt x="414" y="720"/>
                  </a:lnTo>
                  <a:lnTo>
                    <a:pt x="413" y="719"/>
                  </a:lnTo>
                  <a:lnTo>
                    <a:pt x="412" y="719"/>
                  </a:lnTo>
                  <a:lnTo>
                    <a:pt x="407" y="718"/>
                  </a:lnTo>
                  <a:lnTo>
                    <a:pt x="407" y="705"/>
                  </a:lnTo>
                  <a:lnTo>
                    <a:pt x="397" y="698"/>
                  </a:lnTo>
                  <a:lnTo>
                    <a:pt x="386" y="691"/>
                  </a:lnTo>
                  <a:lnTo>
                    <a:pt x="383" y="680"/>
                  </a:lnTo>
                  <a:lnTo>
                    <a:pt x="379" y="670"/>
                  </a:lnTo>
                  <a:lnTo>
                    <a:pt x="373" y="663"/>
                  </a:lnTo>
                  <a:lnTo>
                    <a:pt x="369" y="662"/>
                  </a:lnTo>
                  <a:lnTo>
                    <a:pt x="367" y="661"/>
                  </a:lnTo>
                  <a:lnTo>
                    <a:pt x="363" y="659"/>
                  </a:lnTo>
                  <a:lnTo>
                    <a:pt x="359" y="655"/>
                  </a:lnTo>
                  <a:lnTo>
                    <a:pt x="357" y="652"/>
                  </a:lnTo>
                  <a:lnTo>
                    <a:pt x="355" y="649"/>
                  </a:lnTo>
                  <a:lnTo>
                    <a:pt x="353" y="645"/>
                  </a:lnTo>
                  <a:lnTo>
                    <a:pt x="353" y="642"/>
                  </a:lnTo>
                  <a:lnTo>
                    <a:pt x="297" y="642"/>
                  </a:lnTo>
                  <a:lnTo>
                    <a:pt x="291" y="637"/>
                  </a:lnTo>
                  <a:lnTo>
                    <a:pt x="283" y="629"/>
                  </a:lnTo>
                  <a:lnTo>
                    <a:pt x="278" y="621"/>
                  </a:lnTo>
                  <a:lnTo>
                    <a:pt x="276" y="615"/>
                  </a:lnTo>
                  <a:lnTo>
                    <a:pt x="262" y="615"/>
                  </a:lnTo>
                  <a:lnTo>
                    <a:pt x="262" y="613"/>
                  </a:lnTo>
                  <a:lnTo>
                    <a:pt x="261" y="611"/>
                  </a:lnTo>
                  <a:lnTo>
                    <a:pt x="260" y="610"/>
                  </a:lnTo>
                  <a:lnTo>
                    <a:pt x="258" y="609"/>
                  </a:lnTo>
                  <a:lnTo>
                    <a:pt x="253" y="609"/>
                  </a:lnTo>
                  <a:lnTo>
                    <a:pt x="249" y="607"/>
                  </a:lnTo>
                  <a:lnTo>
                    <a:pt x="248" y="605"/>
                  </a:lnTo>
                  <a:lnTo>
                    <a:pt x="247" y="604"/>
                  </a:lnTo>
                  <a:lnTo>
                    <a:pt x="243" y="603"/>
                  </a:lnTo>
                  <a:lnTo>
                    <a:pt x="241" y="602"/>
                  </a:lnTo>
                  <a:lnTo>
                    <a:pt x="234" y="601"/>
                  </a:lnTo>
                  <a:lnTo>
                    <a:pt x="228" y="601"/>
                  </a:lnTo>
                  <a:lnTo>
                    <a:pt x="226" y="600"/>
                  </a:lnTo>
                  <a:lnTo>
                    <a:pt x="223" y="599"/>
                  </a:lnTo>
                  <a:lnTo>
                    <a:pt x="216" y="597"/>
                  </a:lnTo>
                  <a:lnTo>
                    <a:pt x="210" y="597"/>
                  </a:lnTo>
                  <a:lnTo>
                    <a:pt x="190" y="596"/>
                  </a:lnTo>
                  <a:lnTo>
                    <a:pt x="167" y="595"/>
                  </a:lnTo>
                  <a:lnTo>
                    <a:pt x="123" y="594"/>
                  </a:lnTo>
                  <a:lnTo>
                    <a:pt x="97" y="594"/>
                  </a:lnTo>
                  <a:lnTo>
                    <a:pt x="96" y="592"/>
                  </a:lnTo>
                  <a:lnTo>
                    <a:pt x="96" y="591"/>
                  </a:lnTo>
                  <a:lnTo>
                    <a:pt x="94" y="589"/>
                  </a:lnTo>
                  <a:lnTo>
                    <a:pt x="93" y="589"/>
                  </a:lnTo>
                  <a:lnTo>
                    <a:pt x="88" y="587"/>
                  </a:lnTo>
                  <a:lnTo>
                    <a:pt x="82" y="587"/>
                  </a:lnTo>
                  <a:lnTo>
                    <a:pt x="81" y="585"/>
                  </a:lnTo>
                  <a:lnTo>
                    <a:pt x="76" y="583"/>
                  </a:lnTo>
                  <a:lnTo>
                    <a:pt x="69" y="582"/>
                  </a:lnTo>
                  <a:lnTo>
                    <a:pt x="61" y="582"/>
                  </a:lnTo>
                  <a:lnTo>
                    <a:pt x="45" y="581"/>
                  </a:lnTo>
                  <a:lnTo>
                    <a:pt x="34" y="581"/>
                  </a:lnTo>
                  <a:lnTo>
                    <a:pt x="28" y="574"/>
                  </a:lnTo>
                  <a:lnTo>
                    <a:pt x="28" y="560"/>
                  </a:lnTo>
                  <a:lnTo>
                    <a:pt x="13" y="553"/>
                  </a:lnTo>
                  <a:lnTo>
                    <a:pt x="13" y="543"/>
                  </a:lnTo>
                  <a:lnTo>
                    <a:pt x="13" y="532"/>
                  </a:lnTo>
                  <a:lnTo>
                    <a:pt x="16" y="532"/>
                  </a:lnTo>
                  <a:lnTo>
                    <a:pt x="18" y="530"/>
                  </a:lnTo>
                  <a:lnTo>
                    <a:pt x="19" y="529"/>
                  </a:lnTo>
                  <a:lnTo>
                    <a:pt x="20" y="528"/>
                  </a:lnTo>
                  <a:lnTo>
                    <a:pt x="21" y="524"/>
                  </a:lnTo>
                  <a:lnTo>
                    <a:pt x="21" y="518"/>
                  </a:lnTo>
                  <a:lnTo>
                    <a:pt x="23" y="518"/>
                  </a:lnTo>
                  <a:lnTo>
                    <a:pt x="24" y="516"/>
                  </a:lnTo>
                  <a:lnTo>
                    <a:pt x="26" y="514"/>
                  </a:lnTo>
                  <a:lnTo>
                    <a:pt x="27" y="510"/>
                  </a:lnTo>
                  <a:lnTo>
                    <a:pt x="28" y="504"/>
                  </a:lnTo>
                  <a:lnTo>
                    <a:pt x="28" y="497"/>
                  </a:lnTo>
                  <a:lnTo>
                    <a:pt x="13" y="490"/>
                  </a:lnTo>
                  <a:lnTo>
                    <a:pt x="7" y="484"/>
                  </a:lnTo>
                  <a:lnTo>
                    <a:pt x="0" y="477"/>
                  </a:lnTo>
                  <a:lnTo>
                    <a:pt x="1" y="455"/>
                  </a:lnTo>
                  <a:lnTo>
                    <a:pt x="3" y="429"/>
                  </a:lnTo>
                  <a:lnTo>
                    <a:pt x="5" y="405"/>
                  </a:lnTo>
                  <a:lnTo>
                    <a:pt x="7" y="388"/>
                  </a:lnTo>
                  <a:lnTo>
                    <a:pt x="10" y="385"/>
                  </a:lnTo>
                  <a:lnTo>
                    <a:pt x="16" y="383"/>
                  </a:lnTo>
                  <a:lnTo>
                    <a:pt x="21" y="378"/>
                  </a:lnTo>
                  <a:lnTo>
                    <a:pt x="28" y="372"/>
                  </a:lnTo>
                  <a:lnTo>
                    <a:pt x="40" y="361"/>
                  </a:lnTo>
                  <a:lnTo>
                    <a:pt x="48" y="353"/>
                  </a:lnTo>
                  <a:lnTo>
                    <a:pt x="48" y="332"/>
                  </a:lnTo>
                  <a:lnTo>
                    <a:pt x="50" y="331"/>
                  </a:lnTo>
                  <a:lnTo>
                    <a:pt x="52" y="326"/>
                  </a:lnTo>
                  <a:lnTo>
                    <a:pt x="53" y="321"/>
                  </a:lnTo>
                  <a:lnTo>
                    <a:pt x="55" y="314"/>
                  </a:lnTo>
                  <a:lnTo>
                    <a:pt x="55" y="299"/>
                  </a:lnTo>
                  <a:lnTo>
                    <a:pt x="56" y="291"/>
                  </a:lnTo>
                  <a:lnTo>
                    <a:pt x="58" y="289"/>
                  </a:lnTo>
                  <a:lnTo>
                    <a:pt x="59" y="288"/>
                  </a:lnTo>
                  <a:lnTo>
                    <a:pt x="60" y="286"/>
                  </a:lnTo>
                  <a:lnTo>
                    <a:pt x="61" y="283"/>
                  </a:lnTo>
                  <a:lnTo>
                    <a:pt x="62" y="276"/>
                  </a:lnTo>
                  <a:lnTo>
                    <a:pt x="62" y="269"/>
                  </a:lnTo>
                  <a:lnTo>
                    <a:pt x="66" y="269"/>
                  </a:lnTo>
                  <a:lnTo>
                    <a:pt x="68" y="268"/>
                  </a:lnTo>
                  <a:lnTo>
                    <a:pt x="69" y="267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70" y="264"/>
                  </a:lnTo>
                  <a:lnTo>
                    <a:pt x="72" y="263"/>
                  </a:lnTo>
                  <a:lnTo>
                    <a:pt x="76" y="263"/>
                  </a:lnTo>
                  <a:lnTo>
                    <a:pt x="77" y="259"/>
                  </a:lnTo>
                  <a:lnTo>
                    <a:pt x="78" y="256"/>
                  </a:lnTo>
                  <a:lnTo>
                    <a:pt x="81" y="253"/>
                  </a:lnTo>
                  <a:lnTo>
                    <a:pt x="86" y="248"/>
                  </a:lnTo>
                  <a:lnTo>
                    <a:pt x="98" y="239"/>
                  </a:lnTo>
                  <a:lnTo>
                    <a:pt x="113" y="228"/>
                  </a:lnTo>
                  <a:lnTo>
                    <a:pt x="152" y="203"/>
                  </a:lnTo>
                  <a:lnTo>
                    <a:pt x="197" y="176"/>
                  </a:lnTo>
                  <a:lnTo>
                    <a:pt x="250" y="139"/>
                  </a:lnTo>
                  <a:lnTo>
                    <a:pt x="297" y="105"/>
                  </a:lnTo>
                  <a:lnTo>
                    <a:pt x="330" y="81"/>
                  </a:lnTo>
                  <a:lnTo>
                    <a:pt x="343" y="71"/>
                  </a:lnTo>
                  <a:lnTo>
                    <a:pt x="359" y="72"/>
                  </a:lnTo>
                  <a:lnTo>
                    <a:pt x="372" y="74"/>
                  </a:lnTo>
                  <a:lnTo>
                    <a:pt x="384" y="75"/>
                  </a:lnTo>
                  <a:lnTo>
                    <a:pt x="401" y="76"/>
                  </a:lnTo>
                  <a:lnTo>
                    <a:pt x="407" y="70"/>
                  </a:lnTo>
                  <a:lnTo>
                    <a:pt x="407" y="65"/>
                  </a:lnTo>
                  <a:lnTo>
                    <a:pt x="408" y="64"/>
                  </a:lnTo>
                  <a:lnTo>
                    <a:pt x="410" y="63"/>
                  </a:lnTo>
                  <a:lnTo>
                    <a:pt x="411" y="63"/>
                  </a:lnTo>
                  <a:lnTo>
                    <a:pt x="412" y="63"/>
                  </a:lnTo>
                  <a:lnTo>
                    <a:pt x="413" y="62"/>
                  </a:lnTo>
                  <a:lnTo>
                    <a:pt x="414" y="60"/>
                  </a:lnTo>
                  <a:lnTo>
                    <a:pt x="414" y="56"/>
                  </a:lnTo>
                  <a:lnTo>
                    <a:pt x="429" y="56"/>
                  </a:lnTo>
                  <a:lnTo>
                    <a:pt x="435" y="48"/>
                  </a:lnTo>
                  <a:lnTo>
                    <a:pt x="435" y="46"/>
                  </a:lnTo>
                  <a:lnTo>
                    <a:pt x="439" y="43"/>
                  </a:lnTo>
                  <a:lnTo>
                    <a:pt x="442" y="39"/>
                  </a:lnTo>
                  <a:lnTo>
                    <a:pt x="448" y="36"/>
                  </a:lnTo>
                  <a:lnTo>
                    <a:pt x="460" y="29"/>
                  </a:lnTo>
                  <a:lnTo>
                    <a:pt x="474" y="23"/>
                  </a:lnTo>
                  <a:lnTo>
                    <a:pt x="490" y="17"/>
                  </a:lnTo>
                  <a:lnTo>
                    <a:pt x="504" y="12"/>
                  </a:lnTo>
                  <a:lnTo>
                    <a:pt x="517" y="8"/>
                  </a:lnTo>
                  <a:lnTo>
                    <a:pt x="525" y="7"/>
                  </a:lnTo>
                  <a:lnTo>
                    <a:pt x="526" y="5"/>
                  </a:lnTo>
                  <a:lnTo>
                    <a:pt x="528" y="4"/>
                  </a:lnTo>
                  <a:lnTo>
                    <a:pt x="531" y="3"/>
                  </a:lnTo>
                  <a:lnTo>
                    <a:pt x="536" y="1"/>
                  </a:lnTo>
                  <a:lnTo>
                    <a:pt x="545" y="0"/>
                  </a:lnTo>
                  <a:lnTo>
                    <a:pt x="552" y="0"/>
                  </a:lnTo>
                  <a:lnTo>
                    <a:pt x="554" y="9"/>
                  </a:lnTo>
                  <a:lnTo>
                    <a:pt x="556" y="18"/>
                  </a:lnTo>
                  <a:lnTo>
                    <a:pt x="558" y="26"/>
                  </a:lnTo>
                  <a:lnTo>
                    <a:pt x="559" y="35"/>
                  </a:lnTo>
                  <a:lnTo>
                    <a:pt x="561" y="35"/>
                  </a:lnTo>
                  <a:lnTo>
                    <a:pt x="564" y="36"/>
                  </a:lnTo>
                  <a:lnTo>
                    <a:pt x="565" y="37"/>
                  </a:lnTo>
                  <a:lnTo>
                    <a:pt x="565" y="39"/>
                  </a:lnTo>
                  <a:lnTo>
                    <a:pt x="566" y="44"/>
                  </a:lnTo>
                  <a:lnTo>
                    <a:pt x="566" y="48"/>
                  </a:lnTo>
                  <a:lnTo>
                    <a:pt x="568" y="51"/>
                  </a:lnTo>
                  <a:lnTo>
                    <a:pt x="573" y="53"/>
                  </a:lnTo>
                  <a:lnTo>
                    <a:pt x="576" y="55"/>
                  </a:lnTo>
                  <a:lnTo>
                    <a:pt x="578" y="57"/>
                  </a:lnTo>
                  <a:lnTo>
                    <a:pt x="579" y="61"/>
                  </a:lnTo>
                  <a:lnTo>
                    <a:pt x="580" y="63"/>
                  </a:lnTo>
                  <a:lnTo>
                    <a:pt x="618" y="64"/>
                  </a:lnTo>
                  <a:lnTo>
                    <a:pt x="658" y="66"/>
                  </a:lnTo>
                  <a:lnTo>
                    <a:pt x="698" y="68"/>
                  </a:lnTo>
                  <a:lnTo>
                    <a:pt x="732" y="70"/>
                  </a:lnTo>
                  <a:lnTo>
                    <a:pt x="732" y="72"/>
                  </a:lnTo>
                  <a:lnTo>
                    <a:pt x="736" y="74"/>
                  </a:lnTo>
                  <a:lnTo>
                    <a:pt x="739" y="75"/>
                  </a:lnTo>
                  <a:lnTo>
                    <a:pt x="743" y="75"/>
                  </a:lnTo>
                  <a:lnTo>
                    <a:pt x="752" y="76"/>
                  </a:lnTo>
                  <a:lnTo>
                    <a:pt x="759" y="76"/>
                  </a:lnTo>
                  <a:lnTo>
                    <a:pt x="760" y="81"/>
                  </a:lnTo>
                  <a:lnTo>
                    <a:pt x="760" y="83"/>
                  </a:lnTo>
                  <a:lnTo>
                    <a:pt x="761" y="83"/>
                  </a:lnTo>
                  <a:lnTo>
                    <a:pt x="763" y="83"/>
                  </a:lnTo>
                  <a:lnTo>
                    <a:pt x="765" y="83"/>
                  </a:lnTo>
                  <a:lnTo>
                    <a:pt x="766" y="84"/>
                  </a:lnTo>
                  <a:lnTo>
                    <a:pt x="766" y="86"/>
                  </a:lnTo>
                  <a:lnTo>
                    <a:pt x="767" y="91"/>
                  </a:lnTo>
                  <a:lnTo>
                    <a:pt x="780" y="91"/>
                  </a:lnTo>
                  <a:lnTo>
                    <a:pt x="780" y="104"/>
                  </a:lnTo>
                  <a:lnTo>
                    <a:pt x="785" y="104"/>
                  </a:lnTo>
                  <a:lnTo>
                    <a:pt x="786" y="105"/>
                  </a:lnTo>
                  <a:lnTo>
                    <a:pt x="787" y="106"/>
                  </a:lnTo>
                  <a:lnTo>
                    <a:pt x="787" y="107"/>
                  </a:lnTo>
                  <a:lnTo>
                    <a:pt x="787" y="109"/>
                  </a:lnTo>
                  <a:lnTo>
                    <a:pt x="788" y="110"/>
                  </a:lnTo>
                  <a:lnTo>
                    <a:pt x="790" y="111"/>
                  </a:lnTo>
                  <a:lnTo>
                    <a:pt x="794" y="111"/>
                  </a:lnTo>
                  <a:lnTo>
                    <a:pt x="797" y="121"/>
                  </a:lnTo>
                  <a:lnTo>
                    <a:pt x="801" y="132"/>
                  </a:lnTo>
                  <a:lnTo>
                    <a:pt x="808" y="139"/>
                  </a:lnTo>
                  <a:lnTo>
                    <a:pt x="811" y="139"/>
                  </a:lnTo>
                  <a:lnTo>
                    <a:pt x="814" y="140"/>
                  </a:lnTo>
                  <a:lnTo>
                    <a:pt x="815" y="141"/>
                  </a:lnTo>
                  <a:lnTo>
                    <a:pt x="815" y="142"/>
                  </a:lnTo>
                  <a:lnTo>
                    <a:pt x="815" y="143"/>
                  </a:lnTo>
                  <a:lnTo>
                    <a:pt x="816" y="144"/>
                  </a:lnTo>
                  <a:lnTo>
                    <a:pt x="818" y="145"/>
                  </a:lnTo>
                  <a:lnTo>
                    <a:pt x="821" y="145"/>
                  </a:lnTo>
                  <a:lnTo>
                    <a:pt x="821" y="159"/>
                  </a:lnTo>
                  <a:lnTo>
                    <a:pt x="828" y="160"/>
                  </a:lnTo>
                  <a:lnTo>
                    <a:pt x="835" y="163"/>
                  </a:lnTo>
                  <a:lnTo>
                    <a:pt x="837" y="166"/>
                  </a:lnTo>
                  <a:lnTo>
                    <a:pt x="840" y="168"/>
                  </a:lnTo>
                  <a:lnTo>
                    <a:pt x="842" y="170"/>
                  </a:lnTo>
                  <a:lnTo>
                    <a:pt x="843" y="173"/>
                  </a:lnTo>
                  <a:lnTo>
                    <a:pt x="863" y="173"/>
                  </a:lnTo>
                  <a:lnTo>
                    <a:pt x="863" y="177"/>
                  </a:lnTo>
                  <a:lnTo>
                    <a:pt x="864" y="179"/>
                  </a:lnTo>
                  <a:lnTo>
                    <a:pt x="865" y="180"/>
                  </a:lnTo>
                  <a:lnTo>
                    <a:pt x="866" y="180"/>
                  </a:lnTo>
                  <a:lnTo>
                    <a:pt x="867" y="180"/>
                  </a:lnTo>
                  <a:lnTo>
                    <a:pt x="868" y="181"/>
                  </a:lnTo>
                  <a:lnTo>
                    <a:pt x="869" y="183"/>
                  </a:lnTo>
                  <a:lnTo>
                    <a:pt x="869" y="187"/>
                  </a:lnTo>
                  <a:lnTo>
                    <a:pt x="877" y="189"/>
                  </a:lnTo>
                  <a:lnTo>
                    <a:pt x="887" y="195"/>
                  </a:lnTo>
                  <a:lnTo>
                    <a:pt x="897" y="201"/>
                  </a:lnTo>
                  <a:lnTo>
                    <a:pt x="904" y="208"/>
                  </a:lnTo>
                  <a:lnTo>
                    <a:pt x="904" y="221"/>
                  </a:lnTo>
                  <a:lnTo>
                    <a:pt x="906" y="221"/>
                  </a:lnTo>
                  <a:lnTo>
                    <a:pt x="909" y="222"/>
                  </a:lnTo>
                  <a:lnTo>
                    <a:pt x="910" y="224"/>
                  </a:lnTo>
                  <a:lnTo>
                    <a:pt x="911" y="226"/>
                  </a:lnTo>
                  <a:lnTo>
                    <a:pt x="911" y="230"/>
                  </a:lnTo>
                  <a:lnTo>
                    <a:pt x="912" y="235"/>
                  </a:lnTo>
                  <a:lnTo>
                    <a:pt x="904" y="243"/>
                  </a:lnTo>
                  <a:lnTo>
                    <a:pt x="897" y="249"/>
                  </a:lnTo>
                  <a:lnTo>
                    <a:pt x="884" y="249"/>
                  </a:lnTo>
                  <a:lnTo>
                    <a:pt x="883" y="251"/>
                  </a:lnTo>
                  <a:lnTo>
                    <a:pt x="881" y="255"/>
                  </a:lnTo>
                  <a:lnTo>
                    <a:pt x="877" y="257"/>
                  </a:lnTo>
                  <a:lnTo>
                    <a:pt x="873" y="260"/>
                  </a:lnTo>
                  <a:lnTo>
                    <a:pt x="869" y="264"/>
                  </a:lnTo>
                  <a:lnTo>
                    <a:pt x="866" y="267"/>
                  </a:lnTo>
                  <a:lnTo>
                    <a:pt x="864" y="272"/>
                  </a:lnTo>
                  <a:lnTo>
                    <a:pt x="863" y="277"/>
                  </a:lnTo>
                  <a:lnTo>
                    <a:pt x="859" y="277"/>
                  </a:lnTo>
                  <a:lnTo>
                    <a:pt x="857" y="278"/>
                  </a:lnTo>
                  <a:lnTo>
                    <a:pt x="856" y="279"/>
                  </a:lnTo>
                  <a:lnTo>
                    <a:pt x="856" y="280"/>
                  </a:lnTo>
                  <a:lnTo>
                    <a:pt x="856" y="282"/>
                  </a:lnTo>
                  <a:lnTo>
                    <a:pt x="855" y="283"/>
                  </a:lnTo>
                  <a:lnTo>
                    <a:pt x="853" y="283"/>
                  </a:lnTo>
                  <a:lnTo>
                    <a:pt x="849" y="284"/>
                  </a:lnTo>
                  <a:lnTo>
                    <a:pt x="848" y="291"/>
                  </a:lnTo>
                  <a:lnTo>
                    <a:pt x="844" y="299"/>
                  </a:lnTo>
                  <a:lnTo>
                    <a:pt x="842" y="304"/>
                  </a:lnTo>
                  <a:lnTo>
                    <a:pt x="837" y="308"/>
                  </a:lnTo>
                  <a:lnTo>
                    <a:pt x="834" y="311"/>
                  </a:lnTo>
                  <a:lnTo>
                    <a:pt x="828" y="311"/>
                  </a:lnTo>
                  <a:lnTo>
                    <a:pt x="828" y="325"/>
                  </a:lnTo>
                  <a:lnTo>
                    <a:pt x="821" y="332"/>
                  </a:lnTo>
                  <a:lnTo>
                    <a:pt x="815" y="339"/>
                  </a:lnTo>
                  <a:lnTo>
                    <a:pt x="809" y="341"/>
                  </a:lnTo>
                  <a:lnTo>
                    <a:pt x="805" y="344"/>
                  </a:lnTo>
                  <a:lnTo>
                    <a:pt x="799" y="350"/>
                  </a:lnTo>
                  <a:lnTo>
                    <a:pt x="794" y="356"/>
                  </a:lnTo>
                  <a:lnTo>
                    <a:pt x="787" y="362"/>
                  </a:lnTo>
                  <a:lnTo>
                    <a:pt x="780" y="368"/>
                  </a:lnTo>
                  <a:lnTo>
                    <a:pt x="777" y="370"/>
                  </a:lnTo>
                  <a:lnTo>
                    <a:pt x="773" y="372"/>
                  </a:lnTo>
                  <a:lnTo>
                    <a:pt x="770" y="373"/>
                  </a:lnTo>
                  <a:lnTo>
                    <a:pt x="767" y="373"/>
                  </a:lnTo>
                  <a:lnTo>
                    <a:pt x="767" y="388"/>
                  </a:lnTo>
                  <a:lnTo>
                    <a:pt x="758" y="388"/>
                  </a:lnTo>
                  <a:lnTo>
                    <a:pt x="755" y="389"/>
                  </a:lnTo>
                  <a:lnTo>
                    <a:pt x="752" y="393"/>
                  </a:lnTo>
                  <a:lnTo>
                    <a:pt x="752" y="401"/>
                  </a:lnTo>
                  <a:lnTo>
                    <a:pt x="750" y="401"/>
                  </a:lnTo>
                  <a:lnTo>
                    <a:pt x="749" y="402"/>
                  </a:lnTo>
                  <a:lnTo>
                    <a:pt x="748" y="403"/>
                  </a:lnTo>
                  <a:lnTo>
                    <a:pt x="747" y="405"/>
                  </a:lnTo>
                  <a:lnTo>
                    <a:pt x="746" y="410"/>
                  </a:lnTo>
                  <a:lnTo>
                    <a:pt x="746" y="414"/>
                  </a:lnTo>
                  <a:lnTo>
                    <a:pt x="752" y="421"/>
                  </a:lnTo>
                  <a:lnTo>
                    <a:pt x="767" y="421"/>
                  </a:lnTo>
                  <a:lnTo>
                    <a:pt x="768" y="424"/>
                  </a:lnTo>
                  <a:lnTo>
                    <a:pt x="770" y="426"/>
                  </a:lnTo>
                  <a:lnTo>
                    <a:pt x="775" y="428"/>
                  </a:lnTo>
                  <a:lnTo>
                    <a:pt x="780" y="429"/>
                  </a:lnTo>
                  <a:lnTo>
                    <a:pt x="786" y="431"/>
                  </a:lnTo>
                  <a:lnTo>
                    <a:pt x="789" y="435"/>
                  </a:lnTo>
                  <a:lnTo>
                    <a:pt x="792" y="438"/>
                  </a:lnTo>
                  <a:lnTo>
                    <a:pt x="794" y="442"/>
                  </a:lnTo>
                  <a:lnTo>
                    <a:pt x="808" y="442"/>
                  </a:lnTo>
                  <a:lnTo>
                    <a:pt x="808" y="445"/>
                  </a:lnTo>
                  <a:lnTo>
                    <a:pt x="809" y="447"/>
                  </a:lnTo>
                  <a:lnTo>
                    <a:pt x="810" y="448"/>
                  </a:lnTo>
                  <a:lnTo>
                    <a:pt x="813" y="448"/>
                  </a:lnTo>
                  <a:lnTo>
                    <a:pt x="817" y="449"/>
                  </a:lnTo>
                  <a:lnTo>
                    <a:pt x="821" y="449"/>
                  </a:lnTo>
                  <a:lnTo>
                    <a:pt x="824" y="452"/>
                  </a:lnTo>
                  <a:lnTo>
                    <a:pt x="830" y="458"/>
                  </a:lnTo>
                  <a:lnTo>
                    <a:pt x="839" y="464"/>
                  </a:lnTo>
                  <a:lnTo>
                    <a:pt x="851" y="469"/>
                  </a:lnTo>
                  <a:lnTo>
                    <a:pt x="871" y="479"/>
                  </a:lnTo>
                  <a:lnTo>
                    <a:pt x="884" y="484"/>
                  </a:lnTo>
                  <a:lnTo>
                    <a:pt x="884" y="486"/>
                  </a:lnTo>
                  <a:lnTo>
                    <a:pt x="886" y="488"/>
                  </a:lnTo>
                  <a:lnTo>
                    <a:pt x="888" y="490"/>
                  </a:lnTo>
                  <a:lnTo>
                    <a:pt x="892" y="491"/>
                  </a:lnTo>
                  <a:lnTo>
                    <a:pt x="900" y="494"/>
                  </a:lnTo>
                  <a:lnTo>
                    <a:pt x="910" y="496"/>
                  </a:lnTo>
                  <a:lnTo>
                    <a:pt x="931" y="497"/>
                  </a:lnTo>
                  <a:lnTo>
                    <a:pt x="945" y="497"/>
                  </a:lnTo>
                  <a:lnTo>
                    <a:pt x="954" y="499"/>
                  </a:lnTo>
                  <a:lnTo>
                    <a:pt x="962" y="501"/>
                  </a:lnTo>
                  <a:lnTo>
                    <a:pt x="971" y="506"/>
                  </a:lnTo>
                  <a:lnTo>
                    <a:pt x="980" y="512"/>
                  </a:lnTo>
                  <a:lnTo>
                    <a:pt x="989" y="516"/>
                  </a:lnTo>
                  <a:lnTo>
                    <a:pt x="998" y="520"/>
                  </a:lnTo>
                  <a:lnTo>
                    <a:pt x="1007" y="524"/>
                  </a:lnTo>
                  <a:lnTo>
                    <a:pt x="1015" y="525"/>
                  </a:lnTo>
                  <a:lnTo>
                    <a:pt x="1021" y="536"/>
                  </a:lnTo>
                  <a:lnTo>
                    <a:pt x="1029" y="546"/>
                  </a:lnTo>
                  <a:lnTo>
                    <a:pt x="1032" y="547"/>
                  </a:lnTo>
                  <a:lnTo>
                    <a:pt x="1037" y="549"/>
                  </a:lnTo>
                  <a:lnTo>
                    <a:pt x="1043" y="553"/>
                  </a:lnTo>
                  <a:lnTo>
                    <a:pt x="1048" y="557"/>
                  </a:lnTo>
                  <a:lnTo>
                    <a:pt x="1054" y="562"/>
                  </a:lnTo>
                  <a:lnTo>
                    <a:pt x="1059" y="566"/>
                  </a:lnTo>
                  <a:lnTo>
                    <a:pt x="1061" y="571"/>
                  </a:lnTo>
                  <a:lnTo>
                    <a:pt x="1064" y="574"/>
                  </a:lnTo>
                  <a:lnTo>
                    <a:pt x="1084" y="574"/>
                  </a:lnTo>
                  <a:lnTo>
                    <a:pt x="1085" y="576"/>
                  </a:lnTo>
                  <a:lnTo>
                    <a:pt x="1087" y="577"/>
                  </a:lnTo>
                  <a:lnTo>
                    <a:pt x="1091" y="578"/>
                  </a:lnTo>
                  <a:lnTo>
                    <a:pt x="1095" y="580"/>
                  </a:lnTo>
                  <a:lnTo>
                    <a:pt x="1104" y="581"/>
                  </a:lnTo>
                  <a:lnTo>
                    <a:pt x="1112" y="581"/>
                  </a:lnTo>
                  <a:lnTo>
                    <a:pt x="1114" y="583"/>
                  </a:lnTo>
                  <a:lnTo>
                    <a:pt x="1120" y="584"/>
                  </a:lnTo>
                  <a:lnTo>
                    <a:pt x="1127" y="585"/>
                  </a:lnTo>
                  <a:lnTo>
                    <a:pt x="1136" y="586"/>
                  </a:lnTo>
                  <a:lnTo>
                    <a:pt x="1155" y="587"/>
                  </a:lnTo>
                  <a:lnTo>
                    <a:pt x="1166" y="587"/>
                  </a:lnTo>
                  <a:lnTo>
                    <a:pt x="1174" y="601"/>
                  </a:lnTo>
                  <a:lnTo>
                    <a:pt x="1181" y="615"/>
                  </a:lnTo>
                  <a:lnTo>
                    <a:pt x="1185" y="615"/>
                  </a:lnTo>
                  <a:lnTo>
                    <a:pt x="1190" y="615"/>
                  </a:lnTo>
                  <a:lnTo>
                    <a:pt x="1192" y="616"/>
                  </a:lnTo>
                  <a:lnTo>
                    <a:pt x="1193" y="618"/>
                  </a:lnTo>
                  <a:lnTo>
                    <a:pt x="1194" y="620"/>
                  </a:lnTo>
                  <a:lnTo>
                    <a:pt x="1194" y="622"/>
                  </a:lnTo>
                  <a:lnTo>
                    <a:pt x="1201" y="615"/>
                  </a:lnTo>
                  <a:lnTo>
                    <a:pt x="1222" y="615"/>
                  </a:lnTo>
                  <a:lnTo>
                    <a:pt x="1223" y="612"/>
                  </a:lnTo>
                  <a:lnTo>
                    <a:pt x="1226" y="607"/>
                  </a:lnTo>
                  <a:lnTo>
                    <a:pt x="1229" y="603"/>
                  </a:lnTo>
                  <a:lnTo>
                    <a:pt x="1232" y="599"/>
                  </a:lnTo>
                  <a:lnTo>
                    <a:pt x="1239" y="591"/>
                  </a:lnTo>
                  <a:lnTo>
                    <a:pt x="1242" y="587"/>
                  </a:lnTo>
                  <a:lnTo>
                    <a:pt x="1243" y="577"/>
                  </a:lnTo>
                  <a:lnTo>
                    <a:pt x="1246" y="566"/>
                  </a:lnTo>
                  <a:lnTo>
                    <a:pt x="1249" y="556"/>
                  </a:lnTo>
                  <a:lnTo>
                    <a:pt x="1250" y="546"/>
                  </a:lnTo>
                  <a:lnTo>
                    <a:pt x="1253" y="546"/>
                  </a:lnTo>
                  <a:lnTo>
                    <a:pt x="1256" y="545"/>
                  </a:lnTo>
                  <a:lnTo>
                    <a:pt x="1257" y="544"/>
                  </a:lnTo>
                  <a:lnTo>
                    <a:pt x="1257" y="543"/>
                  </a:lnTo>
                  <a:lnTo>
                    <a:pt x="1257" y="542"/>
                  </a:lnTo>
                  <a:lnTo>
                    <a:pt x="1258" y="541"/>
                  </a:lnTo>
                  <a:lnTo>
                    <a:pt x="1259" y="539"/>
                  </a:lnTo>
                  <a:lnTo>
                    <a:pt x="1264" y="539"/>
                  </a:lnTo>
                  <a:lnTo>
                    <a:pt x="1265" y="534"/>
                  </a:lnTo>
                  <a:lnTo>
                    <a:pt x="1268" y="529"/>
                  </a:lnTo>
                  <a:lnTo>
                    <a:pt x="1272" y="526"/>
                  </a:lnTo>
                  <a:lnTo>
                    <a:pt x="1277" y="525"/>
                  </a:lnTo>
                  <a:lnTo>
                    <a:pt x="1278" y="522"/>
                  </a:lnTo>
                  <a:lnTo>
                    <a:pt x="1278" y="519"/>
                  </a:lnTo>
                  <a:lnTo>
                    <a:pt x="1279" y="518"/>
                  </a:lnTo>
                  <a:lnTo>
                    <a:pt x="1280" y="518"/>
                  </a:lnTo>
                  <a:lnTo>
                    <a:pt x="1283" y="518"/>
                  </a:lnTo>
                  <a:lnTo>
                    <a:pt x="1284" y="517"/>
                  </a:lnTo>
                  <a:lnTo>
                    <a:pt x="1284" y="515"/>
                  </a:lnTo>
                  <a:lnTo>
                    <a:pt x="1285" y="512"/>
                  </a:lnTo>
                  <a:lnTo>
                    <a:pt x="1291" y="510"/>
                  </a:lnTo>
                  <a:lnTo>
                    <a:pt x="1298" y="508"/>
                  </a:lnTo>
                  <a:lnTo>
                    <a:pt x="1305" y="505"/>
                  </a:lnTo>
                  <a:lnTo>
                    <a:pt x="1312" y="501"/>
                  </a:lnTo>
                  <a:lnTo>
                    <a:pt x="1318" y="497"/>
                  </a:lnTo>
                  <a:lnTo>
                    <a:pt x="1325" y="494"/>
                  </a:lnTo>
                  <a:lnTo>
                    <a:pt x="1332" y="491"/>
                  </a:lnTo>
                  <a:lnTo>
                    <a:pt x="1339" y="490"/>
                  </a:lnTo>
                  <a:lnTo>
                    <a:pt x="1343" y="477"/>
                  </a:lnTo>
                  <a:lnTo>
                    <a:pt x="1346" y="464"/>
                  </a:lnTo>
                  <a:lnTo>
                    <a:pt x="1348" y="462"/>
                  </a:lnTo>
                  <a:lnTo>
                    <a:pt x="1351" y="459"/>
                  </a:lnTo>
                  <a:lnTo>
                    <a:pt x="1352" y="453"/>
                  </a:lnTo>
                  <a:lnTo>
                    <a:pt x="1353" y="448"/>
                  </a:lnTo>
                  <a:lnTo>
                    <a:pt x="1353" y="437"/>
                  </a:lnTo>
                  <a:lnTo>
                    <a:pt x="1353" y="429"/>
                  </a:lnTo>
                  <a:lnTo>
                    <a:pt x="1357" y="428"/>
                  </a:lnTo>
                  <a:lnTo>
                    <a:pt x="1360" y="428"/>
                  </a:lnTo>
                  <a:lnTo>
                    <a:pt x="1360" y="427"/>
                  </a:lnTo>
                  <a:lnTo>
                    <a:pt x="1361" y="426"/>
                  </a:lnTo>
                  <a:lnTo>
                    <a:pt x="1361" y="423"/>
                  </a:lnTo>
                  <a:lnTo>
                    <a:pt x="1361" y="422"/>
                  </a:lnTo>
                  <a:lnTo>
                    <a:pt x="1363" y="422"/>
                  </a:lnTo>
                  <a:lnTo>
                    <a:pt x="1367" y="421"/>
                  </a:lnTo>
                  <a:lnTo>
                    <a:pt x="1374" y="408"/>
                  </a:lnTo>
                  <a:lnTo>
                    <a:pt x="1381" y="394"/>
                  </a:lnTo>
                  <a:lnTo>
                    <a:pt x="1394" y="394"/>
                  </a:lnTo>
                  <a:lnTo>
                    <a:pt x="1399" y="380"/>
                  </a:lnTo>
                  <a:lnTo>
                    <a:pt x="1402" y="366"/>
                  </a:lnTo>
                  <a:lnTo>
                    <a:pt x="1409" y="360"/>
                  </a:lnTo>
                  <a:lnTo>
                    <a:pt x="1422" y="360"/>
                  </a:lnTo>
                  <a:lnTo>
                    <a:pt x="1422" y="357"/>
                  </a:lnTo>
                  <a:lnTo>
                    <a:pt x="1423" y="355"/>
                  </a:lnTo>
                  <a:lnTo>
                    <a:pt x="1424" y="354"/>
                  </a:lnTo>
                  <a:lnTo>
                    <a:pt x="1427" y="353"/>
                  </a:lnTo>
                  <a:lnTo>
                    <a:pt x="1431" y="353"/>
                  </a:lnTo>
                  <a:lnTo>
                    <a:pt x="1437" y="353"/>
                  </a:lnTo>
                  <a:lnTo>
                    <a:pt x="1437" y="350"/>
                  </a:lnTo>
                  <a:lnTo>
                    <a:pt x="1439" y="347"/>
                  </a:lnTo>
                  <a:lnTo>
                    <a:pt x="1441" y="345"/>
                  </a:lnTo>
                  <a:lnTo>
                    <a:pt x="1444" y="343"/>
                  </a:lnTo>
                  <a:lnTo>
                    <a:pt x="1451" y="340"/>
                  </a:lnTo>
                  <a:lnTo>
                    <a:pt x="1457" y="339"/>
                  </a:lnTo>
                  <a:lnTo>
                    <a:pt x="1457" y="335"/>
                  </a:lnTo>
                  <a:lnTo>
                    <a:pt x="1458" y="333"/>
                  </a:lnTo>
                  <a:lnTo>
                    <a:pt x="1459" y="332"/>
                  </a:lnTo>
                  <a:lnTo>
                    <a:pt x="1460" y="332"/>
                  </a:lnTo>
                  <a:lnTo>
                    <a:pt x="1461" y="332"/>
                  </a:lnTo>
                  <a:lnTo>
                    <a:pt x="1462" y="331"/>
                  </a:lnTo>
                  <a:lnTo>
                    <a:pt x="1463" y="328"/>
                  </a:lnTo>
                  <a:lnTo>
                    <a:pt x="1463" y="325"/>
                  </a:lnTo>
                  <a:lnTo>
                    <a:pt x="1478" y="325"/>
                  </a:lnTo>
                  <a:lnTo>
                    <a:pt x="1485" y="318"/>
                  </a:lnTo>
                  <a:lnTo>
                    <a:pt x="1479" y="313"/>
                  </a:lnTo>
                  <a:lnTo>
                    <a:pt x="1476" y="310"/>
                  </a:lnTo>
                  <a:lnTo>
                    <a:pt x="1473" y="308"/>
                  </a:lnTo>
                  <a:lnTo>
                    <a:pt x="1473" y="310"/>
                  </a:lnTo>
                  <a:lnTo>
                    <a:pt x="1476" y="316"/>
                  </a:lnTo>
                  <a:lnTo>
                    <a:pt x="1482" y="326"/>
                  </a:lnTo>
                  <a:lnTo>
                    <a:pt x="1489" y="340"/>
                  </a:lnTo>
                  <a:lnTo>
                    <a:pt x="1497" y="354"/>
                  </a:lnTo>
                  <a:lnTo>
                    <a:pt x="1500" y="362"/>
                  </a:lnTo>
                  <a:lnTo>
                    <a:pt x="1502" y="369"/>
                  </a:lnTo>
                  <a:lnTo>
                    <a:pt x="1505" y="375"/>
                  </a:lnTo>
                  <a:lnTo>
                    <a:pt x="1505" y="38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6" name="Freeform 19">
              <a:extLst>
                <a:ext uri="{FF2B5EF4-FFF2-40B4-BE49-F238E27FC236}">
                  <a16:creationId xmlns:a16="http://schemas.microsoft.com/office/drawing/2014/main" id="{FE856274-2A4E-4083-81C3-838328990517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102475" y="3924300"/>
              <a:ext cx="367657" cy="234950"/>
            </a:xfrm>
            <a:custGeom>
              <a:avLst/>
              <a:gdLst/>
              <a:ahLst/>
              <a:cxnLst>
                <a:cxn ang="0">
                  <a:pos x="0" y="556"/>
                </a:cxn>
                <a:cxn ang="0">
                  <a:pos x="65" y="452"/>
                </a:cxn>
                <a:cxn ang="0">
                  <a:pos x="86" y="289"/>
                </a:cxn>
                <a:cxn ang="0">
                  <a:pos x="113" y="241"/>
                </a:cxn>
                <a:cxn ang="0">
                  <a:pos x="235" y="282"/>
                </a:cxn>
                <a:cxn ang="0">
                  <a:pos x="350" y="379"/>
                </a:cxn>
                <a:cxn ang="0">
                  <a:pos x="438" y="411"/>
                </a:cxn>
                <a:cxn ang="0">
                  <a:pos x="551" y="359"/>
                </a:cxn>
                <a:cxn ang="0">
                  <a:pos x="608" y="331"/>
                </a:cxn>
                <a:cxn ang="0">
                  <a:pos x="690" y="287"/>
                </a:cxn>
                <a:cxn ang="0">
                  <a:pos x="725" y="239"/>
                </a:cxn>
                <a:cxn ang="0">
                  <a:pos x="781" y="176"/>
                </a:cxn>
                <a:cxn ang="0">
                  <a:pos x="893" y="44"/>
                </a:cxn>
                <a:cxn ang="0">
                  <a:pos x="953" y="26"/>
                </a:cxn>
                <a:cxn ang="0">
                  <a:pos x="1013" y="3"/>
                </a:cxn>
                <a:cxn ang="0">
                  <a:pos x="1198" y="91"/>
                </a:cxn>
                <a:cxn ang="0">
                  <a:pos x="1275" y="144"/>
                </a:cxn>
                <a:cxn ang="0">
                  <a:pos x="1421" y="219"/>
                </a:cxn>
                <a:cxn ang="0">
                  <a:pos x="1521" y="288"/>
                </a:cxn>
                <a:cxn ang="0">
                  <a:pos x="1594" y="326"/>
                </a:cxn>
                <a:cxn ang="0">
                  <a:pos x="1751" y="388"/>
                </a:cxn>
                <a:cxn ang="0">
                  <a:pos x="1827" y="433"/>
                </a:cxn>
                <a:cxn ang="0">
                  <a:pos x="1905" y="489"/>
                </a:cxn>
                <a:cxn ang="0">
                  <a:pos x="1952" y="511"/>
                </a:cxn>
                <a:cxn ang="0">
                  <a:pos x="1996" y="528"/>
                </a:cxn>
                <a:cxn ang="0">
                  <a:pos x="2023" y="573"/>
                </a:cxn>
                <a:cxn ang="0">
                  <a:pos x="2021" y="681"/>
                </a:cxn>
                <a:cxn ang="0">
                  <a:pos x="1992" y="760"/>
                </a:cxn>
                <a:cxn ang="0">
                  <a:pos x="1975" y="853"/>
                </a:cxn>
                <a:cxn ang="0">
                  <a:pos x="1897" y="911"/>
                </a:cxn>
                <a:cxn ang="0">
                  <a:pos x="1846" y="979"/>
                </a:cxn>
                <a:cxn ang="0">
                  <a:pos x="1765" y="1025"/>
                </a:cxn>
                <a:cxn ang="0">
                  <a:pos x="1725" y="1067"/>
                </a:cxn>
                <a:cxn ang="0">
                  <a:pos x="1671" y="1159"/>
                </a:cxn>
                <a:cxn ang="0">
                  <a:pos x="1665" y="1318"/>
                </a:cxn>
                <a:cxn ang="0">
                  <a:pos x="1610" y="1385"/>
                </a:cxn>
                <a:cxn ang="0">
                  <a:pos x="1472" y="1417"/>
                </a:cxn>
                <a:cxn ang="0">
                  <a:pos x="1328" y="1446"/>
                </a:cxn>
                <a:cxn ang="0">
                  <a:pos x="1228" y="1460"/>
                </a:cxn>
                <a:cxn ang="0">
                  <a:pos x="1112" y="1380"/>
                </a:cxn>
                <a:cxn ang="0">
                  <a:pos x="1039" y="1316"/>
                </a:cxn>
                <a:cxn ang="0">
                  <a:pos x="987" y="1029"/>
                </a:cxn>
                <a:cxn ang="0">
                  <a:pos x="946" y="960"/>
                </a:cxn>
                <a:cxn ang="0">
                  <a:pos x="905" y="985"/>
                </a:cxn>
                <a:cxn ang="0">
                  <a:pos x="835" y="1056"/>
                </a:cxn>
                <a:cxn ang="0">
                  <a:pos x="814" y="1099"/>
                </a:cxn>
                <a:cxn ang="0">
                  <a:pos x="748" y="1153"/>
                </a:cxn>
                <a:cxn ang="0">
                  <a:pos x="724" y="1180"/>
                </a:cxn>
                <a:cxn ang="0">
                  <a:pos x="662" y="1257"/>
                </a:cxn>
                <a:cxn ang="0">
                  <a:pos x="580" y="1216"/>
                </a:cxn>
                <a:cxn ang="0">
                  <a:pos x="500" y="1182"/>
                </a:cxn>
                <a:cxn ang="0">
                  <a:pos x="368" y="1129"/>
                </a:cxn>
                <a:cxn ang="0">
                  <a:pos x="278" y="1083"/>
                </a:cxn>
                <a:cxn ang="0">
                  <a:pos x="214" y="1049"/>
                </a:cxn>
                <a:cxn ang="0">
                  <a:pos x="245" y="1005"/>
                </a:cxn>
                <a:cxn ang="0">
                  <a:pos x="312" y="934"/>
                </a:cxn>
                <a:cxn ang="0">
                  <a:pos x="341" y="895"/>
                </a:cxn>
                <a:cxn ang="0">
                  <a:pos x="372" y="843"/>
                </a:cxn>
                <a:cxn ang="0">
                  <a:pos x="310" y="805"/>
                </a:cxn>
                <a:cxn ang="0">
                  <a:pos x="276" y="774"/>
                </a:cxn>
                <a:cxn ang="0">
                  <a:pos x="234" y="721"/>
                </a:cxn>
                <a:cxn ang="0">
                  <a:pos x="166" y="703"/>
                </a:cxn>
                <a:cxn ang="0">
                  <a:pos x="29" y="670"/>
                </a:cxn>
              </a:cxnLst>
              <a:rect l="0" t="0" r="r" b="b"/>
              <a:pathLst>
                <a:path w="2033" h="1468">
                  <a:moveTo>
                    <a:pt x="10" y="635"/>
                  </a:moveTo>
                  <a:lnTo>
                    <a:pt x="12" y="628"/>
                  </a:lnTo>
                  <a:lnTo>
                    <a:pt x="13" y="619"/>
                  </a:lnTo>
                  <a:lnTo>
                    <a:pt x="13" y="610"/>
                  </a:lnTo>
                  <a:lnTo>
                    <a:pt x="13" y="602"/>
                  </a:lnTo>
                  <a:lnTo>
                    <a:pt x="9" y="602"/>
                  </a:lnTo>
                  <a:lnTo>
                    <a:pt x="7" y="601"/>
                  </a:lnTo>
                  <a:lnTo>
                    <a:pt x="7" y="600"/>
                  </a:lnTo>
                  <a:lnTo>
                    <a:pt x="7" y="599"/>
                  </a:lnTo>
                  <a:lnTo>
                    <a:pt x="7" y="597"/>
                  </a:lnTo>
                  <a:lnTo>
                    <a:pt x="6" y="596"/>
                  </a:lnTo>
                  <a:lnTo>
                    <a:pt x="4" y="595"/>
                  </a:lnTo>
                  <a:lnTo>
                    <a:pt x="0" y="595"/>
                  </a:lnTo>
                  <a:lnTo>
                    <a:pt x="0" y="556"/>
                  </a:lnTo>
                  <a:lnTo>
                    <a:pt x="7" y="549"/>
                  </a:lnTo>
                  <a:lnTo>
                    <a:pt x="23" y="544"/>
                  </a:lnTo>
                  <a:lnTo>
                    <a:pt x="39" y="537"/>
                  </a:lnTo>
                  <a:lnTo>
                    <a:pt x="41" y="533"/>
                  </a:lnTo>
                  <a:lnTo>
                    <a:pt x="43" y="528"/>
                  </a:lnTo>
                  <a:lnTo>
                    <a:pt x="47" y="525"/>
                  </a:lnTo>
                  <a:lnTo>
                    <a:pt x="52" y="524"/>
                  </a:lnTo>
                  <a:lnTo>
                    <a:pt x="58" y="517"/>
                  </a:lnTo>
                  <a:lnTo>
                    <a:pt x="58" y="505"/>
                  </a:lnTo>
                  <a:lnTo>
                    <a:pt x="61" y="503"/>
                  </a:lnTo>
                  <a:lnTo>
                    <a:pt x="62" y="496"/>
                  </a:lnTo>
                  <a:lnTo>
                    <a:pt x="63" y="486"/>
                  </a:lnTo>
                  <a:lnTo>
                    <a:pt x="64" y="475"/>
                  </a:lnTo>
                  <a:lnTo>
                    <a:pt x="65" y="452"/>
                  </a:lnTo>
                  <a:lnTo>
                    <a:pt x="65" y="440"/>
                  </a:lnTo>
                  <a:lnTo>
                    <a:pt x="67" y="436"/>
                  </a:lnTo>
                  <a:lnTo>
                    <a:pt x="70" y="426"/>
                  </a:lnTo>
                  <a:lnTo>
                    <a:pt x="72" y="410"/>
                  </a:lnTo>
                  <a:lnTo>
                    <a:pt x="74" y="393"/>
                  </a:lnTo>
                  <a:lnTo>
                    <a:pt x="76" y="357"/>
                  </a:lnTo>
                  <a:lnTo>
                    <a:pt x="77" y="336"/>
                  </a:lnTo>
                  <a:lnTo>
                    <a:pt x="80" y="334"/>
                  </a:lnTo>
                  <a:lnTo>
                    <a:pt x="82" y="330"/>
                  </a:lnTo>
                  <a:lnTo>
                    <a:pt x="83" y="324"/>
                  </a:lnTo>
                  <a:lnTo>
                    <a:pt x="84" y="316"/>
                  </a:lnTo>
                  <a:lnTo>
                    <a:pt x="84" y="301"/>
                  </a:lnTo>
                  <a:lnTo>
                    <a:pt x="84" y="290"/>
                  </a:lnTo>
                  <a:lnTo>
                    <a:pt x="86" y="289"/>
                  </a:lnTo>
                  <a:lnTo>
                    <a:pt x="89" y="287"/>
                  </a:lnTo>
                  <a:lnTo>
                    <a:pt x="90" y="283"/>
                  </a:lnTo>
                  <a:lnTo>
                    <a:pt x="90" y="277"/>
                  </a:lnTo>
                  <a:lnTo>
                    <a:pt x="91" y="266"/>
                  </a:lnTo>
                  <a:lnTo>
                    <a:pt x="91" y="258"/>
                  </a:lnTo>
                  <a:lnTo>
                    <a:pt x="93" y="258"/>
                  </a:lnTo>
                  <a:lnTo>
                    <a:pt x="94" y="257"/>
                  </a:lnTo>
                  <a:lnTo>
                    <a:pt x="95" y="256"/>
                  </a:lnTo>
                  <a:lnTo>
                    <a:pt x="96" y="255"/>
                  </a:lnTo>
                  <a:lnTo>
                    <a:pt x="97" y="250"/>
                  </a:lnTo>
                  <a:lnTo>
                    <a:pt x="97" y="246"/>
                  </a:lnTo>
                  <a:lnTo>
                    <a:pt x="111" y="246"/>
                  </a:lnTo>
                  <a:lnTo>
                    <a:pt x="111" y="244"/>
                  </a:lnTo>
                  <a:lnTo>
                    <a:pt x="113" y="241"/>
                  </a:lnTo>
                  <a:lnTo>
                    <a:pt x="116" y="239"/>
                  </a:lnTo>
                  <a:lnTo>
                    <a:pt x="122" y="238"/>
                  </a:lnTo>
                  <a:lnTo>
                    <a:pt x="133" y="236"/>
                  </a:lnTo>
                  <a:lnTo>
                    <a:pt x="148" y="235"/>
                  </a:lnTo>
                  <a:lnTo>
                    <a:pt x="176" y="232"/>
                  </a:lnTo>
                  <a:lnTo>
                    <a:pt x="195" y="232"/>
                  </a:lnTo>
                  <a:lnTo>
                    <a:pt x="200" y="238"/>
                  </a:lnTo>
                  <a:lnTo>
                    <a:pt x="207" y="246"/>
                  </a:lnTo>
                  <a:lnTo>
                    <a:pt x="211" y="253"/>
                  </a:lnTo>
                  <a:lnTo>
                    <a:pt x="214" y="258"/>
                  </a:lnTo>
                  <a:lnTo>
                    <a:pt x="227" y="265"/>
                  </a:lnTo>
                  <a:lnTo>
                    <a:pt x="228" y="270"/>
                  </a:lnTo>
                  <a:lnTo>
                    <a:pt x="231" y="276"/>
                  </a:lnTo>
                  <a:lnTo>
                    <a:pt x="235" y="282"/>
                  </a:lnTo>
                  <a:lnTo>
                    <a:pt x="240" y="287"/>
                  </a:lnTo>
                  <a:lnTo>
                    <a:pt x="245" y="294"/>
                  </a:lnTo>
                  <a:lnTo>
                    <a:pt x="249" y="299"/>
                  </a:lnTo>
                  <a:lnTo>
                    <a:pt x="252" y="305"/>
                  </a:lnTo>
                  <a:lnTo>
                    <a:pt x="253" y="311"/>
                  </a:lnTo>
                  <a:lnTo>
                    <a:pt x="266" y="320"/>
                  </a:lnTo>
                  <a:lnTo>
                    <a:pt x="284" y="332"/>
                  </a:lnTo>
                  <a:lnTo>
                    <a:pt x="301" y="344"/>
                  </a:lnTo>
                  <a:lnTo>
                    <a:pt x="311" y="350"/>
                  </a:lnTo>
                  <a:lnTo>
                    <a:pt x="317" y="362"/>
                  </a:lnTo>
                  <a:lnTo>
                    <a:pt x="331" y="362"/>
                  </a:lnTo>
                  <a:lnTo>
                    <a:pt x="334" y="365"/>
                  </a:lnTo>
                  <a:lnTo>
                    <a:pt x="341" y="372"/>
                  </a:lnTo>
                  <a:lnTo>
                    <a:pt x="350" y="379"/>
                  </a:lnTo>
                  <a:lnTo>
                    <a:pt x="356" y="382"/>
                  </a:lnTo>
                  <a:lnTo>
                    <a:pt x="356" y="385"/>
                  </a:lnTo>
                  <a:lnTo>
                    <a:pt x="358" y="388"/>
                  </a:lnTo>
                  <a:lnTo>
                    <a:pt x="359" y="388"/>
                  </a:lnTo>
                  <a:lnTo>
                    <a:pt x="360" y="388"/>
                  </a:lnTo>
                  <a:lnTo>
                    <a:pt x="361" y="388"/>
                  </a:lnTo>
                  <a:lnTo>
                    <a:pt x="362" y="389"/>
                  </a:lnTo>
                  <a:lnTo>
                    <a:pt x="362" y="391"/>
                  </a:lnTo>
                  <a:lnTo>
                    <a:pt x="363" y="394"/>
                  </a:lnTo>
                  <a:lnTo>
                    <a:pt x="377" y="398"/>
                  </a:lnTo>
                  <a:lnTo>
                    <a:pt x="396" y="401"/>
                  </a:lnTo>
                  <a:lnTo>
                    <a:pt x="408" y="414"/>
                  </a:lnTo>
                  <a:lnTo>
                    <a:pt x="423" y="413"/>
                  </a:lnTo>
                  <a:lnTo>
                    <a:pt x="438" y="411"/>
                  </a:lnTo>
                  <a:lnTo>
                    <a:pt x="454" y="408"/>
                  </a:lnTo>
                  <a:lnTo>
                    <a:pt x="468" y="404"/>
                  </a:lnTo>
                  <a:lnTo>
                    <a:pt x="483" y="401"/>
                  </a:lnTo>
                  <a:lnTo>
                    <a:pt x="496" y="398"/>
                  </a:lnTo>
                  <a:lnTo>
                    <a:pt x="508" y="395"/>
                  </a:lnTo>
                  <a:lnTo>
                    <a:pt x="518" y="394"/>
                  </a:lnTo>
                  <a:lnTo>
                    <a:pt x="525" y="388"/>
                  </a:lnTo>
                  <a:lnTo>
                    <a:pt x="532" y="382"/>
                  </a:lnTo>
                  <a:lnTo>
                    <a:pt x="533" y="376"/>
                  </a:lnTo>
                  <a:lnTo>
                    <a:pt x="535" y="373"/>
                  </a:lnTo>
                  <a:lnTo>
                    <a:pt x="540" y="370"/>
                  </a:lnTo>
                  <a:lnTo>
                    <a:pt x="544" y="369"/>
                  </a:lnTo>
                  <a:lnTo>
                    <a:pt x="551" y="362"/>
                  </a:lnTo>
                  <a:lnTo>
                    <a:pt x="551" y="359"/>
                  </a:lnTo>
                  <a:lnTo>
                    <a:pt x="552" y="356"/>
                  </a:lnTo>
                  <a:lnTo>
                    <a:pt x="553" y="355"/>
                  </a:lnTo>
                  <a:lnTo>
                    <a:pt x="554" y="355"/>
                  </a:lnTo>
                  <a:lnTo>
                    <a:pt x="555" y="355"/>
                  </a:lnTo>
                  <a:lnTo>
                    <a:pt x="556" y="355"/>
                  </a:lnTo>
                  <a:lnTo>
                    <a:pt x="557" y="353"/>
                  </a:lnTo>
                  <a:lnTo>
                    <a:pt x="557" y="350"/>
                  </a:lnTo>
                  <a:lnTo>
                    <a:pt x="570" y="346"/>
                  </a:lnTo>
                  <a:lnTo>
                    <a:pt x="583" y="343"/>
                  </a:lnTo>
                  <a:lnTo>
                    <a:pt x="584" y="341"/>
                  </a:lnTo>
                  <a:lnTo>
                    <a:pt x="588" y="338"/>
                  </a:lnTo>
                  <a:lnTo>
                    <a:pt x="592" y="336"/>
                  </a:lnTo>
                  <a:lnTo>
                    <a:pt x="596" y="334"/>
                  </a:lnTo>
                  <a:lnTo>
                    <a:pt x="608" y="331"/>
                  </a:lnTo>
                  <a:lnTo>
                    <a:pt x="615" y="330"/>
                  </a:lnTo>
                  <a:lnTo>
                    <a:pt x="622" y="325"/>
                  </a:lnTo>
                  <a:lnTo>
                    <a:pt x="632" y="321"/>
                  </a:lnTo>
                  <a:lnTo>
                    <a:pt x="643" y="318"/>
                  </a:lnTo>
                  <a:lnTo>
                    <a:pt x="655" y="317"/>
                  </a:lnTo>
                  <a:lnTo>
                    <a:pt x="655" y="315"/>
                  </a:lnTo>
                  <a:lnTo>
                    <a:pt x="656" y="313"/>
                  </a:lnTo>
                  <a:lnTo>
                    <a:pt x="657" y="312"/>
                  </a:lnTo>
                  <a:lnTo>
                    <a:pt x="658" y="311"/>
                  </a:lnTo>
                  <a:lnTo>
                    <a:pt x="662" y="311"/>
                  </a:lnTo>
                  <a:lnTo>
                    <a:pt x="667" y="311"/>
                  </a:lnTo>
                  <a:lnTo>
                    <a:pt x="673" y="297"/>
                  </a:lnTo>
                  <a:lnTo>
                    <a:pt x="680" y="290"/>
                  </a:lnTo>
                  <a:lnTo>
                    <a:pt x="690" y="287"/>
                  </a:lnTo>
                  <a:lnTo>
                    <a:pt x="699" y="285"/>
                  </a:lnTo>
                  <a:lnTo>
                    <a:pt x="700" y="278"/>
                  </a:lnTo>
                  <a:lnTo>
                    <a:pt x="704" y="273"/>
                  </a:lnTo>
                  <a:lnTo>
                    <a:pt x="706" y="269"/>
                  </a:lnTo>
                  <a:lnTo>
                    <a:pt x="708" y="267"/>
                  </a:lnTo>
                  <a:lnTo>
                    <a:pt x="710" y="266"/>
                  </a:lnTo>
                  <a:lnTo>
                    <a:pt x="713" y="265"/>
                  </a:lnTo>
                  <a:lnTo>
                    <a:pt x="714" y="259"/>
                  </a:lnTo>
                  <a:lnTo>
                    <a:pt x="715" y="255"/>
                  </a:lnTo>
                  <a:lnTo>
                    <a:pt x="717" y="251"/>
                  </a:lnTo>
                  <a:lnTo>
                    <a:pt x="719" y="249"/>
                  </a:lnTo>
                  <a:lnTo>
                    <a:pt x="721" y="246"/>
                  </a:lnTo>
                  <a:lnTo>
                    <a:pt x="724" y="244"/>
                  </a:lnTo>
                  <a:lnTo>
                    <a:pt x="725" y="239"/>
                  </a:lnTo>
                  <a:lnTo>
                    <a:pt x="726" y="232"/>
                  </a:lnTo>
                  <a:lnTo>
                    <a:pt x="729" y="232"/>
                  </a:lnTo>
                  <a:lnTo>
                    <a:pt x="733" y="231"/>
                  </a:lnTo>
                  <a:lnTo>
                    <a:pt x="736" y="230"/>
                  </a:lnTo>
                  <a:lnTo>
                    <a:pt x="738" y="229"/>
                  </a:lnTo>
                  <a:lnTo>
                    <a:pt x="740" y="225"/>
                  </a:lnTo>
                  <a:lnTo>
                    <a:pt x="745" y="220"/>
                  </a:lnTo>
                  <a:lnTo>
                    <a:pt x="746" y="216"/>
                  </a:lnTo>
                  <a:lnTo>
                    <a:pt x="751" y="210"/>
                  </a:lnTo>
                  <a:lnTo>
                    <a:pt x="755" y="202"/>
                  </a:lnTo>
                  <a:lnTo>
                    <a:pt x="762" y="195"/>
                  </a:lnTo>
                  <a:lnTo>
                    <a:pt x="768" y="187"/>
                  </a:lnTo>
                  <a:lnTo>
                    <a:pt x="775" y="180"/>
                  </a:lnTo>
                  <a:lnTo>
                    <a:pt x="781" y="176"/>
                  </a:lnTo>
                  <a:lnTo>
                    <a:pt x="784" y="174"/>
                  </a:lnTo>
                  <a:lnTo>
                    <a:pt x="785" y="168"/>
                  </a:lnTo>
                  <a:lnTo>
                    <a:pt x="787" y="161"/>
                  </a:lnTo>
                  <a:lnTo>
                    <a:pt x="791" y="154"/>
                  </a:lnTo>
                  <a:lnTo>
                    <a:pt x="795" y="147"/>
                  </a:lnTo>
                  <a:lnTo>
                    <a:pt x="807" y="130"/>
                  </a:lnTo>
                  <a:lnTo>
                    <a:pt x="821" y="114"/>
                  </a:lnTo>
                  <a:lnTo>
                    <a:pt x="835" y="97"/>
                  </a:lnTo>
                  <a:lnTo>
                    <a:pt x="850" y="83"/>
                  </a:lnTo>
                  <a:lnTo>
                    <a:pt x="861" y="68"/>
                  </a:lnTo>
                  <a:lnTo>
                    <a:pt x="868" y="58"/>
                  </a:lnTo>
                  <a:lnTo>
                    <a:pt x="874" y="56"/>
                  </a:lnTo>
                  <a:lnTo>
                    <a:pt x="884" y="51"/>
                  </a:lnTo>
                  <a:lnTo>
                    <a:pt x="893" y="44"/>
                  </a:lnTo>
                  <a:lnTo>
                    <a:pt x="900" y="38"/>
                  </a:lnTo>
                  <a:lnTo>
                    <a:pt x="906" y="38"/>
                  </a:lnTo>
                  <a:lnTo>
                    <a:pt x="912" y="37"/>
                  </a:lnTo>
                  <a:lnTo>
                    <a:pt x="916" y="37"/>
                  </a:lnTo>
                  <a:lnTo>
                    <a:pt x="918" y="36"/>
                  </a:lnTo>
                  <a:lnTo>
                    <a:pt x="919" y="34"/>
                  </a:lnTo>
                  <a:lnTo>
                    <a:pt x="920" y="32"/>
                  </a:lnTo>
                  <a:lnTo>
                    <a:pt x="939" y="32"/>
                  </a:lnTo>
                  <a:lnTo>
                    <a:pt x="939" y="29"/>
                  </a:lnTo>
                  <a:lnTo>
                    <a:pt x="940" y="28"/>
                  </a:lnTo>
                  <a:lnTo>
                    <a:pt x="941" y="27"/>
                  </a:lnTo>
                  <a:lnTo>
                    <a:pt x="944" y="26"/>
                  </a:lnTo>
                  <a:lnTo>
                    <a:pt x="947" y="26"/>
                  </a:lnTo>
                  <a:lnTo>
                    <a:pt x="953" y="26"/>
                  </a:lnTo>
                  <a:lnTo>
                    <a:pt x="953" y="22"/>
                  </a:lnTo>
                  <a:lnTo>
                    <a:pt x="954" y="19"/>
                  </a:lnTo>
                  <a:lnTo>
                    <a:pt x="954" y="19"/>
                  </a:lnTo>
                  <a:lnTo>
                    <a:pt x="956" y="19"/>
                  </a:lnTo>
                  <a:lnTo>
                    <a:pt x="957" y="19"/>
                  </a:lnTo>
                  <a:lnTo>
                    <a:pt x="958" y="18"/>
                  </a:lnTo>
                  <a:lnTo>
                    <a:pt x="958" y="16"/>
                  </a:lnTo>
                  <a:lnTo>
                    <a:pt x="958" y="13"/>
                  </a:lnTo>
                  <a:lnTo>
                    <a:pt x="973" y="11"/>
                  </a:lnTo>
                  <a:lnTo>
                    <a:pt x="985" y="9"/>
                  </a:lnTo>
                  <a:lnTo>
                    <a:pt x="997" y="7"/>
                  </a:lnTo>
                  <a:lnTo>
                    <a:pt x="1011" y="6"/>
                  </a:lnTo>
                  <a:lnTo>
                    <a:pt x="1011" y="4"/>
                  </a:lnTo>
                  <a:lnTo>
                    <a:pt x="1013" y="3"/>
                  </a:lnTo>
                  <a:lnTo>
                    <a:pt x="1016" y="1"/>
                  </a:lnTo>
                  <a:lnTo>
                    <a:pt x="1020" y="0"/>
                  </a:lnTo>
                  <a:lnTo>
                    <a:pt x="1030" y="0"/>
                  </a:lnTo>
                  <a:lnTo>
                    <a:pt x="1041" y="1"/>
                  </a:lnTo>
                  <a:lnTo>
                    <a:pt x="1062" y="4"/>
                  </a:lnTo>
                  <a:lnTo>
                    <a:pt x="1075" y="6"/>
                  </a:lnTo>
                  <a:lnTo>
                    <a:pt x="1094" y="16"/>
                  </a:lnTo>
                  <a:lnTo>
                    <a:pt x="1137" y="40"/>
                  </a:lnTo>
                  <a:lnTo>
                    <a:pt x="1159" y="55"/>
                  </a:lnTo>
                  <a:lnTo>
                    <a:pt x="1179" y="68"/>
                  </a:lnTo>
                  <a:lnTo>
                    <a:pt x="1187" y="75"/>
                  </a:lnTo>
                  <a:lnTo>
                    <a:pt x="1193" y="81"/>
                  </a:lnTo>
                  <a:lnTo>
                    <a:pt x="1197" y="86"/>
                  </a:lnTo>
                  <a:lnTo>
                    <a:pt x="1198" y="91"/>
                  </a:lnTo>
                  <a:lnTo>
                    <a:pt x="1205" y="92"/>
                  </a:lnTo>
                  <a:lnTo>
                    <a:pt x="1210" y="94"/>
                  </a:lnTo>
                  <a:lnTo>
                    <a:pt x="1214" y="99"/>
                  </a:lnTo>
                  <a:lnTo>
                    <a:pt x="1218" y="103"/>
                  </a:lnTo>
                  <a:lnTo>
                    <a:pt x="1223" y="107"/>
                  </a:lnTo>
                  <a:lnTo>
                    <a:pt x="1228" y="112"/>
                  </a:lnTo>
                  <a:lnTo>
                    <a:pt x="1232" y="114"/>
                  </a:lnTo>
                  <a:lnTo>
                    <a:pt x="1235" y="115"/>
                  </a:lnTo>
                  <a:lnTo>
                    <a:pt x="1239" y="115"/>
                  </a:lnTo>
                  <a:lnTo>
                    <a:pt x="1244" y="116"/>
                  </a:lnTo>
                  <a:lnTo>
                    <a:pt x="1263" y="129"/>
                  </a:lnTo>
                  <a:lnTo>
                    <a:pt x="1266" y="134"/>
                  </a:lnTo>
                  <a:lnTo>
                    <a:pt x="1271" y="139"/>
                  </a:lnTo>
                  <a:lnTo>
                    <a:pt x="1275" y="144"/>
                  </a:lnTo>
                  <a:lnTo>
                    <a:pt x="1281" y="150"/>
                  </a:lnTo>
                  <a:lnTo>
                    <a:pt x="1295" y="161"/>
                  </a:lnTo>
                  <a:lnTo>
                    <a:pt x="1312" y="171"/>
                  </a:lnTo>
                  <a:lnTo>
                    <a:pt x="1329" y="180"/>
                  </a:lnTo>
                  <a:lnTo>
                    <a:pt x="1347" y="188"/>
                  </a:lnTo>
                  <a:lnTo>
                    <a:pt x="1356" y="190"/>
                  </a:lnTo>
                  <a:lnTo>
                    <a:pt x="1364" y="192"/>
                  </a:lnTo>
                  <a:lnTo>
                    <a:pt x="1372" y="193"/>
                  </a:lnTo>
                  <a:lnTo>
                    <a:pt x="1380" y="193"/>
                  </a:lnTo>
                  <a:lnTo>
                    <a:pt x="1386" y="199"/>
                  </a:lnTo>
                  <a:lnTo>
                    <a:pt x="1394" y="205"/>
                  </a:lnTo>
                  <a:lnTo>
                    <a:pt x="1402" y="210"/>
                  </a:lnTo>
                  <a:lnTo>
                    <a:pt x="1412" y="215"/>
                  </a:lnTo>
                  <a:lnTo>
                    <a:pt x="1421" y="219"/>
                  </a:lnTo>
                  <a:lnTo>
                    <a:pt x="1430" y="222"/>
                  </a:lnTo>
                  <a:lnTo>
                    <a:pt x="1438" y="226"/>
                  </a:lnTo>
                  <a:lnTo>
                    <a:pt x="1445" y="226"/>
                  </a:lnTo>
                  <a:lnTo>
                    <a:pt x="1450" y="239"/>
                  </a:lnTo>
                  <a:lnTo>
                    <a:pt x="1455" y="239"/>
                  </a:lnTo>
                  <a:lnTo>
                    <a:pt x="1459" y="241"/>
                  </a:lnTo>
                  <a:lnTo>
                    <a:pt x="1464" y="244"/>
                  </a:lnTo>
                  <a:lnTo>
                    <a:pt x="1468" y="247"/>
                  </a:lnTo>
                  <a:lnTo>
                    <a:pt x="1478" y="256"/>
                  </a:lnTo>
                  <a:lnTo>
                    <a:pt x="1490" y="265"/>
                  </a:lnTo>
                  <a:lnTo>
                    <a:pt x="1501" y="275"/>
                  </a:lnTo>
                  <a:lnTo>
                    <a:pt x="1511" y="283"/>
                  </a:lnTo>
                  <a:lnTo>
                    <a:pt x="1516" y="286"/>
                  </a:lnTo>
                  <a:lnTo>
                    <a:pt x="1521" y="288"/>
                  </a:lnTo>
                  <a:lnTo>
                    <a:pt x="1525" y="290"/>
                  </a:lnTo>
                  <a:lnTo>
                    <a:pt x="1529" y="290"/>
                  </a:lnTo>
                  <a:lnTo>
                    <a:pt x="1529" y="294"/>
                  </a:lnTo>
                  <a:lnTo>
                    <a:pt x="1531" y="296"/>
                  </a:lnTo>
                  <a:lnTo>
                    <a:pt x="1533" y="298"/>
                  </a:lnTo>
                  <a:lnTo>
                    <a:pt x="1536" y="301"/>
                  </a:lnTo>
                  <a:lnTo>
                    <a:pt x="1542" y="305"/>
                  </a:lnTo>
                  <a:lnTo>
                    <a:pt x="1548" y="311"/>
                  </a:lnTo>
                  <a:lnTo>
                    <a:pt x="1568" y="311"/>
                  </a:lnTo>
                  <a:lnTo>
                    <a:pt x="1571" y="315"/>
                  </a:lnTo>
                  <a:lnTo>
                    <a:pt x="1575" y="318"/>
                  </a:lnTo>
                  <a:lnTo>
                    <a:pt x="1581" y="321"/>
                  </a:lnTo>
                  <a:lnTo>
                    <a:pt x="1588" y="323"/>
                  </a:lnTo>
                  <a:lnTo>
                    <a:pt x="1594" y="326"/>
                  </a:lnTo>
                  <a:lnTo>
                    <a:pt x="1601" y="328"/>
                  </a:lnTo>
                  <a:lnTo>
                    <a:pt x="1608" y="332"/>
                  </a:lnTo>
                  <a:lnTo>
                    <a:pt x="1612" y="336"/>
                  </a:lnTo>
                  <a:lnTo>
                    <a:pt x="1626" y="337"/>
                  </a:lnTo>
                  <a:lnTo>
                    <a:pt x="1638" y="342"/>
                  </a:lnTo>
                  <a:lnTo>
                    <a:pt x="1651" y="346"/>
                  </a:lnTo>
                  <a:lnTo>
                    <a:pt x="1664" y="352"/>
                  </a:lnTo>
                  <a:lnTo>
                    <a:pt x="1676" y="359"/>
                  </a:lnTo>
                  <a:lnTo>
                    <a:pt x="1688" y="363"/>
                  </a:lnTo>
                  <a:lnTo>
                    <a:pt x="1699" y="367"/>
                  </a:lnTo>
                  <a:lnTo>
                    <a:pt x="1709" y="369"/>
                  </a:lnTo>
                  <a:lnTo>
                    <a:pt x="1723" y="382"/>
                  </a:lnTo>
                  <a:lnTo>
                    <a:pt x="1742" y="382"/>
                  </a:lnTo>
                  <a:lnTo>
                    <a:pt x="1751" y="388"/>
                  </a:lnTo>
                  <a:lnTo>
                    <a:pt x="1763" y="393"/>
                  </a:lnTo>
                  <a:lnTo>
                    <a:pt x="1770" y="397"/>
                  </a:lnTo>
                  <a:lnTo>
                    <a:pt x="1776" y="399"/>
                  </a:lnTo>
                  <a:lnTo>
                    <a:pt x="1782" y="400"/>
                  </a:lnTo>
                  <a:lnTo>
                    <a:pt x="1788" y="401"/>
                  </a:lnTo>
                  <a:lnTo>
                    <a:pt x="1788" y="403"/>
                  </a:lnTo>
                  <a:lnTo>
                    <a:pt x="1789" y="404"/>
                  </a:lnTo>
                  <a:lnTo>
                    <a:pt x="1790" y="405"/>
                  </a:lnTo>
                  <a:lnTo>
                    <a:pt x="1792" y="407"/>
                  </a:lnTo>
                  <a:lnTo>
                    <a:pt x="1795" y="408"/>
                  </a:lnTo>
                  <a:lnTo>
                    <a:pt x="1801" y="408"/>
                  </a:lnTo>
                  <a:lnTo>
                    <a:pt x="1807" y="414"/>
                  </a:lnTo>
                  <a:lnTo>
                    <a:pt x="1813" y="427"/>
                  </a:lnTo>
                  <a:lnTo>
                    <a:pt x="1827" y="433"/>
                  </a:lnTo>
                  <a:lnTo>
                    <a:pt x="1839" y="440"/>
                  </a:lnTo>
                  <a:lnTo>
                    <a:pt x="1841" y="443"/>
                  </a:lnTo>
                  <a:lnTo>
                    <a:pt x="1846" y="448"/>
                  </a:lnTo>
                  <a:lnTo>
                    <a:pt x="1852" y="453"/>
                  </a:lnTo>
                  <a:lnTo>
                    <a:pt x="1860" y="458"/>
                  </a:lnTo>
                  <a:lnTo>
                    <a:pt x="1875" y="468"/>
                  </a:lnTo>
                  <a:lnTo>
                    <a:pt x="1885" y="472"/>
                  </a:lnTo>
                  <a:lnTo>
                    <a:pt x="1886" y="475"/>
                  </a:lnTo>
                  <a:lnTo>
                    <a:pt x="1887" y="477"/>
                  </a:lnTo>
                  <a:lnTo>
                    <a:pt x="1889" y="479"/>
                  </a:lnTo>
                  <a:lnTo>
                    <a:pt x="1893" y="481"/>
                  </a:lnTo>
                  <a:lnTo>
                    <a:pt x="1898" y="484"/>
                  </a:lnTo>
                  <a:lnTo>
                    <a:pt x="1904" y="485"/>
                  </a:lnTo>
                  <a:lnTo>
                    <a:pt x="1905" y="489"/>
                  </a:lnTo>
                  <a:lnTo>
                    <a:pt x="1905" y="490"/>
                  </a:lnTo>
                  <a:lnTo>
                    <a:pt x="1906" y="491"/>
                  </a:lnTo>
                  <a:lnTo>
                    <a:pt x="1907" y="491"/>
                  </a:lnTo>
                  <a:lnTo>
                    <a:pt x="1908" y="491"/>
                  </a:lnTo>
                  <a:lnTo>
                    <a:pt x="1909" y="492"/>
                  </a:lnTo>
                  <a:lnTo>
                    <a:pt x="1910" y="495"/>
                  </a:lnTo>
                  <a:lnTo>
                    <a:pt x="1910" y="498"/>
                  </a:lnTo>
                  <a:lnTo>
                    <a:pt x="1920" y="499"/>
                  </a:lnTo>
                  <a:lnTo>
                    <a:pt x="1930" y="501"/>
                  </a:lnTo>
                  <a:lnTo>
                    <a:pt x="1939" y="504"/>
                  </a:lnTo>
                  <a:lnTo>
                    <a:pt x="1949" y="505"/>
                  </a:lnTo>
                  <a:lnTo>
                    <a:pt x="1949" y="508"/>
                  </a:lnTo>
                  <a:lnTo>
                    <a:pt x="1951" y="510"/>
                  </a:lnTo>
                  <a:lnTo>
                    <a:pt x="1952" y="511"/>
                  </a:lnTo>
                  <a:lnTo>
                    <a:pt x="1953" y="511"/>
                  </a:lnTo>
                  <a:lnTo>
                    <a:pt x="1954" y="511"/>
                  </a:lnTo>
                  <a:lnTo>
                    <a:pt x="1955" y="511"/>
                  </a:lnTo>
                  <a:lnTo>
                    <a:pt x="1956" y="514"/>
                  </a:lnTo>
                  <a:lnTo>
                    <a:pt x="1956" y="517"/>
                  </a:lnTo>
                  <a:lnTo>
                    <a:pt x="1975" y="517"/>
                  </a:lnTo>
                  <a:lnTo>
                    <a:pt x="1976" y="519"/>
                  </a:lnTo>
                  <a:lnTo>
                    <a:pt x="1977" y="522"/>
                  </a:lnTo>
                  <a:lnTo>
                    <a:pt x="1980" y="523"/>
                  </a:lnTo>
                  <a:lnTo>
                    <a:pt x="1983" y="523"/>
                  </a:lnTo>
                  <a:lnTo>
                    <a:pt x="1990" y="524"/>
                  </a:lnTo>
                  <a:lnTo>
                    <a:pt x="1995" y="524"/>
                  </a:lnTo>
                  <a:lnTo>
                    <a:pt x="1995" y="526"/>
                  </a:lnTo>
                  <a:lnTo>
                    <a:pt x="1996" y="528"/>
                  </a:lnTo>
                  <a:lnTo>
                    <a:pt x="1997" y="529"/>
                  </a:lnTo>
                  <a:lnTo>
                    <a:pt x="1999" y="529"/>
                  </a:lnTo>
                  <a:lnTo>
                    <a:pt x="2003" y="530"/>
                  </a:lnTo>
                  <a:lnTo>
                    <a:pt x="2007" y="530"/>
                  </a:lnTo>
                  <a:lnTo>
                    <a:pt x="2007" y="544"/>
                  </a:lnTo>
                  <a:lnTo>
                    <a:pt x="2012" y="544"/>
                  </a:lnTo>
                  <a:lnTo>
                    <a:pt x="2013" y="545"/>
                  </a:lnTo>
                  <a:lnTo>
                    <a:pt x="2014" y="545"/>
                  </a:lnTo>
                  <a:lnTo>
                    <a:pt x="2014" y="547"/>
                  </a:lnTo>
                  <a:lnTo>
                    <a:pt x="2014" y="548"/>
                  </a:lnTo>
                  <a:lnTo>
                    <a:pt x="2015" y="549"/>
                  </a:lnTo>
                  <a:lnTo>
                    <a:pt x="2018" y="549"/>
                  </a:lnTo>
                  <a:lnTo>
                    <a:pt x="2021" y="549"/>
                  </a:lnTo>
                  <a:lnTo>
                    <a:pt x="2023" y="573"/>
                  </a:lnTo>
                  <a:lnTo>
                    <a:pt x="2028" y="600"/>
                  </a:lnTo>
                  <a:lnTo>
                    <a:pt x="2032" y="628"/>
                  </a:lnTo>
                  <a:lnTo>
                    <a:pt x="2033" y="653"/>
                  </a:lnTo>
                  <a:lnTo>
                    <a:pt x="2032" y="654"/>
                  </a:lnTo>
                  <a:lnTo>
                    <a:pt x="2030" y="655"/>
                  </a:lnTo>
                  <a:lnTo>
                    <a:pt x="2029" y="658"/>
                  </a:lnTo>
                  <a:lnTo>
                    <a:pt x="2028" y="661"/>
                  </a:lnTo>
                  <a:lnTo>
                    <a:pt x="2028" y="667"/>
                  </a:lnTo>
                  <a:lnTo>
                    <a:pt x="2028" y="673"/>
                  </a:lnTo>
                  <a:lnTo>
                    <a:pt x="2025" y="673"/>
                  </a:lnTo>
                  <a:lnTo>
                    <a:pt x="2023" y="674"/>
                  </a:lnTo>
                  <a:lnTo>
                    <a:pt x="2022" y="676"/>
                  </a:lnTo>
                  <a:lnTo>
                    <a:pt x="2022" y="677"/>
                  </a:lnTo>
                  <a:lnTo>
                    <a:pt x="2021" y="681"/>
                  </a:lnTo>
                  <a:lnTo>
                    <a:pt x="2021" y="686"/>
                  </a:lnTo>
                  <a:lnTo>
                    <a:pt x="2007" y="686"/>
                  </a:lnTo>
                  <a:lnTo>
                    <a:pt x="2001" y="692"/>
                  </a:lnTo>
                  <a:lnTo>
                    <a:pt x="1995" y="699"/>
                  </a:lnTo>
                  <a:lnTo>
                    <a:pt x="1995" y="709"/>
                  </a:lnTo>
                  <a:lnTo>
                    <a:pt x="1995" y="718"/>
                  </a:lnTo>
                  <a:lnTo>
                    <a:pt x="1993" y="720"/>
                  </a:lnTo>
                  <a:lnTo>
                    <a:pt x="1991" y="724"/>
                  </a:lnTo>
                  <a:lnTo>
                    <a:pt x="1990" y="729"/>
                  </a:lnTo>
                  <a:lnTo>
                    <a:pt x="1990" y="735"/>
                  </a:lnTo>
                  <a:lnTo>
                    <a:pt x="1989" y="748"/>
                  </a:lnTo>
                  <a:lnTo>
                    <a:pt x="1989" y="757"/>
                  </a:lnTo>
                  <a:lnTo>
                    <a:pt x="1991" y="758"/>
                  </a:lnTo>
                  <a:lnTo>
                    <a:pt x="1992" y="760"/>
                  </a:lnTo>
                  <a:lnTo>
                    <a:pt x="1993" y="764"/>
                  </a:lnTo>
                  <a:lnTo>
                    <a:pt x="1994" y="767"/>
                  </a:lnTo>
                  <a:lnTo>
                    <a:pt x="1994" y="778"/>
                  </a:lnTo>
                  <a:lnTo>
                    <a:pt x="1993" y="792"/>
                  </a:lnTo>
                  <a:lnTo>
                    <a:pt x="1990" y="817"/>
                  </a:lnTo>
                  <a:lnTo>
                    <a:pt x="1989" y="835"/>
                  </a:lnTo>
                  <a:lnTo>
                    <a:pt x="1986" y="835"/>
                  </a:lnTo>
                  <a:lnTo>
                    <a:pt x="1985" y="836"/>
                  </a:lnTo>
                  <a:lnTo>
                    <a:pt x="1983" y="837"/>
                  </a:lnTo>
                  <a:lnTo>
                    <a:pt x="1983" y="838"/>
                  </a:lnTo>
                  <a:lnTo>
                    <a:pt x="1982" y="843"/>
                  </a:lnTo>
                  <a:lnTo>
                    <a:pt x="1982" y="847"/>
                  </a:lnTo>
                  <a:lnTo>
                    <a:pt x="1978" y="850"/>
                  </a:lnTo>
                  <a:lnTo>
                    <a:pt x="1975" y="853"/>
                  </a:lnTo>
                  <a:lnTo>
                    <a:pt x="1971" y="857"/>
                  </a:lnTo>
                  <a:lnTo>
                    <a:pt x="1965" y="864"/>
                  </a:lnTo>
                  <a:lnTo>
                    <a:pt x="1959" y="870"/>
                  </a:lnTo>
                  <a:lnTo>
                    <a:pt x="1954" y="875"/>
                  </a:lnTo>
                  <a:lnTo>
                    <a:pt x="1948" y="879"/>
                  </a:lnTo>
                  <a:lnTo>
                    <a:pt x="1943" y="880"/>
                  </a:lnTo>
                  <a:lnTo>
                    <a:pt x="1934" y="890"/>
                  </a:lnTo>
                  <a:lnTo>
                    <a:pt x="1924" y="900"/>
                  </a:lnTo>
                  <a:lnTo>
                    <a:pt x="1910" y="900"/>
                  </a:lnTo>
                  <a:lnTo>
                    <a:pt x="1910" y="902"/>
                  </a:lnTo>
                  <a:lnTo>
                    <a:pt x="1908" y="904"/>
                  </a:lnTo>
                  <a:lnTo>
                    <a:pt x="1906" y="907"/>
                  </a:lnTo>
                  <a:lnTo>
                    <a:pt x="1904" y="909"/>
                  </a:lnTo>
                  <a:lnTo>
                    <a:pt x="1897" y="911"/>
                  </a:lnTo>
                  <a:lnTo>
                    <a:pt x="1891" y="912"/>
                  </a:lnTo>
                  <a:lnTo>
                    <a:pt x="1871" y="932"/>
                  </a:lnTo>
                  <a:lnTo>
                    <a:pt x="1871" y="945"/>
                  </a:lnTo>
                  <a:lnTo>
                    <a:pt x="1870" y="946"/>
                  </a:lnTo>
                  <a:lnTo>
                    <a:pt x="1868" y="947"/>
                  </a:lnTo>
                  <a:lnTo>
                    <a:pt x="1867" y="949"/>
                  </a:lnTo>
                  <a:lnTo>
                    <a:pt x="1866" y="952"/>
                  </a:lnTo>
                  <a:lnTo>
                    <a:pt x="1866" y="959"/>
                  </a:lnTo>
                  <a:lnTo>
                    <a:pt x="1866" y="965"/>
                  </a:lnTo>
                  <a:lnTo>
                    <a:pt x="1852" y="965"/>
                  </a:lnTo>
                  <a:lnTo>
                    <a:pt x="1852" y="969"/>
                  </a:lnTo>
                  <a:lnTo>
                    <a:pt x="1850" y="972"/>
                  </a:lnTo>
                  <a:lnTo>
                    <a:pt x="1848" y="977"/>
                  </a:lnTo>
                  <a:lnTo>
                    <a:pt x="1846" y="979"/>
                  </a:lnTo>
                  <a:lnTo>
                    <a:pt x="1839" y="985"/>
                  </a:lnTo>
                  <a:lnTo>
                    <a:pt x="1833" y="990"/>
                  </a:lnTo>
                  <a:lnTo>
                    <a:pt x="1820" y="990"/>
                  </a:lnTo>
                  <a:lnTo>
                    <a:pt x="1819" y="992"/>
                  </a:lnTo>
                  <a:lnTo>
                    <a:pt x="1815" y="994"/>
                  </a:lnTo>
                  <a:lnTo>
                    <a:pt x="1812" y="996"/>
                  </a:lnTo>
                  <a:lnTo>
                    <a:pt x="1807" y="997"/>
                  </a:lnTo>
                  <a:lnTo>
                    <a:pt x="1802" y="999"/>
                  </a:lnTo>
                  <a:lnTo>
                    <a:pt x="1798" y="1003"/>
                  </a:lnTo>
                  <a:lnTo>
                    <a:pt x="1795" y="1005"/>
                  </a:lnTo>
                  <a:lnTo>
                    <a:pt x="1794" y="1009"/>
                  </a:lnTo>
                  <a:lnTo>
                    <a:pt x="1781" y="1009"/>
                  </a:lnTo>
                  <a:lnTo>
                    <a:pt x="1774" y="1016"/>
                  </a:lnTo>
                  <a:lnTo>
                    <a:pt x="1765" y="1025"/>
                  </a:lnTo>
                  <a:lnTo>
                    <a:pt x="1760" y="1029"/>
                  </a:lnTo>
                  <a:lnTo>
                    <a:pt x="1755" y="1033"/>
                  </a:lnTo>
                  <a:lnTo>
                    <a:pt x="1752" y="1035"/>
                  </a:lnTo>
                  <a:lnTo>
                    <a:pt x="1748" y="1036"/>
                  </a:lnTo>
                  <a:lnTo>
                    <a:pt x="1748" y="1038"/>
                  </a:lnTo>
                  <a:lnTo>
                    <a:pt x="1746" y="1042"/>
                  </a:lnTo>
                  <a:lnTo>
                    <a:pt x="1744" y="1045"/>
                  </a:lnTo>
                  <a:lnTo>
                    <a:pt x="1742" y="1047"/>
                  </a:lnTo>
                  <a:lnTo>
                    <a:pt x="1738" y="1051"/>
                  </a:lnTo>
                  <a:lnTo>
                    <a:pt x="1735" y="1053"/>
                  </a:lnTo>
                  <a:lnTo>
                    <a:pt x="1732" y="1054"/>
                  </a:lnTo>
                  <a:lnTo>
                    <a:pt x="1730" y="1055"/>
                  </a:lnTo>
                  <a:lnTo>
                    <a:pt x="1728" y="1061"/>
                  </a:lnTo>
                  <a:lnTo>
                    <a:pt x="1725" y="1067"/>
                  </a:lnTo>
                  <a:lnTo>
                    <a:pt x="1721" y="1075"/>
                  </a:lnTo>
                  <a:lnTo>
                    <a:pt x="1715" y="1083"/>
                  </a:lnTo>
                  <a:lnTo>
                    <a:pt x="1711" y="1090"/>
                  </a:lnTo>
                  <a:lnTo>
                    <a:pt x="1705" y="1095"/>
                  </a:lnTo>
                  <a:lnTo>
                    <a:pt x="1700" y="1099"/>
                  </a:lnTo>
                  <a:lnTo>
                    <a:pt x="1697" y="1101"/>
                  </a:lnTo>
                  <a:lnTo>
                    <a:pt x="1696" y="1106"/>
                  </a:lnTo>
                  <a:lnTo>
                    <a:pt x="1694" y="1115"/>
                  </a:lnTo>
                  <a:lnTo>
                    <a:pt x="1690" y="1124"/>
                  </a:lnTo>
                  <a:lnTo>
                    <a:pt x="1686" y="1134"/>
                  </a:lnTo>
                  <a:lnTo>
                    <a:pt x="1682" y="1143"/>
                  </a:lnTo>
                  <a:lnTo>
                    <a:pt x="1678" y="1151"/>
                  </a:lnTo>
                  <a:lnTo>
                    <a:pt x="1674" y="1157"/>
                  </a:lnTo>
                  <a:lnTo>
                    <a:pt x="1671" y="1159"/>
                  </a:lnTo>
                  <a:lnTo>
                    <a:pt x="1679" y="1195"/>
                  </a:lnTo>
                  <a:lnTo>
                    <a:pt x="1688" y="1230"/>
                  </a:lnTo>
                  <a:lnTo>
                    <a:pt x="1695" y="1265"/>
                  </a:lnTo>
                  <a:lnTo>
                    <a:pt x="1703" y="1298"/>
                  </a:lnTo>
                  <a:lnTo>
                    <a:pt x="1693" y="1299"/>
                  </a:lnTo>
                  <a:lnTo>
                    <a:pt x="1688" y="1299"/>
                  </a:lnTo>
                  <a:lnTo>
                    <a:pt x="1686" y="1301"/>
                  </a:lnTo>
                  <a:lnTo>
                    <a:pt x="1685" y="1301"/>
                  </a:lnTo>
                  <a:lnTo>
                    <a:pt x="1685" y="1302"/>
                  </a:lnTo>
                  <a:lnTo>
                    <a:pt x="1685" y="1303"/>
                  </a:lnTo>
                  <a:lnTo>
                    <a:pt x="1684" y="1303"/>
                  </a:lnTo>
                  <a:lnTo>
                    <a:pt x="1680" y="1303"/>
                  </a:lnTo>
                  <a:lnTo>
                    <a:pt x="1676" y="1312"/>
                  </a:lnTo>
                  <a:lnTo>
                    <a:pt x="1665" y="1318"/>
                  </a:lnTo>
                  <a:lnTo>
                    <a:pt x="1654" y="1325"/>
                  </a:lnTo>
                  <a:lnTo>
                    <a:pt x="1649" y="1330"/>
                  </a:lnTo>
                  <a:lnTo>
                    <a:pt x="1645" y="1334"/>
                  </a:lnTo>
                  <a:lnTo>
                    <a:pt x="1645" y="1343"/>
                  </a:lnTo>
                  <a:lnTo>
                    <a:pt x="1640" y="1347"/>
                  </a:lnTo>
                  <a:lnTo>
                    <a:pt x="1636" y="1352"/>
                  </a:lnTo>
                  <a:lnTo>
                    <a:pt x="1636" y="1365"/>
                  </a:lnTo>
                  <a:lnTo>
                    <a:pt x="1631" y="1371"/>
                  </a:lnTo>
                  <a:lnTo>
                    <a:pt x="1627" y="1379"/>
                  </a:lnTo>
                  <a:lnTo>
                    <a:pt x="1623" y="1379"/>
                  </a:lnTo>
                  <a:lnTo>
                    <a:pt x="1621" y="1380"/>
                  </a:lnTo>
                  <a:lnTo>
                    <a:pt x="1619" y="1381"/>
                  </a:lnTo>
                  <a:lnTo>
                    <a:pt x="1618" y="1383"/>
                  </a:lnTo>
                  <a:lnTo>
                    <a:pt x="1610" y="1385"/>
                  </a:lnTo>
                  <a:lnTo>
                    <a:pt x="1604" y="1388"/>
                  </a:lnTo>
                  <a:lnTo>
                    <a:pt x="1497" y="1383"/>
                  </a:lnTo>
                  <a:lnTo>
                    <a:pt x="1496" y="1386"/>
                  </a:lnTo>
                  <a:lnTo>
                    <a:pt x="1493" y="1390"/>
                  </a:lnTo>
                  <a:lnTo>
                    <a:pt x="1491" y="1392"/>
                  </a:lnTo>
                  <a:lnTo>
                    <a:pt x="1488" y="1392"/>
                  </a:lnTo>
                  <a:lnTo>
                    <a:pt x="1488" y="1397"/>
                  </a:lnTo>
                  <a:lnTo>
                    <a:pt x="1486" y="1401"/>
                  </a:lnTo>
                  <a:lnTo>
                    <a:pt x="1483" y="1404"/>
                  </a:lnTo>
                  <a:lnTo>
                    <a:pt x="1479" y="1405"/>
                  </a:lnTo>
                  <a:lnTo>
                    <a:pt x="1479" y="1414"/>
                  </a:lnTo>
                  <a:lnTo>
                    <a:pt x="1476" y="1414"/>
                  </a:lnTo>
                  <a:lnTo>
                    <a:pt x="1474" y="1415"/>
                  </a:lnTo>
                  <a:lnTo>
                    <a:pt x="1472" y="1417"/>
                  </a:lnTo>
                  <a:lnTo>
                    <a:pt x="1471" y="1419"/>
                  </a:lnTo>
                  <a:lnTo>
                    <a:pt x="1381" y="1419"/>
                  </a:lnTo>
                  <a:lnTo>
                    <a:pt x="1376" y="1417"/>
                  </a:lnTo>
                  <a:lnTo>
                    <a:pt x="1368" y="1415"/>
                  </a:lnTo>
                  <a:lnTo>
                    <a:pt x="1359" y="1414"/>
                  </a:lnTo>
                  <a:lnTo>
                    <a:pt x="1350" y="1414"/>
                  </a:lnTo>
                  <a:lnTo>
                    <a:pt x="1350" y="1417"/>
                  </a:lnTo>
                  <a:lnTo>
                    <a:pt x="1349" y="1418"/>
                  </a:lnTo>
                  <a:lnTo>
                    <a:pt x="1348" y="1418"/>
                  </a:lnTo>
                  <a:lnTo>
                    <a:pt x="1346" y="1419"/>
                  </a:lnTo>
                  <a:lnTo>
                    <a:pt x="1341" y="1419"/>
                  </a:lnTo>
                  <a:lnTo>
                    <a:pt x="1337" y="1419"/>
                  </a:lnTo>
                  <a:lnTo>
                    <a:pt x="1332" y="1434"/>
                  </a:lnTo>
                  <a:lnTo>
                    <a:pt x="1328" y="1446"/>
                  </a:lnTo>
                  <a:lnTo>
                    <a:pt x="1325" y="1447"/>
                  </a:lnTo>
                  <a:lnTo>
                    <a:pt x="1322" y="1449"/>
                  </a:lnTo>
                  <a:lnTo>
                    <a:pt x="1320" y="1451"/>
                  </a:lnTo>
                  <a:lnTo>
                    <a:pt x="1319" y="1455"/>
                  </a:lnTo>
                  <a:lnTo>
                    <a:pt x="1314" y="1459"/>
                  </a:lnTo>
                  <a:lnTo>
                    <a:pt x="1301" y="1459"/>
                  </a:lnTo>
                  <a:lnTo>
                    <a:pt x="1296" y="1462"/>
                  </a:lnTo>
                  <a:lnTo>
                    <a:pt x="1291" y="1465"/>
                  </a:lnTo>
                  <a:lnTo>
                    <a:pt x="1282" y="1466"/>
                  </a:lnTo>
                  <a:lnTo>
                    <a:pt x="1273" y="1467"/>
                  </a:lnTo>
                  <a:lnTo>
                    <a:pt x="1253" y="1468"/>
                  </a:lnTo>
                  <a:lnTo>
                    <a:pt x="1235" y="1468"/>
                  </a:lnTo>
                  <a:lnTo>
                    <a:pt x="1232" y="1465"/>
                  </a:lnTo>
                  <a:lnTo>
                    <a:pt x="1228" y="1460"/>
                  </a:lnTo>
                  <a:lnTo>
                    <a:pt x="1223" y="1457"/>
                  </a:lnTo>
                  <a:lnTo>
                    <a:pt x="1216" y="1452"/>
                  </a:lnTo>
                  <a:lnTo>
                    <a:pt x="1202" y="1442"/>
                  </a:lnTo>
                  <a:lnTo>
                    <a:pt x="1185" y="1431"/>
                  </a:lnTo>
                  <a:lnTo>
                    <a:pt x="1167" y="1420"/>
                  </a:lnTo>
                  <a:lnTo>
                    <a:pt x="1150" y="1409"/>
                  </a:lnTo>
                  <a:lnTo>
                    <a:pt x="1143" y="1403"/>
                  </a:lnTo>
                  <a:lnTo>
                    <a:pt x="1137" y="1399"/>
                  </a:lnTo>
                  <a:lnTo>
                    <a:pt x="1131" y="1393"/>
                  </a:lnTo>
                  <a:lnTo>
                    <a:pt x="1128" y="1388"/>
                  </a:lnTo>
                  <a:lnTo>
                    <a:pt x="1124" y="1388"/>
                  </a:lnTo>
                  <a:lnTo>
                    <a:pt x="1120" y="1385"/>
                  </a:lnTo>
                  <a:lnTo>
                    <a:pt x="1117" y="1383"/>
                  </a:lnTo>
                  <a:lnTo>
                    <a:pt x="1112" y="1380"/>
                  </a:lnTo>
                  <a:lnTo>
                    <a:pt x="1103" y="1371"/>
                  </a:lnTo>
                  <a:lnTo>
                    <a:pt x="1093" y="1361"/>
                  </a:lnTo>
                  <a:lnTo>
                    <a:pt x="1084" y="1351"/>
                  </a:lnTo>
                  <a:lnTo>
                    <a:pt x="1074" y="1343"/>
                  </a:lnTo>
                  <a:lnTo>
                    <a:pt x="1070" y="1340"/>
                  </a:lnTo>
                  <a:lnTo>
                    <a:pt x="1065" y="1336"/>
                  </a:lnTo>
                  <a:lnTo>
                    <a:pt x="1061" y="1335"/>
                  </a:lnTo>
                  <a:lnTo>
                    <a:pt x="1056" y="1334"/>
                  </a:lnTo>
                  <a:lnTo>
                    <a:pt x="1054" y="1331"/>
                  </a:lnTo>
                  <a:lnTo>
                    <a:pt x="1051" y="1328"/>
                  </a:lnTo>
                  <a:lnTo>
                    <a:pt x="1046" y="1326"/>
                  </a:lnTo>
                  <a:lnTo>
                    <a:pt x="1043" y="1325"/>
                  </a:lnTo>
                  <a:lnTo>
                    <a:pt x="1041" y="1321"/>
                  </a:lnTo>
                  <a:lnTo>
                    <a:pt x="1039" y="1316"/>
                  </a:lnTo>
                  <a:lnTo>
                    <a:pt x="1028" y="1315"/>
                  </a:lnTo>
                  <a:lnTo>
                    <a:pt x="1011" y="1312"/>
                  </a:lnTo>
                  <a:lnTo>
                    <a:pt x="1002" y="1284"/>
                  </a:lnTo>
                  <a:lnTo>
                    <a:pt x="993" y="1259"/>
                  </a:lnTo>
                  <a:lnTo>
                    <a:pt x="985" y="1238"/>
                  </a:lnTo>
                  <a:lnTo>
                    <a:pt x="980" y="1222"/>
                  </a:lnTo>
                  <a:lnTo>
                    <a:pt x="978" y="1208"/>
                  </a:lnTo>
                  <a:lnTo>
                    <a:pt x="978" y="1187"/>
                  </a:lnTo>
                  <a:lnTo>
                    <a:pt x="979" y="1160"/>
                  </a:lnTo>
                  <a:lnTo>
                    <a:pt x="980" y="1131"/>
                  </a:lnTo>
                  <a:lnTo>
                    <a:pt x="983" y="1101"/>
                  </a:lnTo>
                  <a:lnTo>
                    <a:pt x="985" y="1073"/>
                  </a:lnTo>
                  <a:lnTo>
                    <a:pt x="986" y="1048"/>
                  </a:lnTo>
                  <a:lnTo>
                    <a:pt x="987" y="1029"/>
                  </a:lnTo>
                  <a:lnTo>
                    <a:pt x="973" y="1015"/>
                  </a:lnTo>
                  <a:lnTo>
                    <a:pt x="973" y="1010"/>
                  </a:lnTo>
                  <a:lnTo>
                    <a:pt x="970" y="1004"/>
                  </a:lnTo>
                  <a:lnTo>
                    <a:pt x="968" y="997"/>
                  </a:lnTo>
                  <a:lnTo>
                    <a:pt x="965" y="989"/>
                  </a:lnTo>
                  <a:lnTo>
                    <a:pt x="957" y="975"/>
                  </a:lnTo>
                  <a:lnTo>
                    <a:pt x="950" y="961"/>
                  </a:lnTo>
                  <a:lnTo>
                    <a:pt x="944" y="951"/>
                  </a:lnTo>
                  <a:lnTo>
                    <a:pt x="941" y="945"/>
                  </a:lnTo>
                  <a:lnTo>
                    <a:pt x="941" y="943"/>
                  </a:lnTo>
                  <a:lnTo>
                    <a:pt x="944" y="945"/>
                  </a:lnTo>
                  <a:lnTo>
                    <a:pt x="947" y="948"/>
                  </a:lnTo>
                  <a:lnTo>
                    <a:pt x="953" y="953"/>
                  </a:lnTo>
                  <a:lnTo>
                    <a:pt x="946" y="960"/>
                  </a:lnTo>
                  <a:lnTo>
                    <a:pt x="931" y="960"/>
                  </a:lnTo>
                  <a:lnTo>
                    <a:pt x="931" y="963"/>
                  </a:lnTo>
                  <a:lnTo>
                    <a:pt x="930" y="966"/>
                  </a:lnTo>
                  <a:lnTo>
                    <a:pt x="929" y="967"/>
                  </a:lnTo>
                  <a:lnTo>
                    <a:pt x="928" y="967"/>
                  </a:lnTo>
                  <a:lnTo>
                    <a:pt x="927" y="967"/>
                  </a:lnTo>
                  <a:lnTo>
                    <a:pt x="926" y="968"/>
                  </a:lnTo>
                  <a:lnTo>
                    <a:pt x="925" y="970"/>
                  </a:lnTo>
                  <a:lnTo>
                    <a:pt x="925" y="974"/>
                  </a:lnTo>
                  <a:lnTo>
                    <a:pt x="919" y="975"/>
                  </a:lnTo>
                  <a:lnTo>
                    <a:pt x="912" y="978"/>
                  </a:lnTo>
                  <a:lnTo>
                    <a:pt x="909" y="980"/>
                  </a:lnTo>
                  <a:lnTo>
                    <a:pt x="907" y="982"/>
                  </a:lnTo>
                  <a:lnTo>
                    <a:pt x="905" y="985"/>
                  </a:lnTo>
                  <a:lnTo>
                    <a:pt x="905" y="988"/>
                  </a:lnTo>
                  <a:lnTo>
                    <a:pt x="899" y="988"/>
                  </a:lnTo>
                  <a:lnTo>
                    <a:pt x="895" y="988"/>
                  </a:lnTo>
                  <a:lnTo>
                    <a:pt x="892" y="989"/>
                  </a:lnTo>
                  <a:lnTo>
                    <a:pt x="891" y="990"/>
                  </a:lnTo>
                  <a:lnTo>
                    <a:pt x="890" y="992"/>
                  </a:lnTo>
                  <a:lnTo>
                    <a:pt x="890" y="995"/>
                  </a:lnTo>
                  <a:lnTo>
                    <a:pt x="877" y="995"/>
                  </a:lnTo>
                  <a:lnTo>
                    <a:pt x="870" y="1001"/>
                  </a:lnTo>
                  <a:lnTo>
                    <a:pt x="867" y="1015"/>
                  </a:lnTo>
                  <a:lnTo>
                    <a:pt x="862" y="1029"/>
                  </a:lnTo>
                  <a:lnTo>
                    <a:pt x="849" y="1029"/>
                  </a:lnTo>
                  <a:lnTo>
                    <a:pt x="842" y="1043"/>
                  </a:lnTo>
                  <a:lnTo>
                    <a:pt x="835" y="1056"/>
                  </a:lnTo>
                  <a:lnTo>
                    <a:pt x="831" y="1057"/>
                  </a:lnTo>
                  <a:lnTo>
                    <a:pt x="829" y="1057"/>
                  </a:lnTo>
                  <a:lnTo>
                    <a:pt x="829" y="1058"/>
                  </a:lnTo>
                  <a:lnTo>
                    <a:pt x="829" y="1061"/>
                  </a:lnTo>
                  <a:lnTo>
                    <a:pt x="828" y="1062"/>
                  </a:lnTo>
                  <a:lnTo>
                    <a:pt x="828" y="1063"/>
                  </a:lnTo>
                  <a:lnTo>
                    <a:pt x="825" y="1063"/>
                  </a:lnTo>
                  <a:lnTo>
                    <a:pt x="821" y="1064"/>
                  </a:lnTo>
                  <a:lnTo>
                    <a:pt x="821" y="1072"/>
                  </a:lnTo>
                  <a:lnTo>
                    <a:pt x="821" y="1083"/>
                  </a:lnTo>
                  <a:lnTo>
                    <a:pt x="820" y="1088"/>
                  </a:lnTo>
                  <a:lnTo>
                    <a:pt x="819" y="1094"/>
                  </a:lnTo>
                  <a:lnTo>
                    <a:pt x="816" y="1097"/>
                  </a:lnTo>
                  <a:lnTo>
                    <a:pt x="814" y="1099"/>
                  </a:lnTo>
                  <a:lnTo>
                    <a:pt x="811" y="1112"/>
                  </a:lnTo>
                  <a:lnTo>
                    <a:pt x="807" y="1125"/>
                  </a:lnTo>
                  <a:lnTo>
                    <a:pt x="800" y="1126"/>
                  </a:lnTo>
                  <a:lnTo>
                    <a:pt x="793" y="1129"/>
                  </a:lnTo>
                  <a:lnTo>
                    <a:pt x="786" y="1132"/>
                  </a:lnTo>
                  <a:lnTo>
                    <a:pt x="780" y="1136"/>
                  </a:lnTo>
                  <a:lnTo>
                    <a:pt x="773" y="1140"/>
                  </a:lnTo>
                  <a:lnTo>
                    <a:pt x="766" y="1143"/>
                  </a:lnTo>
                  <a:lnTo>
                    <a:pt x="759" y="1145"/>
                  </a:lnTo>
                  <a:lnTo>
                    <a:pt x="753" y="1147"/>
                  </a:lnTo>
                  <a:lnTo>
                    <a:pt x="752" y="1150"/>
                  </a:lnTo>
                  <a:lnTo>
                    <a:pt x="752" y="1152"/>
                  </a:lnTo>
                  <a:lnTo>
                    <a:pt x="751" y="1153"/>
                  </a:lnTo>
                  <a:lnTo>
                    <a:pt x="748" y="1153"/>
                  </a:lnTo>
                  <a:lnTo>
                    <a:pt x="747" y="1153"/>
                  </a:lnTo>
                  <a:lnTo>
                    <a:pt x="746" y="1154"/>
                  </a:lnTo>
                  <a:lnTo>
                    <a:pt x="746" y="1157"/>
                  </a:lnTo>
                  <a:lnTo>
                    <a:pt x="745" y="1160"/>
                  </a:lnTo>
                  <a:lnTo>
                    <a:pt x="740" y="1161"/>
                  </a:lnTo>
                  <a:lnTo>
                    <a:pt x="736" y="1164"/>
                  </a:lnTo>
                  <a:lnTo>
                    <a:pt x="733" y="1169"/>
                  </a:lnTo>
                  <a:lnTo>
                    <a:pt x="732" y="1174"/>
                  </a:lnTo>
                  <a:lnTo>
                    <a:pt x="727" y="1174"/>
                  </a:lnTo>
                  <a:lnTo>
                    <a:pt x="726" y="1176"/>
                  </a:lnTo>
                  <a:lnTo>
                    <a:pt x="725" y="1177"/>
                  </a:lnTo>
                  <a:lnTo>
                    <a:pt x="725" y="1178"/>
                  </a:lnTo>
                  <a:lnTo>
                    <a:pt x="725" y="1179"/>
                  </a:lnTo>
                  <a:lnTo>
                    <a:pt x="724" y="1180"/>
                  </a:lnTo>
                  <a:lnTo>
                    <a:pt x="721" y="1181"/>
                  </a:lnTo>
                  <a:lnTo>
                    <a:pt x="718" y="1181"/>
                  </a:lnTo>
                  <a:lnTo>
                    <a:pt x="717" y="1191"/>
                  </a:lnTo>
                  <a:lnTo>
                    <a:pt x="714" y="1201"/>
                  </a:lnTo>
                  <a:lnTo>
                    <a:pt x="711" y="1212"/>
                  </a:lnTo>
                  <a:lnTo>
                    <a:pt x="710" y="1222"/>
                  </a:lnTo>
                  <a:lnTo>
                    <a:pt x="707" y="1226"/>
                  </a:lnTo>
                  <a:lnTo>
                    <a:pt x="700" y="1234"/>
                  </a:lnTo>
                  <a:lnTo>
                    <a:pt x="697" y="1238"/>
                  </a:lnTo>
                  <a:lnTo>
                    <a:pt x="694" y="1242"/>
                  </a:lnTo>
                  <a:lnTo>
                    <a:pt x="691" y="1247"/>
                  </a:lnTo>
                  <a:lnTo>
                    <a:pt x="690" y="1250"/>
                  </a:lnTo>
                  <a:lnTo>
                    <a:pt x="669" y="1250"/>
                  </a:lnTo>
                  <a:lnTo>
                    <a:pt x="662" y="1257"/>
                  </a:lnTo>
                  <a:lnTo>
                    <a:pt x="662" y="1255"/>
                  </a:lnTo>
                  <a:lnTo>
                    <a:pt x="661" y="1253"/>
                  </a:lnTo>
                  <a:lnTo>
                    <a:pt x="660" y="1251"/>
                  </a:lnTo>
                  <a:lnTo>
                    <a:pt x="658" y="1250"/>
                  </a:lnTo>
                  <a:lnTo>
                    <a:pt x="653" y="1250"/>
                  </a:lnTo>
                  <a:lnTo>
                    <a:pt x="649" y="1250"/>
                  </a:lnTo>
                  <a:lnTo>
                    <a:pt x="642" y="1236"/>
                  </a:lnTo>
                  <a:lnTo>
                    <a:pt x="634" y="1222"/>
                  </a:lnTo>
                  <a:lnTo>
                    <a:pt x="623" y="1222"/>
                  </a:lnTo>
                  <a:lnTo>
                    <a:pt x="604" y="1221"/>
                  </a:lnTo>
                  <a:lnTo>
                    <a:pt x="595" y="1220"/>
                  </a:lnTo>
                  <a:lnTo>
                    <a:pt x="588" y="1219"/>
                  </a:lnTo>
                  <a:lnTo>
                    <a:pt x="582" y="1218"/>
                  </a:lnTo>
                  <a:lnTo>
                    <a:pt x="580" y="1216"/>
                  </a:lnTo>
                  <a:lnTo>
                    <a:pt x="572" y="1216"/>
                  </a:lnTo>
                  <a:lnTo>
                    <a:pt x="563" y="1215"/>
                  </a:lnTo>
                  <a:lnTo>
                    <a:pt x="559" y="1213"/>
                  </a:lnTo>
                  <a:lnTo>
                    <a:pt x="555" y="1212"/>
                  </a:lnTo>
                  <a:lnTo>
                    <a:pt x="553" y="1211"/>
                  </a:lnTo>
                  <a:lnTo>
                    <a:pt x="552" y="1209"/>
                  </a:lnTo>
                  <a:lnTo>
                    <a:pt x="532" y="1209"/>
                  </a:lnTo>
                  <a:lnTo>
                    <a:pt x="529" y="1206"/>
                  </a:lnTo>
                  <a:lnTo>
                    <a:pt x="527" y="1201"/>
                  </a:lnTo>
                  <a:lnTo>
                    <a:pt x="522" y="1197"/>
                  </a:lnTo>
                  <a:lnTo>
                    <a:pt x="516" y="1192"/>
                  </a:lnTo>
                  <a:lnTo>
                    <a:pt x="511" y="1188"/>
                  </a:lnTo>
                  <a:lnTo>
                    <a:pt x="505" y="1184"/>
                  </a:lnTo>
                  <a:lnTo>
                    <a:pt x="500" y="1182"/>
                  </a:lnTo>
                  <a:lnTo>
                    <a:pt x="497" y="1181"/>
                  </a:lnTo>
                  <a:lnTo>
                    <a:pt x="489" y="1171"/>
                  </a:lnTo>
                  <a:lnTo>
                    <a:pt x="483" y="1160"/>
                  </a:lnTo>
                  <a:lnTo>
                    <a:pt x="475" y="1159"/>
                  </a:lnTo>
                  <a:lnTo>
                    <a:pt x="466" y="1155"/>
                  </a:lnTo>
                  <a:lnTo>
                    <a:pt x="457" y="1151"/>
                  </a:lnTo>
                  <a:lnTo>
                    <a:pt x="448" y="1147"/>
                  </a:lnTo>
                  <a:lnTo>
                    <a:pt x="439" y="1141"/>
                  </a:lnTo>
                  <a:lnTo>
                    <a:pt x="430" y="1136"/>
                  </a:lnTo>
                  <a:lnTo>
                    <a:pt x="422" y="1134"/>
                  </a:lnTo>
                  <a:lnTo>
                    <a:pt x="413" y="1132"/>
                  </a:lnTo>
                  <a:lnTo>
                    <a:pt x="399" y="1132"/>
                  </a:lnTo>
                  <a:lnTo>
                    <a:pt x="378" y="1131"/>
                  </a:lnTo>
                  <a:lnTo>
                    <a:pt x="368" y="1129"/>
                  </a:lnTo>
                  <a:lnTo>
                    <a:pt x="360" y="1126"/>
                  </a:lnTo>
                  <a:lnTo>
                    <a:pt x="356" y="1125"/>
                  </a:lnTo>
                  <a:lnTo>
                    <a:pt x="354" y="1123"/>
                  </a:lnTo>
                  <a:lnTo>
                    <a:pt x="352" y="1121"/>
                  </a:lnTo>
                  <a:lnTo>
                    <a:pt x="352" y="1119"/>
                  </a:lnTo>
                  <a:lnTo>
                    <a:pt x="339" y="1114"/>
                  </a:lnTo>
                  <a:lnTo>
                    <a:pt x="319" y="1104"/>
                  </a:lnTo>
                  <a:lnTo>
                    <a:pt x="307" y="1099"/>
                  </a:lnTo>
                  <a:lnTo>
                    <a:pt x="298" y="1093"/>
                  </a:lnTo>
                  <a:lnTo>
                    <a:pt x="292" y="1087"/>
                  </a:lnTo>
                  <a:lnTo>
                    <a:pt x="289" y="1084"/>
                  </a:lnTo>
                  <a:lnTo>
                    <a:pt x="285" y="1084"/>
                  </a:lnTo>
                  <a:lnTo>
                    <a:pt x="281" y="1083"/>
                  </a:lnTo>
                  <a:lnTo>
                    <a:pt x="278" y="1083"/>
                  </a:lnTo>
                  <a:lnTo>
                    <a:pt x="277" y="1082"/>
                  </a:lnTo>
                  <a:lnTo>
                    <a:pt x="276" y="1080"/>
                  </a:lnTo>
                  <a:lnTo>
                    <a:pt x="276" y="1077"/>
                  </a:lnTo>
                  <a:lnTo>
                    <a:pt x="262" y="1077"/>
                  </a:lnTo>
                  <a:lnTo>
                    <a:pt x="260" y="1073"/>
                  </a:lnTo>
                  <a:lnTo>
                    <a:pt x="257" y="1070"/>
                  </a:lnTo>
                  <a:lnTo>
                    <a:pt x="254" y="1066"/>
                  </a:lnTo>
                  <a:lnTo>
                    <a:pt x="248" y="1064"/>
                  </a:lnTo>
                  <a:lnTo>
                    <a:pt x="243" y="1063"/>
                  </a:lnTo>
                  <a:lnTo>
                    <a:pt x="238" y="1061"/>
                  </a:lnTo>
                  <a:lnTo>
                    <a:pt x="236" y="1059"/>
                  </a:lnTo>
                  <a:lnTo>
                    <a:pt x="235" y="1056"/>
                  </a:lnTo>
                  <a:lnTo>
                    <a:pt x="220" y="1056"/>
                  </a:lnTo>
                  <a:lnTo>
                    <a:pt x="214" y="1049"/>
                  </a:lnTo>
                  <a:lnTo>
                    <a:pt x="214" y="1045"/>
                  </a:lnTo>
                  <a:lnTo>
                    <a:pt x="215" y="1040"/>
                  </a:lnTo>
                  <a:lnTo>
                    <a:pt x="216" y="1038"/>
                  </a:lnTo>
                  <a:lnTo>
                    <a:pt x="217" y="1037"/>
                  </a:lnTo>
                  <a:lnTo>
                    <a:pt x="218" y="1036"/>
                  </a:lnTo>
                  <a:lnTo>
                    <a:pt x="220" y="1036"/>
                  </a:lnTo>
                  <a:lnTo>
                    <a:pt x="220" y="1028"/>
                  </a:lnTo>
                  <a:lnTo>
                    <a:pt x="223" y="1024"/>
                  </a:lnTo>
                  <a:lnTo>
                    <a:pt x="226" y="1023"/>
                  </a:lnTo>
                  <a:lnTo>
                    <a:pt x="235" y="1023"/>
                  </a:lnTo>
                  <a:lnTo>
                    <a:pt x="235" y="1008"/>
                  </a:lnTo>
                  <a:lnTo>
                    <a:pt x="238" y="1008"/>
                  </a:lnTo>
                  <a:lnTo>
                    <a:pt x="241" y="1007"/>
                  </a:lnTo>
                  <a:lnTo>
                    <a:pt x="245" y="1005"/>
                  </a:lnTo>
                  <a:lnTo>
                    <a:pt x="248" y="1003"/>
                  </a:lnTo>
                  <a:lnTo>
                    <a:pt x="255" y="997"/>
                  </a:lnTo>
                  <a:lnTo>
                    <a:pt x="262" y="991"/>
                  </a:lnTo>
                  <a:lnTo>
                    <a:pt x="267" y="985"/>
                  </a:lnTo>
                  <a:lnTo>
                    <a:pt x="273" y="979"/>
                  </a:lnTo>
                  <a:lnTo>
                    <a:pt x="277" y="976"/>
                  </a:lnTo>
                  <a:lnTo>
                    <a:pt x="283" y="974"/>
                  </a:lnTo>
                  <a:lnTo>
                    <a:pt x="289" y="967"/>
                  </a:lnTo>
                  <a:lnTo>
                    <a:pt x="296" y="960"/>
                  </a:lnTo>
                  <a:lnTo>
                    <a:pt x="296" y="946"/>
                  </a:lnTo>
                  <a:lnTo>
                    <a:pt x="302" y="946"/>
                  </a:lnTo>
                  <a:lnTo>
                    <a:pt x="305" y="943"/>
                  </a:lnTo>
                  <a:lnTo>
                    <a:pt x="310" y="939"/>
                  </a:lnTo>
                  <a:lnTo>
                    <a:pt x="312" y="934"/>
                  </a:lnTo>
                  <a:lnTo>
                    <a:pt x="316" y="926"/>
                  </a:lnTo>
                  <a:lnTo>
                    <a:pt x="317" y="919"/>
                  </a:lnTo>
                  <a:lnTo>
                    <a:pt x="321" y="918"/>
                  </a:lnTo>
                  <a:lnTo>
                    <a:pt x="323" y="918"/>
                  </a:lnTo>
                  <a:lnTo>
                    <a:pt x="324" y="917"/>
                  </a:lnTo>
                  <a:lnTo>
                    <a:pt x="324" y="915"/>
                  </a:lnTo>
                  <a:lnTo>
                    <a:pt x="324" y="914"/>
                  </a:lnTo>
                  <a:lnTo>
                    <a:pt x="325" y="913"/>
                  </a:lnTo>
                  <a:lnTo>
                    <a:pt x="327" y="912"/>
                  </a:lnTo>
                  <a:lnTo>
                    <a:pt x="331" y="912"/>
                  </a:lnTo>
                  <a:lnTo>
                    <a:pt x="332" y="907"/>
                  </a:lnTo>
                  <a:lnTo>
                    <a:pt x="334" y="902"/>
                  </a:lnTo>
                  <a:lnTo>
                    <a:pt x="337" y="899"/>
                  </a:lnTo>
                  <a:lnTo>
                    <a:pt x="341" y="895"/>
                  </a:lnTo>
                  <a:lnTo>
                    <a:pt x="345" y="892"/>
                  </a:lnTo>
                  <a:lnTo>
                    <a:pt x="349" y="890"/>
                  </a:lnTo>
                  <a:lnTo>
                    <a:pt x="351" y="886"/>
                  </a:lnTo>
                  <a:lnTo>
                    <a:pt x="352" y="884"/>
                  </a:lnTo>
                  <a:lnTo>
                    <a:pt x="365" y="884"/>
                  </a:lnTo>
                  <a:lnTo>
                    <a:pt x="372" y="878"/>
                  </a:lnTo>
                  <a:lnTo>
                    <a:pt x="380" y="870"/>
                  </a:lnTo>
                  <a:lnTo>
                    <a:pt x="379" y="865"/>
                  </a:lnTo>
                  <a:lnTo>
                    <a:pt x="379" y="861"/>
                  </a:lnTo>
                  <a:lnTo>
                    <a:pt x="378" y="859"/>
                  </a:lnTo>
                  <a:lnTo>
                    <a:pt x="377" y="857"/>
                  </a:lnTo>
                  <a:lnTo>
                    <a:pt x="374" y="856"/>
                  </a:lnTo>
                  <a:lnTo>
                    <a:pt x="372" y="856"/>
                  </a:lnTo>
                  <a:lnTo>
                    <a:pt x="372" y="843"/>
                  </a:lnTo>
                  <a:lnTo>
                    <a:pt x="365" y="836"/>
                  </a:lnTo>
                  <a:lnTo>
                    <a:pt x="355" y="830"/>
                  </a:lnTo>
                  <a:lnTo>
                    <a:pt x="345" y="824"/>
                  </a:lnTo>
                  <a:lnTo>
                    <a:pt x="337" y="822"/>
                  </a:lnTo>
                  <a:lnTo>
                    <a:pt x="337" y="818"/>
                  </a:lnTo>
                  <a:lnTo>
                    <a:pt x="336" y="816"/>
                  </a:lnTo>
                  <a:lnTo>
                    <a:pt x="335" y="815"/>
                  </a:lnTo>
                  <a:lnTo>
                    <a:pt x="334" y="815"/>
                  </a:lnTo>
                  <a:lnTo>
                    <a:pt x="333" y="815"/>
                  </a:lnTo>
                  <a:lnTo>
                    <a:pt x="332" y="814"/>
                  </a:lnTo>
                  <a:lnTo>
                    <a:pt x="331" y="812"/>
                  </a:lnTo>
                  <a:lnTo>
                    <a:pt x="331" y="808"/>
                  </a:lnTo>
                  <a:lnTo>
                    <a:pt x="311" y="808"/>
                  </a:lnTo>
                  <a:lnTo>
                    <a:pt x="310" y="805"/>
                  </a:lnTo>
                  <a:lnTo>
                    <a:pt x="308" y="803"/>
                  </a:lnTo>
                  <a:lnTo>
                    <a:pt x="305" y="801"/>
                  </a:lnTo>
                  <a:lnTo>
                    <a:pt x="303" y="798"/>
                  </a:lnTo>
                  <a:lnTo>
                    <a:pt x="296" y="795"/>
                  </a:lnTo>
                  <a:lnTo>
                    <a:pt x="289" y="794"/>
                  </a:lnTo>
                  <a:lnTo>
                    <a:pt x="289" y="780"/>
                  </a:lnTo>
                  <a:lnTo>
                    <a:pt x="286" y="780"/>
                  </a:lnTo>
                  <a:lnTo>
                    <a:pt x="284" y="779"/>
                  </a:lnTo>
                  <a:lnTo>
                    <a:pt x="283" y="778"/>
                  </a:lnTo>
                  <a:lnTo>
                    <a:pt x="283" y="777"/>
                  </a:lnTo>
                  <a:lnTo>
                    <a:pt x="283" y="776"/>
                  </a:lnTo>
                  <a:lnTo>
                    <a:pt x="282" y="775"/>
                  </a:lnTo>
                  <a:lnTo>
                    <a:pt x="279" y="774"/>
                  </a:lnTo>
                  <a:lnTo>
                    <a:pt x="276" y="774"/>
                  </a:lnTo>
                  <a:lnTo>
                    <a:pt x="269" y="767"/>
                  </a:lnTo>
                  <a:lnTo>
                    <a:pt x="265" y="756"/>
                  </a:lnTo>
                  <a:lnTo>
                    <a:pt x="262" y="746"/>
                  </a:lnTo>
                  <a:lnTo>
                    <a:pt x="258" y="746"/>
                  </a:lnTo>
                  <a:lnTo>
                    <a:pt x="256" y="745"/>
                  </a:lnTo>
                  <a:lnTo>
                    <a:pt x="255" y="744"/>
                  </a:lnTo>
                  <a:lnTo>
                    <a:pt x="255" y="742"/>
                  </a:lnTo>
                  <a:lnTo>
                    <a:pt x="255" y="741"/>
                  </a:lnTo>
                  <a:lnTo>
                    <a:pt x="254" y="740"/>
                  </a:lnTo>
                  <a:lnTo>
                    <a:pt x="253" y="739"/>
                  </a:lnTo>
                  <a:lnTo>
                    <a:pt x="248" y="739"/>
                  </a:lnTo>
                  <a:lnTo>
                    <a:pt x="248" y="726"/>
                  </a:lnTo>
                  <a:lnTo>
                    <a:pt x="235" y="726"/>
                  </a:lnTo>
                  <a:lnTo>
                    <a:pt x="234" y="721"/>
                  </a:lnTo>
                  <a:lnTo>
                    <a:pt x="234" y="719"/>
                  </a:lnTo>
                  <a:lnTo>
                    <a:pt x="233" y="718"/>
                  </a:lnTo>
                  <a:lnTo>
                    <a:pt x="231" y="718"/>
                  </a:lnTo>
                  <a:lnTo>
                    <a:pt x="229" y="718"/>
                  </a:lnTo>
                  <a:lnTo>
                    <a:pt x="228" y="718"/>
                  </a:lnTo>
                  <a:lnTo>
                    <a:pt x="228" y="716"/>
                  </a:lnTo>
                  <a:lnTo>
                    <a:pt x="227" y="711"/>
                  </a:lnTo>
                  <a:lnTo>
                    <a:pt x="220" y="711"/>
                  </a:lnTo>
                  <a:lnTo>
                    <a:pt x="211" y="710"/>
                  </a:lnTo>
                  <a:lnTo>
                    <a:pt x="207" y="710"/>
                  </a:lnTo>
                  <a:lnTo>
                    <a:pt x="204" y="709"/>
                  </a:lnTo>
                  <a:lnTo>
                    <a:pt x="200" y="707"/>
                  </a:lnTo>
                  <a:lnTo>
                    <a:pt x="200" y="705"/>
                  </a:lnTo>
                  <a:lnTo>
                    <a:pt x="166" y="703"/>
                  </a:lnTo>
                  <a:lnTo>
                    <a:pt x="126" y="701"/>
                  </a:lnTo>
                  <a:lnTo>
                    <a:pt x="86" y="699"/>
                  </a:lnTo>
                  <a:lnTo>
                    <a:pt x="48" y="698"/>
                  </a:lnTo>
                  <a:lnTo>
                    <a:pt x="47" y="696"/>
                  </a:lnTo>
                  <a:lnTo>
                    <a:pt x="46" y="692"/>
                  </a:lnTo>
                  <a:lnTo>
                    <a:pt x="44" y="690"/>
                  </a:lnTo>
                  <a:lnTo>
                    <a:pt x="41" y="688"/>
                  </a:lnTo>
                  <a:lnTo>
                    <a:pt x="36" y="686"/>
                  </a:lnTo>
                  <a:lnTo>
                    <a:pt x="34" y="683"/>
                  </a:lnTo>
                  <a:lnTo>
                    <a:pt x="34" y="679"/>
                  </a:lnTo>
                  <a:lnTo>
                    <a:pt x="33" y="674"/>
                  </a:lnTo>
                  <a:lnTo>
                    <a:pt x="33" y="672"/>
                  </a:lnTo>
                  <a:lnTo>
                    <a:pt x="32" y="671"/>
                  </a:lnTo>
                  <a:lnTo>
                    <a:pt x="29" y="670"/>
                  </a:lnTo>
                  <a:lnTo>
                    <a:pt x="27" y="670"/>
                  </a:lnTo>
                  <a:lnTo>
                    <a:pt x="26" y="661"/>
                  </a:lnTo>
                  <a:lnTo>
                    <a:pt x="24" y="653"/>
                  </a:lnTo>
                  <a:lnTo>
                    <a:pt x="22" y="644"/>
                  </a:lnTo>
                  <a:lnTo>
                    <a:pt x="20" y="635"/>
                  </a:lnTo>
                  <a:lnTo>
                    <a:pt x="16" y="635"/>
                  </a:lnTo>
                  <a:lnTo>
                    <a:pt x="10" y="635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7" name="Freeform 20">
              <a:extLst>
                <a:ext uri="{FF2B5EF4-FFF2-40B4-BE49-F238E27FC236}">
                  <a16:creationId xmlns:a16="http://schemas.microsoft.com/office/drawing/2014/main" id="{1EF19955-B15A-4880-83C6-C208F61588DD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397750" y="4044950"/>
              <a:ext cx="346956" cy="195263"/>
            </a:xfrm>
            <a:custGeom>
              <a:avLst/>
              <a:gdLst/>
              <a:ahLst/>
              <a:cxnLst>
                <a:cxn ang="0">
                  <a:pos x="362" y="4"/>
                </a:cxn>
                <a:cxn ang="0">
                  <a:pos x="403" y="15"/>
                </a:cxn>
                <a:cxn ang="0">
                  <a:pos x="583" y="40"/>
                </a:cxn>
                <a:cxn ang="0">
                  <a:pos x="743" y="81"/>
                </a:cxn>
                <a:cxn ang="0">
                  <a:pos x="1217" y="119"/>
                </a:cxn>
                <a:cxn ang="0">
                  <a:pos x="1214" y="260"/>
                </a:cxn>
                <a:cxn ang="0">
                  <a:pos x="1231" y="375"/>
                </a:cxn>
                <a:cxn ang="0">
                  <a:pos x="1367" y="428"/>
                </a:cxn>
                <a:cxn ang="0">
                  <a:pos x="1416" y="447"/>
                </a:cxn>
                <a:cxn ang="0">
                  <a:pos x="1463" y="476"/>
                </a:cxn>
                <a:cxn ang="0">
                  <a:pos x="1515" y="502"/>
                </a:cxn>
                <a:cxn ang="0">
                  <a:pos x="1558" y="520"/>
                </a:cxn>
                <a:cxn ang="0">
                  <a:pos x="1601" y="552"/>
                </a:cxn>
                <a:cxn ang="0">
                  <a:pos x="1624" y="621"/>
                </a:cxn>
                <a:cxn ang="0">
                  <a:pos x="1659" y="684"/>
                </a:cxn>
                <a:cxn ang="0">
                  <a:pos x="1723" y="737"/>
                </a:cxn>
                <a:cxn ang="0">
                  <a:pos x="1756" y="761"/>
                </a:cxn>
                <a:cxn ang="0">
                  <a:pos x="1813" y="796"/>
                </a:cxn>
                <a:cxn ang="0">
                  <a:pos x="1896" y="848"/>
                </a:cxn>
                <a:cxn ang="0">
                  <a:pos x="1910" y="886"/>
                </a:cxn>
                <a:cxn ang="0">
                  <a:pos x="1839" y="1077"/>
                </a:cxn>
                <a:cxn ang="0">
                  <a:pos x="1681" y="1099"/>
                </a:cxn>
                <a:cxn ang="0">
                  <a:pos x="1654" y="1112"/>
                </a:cxn>
                <a:cxn ang="0">
                  <a:pos x="1607" y="1144"/>
                </a:cxn>
                <a:cxn ang="0">
                  <a:pos x="1551" y="1174"/>
                </a:cxn>
                <a:cxn ang="0">
                  <a:pos x="1523" y="1214"/>
                </a:cxn>
                <a:cxn ang="0">
                  <a:pos x="1489" y="1148"/>
                </a:cxn>
                <a:cxn ang="0">
                  <a:pos x="1457" y="1093"/>
                </a:cxn>
                <a:cxn ang="0">
                  <a:pos x="1437" y="1076"/>
                </a:cxn>
                <a:cxn ang="0">
                  <a:pos x="1409" y="1076"/>
                </a:cxn>
                <a:cxn ang="0">
                  <a:pos x="1371" y="1107"/>
                </a:cxn>
                <a:cxn ang="0">
                  <a:pos x="1331" y="1127"/>
                </a:cxn>
                <a:cxn ang="0">
                  <a:pos x="1197" y="1100"/>
                </a:cxn>
                <a:cxn ang="0">
                  <a:pos x="1150" y="1028"/>
                </a:cxn>
                <a:cxn ang="0">
                  <a:pos x="1103" y="969"/>
                </a:cxn>
                <a:cxn ang="0">
                  <a:pos x="891" y="957"/>
                </a:cxn>
                <a:cxn ang="0">
                  <a:pos x="853" y="938"/>
                </a:cxn>
                <a:cxn ang="0">
                  <a:pos x="713" y="954"/>
                </a:cxn>
                <a:cxn ang="0">
                  <a:pos x="621" y="934"/>
                </a:cxn>
                <a:cxn ang="0">
                  <a:pos x="589" y="870"/>
                </a:cxn>
                <a:cxn ang="0">
                  <a:pos x="533" y="858"/>
                </a:cxn>
                <a:cxn ang="0">
                  <a:pos x="359" y="886"/>
                </a:cxn>
                <a:cxn ang="0">
                  <a:pos x="313" y="879"/>
                </a:cxn>
                <a:cxn ang="0">
                  <a:pos x="271" y="871"/>
                </a:cxn>
                <a:cxn ang="0">
                  <a:pos x="194" y="874"/>
                </a:cxn>
                <a:cxn ang="0">
                  <a:pos x="131" y="852"/>
                </a:cxn>
                <a:cxn ang="0">
                  <a:pos x="108" y="838"/>
                </a:cxn>
                <a:cxn ang="0">
                  <a:pos x="76" y="820"/>
                </a:cxn>
                <a:cxn ang="0">
                  <a:pos x="45" y="784"/>
                </a:cxn>
                <a:cxn ang="0">
                  <a:pos x="11" y="620"/>
                </a:cxn>
                <a:cxn ang="0">
                  <a:pos x="44" y="560"/>
                </a:cxn>
                <a:cxn ang="0">
                  <a:pos x="73" y="522"/>
                </a:cxn>
                <a:cxn ang="0">
                  <a:pos x="110" y="486"/>
                </a:cxn>
                <a:cxn ang="0">
                  <a:pos x="149" y="467"/>
                </a:cxn>
                <a:cxn ang="0">
                  <a:pos x="195" y="436"/>
                </a:cxn>
                <a:cxn ang="0">
                  <a:pos x="233" y="386"/>
                </a:cxn>
                <a:cxn ang="0">
                  <a:pos x="283" y="352"/>
                </a:cxn>
                <a:cxn ang="0">
                  <a:pos x="312" y="314"/>
                </a:cxn>
                <a:cxn ang="0">
                  <a:pos x="321" y="237"/>
                </a:cxn>
                <a:cxn ang="0">
                  <a:pos x="324" y="186"/>
                </a:cxn>
                <a:cxn ang="0">
                  <a:pos x="354" y="150"/>
                </a:cxn>
                <a:cxn ang="0">
                  <a:pos x="357" y="77"/>
                </a:cxn>
                <a:cxn ang="0">
                  <a:pos x="341" y="21"/>
                </a:cxn>
              </a:cxnLst>
              <a:rect l="0" t="0" r="r" b="b"/>
              <a:pathLst>
                <a:path w="1910" h="1217">
                  <a:moveTo>
                    <a:pt x="325" y="5"/>
                  </a:moveTo>
                  <a:lnTo>
                    <a:pt x="332" y="2"/>
                  </a:lnTo>
                  <a:lnTo>
                    <a:pt x="340" y="1"/>
                  </a:lnTo>
                  <a:lnTo>
                    <a:pt x="348" y="0"/>
                  </a:lnTo>
                  <a:lnTo>
                    <a:pt x="357" y="0"/>
                  </a:lnTo>
                  <a:lnTo>
                    <a:pt x="357" y="1"/>
                  </a:lnTo>
                  <a:lnTo>
                    <a:pt x="358" y="2"/>
                  </a:lnTo>
                  <a:lnTo>
                    <a:pt x="360" y="3"/>
                  </a:lnTo>
                  <a:lnTo>
                    <a:pt x="362" y="4"/>
                  </a:lnTo>
                  <a:lnTo>
                    <a:pt x="368" y="4"/>
                  </a:lnTo>
                  <a:lnTo>
                    <a:pt x="374" y="5"/>
                  </a:lnTo>
                  <a:lnTo>
                    <a:pt x="381" y="5"/>
                  </a:lnTo>
                  <a:lnTo>
                    <a:pt x="387" y="7"/>
                  </a:lnTo>
                  <a:lnTo>
                    <a:pt x="389" y="9"/>
                  </a:lnTo>
                  <a:lnTo>
                    <a:pt x="391" y="10"/>
                  </a:lnTo>
                  <a:lnTo>
                    <a:pt x="392" y="12"/>
                  </a:lnTo>
                  <a:lnTo>
                    <a:pt x="392" y="14"/>
                  </a:lnTo>
                  <a:lnTo>
                    <a:pt x="403" y="15"/>
                  </a:lnTo>
                  <a:lnTo>
                    <a:pt x="417" y="19"/>
                  </a:lnTo>
                  <a:lnTo>
                    <a:pt x="424" y="21"/>
                  </a:lnTo>
                  <a:lnTo>
                    <a:pt x="429" y="23"/>
                  </a:lnTo>
                  <a:lnTo>
                    <a:pt x="432" y="26"/>
                  </a:lnTo>
                  <a:lnTo>
                    <a:pt x="434" y="30"/>
                  </a:lnTo>
                  <a:lnTo>
                    <a:pt x="467" y="32"/>
                  </a:lnTo>
                  <a:lnTo>
                    <a:pt x="504" y="35"/>
                  </a:lnTo>
                  <a:lnTo>
                    <a:pt x="544" y="39"/>
                  </a:lnTo>
                  <a:lnTo>
                    <a:pt x="583" y="40"/>
                  </a:lnTo>
                  <a:lnTo>
                    <a:pt x="593" y="43"/>
                  </a:lnTo>
                  <a:lnTo>
                    <a:pt x="618" y="48"/>
                  </a:lnTo>
                  <a:lnTo>
                    <a:pt x="643" y="53"/>
                  </a:lnTo>
                  <a:lnTo>
                    <a:pt x="660" y="55"/>
                  </a:lnTo>
                  <a:lnTo>
                    <a:pt x="676" y="60"/>
                  </a:lnTo>
                  <a:lnTo>
                    <a:pt x="700" y="69"/>
                  </a:lnTo>
                  <a:lnTo>
                    <a:pt x="723" y="78"/>
                  </a:lnTo>
                  <a:lnTo>
                    <a:pt x="732" y="81"/>
                  </a:lnTo>
                  <a:lnTo>
                    <a:pt x="743" y="81"/>
                  </a:lnTo>
                  <a:lnTo>
                    <a:pt x="745" y="86"/>
                  </a:lnTo>
                  <a:lnTo>
                    <a:pt x="753" y="90"/>
                  </a:lnTo>
                  <a:lnTo>
                    <a:pt x="756" y="92"/>
                  </a:lnTo>
                  <a:lnTo>
                    <a:pt x="760" y="96"/>
                  </a:lnTo>
                  <a:lnTo>
                    <a:pt x="762" y="98"/>
                  </a:lnTo>
                  <a:lnTo>
                    <a:pt x="763" y="102"/>
                  </a:lnTo>
                  <a:lnTo>
                    <a:pt x="1215" y="107"/>
                  </a:lnTo>
                  <a:lnTo>
                    <a:pt x="1215" y="117"/>
                  </a:lnTo>
                  <a:lnTo>
                    <a:pt x="1217" y="119"/>
                  </a:lnTo>
                  <a:lnTo>
                    <a:pt x="1218" y="122"/>
                  </a:lnTo>
                  <a:lnTo>
                    <a:pt x="1219" y="128"/>
                  </a:lnTo>
                  <a:lnTo>
                    <a:pt x="1219" y="135"/>
                  </a:lnTo>
                  <a:lnTo>
                    <a:pt x="1219" y="154"/>
                  </a:lnTo>
                  <a:lnTo>
                    <a:pt x="1219" y="175"/>
                  </a:lnTo>
                  <a:lnTo>
                    <a:pt x="1217" y="215"/>
                  </a:lnTo>
                  <a:lnTo>
                    <a:pt x="1215" y="235"/>
                  </a:lnTo>
                  <a:lnTo>
                    <a:pt x="1214" y="244"/>
                  </a:lnTo>
                  <a:lnTo>
                    <a:pt x="1214" y="260"/>
                  </a:lnTo>
                  <a:lnTo>
                    <a:pt x="1214" y="281"/>
                  </a:lnTo>
                  <a:lnTo>
                    <a:pt x="1215" y="303"/>
                  </a:lnTo>
                  <a:lnTo>
                    <a:pt x="1218" y="327"/>
                  </a:lnTo>
                  <a:lnTo>
                    <a:pt x="1222" y="346"/>
                  </a:lnTo>
                  <a:lnTo>
                    <a:pt x="1223" y="353"/>
                  </a:lnTo>
                  <a:lnTo>
                    <a:pt x="1225" y="359"/>
                  </a:lnTo>
                  <a:lnTo>
                    <a:pt x="1228" y="362"/>
                  </a:lnTo>
                  <a:lnTo>
                    <a:pt x="1231" y="365"/>
                  </a:lnTo>
                  <a:lnTo>
                    <a:pt x="1231" y="375"/>
                  </a:lnTo>
                  <a:lnTo>
                    <a:pt x="1241" y="381"/>
                  </a:lnTo>
                  <a:lnTo>
                    <a:pt x="1259" y="396"/>
                  </a:lnTo>
                  <a:lnTo>
                    <a:pt x="1267" y="404"/>
                  </a:lnTo>
                  <a:lnTo>
                    <a:pt x="1275" y="411"/>
                  </a:lnTo>
                  <a:lnTo>
                    <a:pt x="1280" y="417"/>
                  </a:lnTo>
                  <a:lnTo>
                    <a:pt x="1282" y="420"/>
                  </a:lnTo>
                  <a:lnTo>
                    <a:pt x="1308" y="422"/>
                  </a:lnTo>
                  <a:lnTo>
                    <a:pt x="1347" y="425"/>
                  </a:lnTo>
                  <a:lnTo>
                    <a:pt x="1367" y="428"/>
                  </a:lnTo>
                  <a:lnTo>
                    <a:pt x="1385" y="432"/>
                  </a:lnTo>
                  <a:lnTo>
                    <a:pt x="1391" y="434"/>
                  </a:lnTo>
                  <a:lnTo>
                    <a:pt x="1396" y="436"/>
                  </a:lnTo>
                  <a:lnTo>
                    <a:pt x="1399" y="438"/>
                  </a:lnTo>
                  <a:lnTo>
                    <a:pt x="1400" y="442"/>
                  </a:lnTo>
                  <a:lnTo>
                    <a:pt x="1410" y="442"/>
                  </a:lnTo>
                  <a:lnTo>
                    <a:pt x="1411" y="443"/>
                  </a:lnTo>
                  <a:lnTo>
                    <a:pt x="1414" y="445"/>
                  </a:lnTo>
                  <a:lnTo>
                    <a:pt x="1416" y="447"/>
                  </a:lnTo>
                  <a:lnTo>
                    <a:pt x="1419" y="448"/>
                  </a:lnTo>
                  <a:lnTo>
                    <a:pt x="1426" y="451"/>
                  </a:lnTo>
                  <a:lnTo>
                    <a:pt x="1432" y="452"/>
                  </a:lnTo>
                  <a:lnTo>
                    <a:pt x="1432" y="455"/>
                  </a:lnTo>
                  <a:lnTo>
                    <a:pt x="1434" y="458"/>
                  </a:lnTo>
                  <a:lnTo>
                    <a:pt x="1437" y="462"/>
                  </a:lnTo>
                  <a:lnTo>
                    <a:pt x="1442" y="465"/>
                  </a:lnTo>
                  <a:lnTo>
                    <a:pt x="1451" y="472"/>
                  </a:lnTo>
                  <a:lnTo>
                    <a:pt x="1463" y="476"/>
                  </a:lnTo>
                  <a:lnTo>
                    <a:pt x="1474" y="482"/>
                  </a:lnTo>
                  <a:lnTo>
                    <a:pt x="1484" y="487"/>
                  </a:lnTo>
                  <a:lnTo>
                    <a:pt x="1487" y="490"/>
                  </a:lnTo>
                  <a:lnTo>
                    <a:pt x="1491" y="492"/>
                  </a:lnTo>
                  <a:lnTo>
                    <a:pt x="1493" y="495"/>
                  </a:lnTo>
                  <a:lnTo>
                    <a:pt x="1493" y="497"/>
                  </a:lnTo>
                  <a:lnTo>
                    <a:pt x="1509" y="497"/>
                  </a:lnTo>
                  <a:lnTo>
                    <a:pt x="1511" y="500"/>
                  </a:lnTo>
                  <a:lnTo>
                    <a:pt x="1515" y="502"/>
                  </a:lnTo>
                  <a:lnTo>
                    <a:pt x="1522" y="504"/>
                  </a:lnTo>
                  <a:lnTo>
                    <a:pt x="1529" y="506"/>
                  </a:lnTo>
                  <a:lnTo>
                    <a:pt x="1537" y="509"/>
                  </a:lnTo>
                  <a:lnTo>
                    <a:pt x="1543" y="512"/>
                  </a:lnTo>
                  <a:lnTo>
                    <a:pt x="1545" y="513"/>
                  </a:lnTo>
                  <a:lnTo>
                    <a:pt x="1548" y="515"/>
                  </a:lnTo>
                  <a:lnTo>
                    <a:pt x="1549" y="516"/>
                  </a:lnTo>
                  <a:lnTo>
                    <a:pt x="1550" y="519"/>
                  </a:lnTo>
                  <a:lnTo>
                    <a:pt x="1558" y="520"/>
                  </a:lnTo>
                  <a:lnTo>
                    <a:pt x="1567" y="522"/>
                  </a:lnTo>
                  <a:lnTo>
                    <a:pt x="1570" y="524"/>
                  </a:lnTo>
                  <a:lnTo>
                    <a:pt x="1573" y="528"/>
                  </a:lnTo>
                  <a:lnTo>
                    <a:pt x="1574" y="530"/>
                  </a:lnTo>
                  <a:lnTo>
                    <a:pt x="1576" y="534"/>
                  </a:lnTo>
                  <a:lnTo>
                    <a:pt x="1586" y="534"/>
                  </a:lnTo>
                  <a:lnTo>
                    <a:pt x="1588" y="539"/>
                  </a:lnTo>
                  <a:lnTo>
                    <a:pt x="1595" y="547"/>
                  </a:lnTo>
                  <a:lnTo>
                    <a:pt x="1601" y="552"/>
                  </a:lnTo>
                  <a:lnTo>
                    <a:pt x="1607" y="554"/>
                  </a:lnTo>
                  <a:lnTo>
                    <a:pt x="1607" y="564"/>
                  </a:lnTo>
                  <a:lnTo>
                    <a:pt x="1608" y="565"/>
                  </a:lnTo>
                  <a:lnTo>
                    <a:pt x="1610" y="568"/>
                  </a:lnTo>
                  <a:lnTo>
                    <a:pt x="1611" y="572"/>
                  </a:lnTo>
                  <a:lnTo>
                    <a:pt x="1614" y="578"/>
                  </a:lnTo>
                  <a:lnTo>
                    <a:pt x="1617" y="591"/>
                  </a:lnTo>
                  <a:lnTo>
                    <a:pt x="1620" y="606"/>
                  </a:lnTo>
                  <a:lnTo>
                    <a:pt x="1624" y="621"/>
                  </a:lnTo>
                  <a:lnTo>
                    <a:pt x="1627" y="634"/>
                  </a:lnTo>
                  <a:lnTo>
                    <a:pt x="1629" y="639"/>
                  </a:lnTo>
                  <a:lnTo>
                    <a:pt x="1631" y="644"/>
                  </a:lnTo>
                  <a:lnTo>
                    <a:pt x="1635" y="646"/>
                  </a:lnTo>
                  <a:lnTo>
                    <a:pt x="1637" y="647"/>
                  </a:lnTo>
                  <a:lnTo>
                    <a:pt x="1637" y="663"/>
                  </a:lnTo>
                  <a:lnTo>
                    <a:pt x="1643" y="665"/>
                  </a:lnTo>
                  <a:lnTo>
                    <a:pt x="1650" y="673"/>
                  </a:lnTo>
                  <a:lnTo>
                    <a:pt x="1659" y="684"/>
                  </a:lnTo>
                  <a:lnTo>
                    <a:pt x="1670" y="696"/>
                  </a:lnTo>
                  <a:lnTo>
                    <a:pt x="1683" y="708"/>
                  </a:lnTo>
                  <a:lnTo>
                    <a:pt x="1695" y="718"/>
                  </a:lnTo>
                  <a:lnTo>
                    <a:pt x="1702" y="723"/>
                  </a:lnTo>
                  <a:lnTo>
                    <a:pt x="1707" y="726"/>
                  </a:lnTo>
                  <a:lnTo>
                    <a:pt x="1714" y="728"/>
                  </a:lnTo>
                  <a:lnTo>
                    <a:pt x="1720" y="730"/>
                  </a:lnTo>
                  <a:lnTo>
                    <a:pt x="1721" y="734"/>
                  </a:lnTo>
                  <a:lnTo>
                    <a:pt x="1723" y="737"/>
                  </a:lnTo>
                  <a:lnTo>
                    <a:pt x="1726" y="740"/>
                  </a:lnTo>
                  <a:lnTo>
                    <a:pt x="1730" y="742"/>
                  </a:lnTo>
                  <a:lnTo>
                    <a:pt x="1733" y="744"/>
                  </a:lnTo>
                  <a:lnTo>
                    <a:pt x="1736" y="746"/>
                  </a:lnTo>
                  <a:lnTo>
                    <a:pt x="1739" y="750"/>
                  </a:lnTo>
                  <a:lnTo>
                    <a:pt x="1740" y="755"/>
                  </a:lnTo>
                  <a:lnTo>
                    <a:pt x="1751" y="755"/>
                  </a:lnTo>
                  <a:lnTo>
                    <a:pt x="1752" y="757"/>
                  </a:lnTo>
                  <a:lnTo>
                    <a:pt x="1756" y="761"/>
                  </a:lnTo>
                  <a:lnTo>
                    <a:pt x="1763" y="765"/>
                  </a:lnTo>
                  <a:lnTo>
                    <a:pt x="1771" y="771"/>
                  </a:lnTo>
                  <a:lnTo>
                    <a:pt x="1779" y="775"/>
                  </a:lnTo>
                  <a:lnTo>
                    <a:pt x="1785" y="780"/>
                  </a:lnTo>
                  <a:lnTo>
                    <a:pt x="1790" y="783"/>
                  </a:lnTo>
                  <a:lnTo>
                    <a:pt x="1791" y="785"/>
                  </a:lnTo>
                  <a:lnTo>
                    <a:pt x="1802" y="785"/>
                  </a:lnTo>
                  <a:lnTo>
                    <a:pt x="1804" y="790"/>
                  </a:lnTo>
                  <a:lnTo>
                    <a:pt x="1813" y="796"/>
                  </a:lnTo>
                  <a:lnTo>
                    <a:pt x="1826" y="805"/>
                  </a:lnTo>
                  <a:lnTo>
                    <a:pt x="1840" y="815"/>
                  </a:lnTo>
                  <a:lnTo>
                    <a:pt x="1855" y="826"/>
                  </a:lnTo>
                  <a:lnTo>
                    <a:pt x="1869" y="834"/>
                  </a:lnTo>
                  <a:lnTo>
                    <a:pt x="1881" y="840"/>
                  </a:lnTo>
                  <a:lnTo>
                    <a:pt x="1889" y="842"/>
                  </a:lnTo>
                  <a:lnTo>
                    <a:pt x="1890" y="846"/>
                  </a:lnTo>
                  <a:lnTo>
                    <a:pt x="1893" y="847"/>
                  </a:lnTo>
                  <a:lnTo>
                    <a:pt x="1896" y="848"/>
                  </a:lnTo>
                  <a:lnTo>
                    <a:pt x="1899" y="848"/>
                  </a:lnTo>
                  <a:lnTo>
                    <a:pt x="1902" y="858"/>
                  </a:lnTo>
                  <a:lnTo>
                    <a:pt x="1905" y="868"/>
                  </a:lnTo>
                  <a:lnTo>
                    <a:pt x="1906" y="868"/>
                  </a:lnTo>
                  <a:lnTo>
                    <a:pt x="1908" y="869"/>
                  </a:lnTo>
                  <a:lnTo>
                    <a:pt x="1909" y="871"/>
                  </a:lnTo>
                  <a:lnTo>
                    <a:pt x="1909" y="872"/>
                  </a:lnTo>
                  <a:lnTo>
                    <a:pt x="1910" y="878"/>
                  </a:lnTo>
                  <a:lnTo>
                    <a:pt x="1910" y="886"/>
                  </a:lnTo>
                  <a:lnTo>
                    <a:pt x="1908" y="904"/>
                  </a:lnTo>
                  <a:lnTo>
                    <a:pt x="1905" y="925"/>
                  </a:lnTo>
                  <a:lnTo>
                    <a:pt x="1895" y="966"/>
                  </a:lnTo>
                  <a:lnTo>
                    <a:pt x="1889" y="986"/>
                  </a:lnTo>
                  <a:lnTo>
                    <a:pt x="1881" y="1005"/>
                  </a:lnTo>
                  <a:lnTo>
                    <a:pt x="1875" y="1026"/>
                  </a:lnTo>
                  <a:lnTo>
                    <a:pt x="1868" y="1050"/>
                  </a:lnTo>
                  <a:lnTo>
                    <a:pt x="1861" y="1076"/>
                  </a:lnTo>
                  <a:lnTo>
                    <a:pt x="1839" y="1077"/>
                  </a:lnTo>
                  <a:lnTo>
                    <a:pt x="1814" y="1079"/>
                  </a:lnTo>
                  <a:lnTo>
                    <a:pt x="1791" y="1081"/>
                  </a:lnTo>
                  <a:lnTo>
                    <a:pt x="1766" y="1084"/>
                  </a:lnTo>
                  <a:lnTo>
                    <a:pt x="1743" y="1088"/>
                  </a:lnTo>
                  <a:lnTo>
                    <a:pt x="1721" y="1091"/>
                  </a:lnTo>
                  <a:lnTo>
                    <a:pt x="1701" y="1093"/>
                  </a:lnTo>
                  <a:lnTo>
                    <a:pt x="1682" y="1093"/>
                  </a:lnTo>
                  <a:lnTo>
                    <a:pt x="1681" y="1097"/>
                  </a:lnTo>
                  <a:lnTo>
                    <a:pt x="1681" y="1099"/>
                  </a:lnTo>
                  <a:lnTo>
                    <a:pt x="1679" y="1100"/>
                  </a:lnTo>
                  <a:lnTo>
                    <a:pt x="1678" y="1100"/>
                  </a:lnTo>
                  <a:lnTo>
                    <a:pt x="1677" y="1100"/>
                  </a:lnTo>
                  <a:lnTo>
                    <a:pt x="1676" y="1100"/>
                  </a:lnTo>
                  <a:lnTo>
                    <a:pt x="1675" y="1102"/>
                  </a:lnTo>
                  <a:lnTo>
                    <a:pt x="1675" y="1106"/>
                  </a:lnTo>
                  <a:lnTo>
                    <a:pt x="1669" y="1107"/>
                  </a:lnTo>
                  <a:lnTo>
                    <a:pt x="1662" y="1109"/>
                  </a:lnTo>
                  <a:lnTo>
                    <a:pt x="1654" y="1112"/>
                  </a:lnTo>
                  <a:lnTo>
                    <a:pt x="1646" y="1117"/>
                  </a:lnTo>
                  <a:lnTo>
                    <a:pt x="1638" y="1121"/>
                  </a:lnTo>
                  <a:lnTo>
                    <a:pt x="1631" y="1127"/>
                  </a:lnTo>
                  <a:lnTo>
                    <a:pt x="1629" y="1129"/>
                  </a:lnTo>
                  <a:lnTo>
                    <a:pt x="1627" y="1132"/>
                  </a:lnTo>
                  <a:lnTo>
                    <a:pt x="1626" y="1135"/>
                  </a:lnTo>
                  <a:lnTo>
                    <a:pt x="1625" y="1137"/>
                  </a:lnTo>
                  <a:lnTo>
                    <a:pt x="1612" y="1137"/>
                  </a:lnTo>
                  <a:lnTo>
                    <a:pt x="1607" y="1144"/>
                  </a:lnTo>
                  <a:lnTo>
                    <a:pt x="1607" y="1156"/>
                  </a:lnTo>
                  <a:lnTo>
                    <a:pt x="1595" y="1156"/>
                  </a:lnTo>
                  <a:lnTo>
                    <a:pt x="1592" y="1158"/>
                  </a:lnTo>
                  <a:lnTo>
                    <a:pt x="1588" y="1159"/>
                  </a:lnTo>
                  <a:lnTo>
                    <a:pt x="1582" y="1160"/>
                  </a:lnTo>
                  <a:lnTo>
                    <a:pt x="1574" y="1161"/>
                  </a:lnTo>
                  <a:lnTo>
                    <a:pt x="1560" y="1161"/>
                  </a:lnTo>
                  <a:lnTo>
                    <a:pt x="1551" y="1161"/>
                  </a:lnTo>
                  <a:lnTo>
                    <a:pt x="1551" y="1174"/>
                  </a:lnTo>
                  <a:lnTo>
                    <a:pt x="1549" y="1176"/>
                  </a:lnTo>
                  <a:lnTo>
                    <a:pt x="1548" y="1180"/>
                  </a:lnTo>
                  <a:lnTo>
                    <a:pt x="1547" y="1186"/>
                  </a:lnTo>
                  <a:lnTo>
                    <a:pt x="1545" y="1194"/>
                  </a:lnTo>
                  <a:lnTo>
                    <a:pt x="1544" y="1208"/>
                  </a:lnTo>
                  <a:lnTo>
                    <a:pt x="1544" y="1217"/>
                  </a:lnTo>
                  <a:lnTo>
                    <a:pt x="1537" y="1217"/>
                  </a:lnTo>
                  <a:lnTo>
                    <a:pt x="1529" y="1216"/>
                  </a:lnTo>
                  <a:lnTo>
                    <a:pt x="1523" y="1214"/>
                  </a:lnTo>
                  <a:lnTo>
                    <a:pt x="1518" y="1211"/>
                  </a:lnTo>
                  <a:lnTo>
                    <a:pt x="1507" y="1205"/>
                  </a:lnTo>
                  <a:lnTo>
                    <a:pt x="1495" y="1199"/>
                  </a:lnTo>
                  <a:lnTo>
                    <a:pt x="1495" y="1156"/>
                  </a:lnTo>
                  <a:lnTo>
                    <a:pt x="1493" y="1156"/>
                  </a:lnTo>
                  <a:lnTo>
                    <a:pt x="1492" y="1155"/>
                  </a:lnTo>
                  <a:lnTo>
                    <a:pt x="1491" y="1154"/>
                  </a:lnTo>
                  <a:lnTo>
                    <a:pt x="1490" y="1151"/>
                  </a:lnTo>
                  <a:lnTo>
                    <a:pt x="1489" y="1148"/>
                  </a:lnTo>
                  <a:lnTo>
                    <a:pt x="1489" y="1144"/>
                  </a:lnTo>
                  <a:lnTo>
                    <a:pt x="1483" y="1134"/>
                  </a:lnTo>
                  <a:lnTo>
                    <a:pt x="1476" y="1118"/>
                  </a:lnTo>
                  <a:lnTo>
                    <a:pt x="1474" y="1118"/>
                  </a:lnTo>
                  <a:lnTo>
                    <a:pt x="1471" y="1116"/>
                  </a:lnTo>
                  <a:lnTo>
                    <a:pt x="1467" y="1112"/>
                  </a:lnTo>
                  <a:lnTo>
                    <a:pt x="1465" y="1108"/>
                  </a:lnTo>
                  <a:lnTo>
                    <a:pt x="1459" y="1100"/>
                  </a:lnTo>
                  <a:lnTo>
                    <a:pt x="1457" y="1093"/>
                  </a:lnTo>
                  <a:lnTo>
                    <a:pt x="1454" y="1091"/>
                  </a:lnTo>
                  <a:lnTo>
                    <a:pt x="1451" y="1088"/>
                  </a:lnTo>
                  <a:lnTo>
                    <a:pt x="1448" y="1086"/>
                  </a:lnTo>
                  <a:lnTo>
                    <a:pt x="1446" y="1083"/>
                  </a:lnTo>
                  <a:lnTo>
                    <a:pt x="1443" y="1082"/>
                  </a:lnTo>
                  <a:lnTo>
                    <a:pt x="1439" y="1081"/>
                  </a:lnTo>
                  <a:lnTo>
                    <a:pt x="1438" y="1078"/>
                  </a:lnTo>
                  <a:lnTo>
                    <a:pt x="1438" y="1076"/>
                  </a:lnTo>
                  <a:lnTo>
                    <a:pt x="1437" y="1076"/>
                  </a:lnTo>
                  <a:lnTo>
                    <a:pt x="1436" y="1076"/>
                  </a:lnTo>
                  <a:lnTo>
                    <a:pt x="1435" y="1074"/>
                  </a:lnTo>
                  <a:lnTo>
                    <a:pt x="1434" y="1074"/>
                  </a:lnTo>
                  <a:lnTo>
                    <a:pt x="1433" y="1072"/>
                  </a:lnTo>
                  <a:lnTo>
                    <a:pt x="1433" y="1069"/>
                  </a:lnTo>
                  <a:lnTo>
                    <a:pt x="1426" y="1069"/>
                  </a:lnTo>
                  <a:lnTo>
                    <a:pt x="1420" y="1071"/>
                  </a:lnTo>
                  <a:lnTo>
                    <a:pt x="1414" y="1073"/>
                  </a:lnTo>
                  <a:lnTo>
                    <a:pt x="1409" y="1076"/>
                  </a:lnTo>
                  <a:lnTo>
                    <a:pt x="1399" y="1082"/>
                  </a:lnTo>
                  <a:lnTo>
                    <a:pt x="1389" y="1088"/>
                  </a:lnTo>
                  <a:lnTo>
                    <a:pt x="1388" y="1092"/>
                  </a:lnTo>
                  <a:lnTo>
                    <a:pt x="1386" y="1096"/>
                  </a:lnTo>
                  <a:lnTo>
                    <a:pt x="1381" y="1099"/>
                  </a:lnTo>
                  <a:lnTo>
                    <a:pt x="1377" y="1100"/>
                  </a:lnTo>
                  <a:lnTo>
                    <a:pt x="1376" y="1102"/>
                  </a:lnTo>
                  <a:lnTo>
                    <a:pt x="1374" y="1105"/>
                  </a:lnTo>
                  <a:lnTo>
                    <a:pt x="1371" y="1107"/>
                  </a:lnTo>
                  <a:lnTo>
                    <a:pt x="1367" y="1108"/>
                  </a:lnTo>
                  <a:lnTo>
                    <a:pt x="1359" y="1111"/>
                  </a:lnTo>
                  <a:lnTo>
                    <a:pt x="1352" y="1112"/>
                  </a:lnTo>
                  <a:lnTo>
                    <a:pt x="1352" y="1115"/>
                  </a:lnTo>
                  <a:lnTo>
                    <a:pt x="1351" y="1118"/>
                  </a:lnTo>
                  <a:lnTo>
                    <a:pt x="1349" y="1120"/>
                  </a:lnTo>
                  <a:lnTo>
                    <a:pt x="1347" y="1121"/>
                  </a:lnTo>
                  <a:lnTo>
                    <a:pt x="1340" y="1125"/>
                  </a:lnTo>
                  <a:lnTo>
                    <a:pt x="1331" y="1127"/>
                  </a:lnTo>
                  <a:lnTo>
                    <a:pt x="1321" y="1129"/>
                  </a:lnTo>
                  <a:lnTo>
                    <a:pt x="1310" y="1130"/>
                  </a:lnTo>
                  <a:lnTo>
                    <a:pt x="1298" y="1130"/>
                  </a:lnTo>
                  <a:lnTo>
                    <a:pt x="1285" y="1130"/>
                  </a:lnTo>
                  <a:lnTo>
                    <a:pt x="1237" y="1127"/>
                  </a:lnTo>
                  <a:lnTo>
                    <a:pt x="1209" y="1125"/>
                  </a:lnTo>
                  <a:lnTo>
                    <a:pt x="1203" y="1118"/>
                  </a:lnTo>
                  <a:lnTo>
                    <a:pt x="1201" y="1109"/>
                  </a:lnTo>
                  <a:lnTo>
                    <a:pt x="1197" y="1100"/>
                  </a:lnTo>
                  <a:lnTo>
                    <a:pt x="1185" y="1088"/>
                  </a:lnTo>
                  <a:lnTo>
                    <a:pt x="1173" y="1076"/>
                  </a:lnTo>
                  <a:lnTo>
                    <a:pt x="1173" y="1062"/>
                  </a:lnTo>
                  <a:lnTo>
                    <a:pt x="1160" y="1057"/>
                  </a:lnTo>
                  <a:lnTo>
                    <a:pt x="1154" y="1050"/>
                  </a:lnTo>
                  <a:lnTo>
                    <a:pt x="1154" y="1041"/>
                  </a:lnTo>
                  <a:lnTo>
                    <a:pt x="1154" y="1032"/>
                  </a:lnTo>
                  <a:lnTo>
                    <a:pt x="1151" y="1031"/>
                  </a:lnTo>
                  <a:lnTo>
                    <a:pt x="1150" y="1028"/>
                  </a:lnTo>
                  <a:lnTo>
                    <a:pt x="1148" y="1024"/>
                  </a:lnTo>
                  <a:lnTo>
                    <a:pt x="1147" y="1019"/>
                  </a:lnTo>
                  <a:lnTo>
                    <a:pt x="1145" y="1014"/>
                  </a:lnTo>
                  <a:lnTo>
                    <a:pt x="1142" y="1011"/>
                  </a:lnTo>
                  <a:lnTo>
                    <a:pt x="1139" y="1007"/>
                  </a:lnTo>
                  <a:lnTo>
                    <a:pt x="1135" y="1006"/>
                  </a:lnTo>
                  <a:lnTo>
                    <a:pt x="1135" y="994"/>
                  </a:lnTo>
                  <a:lnTo>
                    <a:pt x="1119" y="982"/>
                  </a:lnTo>
                  <a:lnTo>
                    <a:pt x="1103" y="969"/>
                  </a:lnTo>
                  <a:lnTo>
                    <a:pt x="1088" y="969"/>
                  </a:lnTo>
                  <a:lnTo>
                    <a:pt x="1060" y="971"/>
                  </a:lnTo>
                  <a:lnTo>
                    <a:pt x="1024" y="971"/>
                  </a:lnTo>
                  <a:lnTo>
                    <a:pt x="986" y="969"/>
                  </a:lnTo>
                  <a:lnTo>
                    <a:pt x="949" y="967"/>
                  </a:lnTo>
                  <a:lnTo>
                    <a:pt x="917" y="964"/>
                  </a:lnTo>
                  <a:lnTo>
                    <a:pt x="905" y="962"/>
                  </a:lnTo>
                  <a:lnTo>
                    <a:pt x="895" y="958"/>
                  </a:lnTo>
                  <a:lnTo>
                    <a:pt x="891" y="957"/>
                  </a:lnTo>
                  <a:lnTo>
                    <a:pt x="889" y="955"/>
                  </a:lnTo>
                  <a:lnTo>
                    <a:pt x="887" y="953"/>
                  </a:lnTo>
                  <a:lnTo>
                    <a:pt x="887" y="951"/>
                  </a:lnTo>
                  <a:lnTo>
                    <a:pt x="881" y="951"/>
                  </a:lnTo>
                  <a:lnTo>
                    <a:pt x="876" y="949"/>
                  </a:lnTo>
                  <a:lnTo>
                    <a:pt x="869" y="947"/>
                  </a:lnTo>
                  <a:lnTo>
                    <a:pt x="863" y="944"/>
                  </a:lnTo>
                  <a:lnTo>
                    <a:pt x="858" y="940"/>
                  </a:lnTo>
                  <a:lnTo>
                    <a:pt x="853" y="938"/>
                  </a:lnTo>
                  <a:lnTo>
                    <a:pt x="851" y="935"/>
                  </a:lnTo>
                  <a:lnTo>
                    <a:pt x="850" y="933"/>
                  </a:lnTo>
                  <a:lnTo>
                    <a:pt x="834" y="933"/>
                  </a:lnTo>
                  <a:lnTo>
                    <a:pt x="820" y="934"/>
                  </a:lnTo>
                  <a:lnTo>
                    <a:pt x="805" y="935"/>
                  </a:lnTo>
                  <a:lnTo>
                    <a:pt x="792" y="937"/>
                  </a:lnTo>
                  <a:lnTo>
                    <a:pt x="765" y="942"/>
                  </a:lnTo>
                  <a:lnTo>
                    <a:pt x="738" y="948"/>
                  </a:lnTo>
                  <a:lnTo>
                    <a:pt x="713" y="954"/>
                  </a:lnTo>
                  <a:lnTo>
                    <a:pt x="686" y="958"/>
                  </a:lnTo>
                  <a:lnTo>
                    <a:pt x="672" y="961"/>
                  </a:lnTo>
                  <a:lnTo>
                    <a:pt x="660" y="962"/>
                  </a:lnTo>
                  <a:lnTo>
                    <a:pt x="646" y="963"/>
                  </a:lnTo>
                  <a:lnTo>
                    <a:pt x="632" y="963"/>
                  </a:lnTo>
                  <a:lnTo>
                    <a:pt x="629" y="951"/>
                  </a:lnTo>
                  <a:lnTo>
                    <a:pt x="626" y="938"/>
                  </a:lnTo>
                  <a:lnTo>
                    <a:pt x="623" y="937"/>
                  </a:lnTo>
                  <a:lnTo>
                    <a:pt x="621" y="934"/>
                  </a:lnTo>
                  <a:lnTo>
                    <a:pt x="619" y="928"/>
                  </a:lnTo>
                  <a:lnTo>
                    <a:pt x="618" y="923"/>
                  </a:lnTo>
                  <a:lnTo>
                    <a:pt x="614" y="909"/>
                  </a:lnTo>
                  <a:lnTo>
                    <a:pt x="613" y="901"/>
                  </a:lnTo>
                  <a:lnTo>
                    <a:pt x="608" y="896"/>
                  </a:lnTo>
                  <a:lnTo>
                    <a:pt x="601" y="889"/>
                  </a:lnTo>
                  <a:lnTo>
                    <a:pt x="594" y="885"/>
                  </a:lnTo>
                  <a:lnTo>
                    <a:pt x="589" y="882"/>
                  </a:lnTo>
                  <a:lnTo>
                    <a:pt x="589" y="870"/>
                  </a:lnTo>
                  <a:lnTo>
                    <a:pt x="582" y="863"/>
                  </a:lnTo>
                  <a:lnTo>
                    <a:pt x="570" y="863"/>
                  </a:lnTo>
                  <a:lnTo>
                    <a:pt x="558" y="863"/>
                  </a:lnTo>
                  <a:lnTo>
                    <a:pt x="558" y="862"/>
                  </a:lnTo>
                  <a:lnTo>
                    <a:pt x="556" y="861"/>
                  </a:lnTo>
                  <a:lnTo>
                    <a:pt x="554" y="860"/>
                  </a:lnTo>
                  <a:lnTo>
                    <a:pt x="551" y="859"/>
                  </a:lnTo>
                  <a:lnTo>
                    <a:pt x="543" y="858"/>
                  </a:lnTo>
                  <a:lnTo>
                    <a:pt x="533" y="858"/>
                  </a:lnTo>
                  <a:lnTo>
                    <a:pt x="506" y="860"/>
                  </a:lnTo>
                  <a:lnTo>
                    <a:pt x="477" y="865"/>
                  </a:lnTo>
                  <a:lnTo>
                    <a:pt x="447" y="869"/>
                  </a:lnTo>
                  <a:lnTo>
                    <a:pt x="421" y="875"/>
                  </a:lnTo>
                  <a:lnTo>
                    <a:pt x="403" y="879"/>
                  </a:lnTo>
                  <a:lnTo>
                    <a:pt x="397" y="882"/>
                  </a:lnTo>
                  <a:lnTo>
                    <a:pt x="384" y="884"/>
                  </a:lnTo>
                  <a:lnTo>
                    <a:pt x="372" y="885"/>
                  </a:lnTo>
                  <a:lnTo>
                    <a:pt x="359" y="886"/>
                  </a:lnTo>
                  <a:lnTo>
                    <a:pt x="344" y="889"/>
                  </a:lnTo>
                  <a:lnTo>
                    <a:pt x="344" y="889"/>
                  </a:lnTo>
                  <a:lnTo>
                    <a:pt x="345" y="890"/>
                  </a:lnTo>
                  <a:lnTo>
                    <a:pt x="344" y="887"/>
                  </a:lnTo>
                  <a:lnTo>
                    <a:pt x="344" y="882"/>
                  </a:lnTo>
                  <a:lnTo>
                    <a:pt x="322" y="882"/>
                  </a:lnTo>
                  <a:lnTo>
                    <a:pt x="321" y="881"/>
                  </a:lnTo>
                  <a:lnTo>
                    <a:pt x="318" y="880"/>
                  </a:lnTo>
                  <a:lnTo>
                    <a:pt x="313" y="879"/>
                  </a:lnTo>
                  <a:lnTo>
                    <a:pt x="307" y="879"/>
                  </a:lnTo>
                  <a:lnTo>
                    <a:pt x="297" y="878"/>
                  </a:lnTo>
                  <a:lnTo>
                    <a:pt x="291" y="878"/>
                  </a:lnTo>
                  <a:lnTo>
                    <a:pt x="290" y="876"/>
                  </a:lnTo>
                  <a:lnTo>
                    <a:pt x="287" y="875"/>
                  </a:lnTo>
                  <a:lnTo>
                    <a:pt x="285" y="874"/>
                  </a:lnTo>
                  <a:lnTo>
                    <a:pt x="282" y="874"/>
                  </a:lnTo>
                  <a:lnTo>
                    <a:pt x="278" y="872"/>
                  </a:lnTo>
                  <a:lnTo>
                    <a:pt x="271" y="871"/>
                  </a:lnTo>
                  <a:lnTo>
                    <a:pt x="259" y="870"/>
                  </a:lnTo>
                  <a:lnTo>
                    <a:pt x="247" y="870"/>
                  </a:lnTo>
                  <a:lnTo>
                    <a:pt x="222" y="869"/>
                  </a:lnTo>
                  <a:lnTo>
                    <a:pt x="206" y="869"/>
                  </a:lnTo>
                  <a:lnTo>
                    <a:pt x="205" y="871"/>
                  </a:lnTo>
                  <a:lnTo>
                    <a:pt x="204" y="872"/>
                  </a:lnTo>
                  <a:lnTo>
                    <a:pt x="203" y="872"/>
                  </a:lnTo>
                  <a:lnTo>
                    <a:pt x="199" y="874"/>
                  </a:lnTo>
                  <a:lnTo>
                    <a:pt x="194" y="874"/>
                  </a:lnTo>
                  <a:lnTo>
                    <a:pt x="186" y="872"/>
                  </a:lnTo>
                  <a:lnTo>
                    <a:pt x="172" y="870"/>
                  </a:lnTo>
                  <a:lnTo>
                    <a:pt x="166" y="869"/>
                  </a:lnTo>
                  <a:lnTo>
                    <a:pt x="158" y="862"/>
                  </a:lnTo>
                  <a:lnTo>
                    <a:pt x="148" y="856"/>
                  </a:lnTo>
                  <a:lnTo>
                    <a:pt x="134" y="856"/>
                  </a:lnTo>
                  <a:lnTo>
                    <a:pt x="134" y="855"/>
                  </a:lnTo>
                  <a:lnTo>
                    <a:pt x="133" y="853"/>
                  </a:lnTo>
                  <a:lnTo>
                    <a:pt x="131" y="852"/>
                  </a:lnTo>
                  <a:lnTo>
                    <a:pt x="129" y="852"/>
                  </a:lnTo>
                  <a:lnTo>
                    <a:pt x="125" y="851"/>
                  </a:lnTo>
                  <a:lnTo>
                    <a:pt x="121" y="851"/>
                  </a:lnTo>
                  <a:lnTo>
                    <a:pt x="120" y="849"/>
                  </a:lnTo>
                  <a:lnTo>
                    <a:pt x="118" y="848"/>
                  </a:lnTo>
                  <a:lnTo>
                    <a:pt x="115" y="847"/>
                  </a:lnTo>
                  <a:lnTo>
                    <a:pt x="112" y="847"/>
                  </a:lnTo>
                  <a:lnTo>
                    <a:pt x="110" y="842"/>
                  </a:lnTo>
                  <a:lnTo>
                    <a:pt x="108" y="838"/>
                  </a:lnTo>
                  <a:lnTo>
                    <a:pt x="103" y="838"/>
                  </a:lnTo>
                  <a:lnTo>
                    <a:pt x="99" y="836"/>
                  </a:lnTo>
                  <a:lnTo>
                    <a:pt x="95" y="832"/>
                  </a:lnTo>
                  <a:lnTo>
                    <a:pt x="94" y="829"/>
                  </a:lnTo>
                  <a:lnTo>
                    <a:pt x="85" y="829"/>
                  </a:lnTo>
                  <a:lnTo>
                    <a:pt x="84" y="826"/>
                  </a:lnTo>
                  <a:lnTo>
                    <a:pt x="83" y="823"/>
                  </a:lnTo>
                  <a:lnTo>
                    <a:pt x="80" y="821"/>
                  </a:lnTo>
                  <a:lnTo>
                    <a:pt x="76" y="820"/>
                  </a:lnTo>
                  <a:lnTo>
                    <a:pt x="75" y="817"/>
                  </a:lnTo>
                  <a:lnTo>
                    <a:pt x="72" y="814"/>
                  </a:lnTo>
                  <a:lnTo>
                    <a:pt x="67" y="812"/>
                  </a:lnTo>
                  <a:lnTo>
                    <a:pt x="63" y="811"/>
                  </a:lnTo>
                  <a:lnTo>
                    <a:pt x="63" y="798"/>
                  </a:lnTo>
                  <a:lnTo>
                    <a:pt x="59" y="795"/>
                  </a:lnTo>
                  <a:lnTo>
                    <a:pt x="54" y="793"/>
                  </a:lnTo>
                  <a:lnTo>
                    <a:pt x="54" y="784"/>
                  </a:lnTo>
                  <a:lnTo>
                    <a:pt x="45" y="784"/>
                  </a:lnTo>
                  <a:lnTo>
                    <a:pt x="32" y="775"/>
                  </a:lnTo>
                  <a:lnTo>
                    <a:pt x="32" y="775"/>
                  </a:lnTo>
                  <a:lnTo>
                    <a:pt x="24" y="742"/>
                  </a:lnTo>
                  <a:lnTo>
                    <a:pt x="17" y="707"/>
                  </a:lnTo>
                  <a:lnTo>
                    <a:pt x="8" y="672"/>
                  </a:lnTo>
                  <a:lnTo>
                    <a:pt x="0" y="636"/>
                  </a:lnTo>
                  <a:lnTo>
                    <a:pt x="3" y="634"/>
                  </a:lnTo>
                  <a:lnTo>
                    <a:pt x="7" y="628"/>
                  </a:lnTo>
                  <a:lnTo>
                    <a:pt x="11" y="620"/>
                  </a:lnTo>
                  <a:lnTo>
                    <a:pt x="15" y="611"/>
                  </a:lnTo>
                  <a:lnTo>
                    <a:pt x="19" y="601"/>
                  </a:lnTo>
                  <a:lnTo>
                    <a:pt x="23" y="592"/>
                  </a:lnTo>
                  <a:lnTo>
                    <a:pt x="25" y="583"/>
                  </a:lnTo>
                  <a:lnTo>
                    <a:pt x="26" y="578"/>
                  </a:lnTo>
                  <a:lnTo>
                    <a:pt x="29" y="576"/>
                  </a:lnTo>
                  <a:lnTo>
                    <a:pt x="34" y="572"/>
                  </a:lnTo>
                  <a:lnTo>
                    <a:pt x="40" y="567"/>
                  </a:lnTo>
                  <a:lnTo>
                    <a:pt x="44" y="560"/>
                  </a:lnTo>
                  <a:lnTo>
                    <a:pt x="50" y="552"/>
                  </a:lnTo>
                  <a:lnTo>
                    <a:pt x="54" y="544"/>
                  </a:lnTo>
                  <a:lnTo>
                    <a:pt x="57" y="538"/>
                  </a:lnTo>
                  <a:lnTo>
                    <a:pt x="59" y="532"/>
                  </a:lnTo>
                  <a:lnTo>
                    <a:pt x="61" y="531"/>
                  </a:lnTo>
                  <a:lnTo>
                    <a:pt x="64" y="530"/>
                  </a:lnTo>
                  <a:lnTo>
                    <a:pt x="67" y="528"/>
                  </a:lnTo>
                  <a:lnTo>
                    <a:pt x="71" y="524"/>
                  </a:lnTo>
                  <a:lnTo>
                    <a:pt x="73" y="522"/>
                  </a:lnTo>
                  <a:lnTo>
                    <a:pt x="75" y="519"/>
                  </a:lnTo>
                  <a:lnTo>
                    <a:pt x="77" y="515"/>
                  </a:lnTo>
                  <a:lnTo>
                    <a:pt x="77" y="513"/>
                  </a:lnTo>
                  <a:lnTo>
                    <a:pt x="81" y="512"/>
                  </a:lnTo>
                  <a:lnTo>
                    <a:pt x="84" y="510"/>
                  </a:lnTo>
                  <a:lnTo>
                    <a:pt x="89" y="506"/>
                  </a:lnTo>
                  <a:lnTo>
                    <a:pt x="94" y="502"/>
                  </a:lnTo>
                  <a:lnTo>
                    <a:pt x="103" y="493"/>
                  </a:lnTo>
                  <a:lnTo>
                    <a:pt x="110" y="486"/>
                  </a:lnTo>
                  <a:lnTo>
                    <a:pt x="123" y="486"/>
                  </a:lnTo>
                  <a:lnTo>
                    <a:pt x="124" y="482"/>
                  </a:lnTo>
                  <a:lnTo>
                    <a:pt x="127" y="480"/>
                  </a:lnTo>
                  <a:lnTo>
                    <a:pt x="131" y="476"/>
                  </a:lnTo>
                  <a:lnTo>
                    <a:pt x="136" y="474"/>
                  </a:lnTo>
                  <a:lnTo>
                    <a:pt x="141" y="473"/>
                  </a:lnTo>
                  <a:lnTo>
                    <a:pt x="144" y="471"/>
                  </a:lnTo>
                  <a:lnTo>
                    <a:pt x="148" y="469"/>
                  </a:lnTo>
                  <a:lnTo>
                    <a:pt x="149" y="467"/>
                  </a:lnTo>
                  <a:lnTo>
                    <a:pt x="162" y="467"/>
                  </a:lnTo>
                  <a:lnTo>
                    <a:pt x="168" y="462"/>
                  </a:lnTo>
                  <a:lnTo>
                    <a:pt x="175" y="456"/>
                  </a:lnTo>
                  <a:lnTo>
                    <a:pt x="177" y="454"/>
                  </a:lnTo>
                  <a:lnTo>
                    <a:pt x="179" y="449"/>
                  </a:lnTo>
                  <a:lnTo>
                    <a:pt x="181" y="446"/>
                  </a:lnTo>
                  <a:lnTo>
                    <a:pt x="181" y="442"/>
                  </a:lnTo>
                  <a:lnTo>
                    <a:pt x="195" y="442"/>
                  </a:lnTo>
                  <a:lnTo>
                    <a:pt x="195" y="436"/>
                  </a:lnTo>
                  <a:lnTo>
                    <a:pt x="195" y="429"/>
                  </a:lnTo>
                  <a:lnTo>
                    <a:pt x="196" y="426"/>
                  </a:lnTo>
                  <a:lnTo>
                    <a:pt x="197" y="424"/>
                  </a:lnTo>
                  <a:lnTo>
                    <a:pt x="199" y="423"/>
                  </a:lnTo>
                  <a:lnTo>
                    <a:pt x="200" y="422"/>
                  </a:lnTo>
                  <a:lnTo>
                    <a:pt x="200" y="409"/>
                  </a:lnTo>
                  <a:lnTo>
                    <a:pt x="220" y="389"/>
                  </a:lnTo>
                  <a:lnTo>
                    <a:pt x="226" y="388"/>
                  </a:lnTo>
                  <a:lnTo>
                    <a:pt x="233" y="386"/>
                  </a:lnTo>
                  <a:lnTo>
                    <a:pt x="235" y="384"/>
                  </a:lnTo>
                  <a:lnTo>
                    <a:pt x="237" y="381"/>
                  </a:lnTo>
                  <a:lnTo>
                    <a:pt x="239" y="379"/>
                  </a:lnTo>
                  <a:lnTo>
                    <a:pt x="239" y="377"/>
                  </a:lnTo>
                  <a:lnTo>
                    <a:pt x="253" y="377"/>
                  </a:lnTo>
                  <a:lnTo>
                    <a:pt x="263" y="367"/>
                  </a:lnTo>
                  <a:lnTo>
                    <a:pt x="272" y="357"/>
                  </a:lnTo>
                  <a:lnTo>
                    <a:pt x="277" y="356"/>
                  </a:lnTo>
                  <a:lnTo>
                    <a:pt x="283" y="352"/>
                  </a:lnTo>
                  <a:lnTo>
                    <a:pt x="288" y="347"/>
                  </a:lnTo>
                  <a:lnTo>
                    <a:pt x="294" y="341"/>
                  </a:lnTo>
                  <a:lnTo>
                    <a:pt x="300" y="334"/>
                  </a:lnTo>
                  <a:lnTo>
                    <a:pt x="304" y="330"/>
                  </a:lnTo>
                  <a:lnTo>
                    <a:pt x="307" y="327"/>
                  </a:lnTo>
                  <a:lnTo>
                    <a:pt x="311" y="324"/>
                  </a:lnTo>
                  <a:lnTo>
                    <a:pt x="311" y="320"/>
                  </a:lnTo>
                  <a:lnTo>
                    <a:pt x="312" y="315"/>
                  </a:lnTo>
                  <a:lnTo>
                    <a:pt x="312" y="314"/>
                  </a:lnTo>
                  <a:lnTo>
                    <a:pt x="314" y="313"/>
                  </a:lnTo>
                  <a:lnTo>
                    <a:pt x="315" y="312"/>
                  </a:lnTo>
                  <a:lnTo>
                    <a:pt x="318" y="312"/>
                  </a:lnTo>
                  <a:lnTo>
                    <a:pt x="319" y="294"/>
                  </a:lnTo>
                  <a:lnTo>
                    <a:pt x="322" y="269"/>
                  </a:lnTo>
                  <a:lnTo>
                    <a:pt x="323" y="255"/>
                  </a:lnTo>
                  <a:lnTo>
                    <a:pt x="323" y="244"/>
                  </a:lnTo>
                  <a:lnTo>
                    <a:pt x="322" y="241"/>
                  </a:lnTo>
                  <a:lnTo>
                    <a:pt x="321" y="237"/>
                  </a:lnTo>
                  <a:lnTo>
                    <a:pt x="320" y="235"/>
                  </a:lnTo>
                  <a:lnTo>
                    <a:pt x="318" y="234"/>
                  </a:lnTo>
                  <a:lnTo>
                    <a:pt x="318" y="225"/>
                  </a:lnTo>
                  <a:lnTo>
                    <a:pt x="319" y="212"/>
                  </a:lnTo>
                  <a:lnTo>
                    <a:pt x="319" y="206"/>
                  </a:lnTo>
                  <a:lnTo>
                    <a:pt x="320" y="201"/>
                  </a:lnTo>
                  <a:lnTo>
                    <a:pt x="322" y="197"/>
                  </a:lnTo>
                  <a:lnTo>
                    <a:pt x="324" y="195"/>
                  </a:lnTo>
                  <a:lnTo>
                    <a:pt x="324" y="186"/>
                  </a:lnTo>
                  <a:lnTo>
                    <a:pt x="324" y="176"/>
                  </a:lnTo>
                  <a:lnTo>
                    <a:pt x="330" y="169"/>
                  </a:lnTo>
                  <a:lnTo>
                    <a:pt x="336" y="163"/>
                  </a:lnTo>
                  <a:lnTo>
                    <a:pt x="350" y="163"/>
                  </a:lnTo>
                  <a:lnTo>
                    <a:pt x="350" y="158"/>
                  </a:lnTo>
                  <a:lnTo>
                    <a:pt x="351" y="154"/>
                  </a:lnTo>
                  <a:lnTo>
                    <a:pt x="351" y="153"/>
                  </a:lnTo>
                  <a:lnTo>
                    <a:pt x="352" y="151"/>
                  </a:lnTo>
                  <a:lnTo>
                    <a:pt x="354" y="150"/>
                  </a:lnTo>
                  <a:lnTo>
                    <a:pt x="357" y="150"/>
                  </a:lnTo>
                  <a:lnTo>
                    <a:pt x="357" y="144"/>
                  </a:lnTo>
                  <a:lnTo>
                    <a:pt x="357" y="138"/>
                  </a:lnTo>
                  <a:lnTo>
                    <a:pt x="358" y="135"/>
                  </a:lnTo>
                  <a:lnTo>
                    <a:pt x="359" y="132"/>
                  </a:lnTo>
                  <a:lnTo>
                    <a:pt x="361" y="131"/>
                  </a:lnTo>
                  <a:lnTo>
                    <a:pt x="362" y="130"/>
                  </a:lnTo>
                  <a:lnTo>
                    <a:pt x="361" y="105"/>
                  </a:lnTo>
                  <a:lnTo>
                    <a:pt x="357" y="77"/>
                  </a:lnTo>
                  <a:lnTo>
                    <a:pt x="352" y="50"/>
                  </a:lnTo>
                  <a:lnTo>
                    <a:pt x="350" y="26"/>
                  </a:lnTo>
                  <a:lnTo>
                    <a:pt x="347" y="26"/>
                  </a:lnTo>
                  <a:lnTo>
                    <a:pt x="344" y="26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3" y="22"/>
                  </a:lnTo>
                  <a:lnTo>
                    <a:pt x="342" y="22"/>
                  </a:lnTo>
                  <a:lnTo>
                    <a:pt x="341" y="21"/>
                  </a:lnTo>
                  <a:lnTo>
                    <a:pt x="336" y="21"/>
                  </a:lnTo>
                  <a:lnTo>
                    <a:pt x="336" y="7"/>
                  </a:lnTo>
                  <a:lnTo>
                    <a:pt x="333" y="7"/>
                  </a:lnTo>
                  <a:lnTo>
                    <a:pt x="330" y="7"/>
                  </a:lnTo>
                  <a:lnTo>
                    <a:pt x="326" y="6"/>
                  </a:lnTo>
                  <a:lnTo>
                    <a:pt x="325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8" name="Freeform 21">
              <a:extLst>
                <a:ext uri="{FF2B5EF4-FFF2-40B4-BE49-F238E27FC236}">
                  <a16:creationId xmlns:a16="http://schemas.microsoft.com/office/drawing/2014/main" id="{3592E559-5855-4D20-85E1-395CE6430DF9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637463" y="3979863"/>
              <a:ext cx="424009" cy="296863"/>
            </a:xfrm>
            <a:custGeom>
              <a:avLst/>
              <a:gdLst/>
              <a:ahLst/>
              <a:cxnLst>
                <a:cxn ang="0">
                  <a:pos x="1559" y="152"/>
                </a:cxn>
                <a:cxn ang="0">
                  <a:pos x="1479" y="175"/>
                </a:cxn>
                <a:cxn ang="0">
                  <a:pos x="1464" y="231"/>
                </a:cxn>
                <a:cxn ang="0">
                  <a:pos x="1405" y="655"/>
                </a:cxn>
                <a:cxn ang="0">
                  <a:pos x="1287" y="654"/>
                </a:cxn>
                <a:cxn ang="0">
                  <a:pos x="1104" y="600"/>
                </a:cxn>
                <a:cxn ang="0">
                  <a:pos x="1072" y="526"/>
                </a:cxn>
                <a:cxn ang="0">
                  <a:pos x="1004" y="494"/>
                </a:cxn>
                <a:cxn ang="0">
                  <a:pos x="947" y="453"/>
                </a:cxn>
                <a:cxn ang="0">
                  <a:pos x="887" y="244"/>
                </a:cxn>
                <a:cxn ang="0">
                  <a:pos x="837" y="336"/>
                </a:cxn>
                <a:cxn ang="0">
                  <a:pos x="778" y="534"/>
                </a:cxn>
                <a:cxn ang="0">
                  <a:pos x="657" y="579"/>
                </a:cxn>
                <a:cxn ang="0">
                  <a:pos x="535" y="538"/>
                </a:cxn>
                <a:cxn ang="0">
                  <a:pos x="528" y="674"/>
                </a:cxn>
                <a:cxn ang="0">
                  <a:pos x="2" y="767"/>
                </a:cxn>
                <a:cxn ang="0">
                  <a:pos x="62" y="814"/>
                </a:cxn>
                <a:cxn ang="0">
                  <a:pos x="107" y="891"/>
                </a:cxn>
                <a:cxn ang="0">
                  <a:pos x="147" y="977"/>
                </a:cxn>
                <a:cxn ang="0">
                  <a:pos x="219" y="1022"/>
                </a:cxn>
                <a:cxn ang="0">
                  <a:pos x="264" y="1055"/>
                </a:cxn>
                <a:cxn ang="0">
                  <a:pos x="318" y="1093"/>
                </a:cxn>
                <a:cxn ang="0">
                  <a:pos x="381" y="1122"/>
                </a:cxn>
                <a:cxn ang="0">
                  <a:pos x="534" y="1100"/>
                </a:cxn>
                <a:cxn ang="0">
                  <a:pos x="569" y="1075"/>
                </a:cxn>
                <a:cxn ang="0">
                  <a:pos x="743" y="1040"/>
                </a:cxn>
                <a:cxn ang="0">
                  <a:pos x="832" y="988"/>
                </a:cxn>
                <a:cxn ang="0">
                  <a:pos x="1019" y="875"/>
                </a:cxn>
                <a:cxn ang="0">
                  <a:pos x="1183" y="757"/>
                </a:cxn>
                <a:cxn ang="0">
                  <a:pos x="1260" y="843"/>
                </a:cxn>
                <a:cxn ang="0">
                  <a:pos x="1310" y="899"/>
                </a:cxn>
                <a:cxn ang="0">
                  <a:pos x="1360" y="939"/>
                </a:cxn>
                <a:cxn ang="0">
                  <a:pos x="1462" y="1024"/>
                </a:cxn>
                <a:cxn ang="0">
                  <a:pos x="1500" y="1058"/>
                </a:cxn>
                <a:cxn ang="0">
                  <a:pos x="1578" y="1132"/>
                </a:cxn>
                <a:cxn ang="0">
                  <a:pos x="1599" y="1361"/>
                </a:cxn>
                <a:cxn ang="0">
                  <a:pos x="1801" y="1383"/>
                </a:cxn>
                <a:cxn ang="0">
                  <a:pos x="1897" y="1506"/>
                </a:cxn>
                <a:cxn ang="0">
                  <a:pos x="1941" y="1560"/>
                </a:cxn>
                <a:cxn ang="0">
                  <a:pos x="1987" y="1625"/>
                </a:cxn>
                <a:cxn ang="0">
                  <a:pos x="2025" y="1771"/>
                </a:cxn>
                <a:cxn ang="0">
                  <a:pos x="2099" y="1829"/>
                </a:cxn>
                <a:cxn ang="0">
                  <a:pos x="2163" y="1841"/>
                </a:cxn>
                <a:cxn ang="0">
                  <a:pos x="2198" y="1809"/>
                </a:cxn>
                <a:cxn ang="0">
                  <a:pos x="2223" y="1745"/>
                </a:cxn>
                <a:cxn ang="0">
                  <a:pos x="2275" y="1664"/>
                </a:cxn>
                <a:cxn ang="0">
                  <a:pos x="2309" y="1475"/>
                </a:cxn>
                <a:cxn ang="0">
                  <a:pos x="2262" y="1420"/>
                </a:cxn>
                <a:cxn ang="0">
                  <a:pos x="2231" y="1397"/>
                </a:cxn>
                <a:cxn ang="0">
                  <a:pos x="2208" y="1366"/>
                </a:cxn>
                <a:cxn ang="0">
                  <a:pos x="2118" y="1273"/>
                </a:cxn>
                <a:cxn ang="0">
                  <a:pos x="2148" y="744"/>
                </a:cxn>
                <a:cxn ang="0">
                  <a:pos x="2170" y="603"/>
                </a:cxn>
                <a:cxn ang="0">
                  <a:pos x="2268" y="471"/>
                </a:cxn>
                <a:cxn ang="0">
                  <a:pos x="2207" y="332"/>
                </a:cxn>
                <a:cxn ang="0">
                  <a:pos x="2170" y="277"/>
                </a:cxn>
                <a:cxn ang="0">
                  <a:pos x="2013" y="199"/>
                </a:cxn>
                <a:cxn ang="0">
                  <a:pos x="1893" y="107"/>
                </a:cxn>
                <a:cxn ang="0">
                  <a:pos x="1718" y="29"/>
                </a:cxn>
                <a:cxn ang="0">
                  <a:pos x="1465" y="13"/>
                </a:cxn>
              </a:cxnLst>
              <a:rect l="0" t="0" r="r" b="b"/>
              <a:pathLst>
                <a:path w="2316" h="1848">
                  <a:moveTo>
                    <a:pt x="1558" y="74"/>
                  </a:moveTo>
                  <a:lnTo>
                    <a:pt x="1574" y="74"/>
                  </a:lnTo>
                  <a:lnTo>
                    <a:pt x="1574" y="90"/>
                  </a:lnTo>
                  <a:lnTo>
                    <a:pt x="1577" y="92"/>
                  </a:lnTo>
                  <a:lnTo>
                    <a:pt x="1582" y="98"/>
                  </a:lnTo>
                  <a:lnTo>
                    <a:pt x="1587" y="107"/>
                  </a:lnTo>
                  <a:lnTo>
                    <a:pt x="1591" y="117"/>
                  </a:lnTo>
                  <a:lnTo>
                    <a:pt x="1593" y="122"/>
                  </a:lnTo>
                  <a:lnTo>
                    <a:pt x="1593" y="127"/>
                  </a:lnTo>
                  <a:lnTo>
                    <a:pt x="1593" y="132"/>
                  </a:lnTo>
                  <a:lnTo>
                    <a:pt x="1591" y="137"/>
                  </a:lnTo>
                  <a:lnTo>
                    <a:pt x="1588" y="141"/>
                  </a:lnTo>
                  <a:lnTo>
                    <a:pt x="1585" y="145"/>
                  </a:lnTo>
                  <a:lnTo>
                    <a:pt x="1579" y="147"/>
                  </a:lnTo>
                  <a:lnTo>
                    <a:pt x="1571" y="149"/>
                  </a:lnTo>
                  <a:lnTo>
                    <a:pt x="1559" y="152"/>
                  </a:lnTo>
                  <a:lnTo>
                    <a:pt x="1539" y="159"/>
                  </a:lnTo>
                  <a:lnTo>
                    <a:pt x="1529" y="163"/>
                  </a:lnTo>
                  <a:lnTo>
                    <a:pt x="1519" y="164"/>
                  </a:lnTo>
                  <a:lnTo>
                    <a:pt x="1510" y="165"/>
                  </a:lnTo>
                  <a:lnTo>
                    <a:pt x="1502" y="163"/>
                  </a:lnTo>
                  <a:lnTo>
                    <a:pt x="1494" y="148"/>
                  </a:lnTo>
                  <a:lnTo>
                    <a:pt x="1489" y="140"/>
                  </a:lnTo>
                  <a:lnTo>
                    <a:pt x="1486" y="138"/>
                  </a:lnTo>
                  <a:lnTo>
                    <a:pt x="1485" y="138"/>
                  </a:lnTo>
                  <a:lnTo>
                    <a:pt x="1483" y="139"/>
                  </a:lnTo>
                  <a:lnTo>
                    <a:pt x="1482" y="140"/>
                  </a:lnTo>
                  <a:lnTo>
                    <a:pt x="1480" y="146"/>
                  </a:lnTo>
                  <a:lnTo>
                    <a:pt x="1480" y="154"/>
                  </a:lnTo>
                  <a:lnTo>
                    <a:pt x="1479" y="163"/>
                  </a:lnTo>
                  <a:lnTo>
                    <a:pt x="1479" y="170"/>
                  </a:lnTo>
                  <a:lnTo>
                    <a:pt x="1479" y="175"/>
                  </a:lnTo>
                  <a:lnTo>
                    <a:pt x="1478" y="177"/>
                  </a:lnTo>
                  <a:lnTo>
                    <a:pt x="1476" y="178"/>
                  </a:lnTo>
                  <a:lnTo>
                    <a:pt x="1475" y="178"/>
                  </a:lnTo>
                  <a:lnTo>
                    <a:pt x="1474" y="178"/>
                  </a:lnTo>
                  <a:lnTo>
                    <a:pt x="1472" y="179"/>
                  </a:lnTo>
                  <a:lnTo>
                    <a:pt x="1472" y="181"/>
                  </a:lnTo>
                  <a:lnTo>
                    <a:pt x="1471" y="186"/>
                  </a:lnTo>
                  <a:lnTo>
                    <a:pt x="1455" y="186"/>
                  </a:lnTo>
                  <a:lnTo>
                    <a:pt x="1457" y="192"/>
                  </a:lnTo>
                  <a:lnTo>
                    <a:pt x="1463" y="205"/>
                  </a:lnTo>
                  <a:lnTo>
                    <a:pt x="1468" y="217"/>
                  </a:lnTo>
                  <a:lnTo>
                    <a:pt x="1470" y="223"/>
                  </a:lnTo>
                  <a:lnTo>
                    <a:pt x="1468" y="223"/>
                  </a:lnTo>
                  <a:lnTo>
                    <a:pt x="1466" y="225"/>
                  </a:lnTo>
                  <a:lnTo>
                    <a:pt x="1465" y="227"/>
                  </a:lnTo>
                  <a:lnTo>
                    <a:pt x="1464" y="231"/>
                  </a:lnTo>
                  <a:lnTo>
                    <a:pt x="1462" y="238"/>
                  </a:lnTo>
                  <a:lnTo>
                    <a:pt x="1461" y="250"/>
                  </a:lnTo>
                  <a:lnTo>
                    <a:pt x="1457" y="279"/>
                  </a:lnTo>
                  <a:lnTo>
                    <a:pt x="1455" y="311"/>
                  </a:lnTo>
                  <a:lnTo>
                    <a:pt x="1454" y="346"/>
                  </a:lnTo>
                  <a:lnTo>
                    <a:pt x="1454" y="377"/>
                  </a:lnTo>
                  <a:lnTo>
                    <a:pt x="1454" y="402"/>
                  </a:lnTo>
                  <a:lnTo>
                    <a:pt x="1454" y="417"/>
                  </a:lnTo>
                  <a:lnTo>
                    <a:pt x="1454" y="635"/>
                  </a:lnTo>
                  <a:lnTo>
                    <a:pt x="1446" y="642"/>
                  </a:lnTo>
                  <a:lnTo>
                    <a:pt x="1438" y="644"/>
                  </a:lnTo>
                  <a:lnTo>
                    <a:pt x="1430" y="647"/>
                  </a:lnTo>
                  <a:lnTo>
                    <a:pt x="1418" y="649"/>
                  </a:lnTo>
                  <a:lnTo>
                    <a:pt x="1407" y="650"/>
                  </a:lnTo>
                  <a:lnTo>
                    <a:pt x="1406" y="654"/>
                  </a:lnTo>
                  <a:lnTo>
                    <a:pt x="1405" y="655"/>
                  </a:lnTo>
                  <a:lnTo>
                    <a:pt x="1402" y="657"/>
                  </a:lnTo>
                  <a:lnTo>
                    <a:pt x="1398" y="657"/>
                  </a:lnTo>
                  <a:lnTo>
                    <a:pt x="1389" y="658"/>
                  </a:lnTo>
                  <a:lnTo>
                    <a:pt x="1379" y="658"/>
                  </a:lnTo>
                  <a:lnTo>
                    <a:pt x="1369" y="658"/>
                  </a:lnTo>
                  <a:lnTo>
                    <a:pt x="1361" y="659"/>
                  </a:lnTo>
                  <a:lnTo>
                    <a:pt x="1358" y="660"/>
                  </a:lnTo>
                  <a:lnTo>
                    <a:pt x="1355" y="661"/>
                  </a:lnTo>
                  <a:lnTo>
                    <a:pt x="1354" y="664"/>
                  </a:lnTo>
                  <a:lnTo>
                    <a:pt x="1353" y="666"/>
                  </a:lnTo>
                  <a:lnTo>
                    <a:pt x="1336" y="665"/>
                  </a:lnTo>
                  <a:lnTo>
                    <a:pt x="1319" y="663"/>
                  </a:lnTo>
                  <a:lnTo>
                    <a:pt x="1303" y="659"/>
                  </a:lnTo>
                  <a:lnTo>
                    <a:pt x="1290" y="658"/>
                  </a:lnTo>
                  <a:lnTo>
                    <a:pt x="1289" y="656"/>
                  </a:lnTo>
                  <a:lnTo>
                    <a:pt x="1287" y="654"/>
                  </a:lnTo>
                  <a:lnTo>
                    <a:pt x="1282" y="652"/>
                  </a:lnTo>
                  <a:lnTo>
                    <a:pt x="1278" y="651"/>
                  </a:lnTo>
                  <a:lnTo>
                    <a:pt x="1268" y="650"/>
                  </a:lnTo>
                  <a:lnTo>
                    <a:pt x="1259" y="650"/>
                  </a:lnTo>
                  <a:lnTo>
                    <a:pt x="1127" y="635"/>
                  </a:lnTo>
                  <a:lnTo>
                    <a:pt x="1127" y="630"/>
                  </a:lnTo>
                  <a:lnTo>
                    <a:pt x="1126" y="628"/>
                  </a:lnTo>
                  <a:lnTo>
                    <a:pt x="1125" y="627"/>
                  </a:lnTo>
                  <a:lnTo>
                    <a:pt x="1124" y="627"/>
                  </a:lnTo>
                  <a:lnTo>
                    <a:pt x="1121" y="627"/>
                  </a:lnTo>
                  <a:lnTo>
                    <a:pt x="1120" y="626"/>
                  </a:lnTo>
                  <a:lnTo>
                    <a:pt x="1119" y="623"/>
                  </a:lnTo>
                  <a:lnTo>
                    <a:pt x="1119" y="619"/>
                  </a:lnTo>
                  <a:lnTo>
                    <a:pt x="1104" y="619"/>
                  </a:lnTo>
                  <a:lnTo>
                    <a:pt x="1104" y="611"/>
                  </a:lnTo>
                  <a:lnTo>
                    <a:pt x="1104" y="600"/>
                  </a:lnTo>
                  <a:lnTo>
                    <a:pt x="1104" y="589"/>
                  </a:lnTo>
                  <a:lnTo>
                    <a:pt x="1104" y="581"/>
                  </a:lnTo>
                  <a:lnTo>
                    <a:pt x="1101" y="579"/>
                  </a:lnTo>
                  <a:lnTo>
                    <a:pt x="1098" y="575"/>
                  </a:lnTo>
                  <a:lnTo>
                    <a:pt x="1096" y="570"/>
                  </a:lnTo>
                  <a:lnTo>
                    <a:pt x="1094" y="564"/>
                  </a:lnTo>
                  <a:lnTo>
                    <a:pt x="1089" y="551"/>
                  </a:lnTo>
                  <a:lnTo>
                    <a:pt x="1088" y="542"/>
                  </a:lnTo>
                  <a:lnTo>
                    <a:pt x="1086" y="541"/>
                  </a:lnTo>
                  <a:lnTo>
                    <a:pt x="1082" y="541"/>
                  </a:lnTo>
                  <a:lnTo>
                    <a:pt x="1080" y="539"/>
                  </a:lnTo>
                  <a:lnTo>
                    <a:pt x="1078" y="536"/>
                  </a:lnTo>
                  <a:lnTo>
                    <a:pt x="1076" y="534"/>
                  </a:lnTo>
                  <a:lnTo>
                    <a:pt x="1073" y="532"/>
                  </a:lnTo>
                  <a:lnTo>
                    <a:pt x="1073" y="529"/>
                  </a:lnTo>
                  <a:lnTo>
                    <a:pt x="1072" y="526"/>
                  </a:lnTo>
                  <a:lnTo>
                    <a:pt x="1066" y="525"/>
                  </a:lnTo>
                  <a:lnTo>
                    <a:pt x="1056" y="522"/>
                  </a:lnTo>
                  <a:lnTo>
                    <a:pt x="1046" y="520"/>
                  </a:lnTo>
                  <a:lnTo>
                    <a:pt x="1033" y="519"/>
                  </a:lnTo>
                  <a:lnTo>
                    <a:pt x="1033" y="515"/>
                  </a:lnTo>
                  <a:lnTo>
                    <a:pt x="1031" y="513"/>
                  </a:lnTo>
                  <a:lnTo>
                    <a:pt x="1029" y="510"/>
                  </a:lnTo>
                  <a:lnTo>
                    <a:pt x="1025" y="507"/>
                  </a:lnTo>
                  <a:lnTo>
                    <a:pt x="1018" y="504"/>
                  </a:lnTo>
                  <a:lnTo>
                    <a:pt x="1011" y="503"/>
                  </a:lnTo>
                  <a:lnTo>
                    <a:pt x="1010" y="498"/>
                  </a:lnTo>
                  <a:lnTo>
                    <a:pt x="1009" y="496"/>
                  </a:lnTo>
                  <a:lnTo>
                    <a:pt x="1008" y="495"/>
                  </a:lnTo>
                  <a:lnTo>
                    <a:pt x="1006" y="495"/>
                  </a:lnTo>
                  <a:lnTo>
                    <a:pt x="1005" y="495"/>
                  </a:lnTo>
                  <a:lnTo>
                    <a:pt x="1004" y="494"/>
                  </a:lnTo>
                  <a:lnTo>
                    <a:pt x="1003" y="492"/>
                  </a:lnTo>
                  <a:lnTo>
                    <a:pt x="1003" y="487"/>
                  </a:lnTo>
                  <a:lnTo>
                    <a:pt x="991" y="483"/>
                  </a:lnTo>
                  <a:lnTo>
                    <a:pt x="980" y="479"/>
                  </a:lnTo>
                  <a:lnTo>
                    <a:pt x="979" y="474"/>
                  </a:lnTo>
                  <a:lnTo>
                    <a:pt x="976" y="471"/>
                  </a:lnTo>
                  <a:lnTo>
                    <a:pt x="974" y="467"/>
                  </a:lnTo>
                  <a:lnTo>
                    <a:pt x="972" y="465"/>
                  </a:lnTo>
                  <a:lnTo>
                    <a:pt x="969" y="463"/>
                  </a:lnTo>
                  <a:lnTo>
                    <a:pt x="966" y="461"/>
                  </a:lnTo>
                  <a:lnTo>
                    <a:pt x="964" y="458"/>
                  </a:lnTo>
                  <a:lnTo>
                    <a:pt x="964" y="456"/>
                  </a:lnTo>
                  <a:lnTo>
                    <a:pt x="958" y="456"/>
                  </a:lnTo>
                  <a:lnTo>
                    <a:pt x="954" y="455"/>
                  </a:lnTo>
                  <a:lnTo>
                    <a:pt x="950" y="454"/>
                  </a:lnTo>
                  <a:lnTo>
                    <a:pt x="947" y="453"/>
                  </a:lnTo>
                  <a:lnTo>
                    <a:pt x="943" y="448"/>
                  </a:lnTo>
                  <a:lnTo>
                    <a:pt x="939" y="444"/>
                  </a:lnTo>
                  <a:lnTo>
                    <a:pt x="936" y="431"/>
                  </a:lnTo>
                  <a:lnTo>
                    <a:pt x="932" y="418"/>
                  </a:lnTo>
                  <a:lnTo>
                    <a:pt x="927" y="410"/>
                  </a:lnTo>
                  <a:lnTo>
                    <a:pt x="924" y="402"/>
                  </a:lnTo>
                  <a:lnTo>
                    <a:pt x="921" y="394"/>
                  </a:lnTo>
                  <a:lnTo>
                    <a:pt x="918" y="385"/>
                  </a:lnTo>
                  <a:lnTo>
                    <a:pt x="914" y="366"/>
                  </a:lnTo>
                  <a:lnTo>
                    <a:pt x="912" y="347"/>
                  </a:lnTo>
                  <a:lnTo>
                    <a:pt x="907" y="309"/>
                  </a:lnTo>
                  <a:lnTo>
                    <a:pt x="903" y="276"/>
                  </a:lnTo>
                  <a:lnTo>
                    <a:pt x="898" y="263"/>
                  </a:lnTo>
                  <a:lnTo>
                    <a:pt x="894" y="253"/>
                  </a:lnTo>
                  <a:lnTo>
                    <a:pt x="890" y="248"/>
                  </a:lnTo>
                  <a:lnTo>
                    <a:pt x="887" y="244"/>
                  </a:lnTo>
                  <a:lnTo>
                    <a:pt x="884" y="242"/>
                  </a:lnTo>
                  <a:lnTo>
                    <a:pt x="880" y="240"/>
                  </a:lnTo>
                  <a:lnTo>
                    <a:pt x="877" y="240"/>
                  </a:lnTo>
                  <a:lnTo>
                    <a:pt x="873" y="240"/>
                  </a:lnTo>
                  <a:lnTo>
                    <a:pt x="868" y="241"/>
                  </a:lnTo>
                  <a:lnTo>
                    <a:pt x="865" y="243"/>
                  </a:lnTo>
                  <a:lnTo>
                    <a:pt x="860" y="247"/>
                  </a:lnTo>
                  <a:lnTo>
                    <a:pt x="856" y="252"/>
                  </a:lnTo>
                  <a:lnTo>
                    <a:pt x="851" y="258"/>
                  </a:lnTo>
                  <a:lnTo>
                    <a:pt x="847" y="266"/>
                  </a:lnTo>
                  <a:lnTo>
                    <a:pt x="843" y="275"/>
                  </a:lnTo>
                  <a:lnTo>
                    <a:pt x="841" y="283"/>
                  </a:lnTo>
                  <a:lnTo>
                    <a:pt x="839" y="291"/>
                  </a:lnTo>
                  <a:lnTo>
                    <a:pt x="839" y="299"/>
                  </a:lnTo>
                  <a:lnTo>
                    <a:pt x="838" y="317"/>
                  </a:lnTo>
                  <a:lnTo>
                    <a:pt x="837" y="336"/>
                  </a:lnTo>
                  <a:lnTo>
                    <a:pt x="836" y="357"/>
                  </a:lnTo>
                  <a:lnTo>
                    <a:pt x="832" y="381"/>
                  </a:lnTo>
                  <a:lnTo>
                    <a:pt x="829" y="396"/>
                  </a:lnTo>
                  <a:lnTo>
                    <a:pt x="825" y="411"/>
                  </a:lnTo>
                  <a:lnTo>
                    <a:pt x="820" y="427"/>
                  </a:lnTo>
                  <a:lnTo>
                    <a:pt x="812" y="446"/>
                  </a:lnTo>
                  <a:lnTo>
                    <a:pt x="812" y="454"/>
                  </a:lnTo>
                  <a:lnTo>
                    <a:pt x="809" y="466"/>
                  </a:lnTo>
                  <a:lnTo>
                    <a:pt x="806" y="481"/>
                  </a:lnTo>
                  <a:lnTo>
                    <a:pt x="801" y="495"/>
                  </a:lnTo>
                  <a:lnTo>
                    <a:pt x="795" y="510"/>
                  </a:lnTo>
                  <a:lnTo>
                    <a:pt x="789" y="522"/>
                  </a:lnTo>
                  <a:lnTo>
                    <a:pt x="787" y="527"/>
                  </a:lnTo>
                  <a:lnTo>
                    <a:pt x="783" y="531"/>
                  </a:lnTo>
                  <a:lnTo>
                    <a:pt x="780" y="533"/>
                  </a:lnTo>
                  <a:lnTo>
                    <a:pt x="778" y="534"/>
                  </a:lnTo>
                  <a:lnTo>
                    <a:pt x="778" y="558"/>
                  </a:lnTo>
                  <a:lnTo>
                    <a:pt x="770" y="565"/>
                  </a:lnTo>
                  <a:lnTo>
                    <a:pt x="754" y="565"/>
                  </a:lnTo>
                  <a:lnTo>
                    <a:pt x="753" y="567"/>
                  </a:lnTo>
                  <a:lnTo>
                    <a:pt x="751" y="568"/>
                  </a:lnTo>
                  <a:lnTo>
                    <a:pt x="749" y="569"/>
                  </a:lnTo>
                  <a:lnTo>
                    <a:pt x="745" y="570"/>
                  </a:lnTo>
                  <a:lnTo>
                    <a:pt x="735" y="571"/>
                  </a:lnTo>
                  <a:lnTo>
                    <a:pt x="724" y="572"/>
                  </a:lnTo>
                  <a:lnTo>
                    <a:pt x="702" y="572"/>
                  </a:lnTo>
                  <a:lnTo>
                    <a:pt x="684" y="573"/>
                  </a:lnTo>
                  <a:lnTo>
                    <a:pt x="683" y="575"/>
                  </a:lnTo>
                  <a:lnTo>
                    <a:pt x="681" y="578"/>
                  </a:lnTo>
                  <a:lnTo>
                    <a:pt x="676" y="579"/>
                  </a:lnTo>
                  <a:lnTo>
                    <a:pt x="670" y="579"/>
                  </a:lnTo>
                  <a:lnTo>
                    <a:pt x="657" y="579"/>
                  </a:lnTo>
                  <a:lnTo>
                    <a:pt x="641" y="577"/>
                  </a:lnTo>
                  <a:lnTo>
                    <a:pt x="626" y="573"/>
                  </a:lnTo>
                  <a:lnTo>
                    <a:pt x="611" y="569"/>
                  </a:lnTo>
                  <a:lnTo>
                    <a:pt x="606" y="565"/>
                  </a:lnTo>
                  <a:lnTo>
                    <a:pt x="602" y="563"/>
                  </a:lnTo>
                  <a:lnTo>
                    <a:pt x="599" y="560"/>
                  </a:lnTo>
                  <a:lnTo>
                    <a:pt x="598" y="558"/>
                  </a:lnTo>
                  <a:lnTo>
                    <a:pt x="582" y="558"/>
                  </a:lnTo>
                  <a:lnTo>
                    <a:pt x="581" y="554"/>
                  </a:lnTo>
                  <a:lnTo>
                    <a:pt x="577" y="552"/>
                  </a:lnTo>
                  <a:lnTo>
                    <a:pt x="570" y="549"/>
                  </a:lnTo>
                  <a:lnTo>
                    <a:pt x="562" y="546"/>
                  </a:lnTo>
                  <a:lnTo>
                    <a:pt x="547" y="543"/>
                  </a:lnTo>
                  <a:lnTo>
                    <a:pt x="537" y="542"/>
                  </a:lnTo>
                  <a:lnTo>
                    <a:pt x="535" y="539"/>
                  </a:lnTo>
                  <a:lnTo>
                    <a:pt x="535" y="538"/>
                  </a:lnTo>
                  <a:lnTo>
                    <a:pt x="534" y="536"/>
                  </a:lnTo>
                  <a:lnTo>
                    <a:pt x="532" y="535"/>
                  </a:lnTo>
                  <a:lnTo>
                    <a:pt x="529" y="535"/>
                  </a:lnTo>
                  <a:lnTo>
                    <a:pt x="523" y="535"/>
                  </a:lnTo>
                  <a:lnTo>
                    <a:pt x="513" y="540"/>
                  </a:lnTo>
                  <a:lnTo>
                    <a:pt x="505" y="542"/>
                  </a:lnTo>
                  <a:lnTo>
                    <a:pt x="505" y="627"/>
                  </a:lnTo>
                  <a:lnTo>
                    <a:pt x="507" y="629"/>
                  </a:lnTo>
                  <a:lnTo>
                    <a:pt x="511" y="632"/>
                  </a:lnTo>
                  <a:lnTo>
                    <a:pt x="513" y="638"/>
                  </a:lnTo>
                  <a:lnTo>
                    <a:pt x="515" y="644"/>
                  </a:lnTo>
                  <a:lnTo>
                    <a:pt x="519" y="657"/>
                  </a:lnTo>
                  <a:lnTo>
                    <a:pt x="521" y="666"/>
                  </a:lnTo>
                  <a:lnTo>
                    <a:pt x="524" y="667"/>
                  </a:lnTo>
                  <a:lnTo>
                    <a:pt x="526" y="669"/>
                  </a:lnTo>
                  <a:lnTo>
                    <a:pt x="528" y="674"/>
                  </a:lnTo>
                  <a:lnTo>
                    <a:pt x="528" y="678"/>
                  </a:lnTo>
                  <a:lnTo>
                    <a:pt x="525" y="690"/>
                  </a:lnTo>
                  <a:lnTo>
                    <a:pt x="521" y="705"/>
                  </a:lnTo>
                  <a:lnTo>
                    <a:pt x="511" y="732"/>
                  </a:lnTo>
                  <a:lnTo>
                    <a:pt x="505" y="744"/>
                  </a:lnTo>
                  <a:lnTo>
                    <a:pt x="497" y="752"/>
                  </a:lnTo>
                  <a:lnTo>
                    <a:pt x="434" y="751"/>
                  </a:lnTo>
                  <a:lnTo>
                    <a:pt x="371" y="750"/>
                  </a:lnTo>
                  <a:lnTo>
                    <a:pt x="310" y="746"/>
                  </a:lnTo>
                  <a:lnTo>
                    <a:pt x="248" y="744"/>
                  </a:lnTo>
                  <a:lnTo>
                    <a:pt x="187" y="741"/>
                  </a:lnTo>
                  <a:lnTo>
                    <a:pt x="126" y="738"/>
                  </a:lnTo>
                  <a:lnTo>
                    <a:pt x="63" y="736"/>
                  </a:lnTo>
                  <a:lnTo>
                    <a:pt x="0" y="736"/>
                  </a:lnTo>
                  <a:lnTo>
                    <a:pt x="0" y="767"/>
                  </a:lnTo>
                  <a:lnTo>
                    <a:pt x="2" y="767"/>
                  </a:lnTo>
                  <a:lnTo>
                    <a:pt x="5" y="770"/>
                  </a:lnTo>
                  <a:lnTo>
                    <a:pt x="7" y="773"/>
                  </a:lnTo>
                  <a:lnTo>
                    <a:pt x="10" y="776"/>
                  </a:lnTo>
                  <a:lnTo>
                    <a:pt x="14" y="783"/>
                  </a:lnTo>
                  <a:lnTo>
                    <a:pt x="15" y="791"/>
                  </a:lnTo>
                  <a:lnTo>
                    <a:pt x="26" y="794"/>
                  </a:lnTo>
                  <a:lnTo>
                    <a:pt x="39" y="799"/>
                  </a:lnTo>
                  <a:lnTo>
                    <a:pt x="39" y="803"/>
                  </a:lnTo>
                  <a:lnTo>
                    <a:pt x="40" y="805"/>
                  </a:lnTo>
                  <a:lnTo>
                    <a:pt x="41" y="805"/>
                  </a:lnTo>
                  <a:lnTo>
                    <a:pt x="42" y="806"/>
                  </a:lnTo>
                  <a:lnTo>
                    <a:pt x="43" y="806"/>
                  </a:lnTo>
                  <a:lnTo>
                    <a:pt x="44" y="806"/>
                  </a:lnTo>
                  <a:lnTo>
                    <a:pt x="45" y="810"/>
                  </a:lnTo>
                  <a:lnTo>
                    <a:pt x="46" y="814"/>
                  </a:lnTo>
                  <a:lnTo>
                    <a:pt x="62" y="814"/>
                  </a:lnTo>
                  <a:lnTo>
                    <a:pt x="70" y="822"/>
                  </a:lnTo>
                  <a:lnTo>
                    <a:pt x="77" y="829"/>
                  </a:lnTo>
                  <a:lnTo>
                    <a:pt x="77" y="844"/>
                  </a:lnTo>
                  <a:lnTo>
                    <a:pt x="84" y="852"/>
                  </a:lnTo>
                  <a:lnTo>
                    <a:pt x="89" y="853"/>
                  </a:lnTo>
                  <a:lnTo>
                    <a:pt x="92" y="853"/>
                  </a:lnTo>
                  <a:lnTo>
                    <a:pt x="92" y="856"/>
                  </a:lnTo>
                  <a:lnTo>
                    <a:pt x="92" y="857"/>
                  </a:lnTo>
                  <a:lnTo>
                    <a:pt x="93" y="858"/>
                  </a:lnTo>
                  <a:lnTo>
                    <a:pt x="93" y="859"/>
                  </a:lnTo>
                  <a:lnTo>
                    <a:pt x="96" y="860"/>
                  </a:lnTo>
                  <a:lnTo>
                    <a:pt x="100" y="860"/>
                  </a:lnTo>
                  <a:lnTo>
                    <a:pt x="100" y="883"/>
                  </a:lnTo>
                  <a:lnTo>
                    <a:pt x="103" y="885"/>
                  </a:lnTo>
                  <a:lnTo>
                    <a:pt x="104" y="888"/>
                  </a:lnTo>
                  <a:lnTo>
                    <a:pt x="107" y="891"/>
                  </a:lnTo>
                  <a:lnTo>
                    <a:pt x="107" y="897"/>
                  </a:lnTo>
                  <a:lnTo>
                    <a:pt x="108" y="907"/>
                  </a:lnTo>
                  <a:lnTo>
                    <a:pt x="108" y="915"/>
                  </a:lnTo>
                  <a:lnTo>
                    <a:pt x="111" y="916"/>
                  </a:lnTo>
                  <a:lnTo>
                    <a:pt x="113" y="919"/>
                  </a:lnTo>
                  <a:lnTo>
                    <a:pt x="117" y="923"/>
                  </a:lnTo>
                  <a:lnTo>
                    <a:pt x="119" y="927"/>
                  </a:lnTo>
                  <a:lnTo>
                    <a:pt x="122" y="938"/>
                  </a:lnTo>
                  <a:lnTo>
                    <a:pt x="123" y="946"/>
                  </a:lnTo>
                  <a:lnTo>
                    <a:pt x="127" y="947"/>
                  </a:lnTo>
                  <a:lnTo>
                    <a:pt x="129" y="948"/>
                  </a:lnTo>
                  <a:lnTo>
                    <a:pt x="132" y="952"/>
                  </a:lnTo>
                  <a:lnTo>
                    <a:pt x="135" y="955"/>
                  </a:lnTo>
                  <a:lnTo>
                    <a:pt x="138" y="963"/>
                  </a:lnTo>
                  <a:lnTo>
                    <a:pt x="139" y="969"/>
                  </a:lnTo>
                  <a:lnTo>
                    <a:pt x="147" y="977"/>
                  </a:lnTo>
                  <a:lnTo>
                    <a:pt x="163" y="977"/>
                  </a:lnTo>
                  <a:lnTo>
                    <a:pt x="164" y="979"/>
                  </a:lnTo>
                  <a:lnTo>
                    <a:pt x="165" y="982"/>
                  </a:lnTo>
                  <a:lnTo>
                    <a:pt x="168" y="983"/>
                  </a:lnTo>
                  <a:lnTo>
                    <a:pt x="171" y="984"/>
                  </a:lnTo>
                  <a:lnTo>
                    <a:pt x="179" y="985"/>
                  </a:lnTo>
                  <a:lnTo>
                    <a:pt x="186" y="985"/>
                  </a:lnTo>
                  <a:lnTo>
                    <a:pt x="194" y="993"/>
                  </a:lnTo>
                  <a:lnTo>
                    <a:pt x="202" y="1001"/>
                  </a:lnTo>
                  <a:lnTo>
                    <a:pt x="209" y="1008"/>
                  </a:lnTo>
                  <a:lnTo>
                    <a:pt x="209" y="1011"/>
                  </a:lnTo>
                  <a:lnTo>
                    <a:pt x="211" y="1014"/>
                  </a:lnTo>
                  <a:lnTo>
                    <a:pt x="212" y="1016"/>
                  </a:lnTo>
                  <a:lnTo>
                    <a:pt x="214" y="1019"/>
                  </a:lnTo>
                  <a:lnTo>
                    <a:pt x="216" y="1021"/>
                  </a:lnTo>
                  <a:lnTo>
                    <a:pt x="219" y="1022"/>
                  </a:lnTo>
                  <a:lnTo>
                    <a:pt x="222" y="1023"/>
                  </a:lnTo>
                  <a:lnTo>
                    <a:pt x="225" y="1024"/>
                  </a:lnTo>
                  <a:lnTo>
                    <a:pt x="225" y="1026"/>
                  </a:lnTo>
                  <a:lnTo>
                    <a:pt x="226" y="1030"/>
                  </a:lnTo>
                  <a:lnTo>
                    <a:pt x="227" y="1032"/>
                  </a:lnTo>
                  <a:lnTo>
                    <a:pt x="230" y="1034"/>
                  </a:lnTo>
                  <a:lnTo>
                    <a:pt x="232" y="1036"/>
                  </a:lnTo>
                  <a:lnTo>
                    <a:pt x="235" y="1038"/>
                  </a:lnTo>
                  <a:lnTo>
                    <a:pt x="237" y="1039"/>
                  </a:lnTo>
                  <a:lnTo>
                    <a:pt x="241" y="1040"/>
                  </a:lnTo>
                  <a:lnTo>
                    <a:pt x="241" y="1042"/>
                  </a:lnTo>
                  <a:lnTo>
                    <a:pt x="243" y="1045"/>
                  </a:lnTo>
                  <a:lnTo>
                    <a:pt x="246" y="1048"/>
                  </a:lnTo>
                  <a:lnTo>
                    <a:pt x="250" y="1050"/>
                  </a:lnTo>
                  <a:lnTo>
                    <a:pt x="256" y="1053"/>
                  </a:lnTo>
                  <a:lnTo>
                    <a:pt x="264" y="1055"/>
                  </a:lnTo>
                  <a:lnTo>
                    <a:pt x="264" y="1060"/>
                  </a:lnTo>
                  <a:lnTo>
                    <a:pt x="265" y="1062"/>
                  </a:lnTo>
                  <a:lnTo>
                    <a:pt x="266" y="1062"/>
                  </a:lnTo>
                  <a:lnTo>
                    <a:pt x="267" y="1063"/>
                  </a:lnTo>
                  <a:lnTo>
                    <a:pt x="269" y="1063"/>
                  </a:lnTo>
                  <a:lnTo>
                    <a:pt x="271" y="1063"/>
                  </a:lnTo>
                  <a:lnTo>
                    <a:pt x="271" y="1065"/>
                  </a:lnTo>
                  <a:lnTo>
                    <a:pt x="272" y="1070"/>
                  </a:lnTo>
                  <a:lnTo>
                    <a:pt x="288" y="1070"/>
                  </a:lnTo>
                  <a:lnTo>
                    <a:pt x="288" y="1073"/>
                  </a:lnTo>
                  <a:lnTo>
                    <a:pt x="290" y="1077"/>
                  </a:lnTo>
                  <a:lnTo>
                    <a:pt x="292" y="1079"/>
                  </a:lnTo>
                  <a:lnTo>
                    <a:pt x="295" y="1081"/>
                  </a:lnTo>
                  <a:lnTo>
                    <a:pt x="303" y="1084"/>
                  </a:lnTo>
                  <a:lnTo>
                    <a:pt x="310" y="1086"/>
                  </a:lnTo>
                  <a:lnTo>
                    <a:pt x="318" y="1093"/>
                  </a:lnTo>
                  <a:lnTo>
                    <a:pt x="319" y="1098"/>
                  </a:lnTo>
                  <a:lnTo>
                    <a:pt x="320" y="1100"/>
                  </a:lnTo>
                  <a:lnTo>
                    <a:pt x="321" y="1101"/>
                  </a:lnTo>
                  <a:lnTo>
                    <a:pt x="322" y="1101"/>
                  </a:lnTo>
                  <a:lnTo>
                    <a:pt x="323" y="1101"/>
                  </a:lnTo>
                  <a:lnTo>
                    <a:pt x="324" y="1102"/>
                  </a:lnTo>
                  <a:lnTo>
                    <a:pt x="326" y="1104"/>
                  </a:lnTo>
                  <a:lnTo>
                    <a:pt x="326" y="1109"/>
                  </a:lnTo>
                  <a:lnTo>
                    <a:pt x="341" y="1109"/>
                  </a:lnTo>
                  <a:lnTo>
                    <a:pt x="342" y="1111"/>
                  </a:lnTo>
                  <a:lnTo>
                    <a:pt x="343" y="1113"/>
                  </a:lnTo>
                  <a:lnTo>
                    <a:pt x="344" y="1115"/>
                  </a:lnTo>
                  <a:lnTo>
                    <a:pt x="347" y="1117"/>
                  </a:lnTo>
                  <a:lnTo>
                    <a:pt x="353" y="1119"/>
                  </a:lnTo>
                  <a:lnTo>
                    <a:pt x="361" y="1120"/>
                  </a:lnTo>
                  <a:lnTo>
                    <a:pt x="381" y="1122"/>
                  </a:lnTo>
                  <a:lnTo>
                    <a:pt x="406" y="1122"/>
                  </a:lnTo>
                  <a:lnTo>
                    <a:pt x="453" y="1119"/>
                  </a:lnTo>
                  <a:lnTo>
                    <a:pt x="482" y="1117"/>
                  </a:lnTo>
                  <a:lnTo>
                    <a:pt x="482" y="1115"/>
                  </a:lnTo>
                  <a:lnTo>
                    <a:pt x="483" y="1112"/>
                  </a:lnTo>
                  <a:lnTo>
                    <a:pt x="484" y="1111"/>
                  </a:lnTo>
                  <a:lnTo>
                    <a:pt x="486" y="1110"/>
                  </a:lnTo>
                  <a:lnTo>
                    <a:pt x="492" y="1109"/>
                  </a:lnTo>
                  <a:lnTo>
                    <a:pt x="497" y="1109"/>
                  </a:lnTo>
                  <a:lnTo>
                    <a:pt x="524" y="1115"/>
                  </a:lnTo>
                  <a:lnTo>
                    <a:pt x="525" y="1111"/>
                  </a:lnTo>
                  <a:lnTo>
                    <a:pt x="526" y="1108"/>
                  </a:lnTo>
                  <a:lnTo>
                    <a:pt x="528" y="1106"/>
                  </a:lnTo>
                  <a:lnTo>
                    <a:pt x="530" y="1103"/>
                  </a:lnTo>
                  <a:lnTo>
                    <a:pt x="532" y="1101"/>
                  </a:lnTo>
                  <a:lnTo>
                    <a:pt x="534" y="1100"/>
                  </a:lnTo>
                  <a:lnTo>
                    <a:pt x="538" y="1099"/>
                  </a:lnTo>
                  <a:lnTo>
                    <a:pt x="540" y="1099"/>
                  </a:lnTo>
                  <a:lnTo>
                    <a:pt x="541" y="1094"/>
                  </a:lnTo>
                  <a:lnTo>
                    <a:pt x="541" y="1092"/>
                  </a:lnTo>
                  <a:lnTo>
                    <a:pt x="542" y="1091"/>
                  </a:lnTo>
                  <a:lnTo>
                    <a:pt x="544" y="1091"/>
                  </a:lnTo>
                  <a:lnTo>
                    <a:pt x="545" y="1091"/>
                  </a:lnTo>
                  <a:lnTo>
                    <a:pt x="547" y="1090"/>
                  </a:lnTo>
                  <a:lnTo>
                    <a:pt x="548" y="1088"/>
                  </a:lnTo>
                  <a:lnTo>
                    <a:pt x="548" y="1083"/>
                  </a:lnTo>
                  <a:lnTo>
                    <a:pt x="563" y="1083"/>
                  </a:lnTo>
                  <a:lnTo>
                    <a:pt x="563" y="1079"/>
                  </a:lnTo>
                  <a:lnTo>
                    <a:pt x="564" y="1077"/>
                  </a:lnTo>
                  <a:lnTo>
                    <a:pt x="566" y="1075"/>
                  </a:lnTo>
                  <a:lnTo>
                    <a:pt x="568" y="1075"/>
                  </a:lnTo>
                  <a:lnTo>
                    <a:pt x="569" y="1075"/>
                  </a:lnTo>
                  <a:lnTo>
                    <a:pt x="570" y="1074"/>
                  </a:lnTo>
                  <a:lnTo>
                    <a:pt x="571" y="1072"/>
                  </a:lnTo>
                  <a:lnTo>
                    <a:pt x="571" y="1068"/>
                  </a:lnTo>
                  <a:lnTo>
                    <a:pt x="647" y="1053"/>
                  </a:lnTo>
                  <a:lnTo>
                    <a:pt x="648" y="1052"/>
                  </a:lnTo>
                  <a:lnTo>
                    <a:pt x="650" y="1051"/>
                  </a:lnTo>
                  <a:lnTo>
                    <a:pt x="655" y="1050"/>
                  </a:lnTo>
                  <a:lnTo>
                    <a:pt x="659" y="1049"/>
                  </a:lnTo>
                  <a:lnTo>
                    <a:pt x="672" y="1048"/>
                  </a:lnTo>
                  <a:lnTo>
                    <a:pt x="687" y="1048"/>
                  </a:lnTo>
                  <a:lnTo>
                    <a:pt x="717" y="1046"/>
                  </a:lnTo>
                  <a:lnTo>
                    <a:pt x="739" y="1048"/>
                  </a:lnTo>
                  <a:lnTo>
                    <a:pt x="739" y="1044"/>
                  </a:lnTo>
                  <a:lnTo>
                    <a:pt x="740" y="1043"/>
                  </a:lnTo>
                  <a:lnTo>
                    <a:pt x="741" y="1041"/>
                  </a:lnTo>
                  <a:lnTo>
                    <a:pt x="743" y="1040"/>
                  </a:lnTo>
                  <a:lnTo>
                    <a:pt x="747" y="1040"/>
                  </a:lnTo>
                  <a:lnTo>
                    <a:pt x="754" y="1040"/>
                  </a:lnTo>
                  <a:lnTo>
                    <a:pt x="778" y="1016"/>
                  </a:lnTo>
                  <a:lnTo>
                    <a:pt x="792" y="1016"/>
                  </a:lnTo>
                  <a:lnTo>
                    <a:pt x="793" y="1012"/>
                  </a:lnTo>
                  <a:lnTo>
                    <a:pt x="794" y="1010"/>
                  </a:lnTo>
                  <a:lnTo>
                    <a:pt x="795" y="1008"/>
                  </a:lnTo>
                  <a:lnTo>
                    <a:pt x="797" y="1008"/>
                  </a:lnTo>
                  <a:lnTo>
                    <a:pt x="798" y="1008"/>
                  </a:lnTo>
                  <a:lnTo>
                    <a:pt x="799" y="1007"/>
                  </a:lnTo>
                  <a:lnTo>
                    <a:pt x="800" y="1005"/>
                  </a:lnTo>
                  <a:lnTo>
                    <a:pt x="800" y="1001"/>
                  </a:lnTo>
                  <a:lnTo>
                    <a:pt x="816" y="996"/>
                  </a:lnTo>
                  <a:lnTo>
                    <a:pt x="831" y="993"/>
                  </a:lnTo>
                  <a:lnTo>
                    <a:pt x="832" y="991"/>
                  </a:lnTo>
                  <a:lnTo>
                    <a:pt x="832" y="988"/>
                  </a:lnTo>
                  <a:lnTo>
                    <a:pt x="835" y="987"/>
                  </a:lnTo>
                  <a:lnTo>
                    <a:pt x="837" y="986"/>
                  </a:lnTo>
                  <a:lnTo>
                    <a:pt x="841" y="985"/>
                  </a:lnTo>
                  <a:lnTo>
                    <a:pt x="847" y="985"/>
                  </a:lnTo>
                  <a:lnTo>
                    <a:pt x="848" y="983"/>
                  </a:lnTo>
                  <a:lnTo>
                    <a:pt x="848" y="981"/>
                  </a:lnTo>
                  <a:lnTo>
                    <a:pt x="850" y="979"/>
                  </a:lnTo>
                  <a:lnTo>
                    <a:pt x="852" y="978"/>
                  </a:lnTo>
                  <a:lnTo>
                    <a:pt x="857" y="977"/>
                  </a:lnTo>
                  <a:lnTo>
                    <a:pt x="862" y="977"/>
                  </a:lnTo>
                  <a:lnTo>
                    <a:pt x="869" y="972"/>
                  </a:lnTo>
                  <a:lnTo>
                    <a:pt x="886" y="961"/>
                  </a:lnTo>
                  <a:lnTo>
                    <a:pt x="913" y="944"/>
                  </a:lnTo>
                  <a:lnTo>
                    <a:pt x="945" y="924"/>
                  </a:lnTo>
                  <a:lnTo>
                    <a:pt x="981" y="900"/>
                  </a:lnTo>
                  <a:lnTo>
                    <a:pt x="1019" y="875"/>
                  </a:lnTo>
                  <a:lnTo>
                    <a:pt x="1056" y="849"/>
                  </a:lnTo>
                  <a:lnTo>
                    <a:pt x="1090" y="823"/>
                  </a:lnTo>
                  <a:lnTo>
                    <a:pt x="1097" y="817"/>
                  </a:lnTo>
                  <a:lnTo>
                    <a:pt x="1105" y="810"/>
                  </a:lnTo>
                  <a:lnTo>
                    <a:pt x="1110" y="803"/>
                  </a:lnTo>
                  <a:lnTo>
                    <a:pt x="1116" y="795"/>
                  </a:lnTo>
                  <a:lnTo>
                    <a:pt x="1125" y="782"/>
                  </a:lnTo>
                  <a:lnTo>
                    <a:pt x="1131" y="770"/>
                  </a:lnTo>
                  <a:lnTo>
                    <a:pt x="1140" y="751"/>
                  </a:lnTo>
                  <a:lnTo>
                    <a:pt x="1145" y="743"/>
                  </a:lnTo>
                  <a:lnTo>
                    <a:pt x="1146" y="741"/>
                  </a:lnTo>
                  <a:lnTo>
                    <a:pt x="1148" y="741"/>
                  </a:lnTo>
                  <a:lnTo>
                    <a:pt x="1152" y="741"/>
                  </a:lnTo>
                  <a:lnTo>
                    <a:pt x="1157" y="743"/>
                  </a:lnTo>
                  <a:lnTo>
                    <a:pt x="1168" y="748"/>
                  </a:lnTo>
                  <a:lnTo>
                    <a:pt x="1183" y="757"/>
                  </a:lnTo>
                  <a:lnTo>
                    <a:pt x="1209" y="774"/>
                  </a:lnTo>
                  <a:lnTo>
                    <a:pt x="1221" y="783"/>
                  </a:lnTo>
                  <a:lnTo>
                    <a:pt x="1222" y="790"/>
                  </a:lnTo>
                  <a:lnTo>
                    <a:pt x="1225" y="798"/>
                  </a:lnTo>
                  <a:lnTo>
                    <a:pt x="1227" y="801"/>
                  </a:lnTo>
                  <a:lnTo>
                    <a:pt x="1230" y="803"/>
                  </a:lnTo>
                  <a:lnTo>
                    <a:pt x="1233" y="805"/>
                  </a:lnTo>
                  <a:lnTo>
                    <a:pt x="1236" y="806"/>
                  </a:lnTo>
                  <a:lnTo>
                    <a:pt x="1244" y="822"/>
                  </a:lnTo>
                  <a:lnTo>
                    <a:pt x="1252" y="837"/>
                  </a:lnTo>
                  <a:lnTo>
                    <a:pt x="1257" y="838"/>
                  </a:lnTo>
                  <a:lnTo>
                    <a:pt x="1259" y="839"/>
                  </a:lnTo>
                  <a:lnTo>
                    <a:pt x="1259" y="840"/>
                  </a:lnTo>
                  <a:lnTo>
                    <a:pt x="1259" y="841"/>
                  </a:lnTo>
                  <a:lnTo>
                    <a:pt x="1260" y="842"/>
                  </a:lnTo>
                  <a:lnTo>
                    <a:pt x="1260" y="843"/>
                  </a:lnTo>
                  <a:lnTo>
                    <a:pt x="1262" y="844"/>
                  </a:lnTo>
                  <a:lnTo>
                    <a:pt x="1267" y="844"/>
                  </a:lnTo>
                  <a:lnTo>
                    <a:pt x="1268" y="848"/>
                  </a:lnTo>
                  <a:lnTo>
                    <a:pt x="1270" y="852"/>
                  </a:lnTo>
                  <a:lnTo>
                    <a:pt x="1272" y="856"/>
                  </a:lnTo>
                  <a:lnTo>
                    <a:pt x="1275" y="859"/>
                  </a:lnTo>
                  <a:lnTo>
                    <a:pt x="1280" y="863"/>
                  </a:lnTo>
                  <a:lnTo>
                    <a:pt x="1283" y="866"/>
                  </a:lnTo>
                  <a:lnTo>
                    <a:pt x="1287" y="868"/>
                  </a:lnTo>
                  <a:lnTo>
                    <a:pt x="1290" y="868"/>
                  </a:lnTo>
                  <a:lnTo>
                    <a:pt x="1291" y="872"/>
                  </a:lnTo>
                  <a:lnTo>
                    <a:pt x="1294" y="877"/>
                  </a:lnTo>
                  <a:lnTo>
                    <a:pt x="1298" y="882"/>
                  </a:lnTo>
                  <a:lnTo>
                    <a:pt x="1302" y="888"/>
                  </a:lnTo>
                  <a:lnTo>
                    <a:pt x="1307" y="894"/>
                  </a:lnTo>
                  <a:lnTo>
                    <a:pt x="1310" y="899"/>
                  </a:lnTo>
                  <a:lnTo>
                    <a:pt x="1312" y="904"/>
                  </a:lnTo>
                  <a:lnTo>
                    <a:pt x="1313" y="907"/>
                  </a:lnTo>
                  <a:lnTo>
                    <a:pt x="1326" y="911"/>
                  </a:lnTo>
                  <a:lnTo>
                    <a:pt x="1337" y="915"/>
                  </a:lnTo>
                  <a:lnTo>
                    <a:pt x="1337" y="918"/>
                  </a:lnTo>
                  <a:lnTo>
                    <a:pt x="1338" y="920"/>
                  </a:lnTo>
                  <a:lnTo>
                    <a:pt x="1340" y="924"/>
                  </a:lnTo>
                  <a:lnTo>
                    <a:pt x="1342" y="926"/>
                  </a:lnTo>
                  <a:lnTo>
                    <a:pt x="1345" y="928"/>
                  </a:lnTo>
                  <a:lnTo>
                    <a:pt x="1347" y="929"/>
                  </a:lnTo>
                  <a:lnTo>
                    <a:pt x="1349" y="930"/>
                  </a:lnTo>
                  <a:lnTo>
                    <a:pt x="1353" y="930"/>
                  </a:lnTo>
                  <a:lnTo>
                    <a:pt x="1354" y="933"/>
                  </a:lnTo>
                  <a:lnTo>
                    <a:pt x="1355" y="935"/>
                  </a:lnTo>
                  <a:lnTo>
                    <a:pt x="1357" y="937"/>
                  </a:lnTo>
                  <a:lnTo>
                    <a:pt x="1360" y="939"/>
                  </a:lnTo>
                  <a:lnTo>
                    <a:pt x="1364" y="942"/>
                  </a:lnTo>
                  <a:lnTo>
                    <a:pt x="1366" y="945"/>
                  </a:lnTo>
                  <a:lnTo>
                    <a:pt x="1367" y="948"/>
                  </a:lnTo>
                  <a:lnTo>
                    <a:pt x="1368" y="954"/>
                  </a:lnTo>
                  <a:lnTo>
                    <a:pt x="1384" y="954"/>
                  </a:lnTo>
                  <a:lnTo>
                    <a:pt x="1395" y="969"/>
                  </a:lnTo>
                  <a:lnTo>
                    <a:pt x="1407" y="985"/>
                  </a:lnTo>
                  <a:lnTo>
                    <a:pt x="1415" y="993"/>
                  </a:lnTo>
                  <a:lnTo>
                    <a:pt x="1421" y="994"/>
                  </a:lnTo>
                  <a:lnTo>
                    <a:pt x="1426" y="997"/>
                  </a:lnTo>
                  <a:lnTo>
                    <a:pt x="1432" y="1003"/>
                  </a:lnTo>
                  <a:lnTo>
                    <a:pt x="1438" y="1008"/>
                  </a:lnTo>
                  <a:lnTo>
                    <a:pt x="1444" y="1014"/>
                  </a:lnTo>
                  <a:lnTo>
                    <a:pt x="1450" y="1019"/>
                  </a:lnTo>
                  <a:lnTo>
                    <a:pt x="1455" y="1022"/>
                  </a:lnTo>
                  <a:lnTo>
                    <a:pt x="1462" y="1024"/>
                  </a:lnTo>
                  <a:lnTo>
                    <a:pt x="1462" y="1026"/>
                  </a:lnTo>
                  <a:lnTo>
                    <a:pt x="1464" y="1030"/>
                  </a:lnTo>
                  <a:lnTo>
                    <a:pt x="1466" y="1032"/>
                  </a:lnTo>
                  <a:lnTo>
                    <a:pt x="1470" y="1034"/>
                  </a:lnTo>
                  <a:lnTo>
                    <a:pt x="1478" y="1038"/>
                  </a:lnTo>
                  <a:lnTo>
                    <a:pt x="1485" y="1040"/>
                  </a:lnTo>
                  <a:lnTo>
                    <a:pt x="1485" y="1044"/>
                  </a:lnTo>
                  <a:lnTo>
                    <a:pt x="1486" y="1046"/>
                  </a:lnTo>
                  <a:lnTo>
                    <a:pt x="1488" y="1046"/>
                  </a:lnTo>
                  <a:lnTo>
                    <a:pt x="1489" y="1048"/>
                  </a:lnTo>
                  <a:lnTo>
                    <a:pt x="1490" y="1048"/>
                  </a:lnTo>
                  <a:lnTo>
                    <a:pt x="1491" y="1048"/>
                  </a:lnTo>
                  <a:lnTo>
                    <a:pt x="1492" y="1051"/>
                  </a:lnTo>
                  <a:lnTo>
                    <a:pt x="1493" y="1055"/>
                  </a:lnTo>
                  <a:lnTo>
                    <a:pt x="1495" y="1055"/>
                  </a:lnTo>
                  <a:lnTo>
                    <a:pt x="1500" y="1058"/>
                  </a:lnTo>
                  <a:lnTo>
                    <a:pt x="1504" y="1060"/>
                  </a:lnTo>
                  <a:lnTo>
                    <a:pt x="1508" y="1063"/>
                  </a:lnTo>
                  <a:lnTo>
                    <a:pt x="1517" y="1071"/>
                  </a:lnTo>
                  <a:lnTo>
                    <a:pt x="1523" y="1078"/>
                  </a:lnTo>
                  <a:lnTo>
                    <a:pt x="1523" y="1093"/>
                  </a:lnTo>
                  <a:lnTo>
                    <a:pt x="1527" y="1094"/>
                  </a:lnTo>
                  <a:lnTo>
                    <a:pt x="1529" y="1096"/>
                  </a:lnTo>
                  <a:lnTo>
                    <a:pt x="1532" y="1097"/>
                  </a:lnTo>
                  <a:lnTo>
                    <a:pt x="1534" y="1099"/>
                  </a:lnTo>
                  <a:lnTo>
                    <a:pt x="1537" y="1101"/>
                  </a:lnTo>
                  <a:lnTo>
                    <a:pt x="1538" y="1103"/>
                  </a:lnTo>
                  <a:lnTo>
                    <a:pt x="1539" y="1107"/>
                  </a:lnTo>
                  <a:lnTo>
                    <a:pt x="1539" y="1109"/>
                  </a:lnTo>
                  <a:lnTo>
                    <a:pt x="1547" y="1117"/>
                  </a:lnTo>
                  <a:lnTo>
                    <a:pt x="1562" y="1117"/>
                  </a:lnTo>
                  <a:lnTo>
                    <a:pt x="1578" y="1132"/>
                  </a:lnTo>
                  <a:lnTo>
                    <a:pt x="1590" y="1132"/>
                  </a:lnTo>
                  <a:lnTo>
                    <a:pt x="1601" y="1132"/>
                  </a:lnTo>
                  <a:lnTo>
                    <a:pt x="1601" y="1157"/>
                  </a:lnTo>
                  <a:lnTo>
                    <a:pt x="1601" y="1181"/>
                  </a:lnTo>
                  <a:lnTo>
                    <a:pt x="1603" y="1207"/>
                  </a:lnTo>
                  <a:lnTo>
                    <a:pt x="1603" y="1232"/>
                  </a:lnTo>
                  <a:lnTo>
                    <a:pt x="1604" y="1257"/>
                  </a:lnTo>
                  <a:lnTo>
                    <a:pt x="1604" y="1281"/>
                  </a:lnTo>
                  <a:lnTo>
                    <a:pt x="1605" y="1304"/>
                  </a:lnTo>
                  <a:lnTo>
                    <a:pt x="1605" y="1325"/>
                  </a:lnTo>
                  <a:lnTo>
                    <a:pt x="1603" y="1327"/>
                  </a:lnTo>
                  <a:lnTo>
                    <a:pt x="1600" y="1329"/>
                  </a:lnTo>
                  <a:lnTo>
                    <a:pt x="1599" y="1332"/>
                  </a:lnTo>
                  <a:lnTo>
                    <a:pt x="1598" y="1337"/>
                  </a:lnTo>
                  <a:lnTo>
                    <a:pt x="1598" y="1348"/>
                  </a:lnTo>
                  <a:lnTo>
                    <a:pt x="1599" y="1361"/>
                  </a:lnTo>
                  <a:lnTo>
                    <a:pt x="1603" y="1385"/>
                  </a:lnTo>
                  <a:lnTo>
                    <a:pt x="1605" y="1396"/>
                  </a:lnTo>
                  <a:lnTo>
                    <a:pt x="1623" y="1396"/>
                  </a:lnTo>
                  <a:lnTo>
                    <a:pt x="1642" y="1395"/>
                  </a:lnTo>
                  <a:lnTo>
                    <a:pt x="1662" y="1394"/>
                  </a:lnTo>
                  <a:lnTo>
                    <a:pt x="1683" y="1394"/>
                  </a:lnTo>
                  <a:lnTo>
                    <a:pt x="1704" y="1392"/>
                  </a:lnTo>
                  <a:lnTo>
                    <a:pt x="1726" y="1391"/>
                  </a:lnTo>
                  <a:lnTo>
                    <a:pt x="1750" y="1390"/>
                  </a:lnTo>
                  <a:lnTo>
                    <a:pt x="1772" y="1390"/>
                  </a:lnTo>
                  <a:lnTo>
                    <a:pt x="1773" y="1389"/>
                  </a:lnTo>
                  <a:lnTo>
                    <a:pt x="1774" y="1388"/>
                  </a:lnTo>
                  <a:lnTo>
                    <a:pt x="1778" y="1387"/>
                  </a:lnTo>
                  <a:lnTo>
                    <a:pt x="1781" y="1386"/>
                  </a:lnTo>
                  <a:lnTo>
                    <a:pt x="1790" y="1385"/>
                  </a:lnTo>
                  <a:lnTo>
                    <a:pt x="1801" y="1383"/>
                  </a:lnTo>
                  <a:lnTo>
                    <a:pt x="1821" y="1382"/>
                  </a:lnTo>
                  <a:lnTo>
                    <a:pt x="1835" y="1382"/>
                  </a:lnTo>
                  <a:lnTo>
                    <a:pt x="1843" y="1398"/>
                  </a:lnTo>
                  <a:lnTo>
                    <a:pt x="1848" y="1399"/>
                  </a:lnTo>
                  <a:lnTo>
                    <a:pt x="1854" y="1402"/>
                  </a:lnTo>
                  <a:lnTo>
                    <a:pt x="1859" y="1408"/>
                  </a:lnTo>
                  <a:lnTo>
                    <a:pt x="1865" y="1414"/>
                  </a:lnTo>
                  <a:lnTo>
                    <a:pt x="1869" y="1419"/>
                  </a:lnTo>
                  <a:lnTo>
                    <a:pt x="1874" y="1425"/>
                  </a:lnTo>
                  <a:lnTo>
                    <a:pt x="1878" y="1428"/>
                  </a:lnTo>
                  <a:lnTo>
                    <a:pt x="1882" y="1429"/>
                  </a:lnTo>
                  <a:lnTo>
                    <a:pt x="1882" y="1445"/>
                  </a:lnTo>
                  <a:lnTo>
                    <a:pt x="1884" y="1454"/>
                  </a:lnTo>
                  <a:lnTo>
                    <a:pt x="1889" y="1475"/>
                  </a:lnTo>
                  <a:lnTo>
                    <a:pt x="1895" y="1496"/>
                  </a:lnTo>
                  <a:lnTo>
                    <a:pt x="1897" y="1506"/>
                  </a:lnTo>
                  <a:lnTo>
                    <a:pt x="1902" y="1506"/>
                  </a:lnTo>
                  <a:lnTo>
                    <a:pt x="1904" y="1507"/>
                  </a:lnTo>
                  <a:lnTo>
                    <a:pt x="1905" y="1508"/>
                  </a:lnTo>
                  <a:lnTo>
                    <a:pt x="1905" y="1510"/>
                  </a:lnTo>
                  <a:lnTo>
                    <a:pt x="1905" y="1511"/>
                  </a:lnTo>
                  <a:lnTo>
                    <a:pt x="1906" y="1513"/>
                  </a:lnTo>
                  <a:lnTo>
                    <a:pt x="1908" y="1513"/>
                  </a:lnTo>
                  <a:lnTo>
                    <a:pt x="1913" y="1514"/>
                  </a:lnTo>
                  <a:lnTo>
                    <a:pt x="1916" y="1530"/>
                  </a:lnTo>
                  <a:lnTo>
                    <a:pt x="1921" y="1544"/>
                  </a:lnTo>
                  <a:lnTo>
                    <a:pt x="1929" y="1552"/>
                  </a:lnTo>
                  <a:lnTo>
                    <a:pt x="1931" y="1553"/>
                  </a:lnTo>
                  <a:lnTo>
                    <a:pt x="1934" y="1554"/>
                  </a:lnTo>
                  <a:lnTo>
                    <a:pt x="1936" y="1555"/>
                  </a:lnTo>
                  <a:lnTo>
                    <a:pt x="1939" y="1558"/>
                  </a:lnTo>
                  <a:lnTo>
                    <a:pt x="1941" y="1560"/>
                  </a:lnTo>
                  <a:lnTo>
                    <a:pt x="1942" y="1562"/>
                  </a:lnTo>
                  <a:lnTo>
                    <a:pt x="1943" y="1565"/>
                  </a:lnTo>
                  <a:lnTo>
                    <a:pt x="1944" y="1568"/>
                  </a:lnTo>
                  <a:lnTo>
                    <a:pt x="1952" y="1575"/>
                  </a:lnTo>
                  <a:lnTo>
                    <a:pt x="1960" y="1583"/>
                  </a:lnTo>
                  <a:lnTo>
                    <a:pt x="1974" y="1583"/>
                  </a:lnTo>
                  <a:lnTo>
                    <a:pt x="1974" y="1599"/>
                  </a:lnTo>
                  <a:lnTo>
                    <a:pt x="1978" y="1600"/>
                  </a:lnTo>
                  <a:lnTo>
                    <a:pt x="1979" y="1600"/>
                  </a:lnTo>
                  <a:lnTo>
                    <a:pt x="1981" y="1602"/>
                  </a:lnTo>
                  <a:lnTo>
                    <a:pt x="1982" y="1604"/>
                  </a:lnTo>
                  <a:lnTo>
                    <a:pt x="1982" y="1609"/>
                  </a:lnTo>
                  <a:lnTo>
                    <a:pt x="1982" y="1615"/>
                  </a:lnTo>
                  <a:lnTo>
                    <a:pt x="1984" y="1616"/>
                  </a:lnTo>
                  <a:lnTo>
                    <a:pt x="1985" y="1619"/>
                  </a:lnTo>
                  <a:lnTo>
                    <a:pt x="1987" y="1625"/>
                  </a:lnTo>
                  <a:lnTo>
                    <a:pt x="1987" y="1632"/>
                  </a:lnTo>
                  <a:lnTo>
                    <a:pt x="1989" y="1650"/>
                  </a:lnTo>
                  <a:lnTo>
                    <a:pt x="1990" y="1671"/>
                  </a:lnTo>
                  <a:lnTo>
                    <a:pt x="1990" y="1713"/>
                  </a:lnTo>
                  <a:lnTo>
                    <a:pt x="1990" y="1740"/>
                  </a:lnTo>
                  <a:lnTo>
                    <a:pt x="1993" y="1740"/>
                  </a:lnTo>
                  <a:lnTo>
                    <a:pt x="1997" y="1741"/>
                  </a:lnTo>
                  <a:lnTo>
                    <a:pt x="1999" y="1742"/>
                  </a:lnTo>
                  <a:lnTo>
                    <a:pt x="2001" y="1744"/>
                  </a:lnTo>
                  <a:lnTo>
                    <a:pt x="2003" y="1746"/>
                  </a:lnTo>
                  <a:lnTo>
                    <a:pt x="2004" y="1748"/>
                  </a:lnTo>
                  <a:lnTo>
                    <a:pt x="2006" y="1752"/>
                  </a:lnTo>
                  <a:lnTo>
                    <a:pt x="2006" y="1755"/>
                  </a:lnTo>
                  <a:lnTo>
                    <a:pt x="2013" y="1763"/>
                  </a:lnTo>
                  <a:lnTo>
                    <a:pt x="2021" y="1771"/>
                  </a:lnTo>
                  <a:lnTo>
                    <a:pt x="2025" y="1771"/>
                  </a:lnTo>
                  <a:lnTo>
                    <a:pt x="2028" y="1773"/>
                  </a:lnTo>
                  <a:lnTo>
                    <a:pt x="2032" y="1775"/>
                  </a:lnTo>
                  <a:lnTo>
                    <a:pt x="2036" y="1779"/>
                  </a:lnTo>
                  <a:lnTo>
                    <a:pt x="2039" y="1783"/>
                  </a:lnTo>
                  <a:lnTo>
                    <a:pt x="2042" y="1786"/>
                  </a:lnTo>
                  <a:lnTo>
                    <a:pt x="2045" y="1791"/>
                  </a:lnTo>
                  <a:lnTo>
                    <a:pt x="2045" y="1793"/>
                  </a:lnTo>
                  <a:lnTo>
                    <a:pt x="2051" y="1795"/>
                  </a:lnTo>
                  <a:lnTo>
                    <a:pt x="2058" y="1799"/>
                  </a:lnTo>
                  <a:lnTo>
                    <a:pt x="2065" y="1803"/>
                  </a:lnTo>
                  <a:lnTo>
                    <a:pt x="2073" y="1809"/>
                  </a:lnTo>
                  <a:lnTo>
                    <a:pt x="2079" y="1815"/>
                  </a:lnTo>
                  <a:lnTo>
                    <a:pt x="2086" y="1820"/>
                  </a:lnTo>
                  <a:lnTo>
                    <a:pt x="2093" y="1823"/>
                  </a:lnTo>
                  <a:lnTo>
                    <a:pt x="2099" y="1824"/>
                  </a:lnTo>
                  <a:lnTo>
                    <a:pt x="2099" y="1829"/>
                  </a:lnTo>
                  <a:lnTo>
                    <a:pt x="2100" y="1831"/>
                  </a:lnTo>
                  <a:lnTo>
                    <a:pt x="2102" y="1832"/>
                  </a:lnTo>
                  <a:lnTo>
                    <a:pt x="2103" y="1832"/>
                  </a:lnTo>
                  <a:lnTo>
                    <a:pt x="2105" y="1832"/>
                  </a:lnTo>
                  <a:lnTo>
                    <a:pt x="2106" y="1833"/>
                  </a:lnTo>
                  <a:lnTo>
                    <a:pt x="2107" y="1835"/>
                  </a:lnTo>
                  <a:lnTo>
                    <a:pt x="2107" y="1840"/>
                  </a:lnTo>
                  <a:lnTo>
                    <a:pt x="2123" y="1840"/>
                  </a:lnTo>
                  <a:lnTo>
                    <a:pt x="2124" y="1843"/>
                  </a:lnTo>
                  <a:lnTo>
                    <a:pt x="2127" y="1844"/>
                  </a:lnTo>
                  <a:lnTo>
                    <a:pt x="2133" y="1847"/>
                  </a:lnTo>
                  <a:lnTo>
                    <a:pt x="2140" y="1847"/>
                  </a:lnTo>
                  <a:lnTo>
                    <a:pt x="2152" y="1848"/>
                  </a:lnTo>
                  <a:lnTo>
                    <a:pt x="2162" y="1848"/>
                  </a:lnTo>
                  <a:lnTo>
                    <a:pt x="2162" y="1843"/>
                  </a:lnTo>
                  <a:lnTo>
                    <a:pt x="2163" y="1841"/>
                  </a:lnTo>
                  <a:lnTo>
                    <a:pt x="2164" y="1840"/>
                  </a:lnTo>
                  <a:lnTo>
                    <a:pt x="2165" y="1840"/>
                  </a:lnTo>
                  <a:lnTo>
                    <a:pt x="2166" y="1840"/>
                  </a:lnTo>
                  <a:lnTo>
                    <a:pt x="2169" y="1839"/>
                  </a:lnTo>
                  <a:lnTo>
                    <a:pt x="2169" y="1837"/>
                  </a:lnTo>
                  <a:lnTo>
                    <a:pt x="2170" y="1832"/>
                  </a:lnTo>
                  <a:lnTo>
                    <a:pt x="2172" y="1832"/>
                  </a:lnTo>
                  <a:lnTo>
                    <a:pt x="2175" y="1831"/>
                  </a:lnTo>
                  <a:lnTo>
                    <a:pt x="2177" y="1830"/>
                  </a:lnTo>
                  <a:lnTo>
                    <a:pt x="2180" y="1828"/>
                  </a:lnTo>
                  <a:lnTo>
                    <a:pt x="2182" y="1825"/>
                  </a:lnTo>
                  <a:lnTo>
                    <a:pt x="2183" y="1822"/>
                  </a:lnTo>
                  <a:lnTo>
                    <a:pt x="2184" y="1820"/>
                  </a:lnTo>
                  <a:lnTo>
                    <a:pt x="2185" y="1817"/>
                  </a:lnTo>
                  <a:lnTo>
                    <a:pt x="2193" y="1809"/>
                  </a:lnTo>
                  <a:lnTo>
                    <a:pt x="2198" y="1809"/>
                  </a:lnTo>
                  <a:lnTo>
                    <a:pt x="2200" y="1808"/>
                  </a:lnTo>
                  <a:lnTo>
                    <a:pt x="2200" y="1806"/>
                  </a:lnTo>
                  <a:lnTo>
                    <a:pt x="2201" y="1805"/>
                  </a:lnTo>
                  <a:lnTo>
                    <a:pt x="2201" y="1804"/>
                  </a:lnTo>
                  <a:lnTo>
                    <a:pt x="2201" y="1803"/>
                  </a:lnTo>
                  <a:lnTo>
                    <a:pt x="2203" y="1802"/>
                  </a:lnTo>
                  <a:lnTo>
                    <a:pt x="2208" y="1801"/>
                  </a:lnTo>
                  <a:lnTo>
                    <a:pt x="2210" y="1790"/>
                  </a:lnTo>
                  <a:lnTo>
                    <a:pt x="2212" y="1779"/>
                  </a:lnTo>
                  <a:lnTo>
                    <a:pt x="2214" y="1766"/>
                  </a:lnTo>
                  <a:lnTo>
                    <a:pt x="2215" y="1755"/>
                  </a:lnTo>
                  <a:lnTo>
                    <a:pt x="2219" y="1754"/>
                  </a:lnTo>
                  <a:lnTo>
                    <a:pt x="2220" y="1753"/>
                  </a:lnTo>
                  <a:lnTo>
                    <a:pt x="2222" y="1752"/>
                  </a:lnTo>
                  <a:lnTo>
                    <a:pt x="2223" y="1750"/>
                  </a:lnTo>
                  <a:lnTo>
                    <a:pt x="2223" y="1745"/>
                  </a:lnTo>
                  <a:lnTo>
                    <a:pt x="2223" y="1740"/>
                  </a:lnTo>
                  <a:lnTo>
                    <a:pt x="2227" y="1738"/>
                  </a:lnTo>
                  <a:lnTo>
                    <a:pt x="2228" y="1737"/>
                  </a:lnTo>
                  <a:lnTo>
                    <a:pt x="2230" y="1736"/>
                  </a:lnTo>
                  <a:lnTo>
                    <a:pt x="2231" y="1734"/>
                  </a:lnTo>
                  <a:lnTo>
                    <a:pt x="2231" y="1729"/>
                  </a:lnTo>
                  <a:lnTo>
                    <a:pt x="2231" y="1724"/>
                  </a:lnTo>
                  <a:lnTo>
                    <a:pt x="2234" y="1723"/>
                  </a:lnTo>
                  <a:lnTo>
                    <a:pt x="2236" y="1723"/>
                  </a:lnTo>
                  <a:lnTo>
                    <a:pt x="2238" y="1721"/>
                  </a:lnTo>
                  <a:lnTo>
                    <a:pt x="2238" y="1718"/>
                  </a:lnTo>
                  <a:lnTo>
                    <a:pt x="2239" y="1714"/>
                  </a:lnTo>
                  <a:lnTo>
                    <a:pt x="2239" y="1708"/>
                  </a:lnTo>
                  <a:lnTo>
                    <a:pt x="2250" y="1695"/>
                  </a:lnTo>
                  <a:lnTo>
                    <a:pt x="2267" y="1674"/>
                  </a:lnTo>
                  <a:lnTo>
                    <a:pt x="2275" y="1664"/>
                  </a:lnTo>
                  <a:lnTo>
                    <a:pt x="2284" y="1655"/>
                  </a:lnTo>
                  <a:lnTo>
                    <a:pt x="2289" y="1648"/>
                  </a:lnTo>
                  <a:lnTo>
                    <a:pt x="2294" y="1646"/>
                  </a:lnTo>
                  <a:lnTo>
                    <a:pt x="2294" y="1630"/>
                  </a:lnTo>
                  <a:lnTo>
                    <a:pt x="2297" y="1630"/>
                  </a:lnTo>
                  <a:lnTo>
                    <a:pt x="2300" y="1629"/>
                  </a:lnTo>
                  <a:lnTo>
                    <a:pt x="2303" y="1627"/>
                  </a:lnTo>
                  <a:lnTo>
                    <a:pt x="2306" y="1625"/>
                  </a:lnTo>
                  <a:lnTo>
                    <a:pt x="2309" y="1617"/>
                  </a:lnTo>
                  <a:lnTo>
                    <a:pt x="2313" y="1608"/>
                  </a:lnTo>
                  <a:lnTo>
                    <a:pt x="2315" y="1598"/>
                  </a:lnTo>
                  <a:lnTo>
                    <a:pt x="2316" y="1585"/>
                  </a:lnTo>
                  <a:lnTo>
                    <a:pt x="2316" y="1572"/>
                  </a:lnTo>
                  <a:lnTo>
                    <a:pt x="2316" y="1559"/>
                  </a:lnTo>
                  <a:lnTo>
                    <a:pt x="2313" y="1505"/>
                  </a:lnTo>
                  <a:lnTo>
                    <a:pt x="2309" y="1475"/>
                  </a:lnTo>
                  <a:lnTo>
                    <a:pt x="2305" y="1474"/>
                  </a:lnTo>
                  <a:lnTo>
                    <a:pt x="2303" y="1474"/>
                  </a:lnTo>
                  <a:lnTo>
                    <a:pt x="2301" y="1473"/>
                  </a:lnTo>
                  <a:lnTo>
                    <a:pt x="2301" y="1471"/>
                  </a:lnTo>
                  <a:lnTo>
                    <a:pt x="2301" y="1469"/>
                  </a:lnTo>
                  <a:lnTo>
                    <a:pt x="2300" y="1468"/>
                  </a:lnTo>
                  <a:lnTo>
                    <a:pt x="2298" y="1467"/>
                  </a:lnTo>
                  <a:lnTo>
                    <a:pt x="2294" y="1467"/>
                  </a:lnTo>
                  <a:lnTo>
                    <a:pt x="2292" y="1462"/>
                  </a:lnTo>
                  <a:lnTo>
                    <a:pt x="2289" y="1455"/>
                  </a:lnTo>
                  <a:lnTo>
                    <a:pt x="2284" y="1449"/>
                  </a:lnTo>
                  <a:lnTo>
                    <a:pt x="2278" y="1444"/>
                  </a:lnTo>
                  <a:lnTo>
                    <a:pt x="2272" y="1438"/>
                  </a:lnTo>
                  <a:lnTo>
                    <a:pt x="2268" y="1431"/>
                  </a:lnTo>
                  <a:lnTo>
                    <a:pt x="2263" y="1426"/>
                  </a:lnTo>
                  <a:lnTo>
                    <a:pt x="2262" y="1420"/>
                  </a:lnTo>
                  <a:lnTo>
                    <a:pt x="2260" y="1420"/>
                  </a:lnTo>
                  <a:lnTo>
                    <a:pt x="2257" y="1419"/>
                  </a:lnTo>
                  <a:lnTo>
                    <a:pt x="2255" y="1417"/>
                  </a:lnTo>
                  <a:lnTo>
                    <a:pt x="2252" y="1416"/>
                  </a:lnTo>
                  <a:lnTo>
                    <a:pt x="2250" y="1414"/>
                  </a:lnTo>
                  <a:lnTo>
                    <a:pt x="2249" y="1410"/>
                  </a:lnTo>
                  <a:lnTo>
                    <a:pt x="2248" y="1408"/>
                  </a:lnTo>
                  <a:lnTo>
                    <a:pt x="2247" y="1405"/>
                  </a:lnTo>
                  <a:lnTo>
                    <a:pt x="2242" y="1405"/>
                  </a:lnTo>
                  <a:lnTo>
                    <a:pt x="2240" y="1404"/>
                  </a:lnTo>
                  <a:lnTo>
                    <a:pt x="2239" y="1402"/>
                  </a:lnTo>
                  <a:lnTo>
                    <a:pt x="2239" y="1401"/>
                  </a:lnTo>
                  <a:lnTo>
                    <a:pt x="2239" y="1399"/>
                  </a:lnTo>
                  <a:lnTo>
                    <a:pt x="2238" y="1398"/>
                  </a:lnTo>
                  <a:lnTo>
                    <a:pt x="2236" y="1397"/>
                  </a:lnTo>
                  <a:lnTo>
                    <a:pt x="2231" y="1397"/>
                  </a:lnTo>
                  <a:lnTo>
                    <a:pt x="2231" y="1395"/>
                  </a:lnTo>
                  <a:lnTo>
                    <a:pt x="2230" y="1391"/>
                  </a:lnTo>
                  <a:lnTo>
                    <a:pt x="2229" y="1389"/>
                  </a:lnTo>
                  <a:lnTo>
                    <a:pt x="2227" y="1387"/>
                  </a:lnTo>
                  <a:lnTo>
                    <a:pt x="2224" y="1385"/>
                  </a:lnTo>
                  <a:lnTo>
                    <a:pt x="2222" y="1382"/>
                  </a:lnTo>
                  <a:lnTo>
                    <a:pt x="2219" y="1381"/>
                  </a:lnTo>
                  <a:lnTo>
                    <a:pt x="2215" y="1381"/>
                  </a:lnTo>
                  <a:lnTo>
                    <a:pt x="2215" y="1377"/>
                  </a:lnTo>
                  <a:lnTo>
                    <a:pt x="2214" y="1375"/>
                  </a:lnTo>
                  <a:lnTo>
                    <a:pt x="2213" y="1373"/>
                  </a:lnTo>
                  <a:lnTo>
                    <a:pt x="2212" y="1373"/>
                  </a:lnTo>
                  <a:lnTo>
                    <a:pt x="2211" y="1373"/>
                  </a:lnTo>
                  <a:lnTo>
                    <a:pt x="2210" y="1372"/>
                  </a:lnTo>
                  <a:lnTo>
                    <a:pt x="2209" y="1370"/>
                  </a:lnTo>
                  <a:lnTo>
                    <a:pt x="2208" y="1366"/>
                  </a:lnTo>
                  <a:lnTo>
                    <a:pt x="2203" y="1365"/>
                  </a:lnTo>
                  <a:lnTo>
                    <a:pt x="2195" y="1360"/>
                  </a:lnTo>
                  <a:lnTo>
                    <a:pt x="2185" y="1353"/>
                  </a:lnTo>
                  <a:lnTo>
                    <a:pt x="2174" y="1346"/>
                  </a:lnTo>
                  <a:lnTo>
                    <a:pt x="2164" y="1338"/>
                  </a:lnTo>
                  <a:lnTo>
                    <a:pt x="2154" y="1330"/>
                  </a:lnTo>
                  <a:lnTo>
                    <a:pt x="2148" y="1323"/>
                  </a:lnTo>
                  <a:lnTo>
                    <a:pt x="2146" y="1319"/>
                  </a:lnTo>
                  <a:lnTo>
                    <a:pt x="2138" y="1319"/>
                  </a:lnTo>
                  <a:lnTo>
                    <a:pt x="2133" y="1317"/>
                  </a:lnTo>
                  <a:lnTo>
                    <a:pt x="2128" y="1312"/>
                  </a:lnTo>
                  <a:lnTo>
                    <a:pt x="2125" y="1306"/>
                  </a:lnTo>
                  <a:lnTo>
                    <a:pt x="2122" y="1300"/>
                  </a:lnTo>
                  <a:lnTo>
                    <a:pt x="2121" y="1292"/>
                  </a:lnTo>
                  <a:lnTo>
                    <a:pt x="2119" y="1283"/>
                  </a:lnTo>
                  <a:lnTo>
                    <a:pt x="2118" y="1273"/>
                  </a:lnTo>
                  <a:lnTo>
                    <a:pt x="2121" y="1224"/>
                  </a:lnTo>
                  <a:lnTo>
                    <a:pt x="2122" y="1165"/>
                  </a:lnTo>
                  <a:lnTo>
                    <a:pt x="2121" y="1118"/>
                  </a:lnTo>
                  <a:lnTo>
                    <a:pt x="2118" y="1070"/>
                  </a:lnTo>
                  <a:lnTo>
                    <a:pt x="2117" y="1023"/>
                  </a:lnTo>
                  <a:lnTo>
                    <a:pt x="2115" y="978"/>
                  </a:lnTo>
                  <a:lnTo>
                    <a:pt x="2114" y="939"/>
                  </a:lnTo>
                  <a:lnTo>
                    <a:pt x="2113" y="906"/>
                  </a:lnTo>
                  <a:lnTo>
                    <a:pt x="2113" y="881"/>
                  </a:lnTo>
                  <a:lnTo>
                    <a:pt x="2114" y="867"/>
                  </a:lnTo>
                  <a:lnTo>
                    <a:pt x="2118" y="846"/>
                  </a:lnTo>
                  <a:lnTo>
                    <a:pt x="2124" y="825"/>
                  </a:lnTo>
                  <a:lnTo>
                    <a:pt x="2131" y="805"/>
                  </a:lnTo>
                  <a:lnTo>
                    <a:pt x="2137" y="784"/>
                  </a:lnTo>
                  <a:lnTo>
                    <a:pt x="2144" y="764"/>
                  </a:lnTo>
                  <a:lnTo>
                    <a:pt x="2148" y="744"/>
                  </a:lnTo>
                  <a:lnTo>
                    <a:pt x="2153" y="725"/>
                  </a:lnTo>
                  <a:lnTo>
                    <a:pt x="2154" y="705"/>
                  </a:lnTo>
                  <a:lnTo>
                    <a:pt x="2156" y="704"/>
                  </a:lnTo>
                  <a:lnTo>
                    <a:pt x="2158" y="698"/>
                  </a:lnTo>
                  <a:lnTo>
                    <a:pt x="2160" y="693"/>
                  </a:lnTo>
                  <a:lnTo>
                    <a:pt x="2161" y="685"/>
                  </a:lnTo>
                  <a:lnTo>
                    <a:pt x="2162" y="669"/>
                  </a:lnTo>
                  <a:lnTo>
                    <a:pt x="2162" y="658"/>
                  </a:lnTo>
                  <a:lnTo>
                    <a:pt x="2163" y="658"/>
                  </a:lnTo>
                  <a:lnTo>
                    <a:pt x="2164" y="656"/>
                  </a:lnTo>
                  <a:lnTo>
                    <a:pt x="2165" y="654"/>
                  </a:lnTo>
                  <a:lnTo>
                    <a:pt x="2166" y="651"/>
                  </a:lnTo>
                  <a:lnTo>
                    <a:pt x="2167" y="644"/>
                  </a:lnTo>
                  <a:lnTo>
                    <a:pt x="2169" y="633"/>
                  </a:lnTo>
                  <a:lnTo>
                    <a:pt x="2170" y="616"/>
                  </a:lnTo>
                  <a:lnTo>
                    <a:pt x="2170" y="603"/>
                  </a:lnTo>
                  <a:lnTo>
                    <a:pt x="2171" y="603"/>
                  </a:lnTo>
                  <a:lnTo>
                    <a:pt x="2173" y="602"/>
                  </a:lnTo>
                  <a:lnTo>
                    <a:pt x="2175" y="600"/>
                  </a:lnTo>
                  <a:lnTo>
                    <a:pt x="2176" y="597"/>
                  </a:lnTo>
                  <a:lnTo>
                    <a:pt x="2181" y="589"/>
                  </a:lnTo>
                  <a:lnTo>
                    <a:pt x="2184" y="579"/>
                  </a:lnTo>
                  <a:lnTo>
                    <a:pt x="2189" y="569"/>
                  </a:lnTo>
                  <a:lnTo>
                    <a:pt x="2193" y="558"/>
                  </a:lnTo>
                  <a:lnTo>
                    <a:pt x="2200" y="548"/>
                  </a:lnTo>
                  <a:lnTo>
                    <a:pt x="2207" y="539"/>
                  </a:lnTo>
                  <a:lnTo>
                    <a:pt x="2228" y="516"/>
                  </a:lnTo>
                  <a:lnTo>
                    <a:pt x="2244" y="500"/>
                  </a:lnTo>
                  <a:lnTo>
                    <a:pt x="2252" y="493"/>
                  </a:lnTo>
                  <a:lnTo>
                    <a:pt x="2258" y="485"/>
                  </a:lnTo>
                  <a:lnTo>
                    <a:pt x="2263" y="478"/>
                  </a:lnTo>
                  <a:lnTo>
                    <a:pt x="2268" y="471"/>
                  </a:lnTo>
                  <a:lnTo>
                    <a:pt x="2272" y="463"/>
                  </a:lnTo>
                  <a:lnTo>
                    <a:pt x="2275" y="453"/>
                  </a:lnTo>
                  <a:lnTo>
                    <a:pt x="2276" y="447"/>
                  </a:lnTo>
                  <a:lnTo>
                    <a:pt x="2276" y="442"/>
                  </a:lnTo>
                  <a:lnTo>
                    <a:pt x="2275" y="435"/>
                  </a:lnTo>
                  <a:lnTo>
                    <a:pt x="2273" y="427"/>
                  </a:lnTo>
                  <a:lnTo>
                    <a:pt x="2270" y="420"/>
                  </a:lnTo>
                  <a:lnTo>
                    <a:pt x="2267" y="411"/>
                  </a:lnTo>
                  <a:lnTo>
                    <a:pt x="2262" y="402"/>
                  </a:lnTo>
                  <a:lnTo>
                    <a:pt x="2256" y="394"/>
                  </a:lnTo>
                  <a:lnTo>
                    <a:pt x="2248" y="382"/>
                  </a:lnTo>
                  <a:lnTo>
                    <a:pt x="2239" y="371"/>
                  </a:lnTo>
                  <a:lnTo>
                    <a:pt x="2229" y="359"/>
                  </a:lnTo>
                  <a:lnTo>
                    <a:pt x="2217" y="347"/>
                  </a:lnTo>
                  <a:lnTo>
                    <a:pt x="2212" y="340"/>
                  </a:lnTo>
                  <a:lnTo>
                    <a:pt x="2207" y="332"/>
                  </a:lnTo>
                  <a:lnTo>
                    <a:pt x="2202" y="323"/>
                  </a:lnTo>
                  <a:lnTo>
                    <a:pt x="2198" y="314"/>
                  </a:lnTo>
                  <a:lnTo>
                    <a:pt x="2193" y="306"/>
                  </a:lnTo>
                  <a:lnTo>
                    <a:pt x="2189" y="299"/>
                  </a:lnTo>
                  <a:lnTo>
                    <a:pt x="2185" y="296"/>
                  </a:lnTo>
                  <a:lnTo>
                    <a:pt x="2183" y="294"/>
                  </a:lnTo>
                  <a:lnTo>
                    <a:pt x="2180" y="293"/>
                  </a:lnTo>
                  <a:lnTo>
                    <a:pt x="2177" y="293"/>
                  </a:lnTo>
                  <a:lnTo>
                    <a:pt x="2176" y="289"/>
                  </a:lnTo>
                  <a:lnTo>
                    <a:pt x="2176" y="286"/>
                  </a:lnTo>
                  <a:lnTo>
                    <a:pt x="2174" y="285"/>
                  </a:lnTo>
                  <a:lnTo>
                    <a:pt x="2173" y="285"/>
                  </a:lnTo>
                  <a:lnTo>
                    <a:pt x="2172" y="285"/>
                  </a:lnTo>
                  <a:lnTo>
                    <a:pt x="2171" y="284"/>
                  </a:lnTo>
                  <a:lnTo>
                    <a:pt x="2170" y="282"/>
                  </a:lnTo>
                  <a:lnTo>
                    <a:pt x="2170" y="277"/>
                  </a:lnTo>
                  <a:lnTo>
                    <a:pt x="2154" y="277"/>
                  </a:lnTo>
                  <a:lnTo>
                    <a:pt x="2152" y="274"/>
                  </a:lnTo>
                  <a:lnTo>
                    <a:pt x="2147" y="269"/>
                  </a:lnTo>
                  <a:lnTo>
                    <a:pt x="2142" y="264"/>
                  </a:lnTo>
                  <a:lnTo>
                    <a:pt x="2134" y="257"/>
                  </a:lnTo>
                  <a:lnTo>
                    <a:pt x="2127" y="252"/>
                  </a:lnTo>
                  <a:lnTo>
                    <a:pt x="2121" y="246"/>
                  </a:lnTo>
                  <a:lnTo>
                    <a:pt x="2116" y="242"/>
                  </a:lnTo>
                  <a:lnTo>
                    <a:pt x="2115" y="238"/>
                  </a:lnTo>
                  <a:lnTo>
                    <a:pt x="2099" y="238"/>
                  </a:lnTo>
                  <a:lnTo>
                    <a:pt x="2084" y="223"/>
                  </a:lnTo>
                  <a:lnTo>
                    <a:pt x="2068" y="207"/>
                  </a:lnTo>
                  <a:lnTo>
                    <a:pt x="2056" y="206"/>
                  </a:lnTo>
                  <a:lnTo>
                    <a:pt x="2041" y="204"/>
                  </a:lnTo>
                  <a:lnTo>
                    <a:pt x="2027" y="200"/>
                  </a:lnTo>
                  <a:lnTo>
                    <a:pt x="2013" y="199"/>
                  </a:lnTo>
                  <a:lnTo>
                    <a:pt x="1998" y="184"/>
                  </a:lnTo>
                  <a:lnTo>
                    <a:pt x="1982" y="184"/>
                  </a:lnTo>
                  <a:lnTo>
                    <a:pt x="1974" y="177"/>
                  </a:lnTo>
                  <a:lnTo>
                    <a:pt x="1954" y="160"/>
                  </a:lnTo>
                  <a:lnTo>
                    <a:pt x="1943" y="152"/>
                  </a:lnTo>
                  <a:lnTo>
                    <a:pt x="1933" y="145"/>
                  </a:lnTo>
                  <a:lnTo>
                    <a:pt x="1925" y="139"/>
                  </a:lnTo>
                  <a:lnTo>
                    <a:pt x="1921" y="137"/>
                  </a:lnTo>
                  <a:lnTo>
                    <a:pt x="1913" y="129"/>
                  </a:lnTo>
                  <a:lnTo>
                    <a:pt x="1912" y="127"/>
                  </a:lnTo>
                  <a:lnTo>
                    <a:pt x="1910" y="122"/>
                  </a:lnTo>
                  <a:lnTo>
                    <a:pt x="1907" y="119"/>
                  </a:lnTo>
                  <a:lnTo>
                    <a:pt x="1904" y="115"/>
                  </a:lnTo>
                  <a:lnTo>
                    <a:pt x="1900" y="111"/>
                  </a:lnTo>
                  <a:lnTo>
                    <a:pt x="1896" y="109"/>
                  </a:lnTo>
                  <a:lnTo>
                    <a:pt x="1893" y="107"/>
                  </a:lnTo>
                  <a:lnTo>
                    <a:pt x="1889" y="107"/>
                  </a:lnTo>
                  <a:lnTo>
                    <a:pt x="1885" y="94"/>
                  </a:lnTo>
                  <a:lnTo>
                    <a:pt x="1882" y="83"/>
                  </a:lnTo>
                  <a:lnTo>
                    <a:pt x="1875" y="82"/>
                  </a:lnTo>
                  <a:lnTo>
                    <a:pt x="1866" y="80"/>
                  </a:lnTo>
                  <a:lnTo>
                    <a:pt x="1856" y="78"/>
                  </a:lnTo>
                  <a:lnTo>
                    <a:pt x="1845" y="74"/>
                  </a:lnTo>
                  <a:lnTo>
                    <a:pt x="1825" y="67"/>
                  </a:lnTo>
                  <a:lnTo>
                    <a:pt x="1809" y="60"/>
                  </a:lnTo>
                  <a:lnTo>
                    <a:pt x="1798" y="56"/>
                  </a:lnTo>
                  <a:lnTo>
                    <a:pt x="1773" y="48"/>
                  </a:lnTo>
                  <a:lnTo>
                    <a:pt x="1761" y="42"/>
                  </a:lnTo>
                  <a:lnTo>
                    <a:pt x="1750" y="38"/>
                  </a:lnTo>
                  <a:lnTo>
                    <a:pt x="1742" y="33"/>
                  </a:lnTo>
                  <a:lnTo>
                    <a:pt x="1739" y="29"/>
                  </a:lnTo>
                  <a:lnTo>
                    <a:pt x="1718" y="29"/>
                  </a:lnTo>
                  <a:lnTo>
                    <a:pt x="1697" y="26"/>
                  </a:lnTo>
                  <a:lnTo>
                    <a:pt x="1678" y="24"/>
                  </a:lnTo>
                  <a:lnTo>
                    <a:pt x="1661" y="21"/>
                  </a:lnTo>
                  <a:lnTo>
                    <a:pt x="1627" y="14"/>
                  </a:lnTo>
                  <a:lnTo>
                    <a:pt x="1598" y="10"/>
                  </a:lnTo>
                  <a:lnTo>
                    <a:pt x="1532" y="6"/>
                  </a:lnTo>
                  <a:lnTo>
                    <a:pt x="1488" y="3"/>
                  </a:lnTo>
                  <a:lnTo>
                    <a:pt x="1461" y="1"/>
                  </a:lnTo>
                  <a:lnTo>
                    <a:pt x="1450" y="0"/>
                  </a:lnTo>
                  <a:lnTo>
                    <a:pt x="1449" y="1"/>
                  </a:lnTo>
                  <a:lnTo>
                    <a:pt x="1449" y="1"/>
                  </a:lnTo>
                  <a:lnTo>
                    <a:pt x="1449" y="2"/>
                  </a:lnTo>
                  <a:lnTo>
                    <a:pt x="1450" y="2"/>
                  </a:lnTo>
                  <a:lnTo>
                    <a:pt x="1453" y="5"/>
                  </a:lnTo>
                  <a:lnTo>
                    <a:pt x="1459" y="9"/>
                  </a:lnTo>
                  <a:lnTo>
                    <a:pt x="1465" y="13"/>
                  </a:lnTo>
                  <a:lnTo>
                    <a:pt x="1473" y="20"/>
                  </a:lnTo>
                  <a:lnTo>
                    <a:pt x="1481" y="26"/>
                  </a:lnTo>
                  <a:lnTo>
                    <a:pt x="1490" y="35"/>
                  </a:lnTo>
                  <a:lnTo>
                    <a:pt x="1492" y="38"/>
                  </a:lnTo>
                  <a:lnTo>
                    <a:pt x="1497" y="40"/>
                  </a:lnTo>
                  <a:lnTo>
                    <a:pt x="1501" y="42"/>
                  </a:lnTo>
                  <a:lnTo>
                    <a:pt x="1505" y="43"/>
                  </a:lnTo>
                  <a:lnTo>
                    <a:pt x="1517" y="46"/>
                  </a:lnTo>
                  <a:lnTo>
                    <a:pt x="1529" y="50"/>
                  </a:lnTo>
                  <a:lnTo>
                    <a:pt x="1540" y="53"/>
                  </a:lnTo>
                  <a:lnTo>
                    <a:pt x="1549" y="59"/>
                  </a:lnTo>
                  <a:lnTo>
                    <a:pt x="1553" y="61"/>
                  </a:lnTo>
                  <a:lnTo>
                    <a:pt x="1556" y="65"/>
                  </a:lnTo>
                  <a:lnTo>
                    <a:pt x="1558" y="70"/>
                  </a:lnTo>
                  <a:lnTo>
                    <a:pt x="1558" y="74"/>
                  </a:lnTo>
                  <a:close/>
                </a:path>
              </a:pathLst>
            </a:custGeom>
            <a:solidFill>
              <a:schemeClr val="accent4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69" name="Freeform 22">
              <a:extLst>
                <a:ext uri="{FF2B5EF4-FFF2-40B4-BE49-F238E27FC236}">
                  <a16:creationId xmlns:a16="http://schemas.microsoft.com/office/drawing/2014/main" id="{B0452632-44B3-4637-9436-4AA50F6CBD8B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510463" y="3881438"/>
              <a:ext cx="433450" cy="192088"/>
            </a:xfrm>
            <a:custGeom>
              <a:avLst/>
              <a:gdLst/>
              <a:ahLst/>
              <a:cxnLst>
                <a:cxn ang="0">
                  <a:pos x="615" y="23"/>
                </a:cxn>
                <a:cxn ang="0">
                  <a:pos x="573" y="67"/>
                </a:cxn>
                <a:cxn ang="0">
                  <a:pos x="413" y="99"/>
                </a:cxn>
                <a:cxn ang="0">
                  <a:pos x="322" y="94"/>
                </a:cxn>
                <a:cxn ang="0">
                  <a:pos x="41" y="95"/>
                </a:cxn>
                <a:cxn ang="0">
                  <a:pos x="22" y="139"/>
                </a:cxn>
                <a:cxn ang="0">
                  <a:pos x="83" y="199"/>
                </a:cxn>
                <a:cxn ang="0">
                  <a:pos x="125" y="301"/>
                </a:cxn>
                <a:cxn ang="0">
                  <a:pos x="149" y="334"/>
                </a:cxn>
                <a:cxn ang="0">
                  <a:pos x="205" y="399"/>
                </a:cxn>
                <a:cxn ang="0">
                  <a:pos x="260" y="493"/>
                </a:cxn>
                <a:cxn ang="0">
                  <a:pos x="325" y="489"/>
                </a:cxn>
                <a:cxn ang="0">
                  <a:pos x="404" y="576"/>
                </a:cxn>
                <a:cxn ang="0">
                  <a:pos x="462" y="665"/>
                </a:cxn>
                <a:cxn ang="0">
                  <a:pos x="502" y="733"/>
                </a:cxn>
                <a:cxn ang="0">
                  <a:pos x="568" y="794"/>
                </a:cxn>
                <a:cxn ang="0">
                  <a:pos x="639" y="798"/>
                </a:cxn>
                <a:cxn ang="0">
                  <a:pos x="720" y="875"/>
                </a:cxn>
                <a:cxn ang="0">
                  <a:pos x="778" y="911"/>
                </a:cxn>
                <a:cxn ang="0">
                  <a:pos x="853" y="964"/>
                </a:cxn>
                <a:cxn ang="0">
                  <a:pos x="913" y="901"/>
                </a:cxn>
                <a:cxn ang="0">
                  <a:pos x="1062" y="926"/>
                </a:cxn>
                <a:cxn ang="0">
                  <a:pos x="1169" y="973"/>
                </a:cxn>
                <a:cxn ang="0">
                  <a:pos x="1231" y="897"/>
                </a:cxn>
                <a:cxn ang="0">
                  <a:pos x="1290" y="918"/>
                </a:cxn>
                <a:cxn ang="0">
                  <a:pos x="1322" y="975"/>
                </a:cxn>
                <a:cxn ang="0">
                  <a:pos x="1384" y="1089"/>
                </a:cxn>
                <a:cxn ang="0">
                  <a:pos x="1486" y="1104"/>
                </a:cxn>
                <a:cxn ang="0">
                  <a:pos x="1585" y="1062"/>
                </a:cxn>
                <a:cxn ang="0">
                  <a:pos x="1638" y="888"/>
                </a:cxn>
                <a:cxn ang="0">
                  <a:pos x="1675" y="771"/>
                </a:cxn>
                <a:cxn ang="0">
                  <a:pos x="1723" y="925"/>
                </a:cxn>
                <a:cxn ang="0">
                  <a:pos x="1768" y="992"/>
                </a:cxn>
                <a:cxn ang="0">
                  <a:pos x="1810" y="1026"/>
                </a:cxn>
                <a:cxn ang="0">
                  <a:pos x="1874" y="1057"/>
                </a:cxn>
                <a:cxn ang="0">
                  <a:pos x="1903" y="1110"/>
                </a:cxn>
                <a:cxn ang="0">
                  <a:pos x="1929" y="1161"/>
                </a:cxn>
                <a:cxn ang="0">
                  <a:pos x="2156" y="1195"/>
                </a:cxn>
                <a:cxn ang="0">
                  <a:pos x="2232" y="1178"/>
                </a:cxn>
                <a:cxn ang="0">
                  <a:pos x="2267" y="758"/>
                </a:cxn>
                <a:cxn ang="0">
                  <a:pos x="2278" y="709"/>
                </a:cxn>
                <a:cxn ang="0">
                  <a:pos x="2304" y="694"/>
                </a:cxn>
                <a:cxn ang="0">
                  <a:pos x="2395" y="653"/>
                </a:cxn>
                <a:cxn ang="0">
                  <a:pos x="2331" y="581"/>
                </a:cxn>
                <a:cxn ang="0">
                  <a:pos x="2251" y="532"/>
                </a:cxn>
                <a:cxn ang="0">
                  <a:pos x="2227" y="515"/>
                </a:cxn>
                <a:cxn ang="0">
                  <a:pos x="2186" y="425"/>
                </a:cxn>
                <a:cxn ang="0">
                  <a:pos x="2166" y="294"/>
                </a:cxn>
                <a:cxn ang="0">
                  <a:pos x="2111" y="244"/>
                </a:cxn>
                <a:cxn ang="0">
                  <a:pos x="2022" y="226"/>
                </a:cxn>
                <a:cxn ang="0">
                  <a:pos x="1980" y="266"/>
                </a:cxn>
                <a:cxn ang="0">
                  <a:pos x="1928" y="233"/>
                </a:cxn>
                <a:cxn ang="0">
                  <a:pos x="1867" y="206"/>
                </a:cxn>
                <a:cxn ang="0">
                  <a:pos x="1784" y="189"/>
                </a:cxn>
                <a:cxn ang="0">
                  <a:pos x="1615" y="217"/>
                </a:cxn>
                <a:cxn ang="0">
                  <a:pos x="1573" y="255"/>
                </a:cxn>
                <a:cxn ang="0">
                  <a:pos x="1418" y="214"/>
                </a:cxn>
                <a:cxn ang="0">
                  <a:pos x="1170" y="141"/>
                </a:cxn>
                <a:cxn ang="0">
                  <a:pos x="869" y="122"/>
                </a:cxn>
                <a:cxn ang="0">
                  <a:pos x="831" y="94"/>
                </a:cxn>
                <a:cxn ang="0">
                  <a:pos x="783" y="37"/>
                </a:cxn>
                <a:cxn ang="0">
                  <a:pos x="709" y="6"/>
                </a:cxn>
              </a:cxnLst>
              <a:rect l="0" t="0" r="r" b="b"/>
              <a:pathLst>
                <a:path w="2395" h="1197">
                  <a:moveTo>
                    <a:pt x="681" y="0"/>
                  </a:moveTo>
                  <a:lnTo>
                    <a:pt x="677" y="2"/>
                  </a:lnTo>
                  <a:lnTo>
                    <a:pt x="670" y="4"/>
                  </a:lnTo>
                  <a:lnTo>
                    <a:pt x="664" y="7"/>
                  </a:lnTo>
                  <a:lnTo>
                    <a:pt x="659" y="12"/>
                  </a:lnTo>
                  <a:lnTo>
                    <a:pt x="653" y="12"/>
                  </a:lnTo>
                  <a:lnTo>
                    <a:pt x="648" y="13"/>
                  </a:lnTo>
                  <a:lnTo>
                    <a:pt x="642" y="15"/>
                  </a:lnTo>
                  <a:lnTo>
                    <a:pt x="637" y="17"/>
                  </a:lnTo>
                  <a:lnTo>
                    <a:pt x="632" y="19"/>
                  </a:lnTo>
                  <a:lnTo>
                    <a:pt x="626" y="21"/>
                  </a:lnTo>
                  <a:lnTo>
                    <a:pt x="621" y="22"/>
                  </a:lnTo>
                  <a:lnTo>
                    <a:pt x="615" y="23"/>
                  </a:lnTo>
                  <a:lnTo>
                    <a:pt x="610" y="28"/>
                  </a:lnTo>
                  <a:lnTo>
                    <a:pt x="610" y="40"/>
                  </a:lnTo>
                  <a:lnTo>
                    <a:pt x="606" y="40"/>
                  </a:lnTo>
                  <a:lnTo>
                    <a:pt x="604" y="43"/>
                  </a:lnTo>
                  <a:lnTo>
                    <a:pt x="604" y="46"/>
                  </a:lnTo>
                  <a:lnTo>
                    <a:pt x="604" y="50"/>
                  </a:lnTo>
                  <a:lnTo>
                    <a:pt x="600" y="51"/>
                  </a:lnTo>
                  <a:lnTo>
                    <a:pt x="596" y="54"/>
                  </a:lnTo>
                  <a:lnTo>
                    <a:pt x="594" y="57"/>
                  </a:lnTo>
                  <a:lnTo>
                    <a:pt x="593" y="61"/>
                  </a:lnTo>
                  <a:lnTo>
                    <a:pt x="586" y="62"/>
                  </a:lnTo>
                  <a:lnTo>
                    <a:pt x="577" y="65"/>
                  </a:lnTo>
                  <a:lnTo>
                    <a:pt x="573" y="67"/>
                  </a:lnTo>
                  <a:lnTo>
                    <a:pt x="568" y="71"/>
                  </a:lnTo>
                  <a:lnTo>
                    <a:pt x="566" y="74"/>
                  </a:lnTo>
                  <a:lnTo>
                    <a:pt x="565" y="77"/>
                  </a:lnTo>
                  <a:lnTo>
                    <a:pt x="557" y="80"/>
                  </a:lnTo>
                  <a:lnTo>
                    <a:pt x="546" y="84"/>
                  </a:lnTo>
                  <a:lnTo>
                    <a:pt x="540" y="86"/>
                  </a:lnTo>
                  <a:lnTo>
                    <a:pt x="536" y="90"/>
                  </a:lnTo>
                  <a:lnTo>
                    <a:pt x="533" y="92"/>
                  </a:lnTo>
                  <a:lnTo>
                    <a:pt x="531" y="94"/>
                  </a:lnTo>
                  <a:lnTo>
                    <a:pt x="504" y="96"/>
                  </a:lnTo>
                  <a:lnTo>
                    <a:pt x="457" y="100"/>
                  </a:lnTo>
                  <a:lnTo>
                    <a:pt x="433" y="101"/>
                  </a:lnTo>
                  <a:lnTo>
                    <a:pt x="413" y="99"/>
                  </a:lnTo>
                  <a:lnTo>
                    <a:pt x="404" y="98"/>
                  </a:lnTo>
                  <a:lnTo>
                    <a:pt x="399" y="95"/>
                  </a:lnTo>
                  <a:lnTo>
                    <a:pt x="396" y="94"/>
                  </a:lnTo>
                  <a:lnTo>
                    <a:pt x="394" y="93"/>
                  </a:lnTo>
                  <a:lnTo>
                    <a:pt x="394" y="91"/>
                  </a:lnTo>
                  <a:lnTo>
                    <a:pt x="393" y="89"/>
                  </a:lnTo>
                  <a:lnTo>
                    <a:pt x="376" y="87"/>
                  </a:lnTo>
                  <a:lnTo>
                    <a:pt x="359" y="86"/>
                  </a:lnTo>
                  <a:lnTo>
                    <a:pt x="344" y="84"/>
                  </a:lnTo>
                  <a:lnTo>
                    <a:pt x="327" y="83"/>
                  </a:lnTo>
                  <a:lnTo>
                    <a:pt x="326" y="89"/>
                  </a:lnTo>
                  <a:lnTo>
                    <a:pt x="325" y="92"/>
                  </a:lnTo>
                  <a:lnTo>
                    <a:pt x="322" y="94"/>
                  </a:lnTo>
                  <a:lnTo>
                    <a:pt x="319" y="96"/>
                  </a:lnTo>
                  <a:lnTo>
                    <a:pt x="315" y="99"/>
                  </a:lnTo>
                  <a:lnTo>
                    <a:pt x="310" y="99"/>
                  </a:lnTo>
                  <a:lnTo>
                    <a:pt x="306" y="100"/>
                  </a:lnTo>
                  <a:lnTo>
                    <a:pt x="300" y="100"/>
                  </a:lnTo>
                  <a:lnTo>
                    <a:pt x="280" y="96"/>
                  </a:lnTo>
                  <a:lnTo>
                    <a:pt x="266" y="94"/>
                  </a:lnTo>
                  <a:lnTo>
                    <a:pt x="258" y="86"/>
                  </a:lnTo>
                  <a:lnTo>
                    <a:pt x="249" y="77"/>
                  </a:lnTo>
                  <a:lnTo>
                    <a:pt x="45" y="77"/>
                  </a:lnTo>
                  <a:lnTo>
                    <a:pt x="45" y="86"/>
                  </a:lnTo>
                  <a:lnTo>
                    <a:pt x="45" y="94"/>
                  </a:lnTo>
                  <a:lnTo>
                    <a:pt x="41" y="95"/>
                  </a:lnTo>
                  <a:lnTo>
                    <a:pt x="39" y="98"/>
                  </a:lnTo>
                  <a:lnTo>
                    <a:pt x="39" y="101"/>
                  </a:lnTo>
                  <a:lnTo>
                    <a:pt x="39" y="105"/>
                  </a:lnTo>
                  <a:lnTo>
                    <a:pt x="37" y="106"/>
                  </a:lnTo>
                  <a:lnTo>
                    <a:pt x="34" y="109"/>
                  </a:lnTo>
                  <a:lnTo>
                    <a:pt x="29" y="112"/>
                  </a:lnTo>
                  <a:lnTo>
                    <a:pt x="28" y="117"/>
                  </a:lnTo>
                  <a:lnTo>
                    <a:pt x="19" y="119"/>
                  </a:lnTo>
                  <a:lnTo>
                    <a:pt x="10" y="122"/>
                  </a:lnTo>
                  <a:lnTo>
                    <a:pt x="2" y="125"/>
                  </a:lnTo>
                  <a:lnTo>
                    <a:pt x="0" y="128"/>
                  </a:lnTo>
                  <a:lnTo>
                    <a:pt x="9" y="133"/>
                  </a:lnTo>
                  <a:lnTo>
                    <a:pt x="22" y="139"/>
                  </a:lnTo>
                  <a:lnTo>
                    <a:pt x="25" y="144"/>
                  </a:lnTo>
                  <a:lnTo>
                    <a:pt x="28" y="150"/>
                  </a:lnTo>
                  <a:lnTo>
                    <a:pt x="31" y="151"/>
                  </a:lnTo>
                  <a:lnTo>
                    <a:pt x="36" y="153"/>
                  </a:lnTo>
                  <a:lnTo>
                    <a:pt x="38" y="157"/>
                  </a:lnTo>
                  <a:lnTo>
                    <a:pt x="39" y="161"/>
                  </a:lnTo>
                  <a:lnTo>
                    <a:pt x="50" y="161"/>
                  </a:lnTo>
                  <a:lnTo>
                    <a:pt x="56" y="167"/>
                  </a:lnTo>
                  <a:lnTo>
                    <a:pt x="61" y="178"/>
                  </a:lnTo>
                  <a:lnTo>
                    <a:pt x="71" y="178"/>
                  </a:lnTo>
                  <a:lnTo>
                    <a:pt x="77" y="183"/>
                  </a:lnTo>
                  <a:lnTo>
                    <a:pt x="83" y="189"/>
                  </a:lnTo>
                  <a:lnTo>
                    <a:pt x="83" y="199"/>
                  </a:lnTo>
                  <a:lnTo>
                    <a:pt x="88" y="205"/>
                  </a:lnTo>
                  <a:lnTo>
                    <a:pt x="94" y="210"/>
                  </a:lnTo>
                  <a:lnTo>
                    <a:pt x="99" y="214"/>
                  </a:lnTo>
                  <a:lnTo>
                    <a:pt x="105" y="216"/>
                  </a:lnTo>
                  <a:lnTo>
                    <a:pt x="106" y="227"/>
                  </a:lnTo>
                  <a:lnTo>
                    <a:pt x="108" y="237"/>
                  </a:lnTo>
                  <a:lnTo>
                    <a:pt x="111" y="247"/>
                  </a:lnTo>
                  <a:lnTo>
                    <a:pt x="114" y="258"/>
                  </a:lnTo>
                  <a:lnTo>
                    <a:pt x="116" y="268"/>
                  </a:lnTo>
                  <a:lnTo>
                    <a:pt x="119" y="278"/>
                  </a:lnTo>
                  <a:lnTo>
                    <a:pt x="121" y="290"/>
                  </a:lnTo>
                  <a:lnTo>
                    <a:pt x="122" y="300"/>
                  </a:lnTo>
                  <a:lnTo>
                    <a:pt x="125" y="301"/>
                  </a:lnTo>
                  <a:lnTo>
                    <a:pt x="126" y="303"/>
                  </a:lnTo>
                  <a:lnTo>
                    <a:pt x="127" y="306"/>
                  </a:lnTo>
                  <a:lnTo>
                    <a:pt x="127" y="311"/>
                  </a:lnTo>
                  <a:lnTo>
                    <a:pt x="138" y="316"/>
                  </a:lnTo>
                  <a:lnTo>
                    <a:pt x="138" y="319"/>
                  </a:lnTo>
                  <a:lnTo>
                    <a:pt x="140" y="320"/>
                  </a:lnTo>
                  <a:lnTo>
                    <a:pt x="141" y="321"/>
                  </a:lnTo>
                  <a:lnTo>
                    <a:pt x="141" y="320"/>
                  </a:lnTo>
                  <a:lnTo>
                    <a:pt x="142" y="321"/>
                  </a:lnTo>
                  <a:lnTo>
                    <a:pt x="143" y="322"/>
                  </a:lnTo>
                  <a:lnTo>
                    <a:pt x="144" y="326"/>
                  </a:lnTo>
                  <a:lnTo>
                    <a:pt x="144" y="333"/>
                  </a:lnTo>
                  <a:lnTo>
                    <a:pt x="149" y="334"/>
                  </a:lnTo>
                  <a:lnTo>
                    <a:pt x="154" y="339"/>
                  </a:lnTo>
                  <a:lnTo>
                    <a:pt x="159" y="344"/>
                  </a:lnTo>
                  <a:lnTo>
                    <a:pt x="161" y="349"/>
                  </a:lnTo>
                  <a:lnTo>
                    <a:pt x="165" y="353"/>
                  </a:lnTo>
                  <a:lnTo>
                    <a:pt x="172" y="363"/>
                  </a:lnTo>
                  <a:lnTo>
                    <a:pt x="176" y="368"/>
                  </a:lnTo>
                  <a:lnTo>
                    <a:pt x="180" y="372"/>
                  </a:lnTo>
                  <a:lnTo>
                    <a:pt x="184" y="375"/>
                  </a:lnTo>
                  <a:lnTo>
                    <a:pt x="189" y="377"/>
                  </a:lnTo>
                  <a:lnTo>
                    <a:pt x="194" y="382"/>
                  </a:lnTo>
                  <a:lnTo>
                    <a:pt x="194" y="393"/>
                  </a:lnTo>
                  <a:lnTo>
                    <a:pt x="200" y="397"/>
                  </a:lnTo>
                  <a:lnTo>
                    <a:pt x="205" y="399"/>
                  </a:lnTo>
                  <a:lnTo>
                    <a:pt x="205" y="410"/>
                  </a:lnTo>
                  <a:lnTo>
                    <a:pt x="207" y="411"/>
                  </a:lnTo>
                  <a:lnTo>
                    <a:pt x="210" y="413"/>
                  </a:lnTo>
                  <a:lnTo>
                    <a:pt x="212" y="418"/>
                  </a:lnTo>
                  <a:lnTo>
                    <a:pt x="215" y="423"/>
                  </a:lnTo>
                  <a:lnTo>
                    <a:pt x="221" y="437"/>
                  </a:lnTo>
                  <a:lnTo>
                    <a:pt x="229" y="451"/>
                  </a:lnTo>
                  <a:lnTo>
                    <a:pt x="236" y="467"/>
                  </a:lnTo>
                  <a:lnTo>
                    <a:pt x="243" y="480"/>
                  </a:lnTo>
                  <a:lnTo>
                    <a:pt x="248" y="486"/>
                  </a:lnTo>
                  <a:lnTo>
                    <a:pt x="252" y="489"/>
                  </a:lnTo>
                  <a:lnTo>
                    <a:pt x="256" y="493"/>
                  </a:lnTo>
                  <a:lnTo>
                    <a:pt x="260" y="493"/>
                  </a:lnTo>
                  <a:lnTo>
                    <a:pt x="266" y="504"/>
                  </a:lnTo>
                  <a:lnTo>
                    <a:pt x="275" y="504"/>
                  </a:lnTo>
                  <a:lnTo>
                    <a:pt x="285" y="504"/>
                  </a:lnTo>
                  <a:lnTo>
                    <a:pt x="296" y="504"/>
                  </a:lnTo>
                  <a:lnTo>
                    <a:pt x="305" y="504"/>
                  </a:lnTo>
                  <a:lnTo>
                    <a:pt x="306" y="502"/>
                  </a:lnTo>
                  <a:lnTo>
                    <a:pt x="308" y="499"/>
                  </a:lnTo>
                  <a:lnTo>
                    <a:pt x="311" y="499"/>
                  </a:lnTo>
                  <a:lnTo>
                    <a:pt x="316" y="498"/>
                  </a:lnTo>
                  <a:lnTo>
                    <a:pt x="316" y="495"/>
                  </a:lnTo>
                  <a:lnTo>
                    <a:pt x="318" y="493"/>
                  </a:lnTo>
                  <a:lnTo>
                    <a:pt x="322" y="490"/>
                  </a:lnTo>
                  <a:lnTo>
                    <a:pt x="325" y="489"/>
                  </a:lnTo>
                  <a:lnTo>
                    <a:pt x="335" y="489"/>
                  </a:lnTo>
                  <a:lnTo>
                    <a:pt x="346" y="490"/>
                  </a:lnTo>
                  <a:lnTo>
                    <a:pt x="367" y="496"/>
                  </a:lnTo>
                  <a:lnTo>
                    <a:pt x="376" y="498"/>
                  </a:lnTo>
                  <a:lnTo>
                    <a:pt x="382" y="504"/>
                  </a:lnTo>
                  <a:lnTo>
                    <a:pt x="385" y="518"/>
                  </a:lnTo>
                  <a:lnTo>
                    <a:pt x="387" y="532"/>
                  </a:lnTo>
                  <a:lnTo>
                    <a:pt x="390" y="534"/>
                  </a:lnTo>
                  <a:lnTo>
                    <a:pt x="393" y="538"/>
                  </a:lnTo>
                  <a:lnTo>
                    <a:pt x="395" y="545"/>
                  </a:lnTo>
                  <a:lnTo>
                    <a:pt x="399" y="552"/>
                  </a:lnTo>
                  <a:lnTo>
                    <a:pt x="403" y="567"/>
                  </a:lnTo>
                  <a:lnTo>
                    <a:pt x="404" y="576"/>
                  </a:lnTo>
                  <a:lnTo>
                    <a:pt x="406" y="576"/>
                  </a:lnTo>
                  <a:lnTo>
                    <a:pt x="409" y="579"/>
                  </a:lnTo>
                  <a:lnTo>
                    <a:pt x="412" y="581"/>
                  </a:lnTo>
                  <a:lnTo>
                    <a:pt x="414" y="584"/>
                  </a:lnTo>
                  <a:lnTo>
                    <a:pt x="420" y="593"/>
                  </a:lnTo>
                  <a:lnTo>
                    <a:pt x="425" y="603"/>
                  </a:lnTo>
                  <a:lnTo>
                    <a:pt x="430" y="614"/>
                  </a:lnTo>
                  <a:lnTo>
                    <a:pt x="434" y="625"/>
                  </a:lnTo>
                  <a:lnTo>
                    <a:pt x="437" y="635"/>
                  </a:lnTo>
                  <a:lnTo>
                    <a:pt x="438" y="642"/>
                  </a:lnTo>
                  <a:lnTo>
                    <a:pt x="449" y="648"/>
                  </a:lnTo>
                  <a:lnTo>
                    <a:pt x="449" y="659"/>
                  </a:lnTo>
                  <a:lnTo>
                    <a:pt x="462" y="665"/>
                  </a:lnTo>
                  <a:lnTo>
                    <a:pt x="477" y="670"/>
                  </a:lnTo>
                  <a:lnTo>
                    <a:pt x="482" y="676"/>
                  </a:lnTo>
                  <a:lnTo>
                    <a:pt x="488" y="687"/>
                  </a:lnTo>
                  <a:lnTo>
                    <a:pt x="488" y="692"/>
                  </a:lnTo>
                  <a:lnTo>
                    <a:pt x="491" y="700"/>
                  </a:lnTo>
                  <a:lnTo>
                    <a:pt x="492" y="704"/>
                  </a:lnTo>
                  <a:lnTo>
                    <a:pt x="495" y="707"/>
                  </a:lnTo>
                  <a:lnTo>
                    <a:pt x="497" y="708"/>
                  </a:lnTo>
                  <a:lnTo>
                    <a:pt x="499" y="709"/>
                  </a:lnTo>
                  <a:lnTo>
                    <a:pt x="499" y="726"/>
                  </a:lnTo>
                  <a:lnTo>
                    <a:pt x="500" y="727"/>
                  </a:lnTo>
                  <a:lnTo>
                    <a:pt x="501" y="729"/>
                  </a:lnTo>
                  <a:lnTo>
                    <a:pt x="502" y="733"/>
                  </a:lnTo>
                  <a:lnTo>
                    <a:pt x="504" y="737"/>
                  </a:lnTo>
                  <a:lnTo>
                    <a:pt x="504" y="747"/>
                  </a:lnTo>
                  <a:lnTo>
                    <a:pt x="504" y="754"/>
                  </a:lnTo>
                  <a:lnTo>
                    <a:pt x="512" y="765"/>
                  </a:lnTo>
                  <a:lnTo>
                    <a:pt x="520" y="782"/>
                  </a:lnTo>
                  <a:lnTo>
                    <a:pt x="526" y="783"/>
                  </a:lnTo>
                  <a:lnTo>
                    <a:pt x="531" y="787"/>
                  </a:lnTo>
                  <a:lnTo>
                    <a:pt x="536" y="793"/>
                  </a:lnTo>
                  <a:lnTo>
                    <a:pt x="537" y="797"/>
                  </a:lnTo>
                  <a:lnTo>
                    <a:pt x="565" y="797"/>
                  </a:lnTo>
                  <a:lnTo>
                    <a:pt x="565" y="796"/>
                  </a:lnTo>
                  <a:lnTo>
                    <a:pt x="567" y="795"/>
                  </a:lnTo>
                  <a:lnTo>
                    <a:pt x="568" y="794"/>
                  </a:lnTo>
                  <a:lnTo>
                    <a:pt x="572" y="793"/>
                  </a:lnTo>
                  <a:lnTo>
                    <a:pt x="577" y="793"/>
                  </a:lnTo>
                  <a:lnTo>
                    <a:pt x="582" y="792"/>
                  </a:lnTo>
                  <a:lnTo>
                    <a:pt x="583" y="791"/>
                  </a:lnTo>
                  <a:lnTo>
                    <a:pt x="587" y="789"/>
                  </a:lnTo>
                  <a:lnTo>
                    <a:pt x="593" y="788"/>
                  </a:lnTo>
                  <a:lnTo>
                    <a:pt x="598" y="787"/>
                  </a:lnTo>
                  <a:lnTo>
                    <a:pt x="612" y="787"/>
                  </a:lnTo>
                  <a:lnTo>
                    <a:pt x="621" y="787"/>
                  </a:lnTo>
                  <a:lnTo>
                    <a:pt x="624" y="788"/>
                  </a:lnTo>
                  <a:lnTo>
                    <a:pt x="632" y="793"/>
                  </a:lnTo>
                  <a:lnTo>
                    <a:pt x="635" y="796"/>
                  </a:lnTo>
                  <a:lnTo>
                    <a:pt x="639" y="798"/>
                  </a:lnTo>
                  <a:lnTo>
                    <a:pt x="642" y="801"/>
                  </a:lnTo>
                  <a:lnTo>
                    <a:pt x="643" y="803"/>
                  </a:lnTo>
                  <a:lnTo>
                    <a:pt x="653" y="803"/>
                  </a:lnTo>
                  <a:lnTo>
                    <a:pt x="659" y="814"/>
                  </a:lnTo>
                  <a:lnTo>
                    <a:pt x="675" y="823"/>
                  </a:lnTo>
                  <a:lnTo>
                    <a:pt x="692" y="831"/>
                  </a:lnTo>
                  <a:lnTo>
                    <a:pt x="698" y="836"/>
                  </a:lnTo>
                  <a:lnTo>
                    <a:pt x="703" y="842"/>
                  </a:lnTo>
                  <a:lnTo>
                    <a:pt x="703" y="853"/>
                  </a:lnTo>
                  <a:lnTo>
                    <a:pt x="706" y="855"/>
                  </a:lnTo>
                  <a:lnTo>
                    <a:pt x="712" y="862"/>
                  </a:lnTo>
                  <a:lnTo>
                    <a:pt x="718" y="870"/>
                  </a:lnTo>
                  <a:lnTo>
                    <a:pt x="720" y="875"/>
                  </a:lnTo>
                  <a:lnTo>
                    <a:pt x="726" y="881"/>
                  </a:lnTo>
                  <a:lnTo>
                    <a:pt x="731" y="883"/>
                  </a:lnTo>
                  <a:lnTo>
                    <a:pt x="737" y="887"/>
                  </a:lnTo>
                  <a:lnTo>
                    <a:pt x="737" y="898"/>
                  </a:lnTo>
                  <a:lnTo>
                    <a:pt x="742" y="903"/>
                  </a:lnTo>
                  <a:lnTo>
                    <a:pt x="747" y="904"/>
                  </a:lnTo>
                  <a:lnTo>
                    <a:pt x="752" y="907"/>
                  </a:lnTo>
                  <a:lnTo>
                    <a:pt x="755" y="908"/>
                  </a:lnTo>
                  <a:lnTo>
                    <a:pt x="757" y="910"/>
                  </a:lnTo>
                  <a:lnTo>
                    <a:pt x="758" y="912"/>
                  </a:lnTo>
                  <a:lnTo>
                    <a:pt x="759" y="914"/>
                  </a:lnTo>
                  <a:lnTo>
                    <a:pt x="768" y="913"/>
                  </a:lnTo>
                  <a:lnTo>
                    <a:pt x="778" y="911"/>
                  </a:lnTo>
                  <a:lnTo>
                    <a:pt x="788" y="909"/>
                  </a:lnTo>
                  <a:lnTo>
                    <a:pt x="797" y="909"/>
                  </a:lnTo>
                  <a:lnTo>
                    <a:pt x="799" y="913"/>
                  </a:lnTo>
                  <a:lnTo>
                    <a:pt x="802" y="918"/>
                  </a:lnTo>
                  <a:lnTo>
                    <a:pt x="806" y="923"/>
                  </a:lnTo>
                  <a:lnTo>
                    <a:pt x="812" y="929"/>
                  </a:lnTo>
                  <a:lnTo>
                    <a:pt x="816" y="935"/>
                  </a:lnTo>
                  <a:lnTo>
                    <a:pt x="821" y="940"/>
                  </a:lnTo>
                  <a:lnTo>
                    <a:pt x="824" y="947"/>
                  </a:lnTo>
                  <a:lnTo>
                    <a:pt x="825" y="952"/>
                  </a:lnTo>
                  <a:lnTo>
                    <a:pt x="831" y="958"/>
                  </a:lnTo>
                  <a:lnTo>
                    <a:pt x="842" y="961"/>
                  </a:lnTo>
                  <a:lnTo>
                    <a:pt x="853" y="964"/>
                  </a:lnTo>
                  <a:lnTo>
                    <a:pt x="853" y="952"/>
                  </a:lnTo>
                  <a:lnTo>
                    <a:pt x="858" y="947"/>
                  </a:lnTo>
                  <a:lnTo>
                    <a:pt x="864" y="945"/>
                  </a:lnTo>
                  <a:lnTo>
                    <a:pt x="870" y="941"/>
                  </a:lnTo>
                  <a:lnTo>
                    <a:pt x="870" y="931"/>
                  </a:lnTo>
                  <a:lnTo>
                    <a:pt x="875" y="926"/>
                  </a:lnTo>
                  <a:lnTo>
                    <a:pt x="881" y="920"/>
                  </a:lnTo>
                  <a:lnTo>
                    <a:pt x="886" y="914"/>
                  </a:lnTo>
                  <a:lnTo>
                    <a:pt x="898" y="914"/>
                  </a:lnTo>
                  <a:lnTo>
                    <a:pt x="903" y="903"/>
                  </a:lnTo>
                  <a:lnTo>
                    <a:pt x="906" y="903"/>
                  </a:lnTo>
                  <a:lnTo>
                    <a:pt x="911" y="902"/>
                  </a:lnTo>
                  <a:lnTo>
                    <a:pt x="913" y="901"/>
                  </a:lnTo>
                  <a:lnTo>
                    <a:pt x="914" y="898"/>
                  </a:lnTo>
                  <a:lnTo>
                    <a:pt x="1030" y="898"/>
                  </a:lnTo>
                  <a:lnTo>
                    <a:pt x="1032" y="901"/>
                  </a:lnTo>
                  <a:lnTo>
                    <a:pt x="1036" y="903"/>
                  </a:lnTo>
                  <a:lnTo>
                    <a:pt x="1038" y="906"/>
                  </a:lnTo>
                  <a:lnTo>
                    <a:pt x="1039" y="908"/>
                  </a:lnTo>
                  <a:lnTo>
                    <a:pt x="1040" y="910"/>
                  </a:lnTo>
                  <a:lnTo>
                    <a:pt x="1042" y="914"/>
                  </a:lnTo>
                  <a:lnTo>
                    <a:pt x="1053" y="914"/>
                  </a:lnTo>
                  <a:lnTo>
                    <a:pt x="1058" y="920"/>
                  </a:lnTo>
                  <a:lnTo>
                    <a:pt x="1058" y="921"/>
                  </a:lnTo>
                  <a:lnTo>
                    <a:pt x="1059" y="923"/>
                  </a:lnTo>
                  <a:lnTo>
                    <a:pt x="1062" y="926"/>
                  </a:lnTo>
                  <a:lnTo>
                    <a:pt x="1064" y="927"/>
                  </a:lnTo>
                  <a:lnTo>
                    <a:pt x="1069" y="930"/>
                  </a:lnTo>
                  <a:lnTo>
                    <a:pt x="1075" y="931"/>
                  </a:lnTo>
                  <a:lnTo>
                    <a:pt x="1081" y="936"/>
                  </a:lnTo>
                  <a:lnTo>
                    <a:pt x="1086" y="941"/>
                  </a:lnTo>
                  <a:lnTo>
                    <a:pt x="1091" y="952"/>
                  </a:lnTo>
                  <a:lnTo>
                    <a:pt x="1096" y="964"/>
                  </a:lnTo>
                  <a:lnTo>
                    <a:pt x="1107" y="964"/>
                  </a:lnTo>
                  <a:lnTo>
                    <a:pt x="1111" y="969"/>
                  </a:lnTo>
                  <a:lnTo>
                    <a:pt x="1113" y="975"/>
                  </a:lnTo>
                  <a:lnTo>
                    <a:pt x="1135" y="975"/>
                  </a:lnTo>
                  <a:lnTo>
                    <a:pt x="1158" y="974"/>
                  </a:lnTo>
                  <a:lnTo>
                    <a:pt x="1169" y="973"/>
                  </a:lnTo>
                  <a:lnTo>
                    <a:pt x="1180" y="970"/>
                  </a:lnTo>
                  <a:lnTo>
                    <a:pt x="1191" y="968"/>
                  </a:lnTo>
                  <a:lnTo>
                    <a:pt x="1202" y="964"/>
                  </a:lnTo>
                  <a:lnTo>
                    <a:pt x="1202" y="952"/>
                  </a:lnTo>
                  <a:lnTo>
                    <a:pt x="1206" y="947"/>
                  </a:lnTo>
                  <a:lnTo>
                    <a:pt x="1213" y="932"/>
                  </a:lnTo>
                  <a:lnTo>
                    <a:pt x="1220" y="918"/>
                  </a:lnTo>
                  <a:lnTo>
                    <a:pt x="1225" y="909"/>
                  </a:lnTo>
                  <a:lnTo>
                    <a:pt x="1227" y="908"/>
                  </a:lnTo>
                  <a:lnTo>
                    <a:pt x="1229" y="906"/>
                  </a:lnTo>
                  <a:lnTo>
                    <a:pt x="1229" y="901"/>
                  </a:lnTo>
                  <a:lnTo>
                    <a:pt x="1230" y="898"/>
                  </a:lnTo>
                  <a:lnTo>
                    <a:pt x="1231" y="897"/>
                  </a:lnTo>
                  <a:lnTo>
                    <a:pt x="1232" y="896"/>
                  </a:lnTo>
                  <a:lnTo>
                    <a:pt x="1234" y="893"/>
                  </a:lnTo>
                  <a:lnTo>
                    <a:pt x="1235" y="891"/>
                  </a:lnTo>
                  <a:lnTo>
                    <a:pt x="1235" y="885"/>
                  </a:lnTo>
                  <a:lnTo>
                    <a:pt x="1236" y="881"/>
                  </a:lnTo>
                  <a:lnTo>
                    <a:pt x="1247" y="878"/>
                  </a:lnTo>
                  <a:lnTo>
                    <a:pt x="1263" y="875"/>
                  </a:lnTo>
                  <a:lnTo>
                    <a:pt x="1265" y="882"/>
                  </a:lnTo>
                  <a:lnTo>
                    <a:pt x="1268" y="889"/>
                  </a:lnTo>
                  <a:lnTo>
                    <a:pt x="1274" y="896"/>
                  </a:lnTo>
                  <a:lnTo>
                    <a:pt x="1279" y="903"/>
                  </a:lnTo>
                  <a:lnTo>
                    <a:pt x="1286" y="910"/>
                  </a:lnTo>
                  <a:lnTo>
                    <a:pt x="1290" y="918"/>
                  </a:lnTo>
                  <a:lnTo>
                    <a:pt x="1295" y="925"/>
                  </a:lnTo>
                  <a:lnTo>
                    <a:pt x="1296" y="931"/>
                  </a:lnTo>
                  <a:lnTo>
                    <a:pt x="1298" y="931"/>
                  </a:lnTo>
                  <a:lnTo>
                    <a:pt x="1301" y="932"/>
                  </a:lnTo>
                  <a:lnTo>
                    <a:pt x="1302" y="935"/>
                  </a:lnTo>
                  <a:lnTo>
                    <a:pt x="1304" y="938"/>
                  </a:lnTo>
                  <a:lnTo>
                    <a:pt x="1307" y="945"/>
                  </a:lnTo>
                  <a:lnTo>
                    <a:pt x="1311" y="952"/>
                  </a:lnTo>
                  <a:lnTo>
                    <a:pt x="1313" y="961"/>
                  </a:lnTo>
                  <a:lnTo>
                    <a:pt x="1316" y="968"/>
                  </a:lnTo>
                  <a:lnTo>
                    <a:pt x="1318" y="971"/>
                  </a:lnTo>
                  <a:lnTo>
                    <a:pt x="1320" y="974"/>
                  </a:lnTo>
                  <a:lnTo>
                    <a:pt x="1322" y="975"/>
                  </a:lnTo>
                  <a:lnTo>
                    <a:pt x="1324" y="975"/>
                  </a:lnTo>
                  <a:lnTo>
                    <a:pt x="1324" y="986"/>
                  </a:lnTo>
                  <a:lnTo>
                    <a:pt x="1325" y="997"/>
                  </a:lnTo>
                  <a:lnTo>
                    <a:pt x="1327" y="1009"/>
                  </a:lnTo>
                  <a:lnTo>
                    <a:pt x="1331" y="1022"/>
                  </a:lnTo>
                  <a:lnTo>
                    <a:pt x="1339" y="1047"/>
                  </a:lnTo>
                  <a:lnTo>
                    <a:pt x="1349" y="1074"/>
                  </a:lnTo>
                  <a:lnTo>
                    <a:pt x="1360" y="1076"/>
                  </a:lnTo>
                  <a:lnTo>
                    <a:pt x="1372" y="1080"/>
                  </a:lnTo>
                  <a:lnTo>
                    <a:pt x="1376" y="1082"/>
                  </a:lnTo>
                  <a:lnTo>
                    <a:pt x="1381" y="1084"/>
                  </a:lnTo>
                  <a:lnTo>
                    <a:pt x="1383" y="1086"/>
                  </a:lnTo>
                  <a:lnTo>
                    <a:pt x="1384" y="1089"/>
                  </a:lnTo>
                  <a:lnTo>
                    <a:pt x="1400" y="1089"/>
                  </a:lnTo>
                  <a:lnTo>
                    <a:pt x="1401" y="1091"/>
                  </a:lnTo>
                  <a:lnTo>
                    <a:pt x="1404" y="1094"/>
                  </a:lnTo>
                  <a:lnTo>
                    <a:pt x="1408" y="1096"/>
                  </a:lnTo>
                  <a:lnTo>
                    <a:pt x="1413" y="1100"/>
                  </a:lnTo>
                  <a:lnTo>
                    <a:pt x="1428" y="1104"/>
                  </a:lnTo>
                  <a:lnTo>
                    <a:pt x="1443" y="1108"/>
                  </a:lnTo>
                  <a:lnTo>
                    <a:pt x="1459" y="1110"/>
                  </a:lnTo>
                  <a:lnTo>
                    <a:pt x="1472" y="1110"/>
                  </a:lnTo>
                  <a:lnTo>
                    <a:pt x="1478" y="1110"/>
                  </a:lnTo>
                  <a:lnTo>
                    <a:pt x="1483" y="1109"/>
                  </a:lnTo>
                  <a:lnTo>
                    <a:pt x="1485" y="1106"/>
                  </a:lnTo>
                  <a:lnTo>
                    <a:pt x="1486" y="1104"/>
                  </a:lnTo>
                  <a:lnTo>
                    <a:pt x="1504" y="1103"/>
                  </a:lnTo>
                  <a:lnTo>
                    <a:pt x="1526" y="1103"/>
                  </a:lnTo>
                  <a:lnTo>
                    <a:pt x="1537" y="1102"/>
                  </a:lnTo>
                  <a:lnTo>
                    <a:pt x="1547" y="1101"/>
                  </a:lnTo>
                  <a:lnTo>
                    <a:pt x="1551" y="1100"/>
                  </a:lnTo>
                  <a:lnTo>
                    <a:pt x="1553" y="1099"/>
                  </a:lnTo>
                  <a:lnTo>
                    <a:pt x="1555" y="1098"/>
                  </a:lnTo>
                  <a:lnTo>
                    <a:pt x="1556" y="1096"/>
                  </a:lnTo>
                  <a:lnTo>
                    <a:pt x="1572" y="1096"/>
                  </a:lnTo>
                  <a:lnTo>
                    <a:pt x="1580" y="1089"/>
                  </a:lnTo>
                  <a:lnTo>
                    <a:pt x="1580" y="1065"/>
                  </a:lnTo>
                  <a:lnTo>
                    <a:pt x="1582" y="1064"/>
                  </a:lnTo>
                  <a:lnTo>
                    <a:pt x="1585" y="1062"/>
                  </a:lnTo>
                  <a:lnTo>
                    <a:pt x="1589" y="1058"/>
                  </a:lnTo>
                  <a:lnTo>
                    <a:pt x="1591" y="1053"/>
                  </a:lnTo>
                  <a:lnTo>
                    <a:pt x="1597" y="1041"/>
                  </a:lnTo>
                  <a:lnTo>
                    <a:pt x="1603" y="1026"/>
                  </a:lnTo>
                  <a:lnTo>
                    <a:pt x="1608" y="1012"/>
                  </a:lnTo>
                  <a:lnTo>
                    <a:pt x="1611" y="997"/>
                  </a:lnTo>
                  <a:lnTo>
                    <a:pt x="1614" y="985"/>
                  </a:lnTo>
                  <a:lnTo>
                    <a:pt x="1614" y="977"/>
                  </a:lnTo>
                  <a:lnTo>
                    <a:pt x="1622" y="958"/>
                  </a:lnTo>
                  <a:lnTo>
                    <a:pt x="1627" y="942"/>
                  </a:lnTo>
                  <a:lnTo>
                    <a:pt x="1631" y="927"/>
                  </a:lnTo>
                  <a:lnTo>
                    <a:pt x="1634" y="912"/>
                  </a:lnTo>
                  <a:lnTo>
                    <a:pt x="1638" y="888"/>
                  </a:lnTo>
                  <a:lnTo>
                    <a:pt x="1639" y="867"/>
                  </a:lnTo>
                  <a:lnTo>
                    <a:pt x="1640" y="848"/>
                  </a:lnTo>
                  <a:lnTo>
                    <a:pt x="1641" y="830"/>
                  </a:lnTo>
                  <a:lnTo>
                    <a:pt x="1641" y="822"/>
                  </a:lnTo>
                  <a:lnTo>
                    <a:pt x="1643" y="814"/>
                  </a:lnTo>
                  <a:lnTo>
                    <a:pt x="1645" y="806"/>
                  </a:lnTo>
                  <a:lnTo>
                    <a:pt x="1649" y="797"/>
                  </a:lnTo>
                  <a:lnTo>
                    <a:pt x="1653" y="789"/>
                  </a:lnTo>
                  <a:lnTo>
                    <a:pt x="1658" y="783"/>
                  </a:lnTo>
                  <a:lnTo>
                    <a:pt x="1662" y="778"/>
                  </a:lnTo>
                  <a:lnTo>
                    <a:pt x="1667" y="774"/>
                  </a:lnTo>
                  <a:lnTo>
                    <a:pt x="1670" y="772"/>
                  </a:lnTo>
                  <a:lnTo>
                    <a:pt x="1675" y="771"/>
                  </a:lnTo>
                  <a:lnTo>
                    <a:pt x="1679" y="771"/>
                  </a:lnTo>
                  <a:lnTo>
                    <a:pt x="1682" y="771"/>
                  </a:lnTo>
                  <a:lnTo>
                    <a:pt x="1686" y="773"/>
                  </a:lnTo>
                  <a:lnTo>
                    <a:pt x="1689" y="775"/>
                  </a:lnTo>
                  <a:lnTo>
                    <a:pt x="1692" y="779"/>
                  </a:lnTo>
                  <a:lnTo>
                    <a:pt x="1696" y="784"/>
                  </a:lnTo>
                  <a:lnTo>
                    <a:pt x="1700" y="794"/>
                  </a:lnTo>
                  <a:lnTo>
                    <a:pt x="1705" y="807"/>
                  </a:lnTo>
                  <a:lnTo>
                    <a:pt x="1709" y="840"/>
                  </a:lnTo>
                  <a:lnTo>
                    <a:pt x="1714" y="878"/>
                  </a:lnTo>
                  <a:lnTo>
                    <a:pt x="1716" y="897"/>
                  </a:lnTo>
                  <a:lnTo>
                    <a:pt x="1720" y="916"/>
                  </a:lnTo>
                  <a:lnTo>
                    <a:pt x="1723" y="925"/>
                  </a:lnTo>
                  <a:lnTo>
                    <a:pt x="1726" y="933"/>
                  </a:lnTo>
                  <a:lnTo>
                    <a:pt x="1729" y="941"/>
                  </a:lnTo>
                  <a:lnTo>
                    <a:pt x="1734" y="949"/>
                  </a:lnTo>
                  <a:lnTo>
                    <a:pt x="1738" y="962"/>
                  </a:lnTo>
                  <a:lnTo>
                    <a:pt x="1741" y="975"/>
                  </a:lnTo>
                  <a:lnTo>
                    <a:pt x="1745" y="979"/>
                  </a:lnTo>
                  <a:lnTo>
                    <a:pt x="1749" y="984"/>
                  </a:lnTo>
                  <a:lnTo>
                    <a:pt x="1752" y="985"/>
                  </a:lnTo>
                  <a:lnTo>
                    <a:pt x="1756" y="986"/>
                  </a:lnTo>
                  <a:lnTo>
                    <a:pt x="1760" y="987"/>
                  </a:lnTo>
                  <a:lnTo>
                    <a:pt x="1766" y="987"/>
                  </a:lnTo>
                  <a:lnTo>
                    <a:pt x="1766" y="989"/>
                  </a:lnTo>
                  <a:lnTo>
                    <a:pt x="1768" y="992"/>
                  </a:lnTo>
                  <a:lnTo>
                    <a:pt x="1771" y="994"/>
                  </a:lnTo>
                  <a:lnTo>
                    <a:pt x="1774" y="996"/>
                  </a:lnTo>
                  <a:lnTo>
                    <a:pt x="1776" y="998"/>
                  </a:lnTo>
                  <a:lnTo>
                    <a:pt x="1778" y="1002"/>
                  </a:lnTo>
                  <a:lnTo>
                    <a:pt x="1781" y="1005"/>
                  </a:lnTo>
                  <a:lnTo>
                    <a:pt x="1782" y="1010"/>
                  </a:lnTo>
                  <a:lnTo>
                    <a:pt x="1793" y="1014"/>
                  </a:lnTo>
                  <a:lnTo>
                    <a:pt x="1805" y="1018"/>
                  </a:lnTo>
                  <a:lnTo>
                    <a:pt x="1805" y="1023"/>
                  </a:lnTo>
                  <a:lnTo>
                    <a:pt x="1806" y="1025"/>
                  </a:lnTo>
                  <a:lnTo>
                    <a:pt x="1807" y="1026"/>
                  </a:lnTo>
                  <a:lnTo>
                    <a:pt x="1808" y="1026"/>
                  </a:lnTo>
                  <a:lnTo>
                    <a:pt x="1810" y="1026"/>
                  </a:lnTo>
                  <a:lnTo>
                    <a:pt x="1811" y="1027"/>
                  </a:lnTo>
                  <a:lnTo>
                    <a:pt x="1812" y="1029"/>
                  </a:lnTo>
                  <a:lnTo>
                    <a:pt x="1813" y="1034"/>
                  </a:lnTo>
                  <a:lnTo>
                    <a:pt x="1820" y="1035"/>
                  </a:lnTo>
                  <a:lnTo>
                    <a:pt x="1827" y="1038"/>
                  </a:lnTo>
                  <a:lnTo>
                    <a:pt x="1831" y="1041"/>
                  </a:lnTo>
                  <a:lnTo>
                    <a:pt x="1833" y="1044"/>
                  </a:lnTo>
                  <a:lnTo>
                    <a:pt x="1835" y="1046"/>
                  </a:lnTo>
                  <a:lnTo>
                    <a:pt x="1835" y="1050"/>
                  </a:lnTo>
                  <a:lnTo>
                    <a:pt x="1848" y="1051"/>
                  </a:lnTo>
                  <a:lnTo>
                    <a:pt x="1858" y="1053"/>
                  </a:lnTo>
                  <a:lnTo>
                    <a:pt x="1868" y="1056"/>
                  </a:lnTo>
                  <a:lnTo>
                    <a:pt x="1874" y="1057"/>
                  </a:lnTo>
                  <a:lnTo>
                    <a:pt x="1875" y="1060"/>
                  </a:lnTo>
                  <a:lnTo>
                    <a:pt x="1875" y="1063"/>
                  </a:lnTo>
                  <a:lnTo>
                    <a:pt x="1878" y="1065"/>
                  </a:lnTo>
                  <a:lnTo>
                    <a:pt x="1880" y="1067"/>
                  </a:lnTo>
                  <a:lnTo>
                    <a:pt x="1882" y="1070"/>
                  </a:lnTo>
                  <a:lnTo>
                    <a:pt x="1884" y="1072"/>
                  </a:lnTo>
                  <a:lnTo>
                    <a:pt x="1888" y="1072"/>
                  </a:lnTo>
                  <a:lnTo>
                    <a:pt x="1890" y="1073"/>
                  </a:lnTo>
                  <a:lnTo>
                    <a:pt x="1891" y="1082"/>
                  </a:lnTo>
                  <a:lnTo>
                    <a:pt x="1896" y="1095"/>
                  </a:lnTo>
                  <a:lnTo>
                    <a:pt x="1898" y="1101"/>
                  </a:lnTo>
                  <a:lnTo>
                    <a:pt x="1900" y="1106"/>
                  </a:lnTo>
                  <a:lnTo>
                    <a:pt x="1903" y="1110"/>
                  </a:lnTo>
                  <a:lnTo>
                    <a:pt x="1906" y="1112"/>
                  </a:lnTo>
                  <a:lnTo>
                    <a:pt x="1906" y="1120"/>
                  </a:lnTo>
                  <a:lnTo>
                    <a:pt x="1906" y="1131"/>
                  </a:lnTo>
                  <a:lnTo>
                    <a:pt x="1906" y="1142"/>
                  </a:lnTo>
                  <a:lnTo>
                    <a:pt x="1906" y="1150"/>
                  </a:lnTo>
                  <a:lnTo>
                    <a:pt x="1921" y="1150"/>
                  </a:lnTo>
                  <a:lnTo>
                    <a:pt x="1921" y="1154"/>
                  </a:lnTo>
                  <a:lnTo>
                    <a:pt x="1922" y="1157"/>
                  </a:lnTo>
                  <a:lnTo>
                    <a:pt x="1923" y="1158"/>
                  </a:lnTo>
                  <a:lnTo>
                    <a:pt x="1926" y="1158"/>
                  </a:lnTo>
                  <a:lnTo>
                    <a:pt x="1927" y="1158"/>
                  </a:lnTo>
                  <a:lnTo>
                    <a:pt x="1928" y="1159"/>
                  </a:lnTo>
                  <a:lnTo>
                    <a:pt x="1929" y="1161"/>
                  </a:lnTo>
                  <a:lnTo>
                    <a:pt x="1929" y="1166"/>
                  </a:lnTo>
                  <a:lnTo>
                    <a:pt x="2061" y="1181"/>
                  </a:lnTo>
                  <a:lnTo>
                    <a:pt x="2070" y="1181"/>
                  </a:lnTo>
                  <a:lnTo>
                    <a:pt x="2080" y="1182"/>
                  </a:lnTo>
                  <a:lnTo>
                    <a:pt x="2084" y="1183"/>
                  </a:lnTo>
                  <a:lnTo>
                    <a:pt x="2089" y="1185"/>
                  </a:lnTo>
                  <a:lnTo>
                    <a:pt x="2091" y="1187"/>
                  </a:lnTo>
                  <a:lnTo>
                    <a:pt x="2092" y="1189"/>
                  </a:lnTo>
                  <a:lnTo>
                    <a:pt x="2105" y="1190"/>
                  </a:lnTo>
                  <a:lnTo>
                    <a:pt x="2121" y="1194"/>
                  </a:lnTo>
                  <a:lnTo>
                    <a:pt x="2138" y="1196"/>
                  </a:lnTo>
                  <a:lnTo>
                    <a:pt x="2155" y="1197"/>
                  </a:lnTo>
                  <a:lnTo>
                    <a:pt x="2156" y="1195"/>
                  </a:lnTo>
                  <a:lnTo>
                    <a:pt x="2157" y="1192"/>
                  </a:lnTo>
                  <a:lnTo>
                    <a:pt x="2160" y="1191"/>
                  </a:lnTo>
                  <a:lnTo>
                    <a:pt x="2163" y="1190"/>
                  </a:lnTo>
                  <a:lnTo>
                    <a:pt x="2171" y="1189"/>
                  </a:lnTo>
                  <a:lnTo>
                    <a:pt x="2181" y="1189"/>
                  </a:lnTo>
                  <a:lnTo>
                    <a:pt x="2191" y="1189"/>
                  </a:lnTo>
                  <a:lnTo>
                    <a:pt x="2200" y="1188"/>
                  </a:lnTo>
                  <a:lnTo>
                    <a:pt x="2204" y="1188"/>
                  </a:lnTo>
                  <a:lnTo>
                    <a:pt x="2207" y="1186"/>
                  </a:lnTo>
                  <a:lnTo>
                    <a:pt x="2208" y="1185"/>
                  </a:lnTo>
                  <a:lnTo>
                    <a:pt x="2209" y="1181"/>
                  </a:lnTo>
                  <a:lnTo>
                    <a:pt x="2220" y="1180"/>
                  </a:lnTo>
                  <a:lnTo>
                    <a:pt x="2232" y="1178"/>
                  </a:lnTo>
                  <a:lnTo>
                    <a:pt x="2240" y="1175"/>
                  </a:lnTo>
                  <a:lnTo>
                    <a:pt x="2248" y="1173"/>
                  </a:lnTo>
                  <a:lnTo>
                    <a:pt x="2256" y="1166"/>
                  </a:lnTo>
                  <a:lnTo>
                    <a:pt x="2256" y="948"/>
                  </a:lnTo>
                  <a:lnTo>
                    <a:pt x="2256" y="933"/>
                  </a:lnTo>
                  <a:lnTo>
                    <a:pt x="2256" y="908"/>
                  </a:lnTo>
                  <a:lnTo>
                    <a:pt x="2256" y="877"/>
                  </a:lnTo>
                  <a:lnTo>
                    <a:pt x="2257" y="842"/>
                  </a:lnTo>
                  <a:lnTo>
                    <a:pt x="2259" y="810"/>
                  </a:lnTo>
                  <a:lnTo>
                    <a:pt x="2263" y="781"/>
                  </a:lnTo>
                  <a:lnTo>
                    <a:pt x="2264" y="769"/>
                  </a:lnTo>
                  <a:lnTo>
                    <a:pt x="2266" y="762"/>
                  </a:lnTo>
                  <a:lnTo>
                    <a:pt x="2267" y="758"/>
                  </a:lnTo>
                  <a:lnTo>
                    <a:pt x="2268" y="756"/>
                  </a:lnTo>
                  <a:lnTo>
                    <a:pt x="2270" y="754"/>
                  </a:lnTo>
                  <a:lnTo>
                    <a:pt x="2272" y="754"/>
                  </a:lnTo>
                  <a:lnTo>
                    <a:pt x="2270" y="748"/>
                  </a:lnTo>
                  <a:lnTo>
                    <a:pt x="2265" y="736"/>
                  </a:lnTo>
                  <a:lnTo>
                    <a:pt x="2259" y="723"/>
                  </a:lnTo>
                  <a:lnTo>
                    <a:pt x="2257" y="717"/>
                  </a:lnTo>
                  <a:lnTo>
                    <a:pt x="2273" y="717"/>
                  </a:lnTo>
                  <a:lnTo>
                    <a:pt x="2274" y="712"/>
                  </a:lnTo>
                  <a:lnTo>
                    <a:pt x="2274" y="710"/>
                  </a:lnTo>
                  <a:lnTo>
                    <a:pt x="2276" y="709"/>
                  </a:lnTo>
                  <a:lnTo>
                    <a:pt x="2277" y="709"/>
                  </a:lnTo>
                  <a:lnTo>
                    <a:pt x="2278" y="709"/>
                  </a:lnTo>
                  <a:lnTo>
                    <a:pt x="2280" y="708"/>
                  </a:lnTo>
                  <a:lnTo>
                    <a:pt x="2281" y="706"/>
                  </a:lnTo>
                  <a:lnTo>
                    <a:pt x="2281" y="701"/>
                  </a:lnTo>
                  <a:lnTo>
                    <a:pt x="2281" y="694"/>
                  </a:lnTo>
                  <a:lnTo>
                    <a:pt x="2282" y="685"/>
                  </a:lnTo>
                  <a:lnTo>
                    <a:pt x="2282" y="677"/>
                  </a:lnTo>
                  <a:lnTo>
                    <a:pt x="2284" y="671"/>
                  </a:lnTo>
                  <a:lnTo>
                    <a:pt x="2285" y="670"/>
                  </a:lnTo>
                  <a:lnTo>
                    <a:pt x="2287" y="669"/>
                  </a:lnTo>
                  <a:lnTo>
                    <a:pt x="2288" y="669"/>
                  </a:lnTo>
                  <a:lnTo>
                    <a:pt x="2291" y="671"/>
                  </a:lnTo>
                  <a:lnTo>
                    <a:pt x="2296" y="679"/>
                  </a:lnTo>
                  <a:lnTo>
                    <a:pt x="2304" y="694"/>
                  </a:lnTo>
                  <a:lnTo>
                    <a:pt x="2312" y="696"/>
                  </a:lnTo>
                  <a:lnTo>
                    <a:pt x="2321" y="695"/>
                  </a:lnTo>
                  <a:lnTo>
                    <a:pt x="2331" y="694"/>
                  </a:lnTo>
                  <a:lnTo>
                    <a:pt x="2341" y="690"/>
                  </a:lnTo>
                  <a:lnTo>
                    <a:pt x="2361" y="683"/>
                  </a:lnTo>
                  <a:lnTo>
                    <a:pt x="2373" y="680"/>
                  </a:lnTo>
                  <a:lnTo>
                    <a:pt x="2381" y="678"/>
                  </a:lnTo>
                  <a:lnTo>
                    <a:pt x="2387" y="676"/>
                  </a:lnTo>
                  <a:lnTo>
                    <a:pt x="2390" y="672"/>
                  </a:lnTo>
                  <a:lnTo>
                    <a:pt x="2393" y="668"/>
                  </a:lnTo>
                  <a:lnTo>
                    <a:pt x="2395" y="663"/>
                  </a:lnTo>
                  <a:lnTo>
                    <a:pt x="2395" y="658"/>
                  </a:lnTo>
                  <a:lnTo>
                    <a:pt x="2395" y="653"/>
                  </a:lnTo>
                  <a:lnTo>
                    <a:pt x="2393" y="648"/>
                  </a:lnTo>
                  <a:lnTo>
                    <a:pt x="2389" y="638"/>
                  </a:lnTo>
                  <a:lnTo>
                    <a:pt x="2384" y="629"/>
                  </a:lnTo>
                  <a:lnTo>
                    <a:pt x="2379" y="623"/>
                  </a:lnTo>
                  <a:lnTo>
                    <a:pt x="2376" y="621"/>
                  </a:lnTo>
                  <a:lnTo>
                    <a:pt x="2376" y="605"/>
                  </a:lnTo>
                  <a:lnTo>
                    <a:pt x="2360" y="605"/>
                  </a:lnTo>
                  <a:lnTo>
                    <a:pt x="2360" y="601"/>
                  </a:lnTo>
                  <a:lnTo>
                    <a:pt x="2358" y="596"/>
                  </a:lnTo>
                  <a:lnTo>
                    <a:pt x="2355" y="592"/>
                  </a:lnTo>
                  <a:lnTo>
                    <a:pt x="2351" y="590"/>
                  </a:lnTo>
                  <a:lnTo>
                    <a:pt x="2342" y="584"/>
                  </a:lnTo>
                  <a:lnTo>
                    <a:pt x="2331" y="581"/>
                  </a:lnTo>
                  <a:lnTo>
                    <a:pt x="2319" y="577"/>
                  </a:lnTo>
                  <a:lnTo>
                    <a:pt x="2307" y="574"/>
                  </a:lnTo>
                  <a:lnTo>
                    <a:pt x="2303" y="573"/>
                  </a:lnTo>
                  <a:lnTo>
                    <a:pt x="2299" y="571"/>
                  </a:lnTo>
                  <a:lnTo>
                    <a:pt x="2294" y="569"/>
                  </a:lnTo>
                  <a:lnTo>
                    <a:pt x="2292" y="566"/>
                  </a:lnTo>
                  <a:lnTo>
                    <a:pt x="2280" y="554"/>
                  </a:lnTo>
                  <a:lnTo>
                    <a:pt x="2270" y="545"/>
                  </a:lnTo>
                  <a:lnTo>
                    <a:pt x="2259" y="538"/>
                  </a:lnTo>
                  <a:lnTo>
                    <a:pt x="2253" y="534"/>
                  </a:lnTo>
                  <a:lnTo>
                    <a:pt x="2252" y="533"/>
                  </a:lnTo>
                  <a:lnTo>
                    <a:pt x="2251" y="532"/>
                  </a:lnTo>
                  <a:lnTo>
                    <a:pt x="2251" y="532"/>
                  </a:lnTo>
                  <a:lnTo>
                    <a:pt x="2253" y="531"/>
                  </a:lnTo>
                  <a:lnTo>
                    <a:pt x="2261" y="532"/>
                  </a:lnTo>
                  <a:lnTo>
                    <a:pt x="2276" y="533"/>
                  </a:lnTo>
                  <a:lnTo>
                    <a:pt x="2274" y="532"/>
                  </a:lnTo>
                  <a:lnTo>
                    <a:pt x="2273" y="532"/>
                  </a:lnTo>
                  <a:lnTo>
                    <a:pt x="2272" y="531"/>
                  </a:lnTo>
                  <a:lnTo>
                    <a:pt x="2271" y="526"/>
                  </a:lnTo>
                  <a:lnTo>
                    <a:pt x="2255" y="524"/>
                  </a:lnTo>
                  <a:lnTo>
                    <a:pt x="2238" y="521"/>
                  </a:lnTo>
                  <a:lnTo>
                    <a:pt x="2237" y="517"/>
                  </a:lnTo>
                  <a:lnTo>
                    <a:pt x="2235" y="516"/>
                  </a:lnTo>
                  <a:lnTo>
                    <a:pt x="2230" y="515"/>
                  </a:lnTo>
                  <a:lnTo>
                    <a:pt x="2227" y="515"/>
                  </a:lnTo>
                  <a:lnTo>
                    <a:pt x="2227" y="504"/>
                  </a:lnTo>
                  <a:lnTo>
                    <a:pt x="2224" y="504"/>
                  </a:lnTo>
                  <a:lnTo>
                    <a:pt x="2222" y="500"/>
                  </a:lnTo>
                  <a:lnTo>
                    <a:pt x="2222" y="497"/>
                  </a:lnTo>
                  <a:lnTo>
                    <a:pt x="2222" y="493"/>
                  </a:lnTo>
                  <a:lnTo>
                    <a:pt x="2210" y="493"/>
                  </a:lnTo>
                  <a:lnTo>
                    <a:pt x="2210" y="479"/>
                  </a:lnTo>
                  <a:lnTo>
                    <a:pt x="2210" y="466"/>
                  </a:lnTo>
                  <a:lnTo>
                    <a:pt x="2207" y="464"/>
                  </a:lnTo>
                  <a:lnTo>
                    <a:pt x="2203" y="457"/>
                  </a:lnTo>
                  <a:lnTo>
                    <a:pt x="2197" y="447"/>
                  </a:lnTo>
                  <a:lnTo>
                    <a:pt x="2191" y="437"/>
                  </a:lnTo>
                  <a:lnTo>
                    <a:pt x="2186" y="425"/>
                  </a:lnTo>
                  <a:lnTo>
                    <a:pt x="2181" y="415"/>
                  </a:lnTo>
                  <a:lnTo>
                    <a:pt x="2178" y="406"/>
                  </a:lnTo>
                  <a:lnTo>
                    <a:pt x="2177" y="399"/>
                  </a:lnTo>
                  <a:lnTo>
                    <a:pt x="2174" y="399"/>
                  </a:lnTo>
                  <a:lnTo>
                    <a:pt x="2170" y="398"/>
                  </a:lnTo>
                  <a:lnTo>
                    <a:pt x="2168" y="396"/>
                  </a:lnTo>
                  <a:lnTo>
                    <a:pt x="2167" y="393"/>
                  </a:lnTo>
                  <a:lnTo>
                    <a:pt x="2163" y="390"/>
                  </a:lnTo>
                  <a:lnTo>
                    <a:pt x="2160" y="388"/>
                  </a:lnTo>
                  <a:lnTo>
                    <a:pt x="2161" y="364"/>
                  </a:lnTo>
                  <a:lnTo>
                    <a:pt x="2163" y="341"/>
                  </a:lnTo>
                  <a:lnTo>
                    <a:pt x="2165" y="317"/>
                  </a:lnTo>
                  <a:lnTo>
                    <a:pt x="2166" y="294"/>
                  </a:lnTo>
                  <a:lnTo>
                    <a:pt x="2165" y="293"/>
                  </a:lnTo>
                  <a:lnTo>
                    <a:pt x="2162" y="292"/>
                  </a:lnTo>
                  <a:lnTo>
                    <a:pt x="2161" y="290"/>
                  </a:lnTo>
                  <a:lnTo>
                    <a:pt x="2161" y="287"/>
                  </a:lnTo>
                  <a:lnTo>
                    <a:pt x="2160" y="282"/>
                  </a:lnTo>
                  <a:lnTo>
                    <a:pt x="2160" y="277"/>
                  </a:lnTo>
                  <a:lnTo>
                    <a:pt x="2155" y="272"/>
                  </a:lnTo>
                  <a:lnTo>
                    <a:pt x="2143" y="272"/>
                  </a:lnTo>
                  <a:lnTo>
                    <a:pt x="2141" y="264"/>
                  </a:lnTo>
                  <a:lnTo>
                    <a:pt x="2138" y="255"/>
                  </a:lnTo>
                  <a:lnTo>
                    <a:pt x="2127" y="253"/>
                  </a:lnTo>
                  <a:lnTo>
                    <a:pt x="2117" y="249"/>
                  </a:lnTo>
                  <a:lnTo>
                    <a:pt x="2111" y="244"/>
                  </a:lnTo>
                  <a:lnTo>
                    <a:pt x="2110" y="240"/>
                  </a:lnTo>
                  <a:lnTo>
                    <a:pt x="2108" y="236"/>
                  </a:lnTo>
                  <a:lnTo>
                    <a:pt x="2104" y="233"/>
                  </a:lnTo>
                  <a:lnTo>
                    <a:pt x="2101" y="229"/>
                  </a:lnTo>
                  <a:lnTo>
                    <a:pt x="2090" y="224"/>
                  </a:lnTo>
                  <a:lnTo>
                    <a:pt x="2077" y="219"/>
                  </a:lnTo>
                  <a:lnTo>
                    <a:pt x="2065" y="216"/>
                  </a:lnTo>
                  <a:lnTo>
                    <a:pt x="2052" y="212"/>
                  </a:lnTo>
                  <a:lnTo>
                    <a:pt x="2041" y="211"/>
                  </a:lnTo>
                  <a:lnTo>
                    <a:pt x="2033" y="210"/>
                  </a:lnTo>
                  <a:lnTo>
                    <a:pt x="2027" y="216"/>
                  </a:lnTo>
                  <a:lnTo>
                    <a:pt x="2022" y="221"/>
                  </a:lnTo>
                  <a:lnTo>
                    <a:pt x="2022" y="226"/>
                  </a:lnTo>
                  <a:lnTo>
                    <a:pt x="2019" y="231"/>
                  </a:lnTo>
                  <a:lnTo>
                    <a:pt x="2016" y="236"/>
                  </a:lnTo>
                  <a:lnTo>
                    <a:pt x="2014" y="242"/>
                  </a:lnTo>
                  <a:lnTo>
                    <a:pt x="2011" y="246"/>
                  </a:lnTo>
                  <a:lnTo>
                    <a:pt x="2008" y="252"/>
                  </a:lnTo>
                  <a:lnTo>
                    <a:pt x="2006" y="256"/>
                  </a:lnTo>
                  <a:lnTo>
                    <a:pt x="2005" y="260"/>
                  </a:lnTo>
                  <a:lnTo>
                    <a:pt x="1994" y="260"/>
                  </a:lnTo>
                  <a:lnTo>
                    <a:pt x="1994" y="263"/>
                  </a:lnTo>
                  <a:lnTo>
                    <a:pt x="1993" y="264"/>
                  </a:lnTo>
                  <a:lnTo>
                    <a:pt x="1990" y="265"/>
                  </a:lnTo>
                  <a:lnTo>
                    <a:pt x="1987" y="266"/>
                  </a:lnTo>
                  <a:lnTo>
                    <a:pt x="1980" y="266"/>
                  </a:lnTo>
                  <a:lnTo>
                    <a:pt x="1973" y="265"/>
                  </a:lnTo>
                  <a:lnTo>
                    <a:pt x="1964" y="263"/>
                  </a:lnTo>
                  <a:lnTo>
                    <a:pt x="1957" y="259"/>
                  </a:lnTo>
                  <a:lnTo>
                    <a:pt x="1954" y="257"/>
                  </a:lnTo>
                  <a:lnTo>
                    <a:pt x="1951" y="255"/>
                  </a:lnTo>
                  <a:lnTo>
                    <a:pt x="1950" y="253"/>
                  </a:lnTo>
                  <a:lnTo>
                    <a:pt x="1950" y="249"/>
                  </a:lnTo>
                  <a:lnTo>
                    <a:pt x="1944" y="248"/>
                  </a:lnTo>
                  <a:lnTo>
                    <a:pt x="1937" y="245"/>
                  </a:lnTo>
                  <a:lnTo>
                    <a:pt x="1933" y="243"/>
                  </a:lnTo>
                  <a:lnTo>
                    <a:pt x="1930" y="240"/>
                  </a:lnTo>
                  <a:lnTo>
                    <a:pt x="1928" y="237"/>
                  </a:lnTo>
                  <a:lnTo>
                    <a:pt x="1928" y="233"/>
                  </a:lnTo>
                  <a:lnTo>
                    <a:pt x="1923" y="231"/>
                  </a:lnTo>
                  <a:lnTo>
                    <a:pt x="1918" y="229"/>
                  </a:lnTo>
                  <a:lnTo>
                    <a:pt x="1913" y="226"/>
                  </a:lnTo>
                  <a:lnTo>
                    <a:pt x="1907" y="221"/>
                  </a:lnTo>
                  <a:lnTo>
                    <a:pt x="1900" y="218"/>
                  </a:lnTo>
                  <a:lnTo>
                    <a:pt x="1893" y="215"/>
                  </a:lnTo>
                  <a:lnTo>
                    <a:pt x="1885" y="211"/>
                  </a:lnTo>
                  <a:lnTo>
                    <a:pt x="1878" y="210"/>
                  </a:lnTo>
                  <a:lnTo>
                    <a:pt x="1878" y="209"/>
                  </a:lnTo>
                  <a:lnTo>
                    <a:pt x="1877" y="208"/>
                  </a:lnTo>
                  <a:lnTo>
                    <a:pt x="1874" y="207"/>
                  </a:lnTo>
                  <a:lnTo>
                    <a:pt x="1872" y="206"/>
                  </a:lnTo>
                  <a:lnTo>
                    <a:pt x="1867" y="206"/>
                  </a:lnTo>
                  <a:lnTo>
                    <a:pt x="1861" y="205"/>
                  </a:lnTo>
                  <a:lnTo>
                    <a:pt x="1861" y="204"/>
                  </a:lnTo>
                  <a:lnTo>
                    <a:pt x="1859" y="202"/>
                  </a:lnTo>
                  <a:lnTo>
                    <a:pt x="1855" y="201"/>
                  </a:lnTo>
                  <a:lnTo>
                    <a:pt x="1852" y="200"/>
                  </a:lnTo>
                  <a:lnTo>
                    <a:pt x="1845" y="200"/>
                  </a:lnTo>
                  <a:lnTo>
                    <a:pt x="1839" y="199"/>
                  </a:lnTo>
                  <a:lnTo>
                    <a:pt x="1836" y="198"/>
                  </a:lnTo>
                  <a:lnTo>
                    <a:pt x="1831" y="196"/>
                  </a:lnTo>
                  <a:lnTo>
                    <a:pt x="1822" y="194"/>
                  </a:lnTo>
                  <a:lnTo>
                    <a:pt x="1812" y="192"/>
                  </a:lnTo>
                  <a:lnTo>
                    <a:pt x="1793" y="189"/>
                  </a:lnTo>
                  <a:lnTo>
                    <a:pt x="1784" y="189"/>
                  </a:lnTo>
                  <a:lnTo>
                    <a:pt x="1782" y="187"/>
                  </a:lnTo>
                  <a:lnTo>
                    <a:pt x="1777" y="186"/>
                  </a:lnTo>
                  <a:lnTo>
                    <a:pt x="1769" y="185"/>
                  </a:lnTo>
                  <a:lnTo>
                    <a:pt x="1760" y="183"/>
                  </a:lnTo>
                  <a:lnTo>
                    <a:pt x="1744" y="183"/>
                  </a:lnTo>
                  <a:lnTo>
                    <a:pt x="1734" y="183"/>
                  </a:lnTo>
                  <a:lnTo>
                    <a:pt x="1723" y="195"/>
                  </a:lnTo>
                  <a:lnTo>
                    <a:pt x="1711" y="205"/>
                  </a:lnTo>
                  <a:lnTo>
                    <a:pt x="1691" y="206"/>
                  </a:lnTo>
                  <a:lnTo>
                    <a:pt x="1667" y="208"/>
                  </a:lnTo>
                  <a:lnTo>
                    <a:pt x="1641" y="210"/>
                  </a:lnTo>
                  <a:lnTo>
                    <a:pt x="1618" y="210"/>
                  </a:lnTo>
                  <a:lnTo>
                    <a:pt x="1615" y="217"/>
                  </a:lnTo>
                  <a:lnTo>
                    <a:pt x="1611" y="224"/>
                  </a:lnTo>
                  <a:lnTo>
                    <a:pt x="1609" y="227"/>
                  </a:lnTo>
                  <a:lnTo>
                    <a:pt x="1605" y="230"/>
                  </a:lnTo>
                  <a:lnTo>
                    <a:pt x="1603" y="233"/>
                  </a:lnTo>
                  <a:lnTo>
                    <a:pt x="1601" y="233"/>
                  </a:lnTo>
                  <a:lnTo>
                    <a:pt x="1601" y="244"/>
                  </a:lnTo>
                  <a:lnTo>
                    <a:pt x="1595" y="249"/>
                  </a:lnTo>
                  <a:lnTo>
                    <a:pt x="1587" y="249"/>
                  </a:lnTo>
                  <a:lnTo>
                    <a:pt x="1579" y="249"/>
                  </a:lnTo>
                  <a:lnTo>
                    <a:pt x="1579" y="252"/>
                  </a:lnTo>
                  <a:lnTo>
                    <a:pt x="1577" y="253"/>
                  </a:lnTo>
                  <a:lnTo>
                    <a:pt x="1575" y="255"/>
                  </a:lnTo>
                  <a:lnTo>
                    <a:pt x="1573" y="255"/>
                  </a:lnTo>
                  <a:lnTo>
                    <a:pt x="1566" y="257"/>
                  </a:lnTo>
                  <a:lnTo>
                    <a:pt x="1558" y="257"/>
                  </a:lnTo>
                  <a:lnTo>
                    <a:pt x="1536" y="256"/>
                  </a:lnTo>
                  <a:lnTo>
                    <a:pt x="1513" y="253"/>
                  </a:lnTo>
                  <a:lnTo>
                    <a:pt x="1467" y="244"/>
                  </a:lnTo>
                  <a:lnTo>
                    <a:pt x="1446" y="238"/>
                  </a:lnTo>
                  <a:lnTo>
                    <a:pt x="1445" y="235"/>
                  </a:lnTo>
                  <a:lnTo>
                    <a:pt x="1440" y="233"/>
                  </a:lnTo>
                  <a:lnTo>
                    <a:pt x="1438" y="230"/>
                  </a:lnTo>
                  <a:lnTo>
                    <a:pt x="1437" y="228"/>
                  </a:lnTo>
                  <a:lnTo>
                    <a:pt x="1436" y="226"/>
                  </a:lnTo>
                  <a:lnTo>
                    <a:pt x="1435" y="221"/>
                  </a:lnTo>
                  <a:lnTo>
                    <a:pt x="1418" y="214"/>
                  </a:lnTo>
                  <a:lnTo>
                    <a:pt x="1401" y="205"/>
                  </a:lnTo>
                  <a:lnTo>
                    <a:pt x="1399" y="199"/>
                  </a:lnTo>
                  <a:lnTo>
                    <a:pt x="1395" y="195"/>
                  </a:lnTo>
                  <a:lnTo>
                    <a:pt x="1380" y="189"/>
                  </a:lnTo>
                  <a:lnTo>
                    <a:pt x="1369" y="183"/>
                  </a:lnTo>
                  <a:lnTo>
                    <a:pt x="1357" y="172"/>
                  </a:lnTo>
                  <a:lnTo>
                    <a:pt x="1346" y="161"/>
                  </a:lnTo>
                  <a:lnTo>
                    <a:pt x="1330" y="156"/>
                  </a:lnTo>
                  <a:lnTo>
                    <a:pt x="1318" y="150"/>
                  </a:lnTo>
                  <a:lnTo>
                    <a:pt x="1280" y="149"/>
                  </a:lnTo>
                  <a:lnTo>
                    <a:pt x="1244" y="147"/>
                  </a:lnTo>
                  <a:lnTo>
                    <a:pt x="1207" y="144"/>
                  </a:lnTo>
                  <a:lnTo>
                    <a:pt x="1170" y="141"/>
                  </a:lnTo>
                  <a:lnTo>
                    <a:pt x="1134" y="139"/>
                  </a:lnTo>
                  <a:lnTo>
                    <a:pt x="1098" y="135"/>
                  </a:lnTo>
                  <a:lnTo>
                    <a:pt x="1064" y="134"/>
                  </a:lnTo>
                  <a:lnTo>
                    <a:pt x="1030" y="133"/>
                  </a:lnTo>
                  <a:lnTo>
                    <a:pt x="1025" y="131"/>
                  </a:lnTo>
                  <a:lnTo>
                    <a:pt x="1009" y="130"/>
                  </a:lnTo>
                  <a:lnTo>
                    <a:pt x="987" y="129"/>
                  </a:lnTo>
                  <a:lnTo>
                    <a:pt x="961" y="129"/>
                  </a:lnTo>
                  <a:lnTo>
                    <a:pt x="909" y="128"/>
                  </a:lnTo>
                  <a:lnTo>
                    <a:pt x="875" y="128"/>
                  </a:lnTo>
                  <a:lnTo>
                    <a:pt x="874" y="124"/>
                  </a:lnTo>
                  <a:lnTo>
                    <a:pt x="872" y="123"/>
                  </a:lnTo>
                  <a:lnTo>
                    <a:pt x="869" y="122"/>
                  </a:lnTo>
                  <a:lnTo>
                    <a:pt x="864" y="122"/>
                  </a:lnTo>
                  <a:lnTo>
                    <a:pt x="864" y="120"/>
                  </a:lnTo>
                  <a:lnTo>
                    <a:pt x="862" y="119"/>
                  </a:lnTo>
                  <a:lnTo>
                    <a:pt x="861" y="118"/>
                  </a:lnTo>
                  <a:lnTo>
                    <a:pt x="857" y="118"/>
                  </a:lnTo>
                  <a:lnTo>
                    <a:pt x="853" y="117"/>
                  </a:lnTo>
                  <a:lnTo>
                    <a:pt x="847" y="117"/>
                  </a:lnTo>
                  <a:lnTo>
                    <a:pt x="846" y="112"/>
                  </a:lnTo>
                  <a:lnTo>
                    <a:pt x="844" y="109"/>
                  </a:lnTo>
                  <a:lnTo>
                    <a:pt x="841" y="106"/>
                  </a:lnTo>
                  <a:lnTo>
                    <a:pt x="836" y="105"/>
                  </a:lnTo>
                  <a:lnTo>
                    <a:pt x="834" y="100"/>
                  </a:lnTo>
                  <a:lnTo>
                    <a:pt x="831" y="94"/>
                  </a:lnTo>
                  <a:lnTo>
                    <a:pt x="827" y="94"/>
                  </a:lnTo>
                  <a:lnTo>
                    <a:pt x="824" y="92"/>
                  </a:lnTo>
                  <a:lnTo>
                    <a:pt x="821" y="89"/>
                  </a:lnTo>
                  <a:lnTo>
                    <a:pt x="817" y="86"/>
                  </a:lnTo>
                  <a:lnTo>
                    <a:pt x="813" y="81"/>
                  </a:lnTo>
                  <a:lnTo>
                    <a:pt x="808" y="77"/>
                  </a:lnTo>
                  <a:lnTo>
                    <a:pt x="808" y="66"/>
                  </a:lnTo>
                  <a:lnTo>
                    <a:pt x="803" y="61"/>
                  </a:lnTo>
                  <a:lnTo>
                    <a:pt x="797" y="55"/>
                  </a:lnTo>
                  <a:lnTo>
                    <a:pt x="793" y="53"/>
                  </a:lnTo>
                  <a:lnTo>
                    <a:pt x="787" y="50"/>
                  </a:lnTo>
                  <a:lnTo>
                    <a:pt x="786" y="44"/>
                  </a:lnTo>
                  <a:lnTo>
                    <a:pt x="783" y="37"/>
                  </a:lnTo>
                  <a:lnTo>
                    <a:pt x="780" y="34"/>
                  </a:lnTo>
                  <a:lnTo>
                    <a:pt x="777" y="31"/>
                  </a:lnTo>
                  <a:lnTo>
                    <a:pt x="774" y="28"/>
                  </a:lnTo>
                  <a:lnTo>
                    <a:pt x="770" y="28"/>
                  </a:lnTo>
                  <a:lnTo>
                    <a:pt x="770" y="17"/>
                  </a:lnTo>
                  <a:lnTo>
                    <a:pt x="765" y="12"/>
                  </a:lnTo>
                  <a:lnTo>
                    <a:pt x="754" y="12"/>
                  </a:lnTo>
                  <a:lnTo>
                    <a:pt x="751" y="9"/>
                  </a:lnTo>
                  <a:lnTo>
                    <a:pt x="747" y="8"/>
                  </a:lnTo>
                  <a:lnTo>
                    <a:pt x="741" y="7"/>
                  </a:lnTo>
                  <a:lnTo>
                    <a:pt x="733" y="6"/>
                  </a:lnTo>
                  <a:lnTo>
                    <a:pt x="718" y="6"/>
                  </a:lnTo>
                  <a:lnTo>
                    <a:pt x="709" y="6"/>
                  </a:lnTo>
                  <a:lnTo>
                    <a:pt x="709" y="3"/>
                  </a:lnTo>
                  <a:lnTo>
                    <a:pt x="707" y="2"/>
                  </a:lnTo>
                  <a:lnTo>
                    <a:pt x="704" y="0"/>
                  </a:lnTo>
                  <a:lnTo>
                    <a:pt x="701" y="0"/>
                  </a:lnTo>
                  <a:lnTo>
                    <a:pt x="698" y="2"/>
                  </a:lnTo>
                  <a:lnTo>
                    <a:pt x="692" y="2"/>
                  </a:lnTo>
                  <a:lnTo>
                    <a:pt x="688" y="2"/>
                  </a:lnTo>
                  <a:lnTo>
                    <a:pt x="68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0" name="Freeform 23">
              <a:extLst>
                <a:ext uri="{FF2B5EF4-FFF2-40B4-BE49-F238E27FC236}">
                  <a16:creationId xmlns:a16="http://schemas.microsoft.com/office/drawing/2014/main" id="{0C390914-AF06-45F9-A2BD-951F775E0512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308850" y="3773488"/>
              <a:ext cx="283385" cy="196850"/>
            </a:xfrm>
            <a:custGeom>
              <a:avLst/>
              <a:gdLst/>
              <a:ahLst/>
              <a:cxnLst>
                <a:cxn ang="0">
                  <a:pos x="302" y="115"/>
                </a:cxn>
                <a:cxn ang="0">
                  <a:pos x="259" y="163"/>
                </a:cxn>
                <a:cxn ang="0">
                  <a:pos x="215" y="189"/>
                </a:cxn>
                <a:cxn ang="0">
                  <a:pos x="205" y="361"/>
                </a:cxn>
                <a:cxn ang="0">
                  <a:pos x="205" y="527"/>
                </a:cxn>
                <a:cxn ang="0">
                  <a:pos x="243" y="572"/>
                </a:cxn>
                <a:cxn ang="0">
                  <a:pos x="241" y="724"/>
                </a:cxn>
                <a:cxn ang="0">
                  <a:pos x="188" y="748"/>
                </a:cxn>
                <a:cxn ang="0">
                  <a:pos x="116" y="791"/>
                </a:cxn>
                <a:cxn ang="0">
                  <a:pos x="77" y="822"/>
                </a:cxn>
                <a:cxn ang="0">
                  <a:pos x="55" y="848"/>
                </a:cxn>
                <a:cxn ang="0">
                  <a:pos x="5" y="897"/>
                </a:cxn>
                <a:cxn ang="0">
                  <a:pos x="137" y="935"/>
                </a:cxn>
                <a:cxn ang="0">
                  <a:pos x="198" y="925"/>
                </a:cxn>
                <a:cxn ang="0">
                  <a:pos x="304" y="954"/>
                </a:cxn>
                <a:cxn ang="0">
                  <a:pos x="365" y="1009"/>
                </a:cxn>
                <a:cxn ang="0">
                  <a:pos x="410" y="1055"/>
                </a:cxn>
                <a:cxn ang="0">
                  <a:pos x="525" y="1053"/>
                </a:cxn>
                <a:cxn ang="0">
                  <a:pos x="620" y="1080"/>
                </a:cxn>
                <a:cxn ang="0">
                  <a:pos x="1069" y="1092"/>
                </a:cxn>
                <a:cxn ang="0">
                  <a:pos x="1019" y="1064"/>
                </a:cxn>
                <a:cxn ang="0">
                  <a:pos x="985" y="931"/>
                </a:cxn>
                <a:cxn ang="0">
                  <a:pos x="1066" y="923"/>
                </a:cxn>
                <a:cxn ang="0">
                  <a:pos x="1125" y="954"/>
                </a:cxn>
                <a:cxn ang="0">
                  <a:pos x="1185" y="998"/>
                </a:cxn>
                <a:cxn ang="0">
                  <a:pos x="1220" y="1032"/>
                </a:cxn>
                <a:cxn ang="0">
                  <a:pos x="1250" y="1095"/>
                </a:cxn>
                <a:cxn ang="0">
                  <a:pos x="1279" y="1217"/>
                </a:cxn>
                <a:cxn ang="0">
                  <a:pos x="1335" y="1200"/>
                </a:cxn>
                <a:cxn ang="0">
                  <a:pos x="1383" y="1141"/>
                </a:cxn>
                <a:cxn ang="0">
                  <a:pos x="1542" y="1035"/>
                </a:cxn>
                <a:cxn ang="0">
                  <a:pos x="1496" y="1031"/>
                </a:cxn>
                <a:cxn ang="0">
                  <a:pos x="1437" y="1021"/>
                </a:cxn>
                <a:cxn ang="0">
                  <a:pos x="1390" y="942"/>
                </a:cxn>
                <a:cxn ang="0">
                  <a:pos x="1350" y="885"/>
                </a:cxn>
                <a:cxn ang="0">
                  <a:pos x="1326" y="853"/>
                </a:cxn>
                <a:cxn ang="0">
                  <a:pos x="1304" y="810"/>
                </a:cxn>
                <a:cxn ang="0">
                  <a:pos x="1268" y="731"/>
                </a:cxn>
                <a:cxn ang="0">
                  <a:pos x="1216" y="683"/>
                </a:cxn>
                <a:cxn ang="0">
                  <a:pos x="1214" y="644"/>
                </a:cxn>
                <a:cxn ang="0">
                  <a:pos x="1296" y="609"/>
                </a:cxn>
                <a:cxn ang="0">
                  <a:pos x="1340" y="502"/>
                </a:cxn>
                <a:cxn ang="0">
                  <a:pos x="1313" y="429"/>
                </a:cxn>
                <a:cxn ang="0">
                  <a:pos x="1265" y="383"/>
                </a:cxn>
                <a:cxn ang="0">
                  <a:pos x="1167" y="292"/>
                </a:cxn>
                <a:cxn ang="0">
                  <a:pos x="1140" y="239"/>
                </a:cxn>
                <a:cxn ang="0">
                  <a:pos x="1092" y="201"/>
                </a:cxn>
                <a:cxn ang="0">
                  <a:pos x="937" y="188"/>
                </a:cxn>
                <a:cxn ang="0">
                  <a:pos x="861" y="92"/>
                </a:cxn>
                <a:cxn ang="0">
                  <a:pos x="830" y="6"/>
                </a:cxn>
                <a:cxn ang="0">
                  <a:pos x="779" y="26"/>
                </a:cxn>
                <a:cxn ang="0">
                  <a:pos x="764" y="63"/>
                </a:cxn>
                <a:cxn ang="0">
                  <a:pos x="672" y="77"/>
                </a:cxn>
                <a:cxn ang="0">
                  <a:pos x="643" y="89"/>
                </a:cxn>
                <a:cxn ang="0">
                  <a:pos x="626" y="128"/>
                </a:cxn>
                <a:cxn ang="0">
                  <a:pos x="534" y="167"/>
                </a:cxn>
                <a:cxn ang="0">
                  <a:pos x="439" y="141"/>
                </a:cxn>
                <a:cxn ang="0">
                  <a:pos x="408" y="128"/>
                </a:cxn>
                <a:cxn ang="0">
                  <a:pos x="376" y="95"/>
                </a:cxn>
              </a:cxnLst>
              <a:rect l="0" t="0" r="r" b="b"/>
              <a:pathLst>
                <a:path w="1556" h="1230">
                  <a:moveTo>
                    <a:pt x="349" y="84"/>
                  </a:moveTo>
                  <a:lnTo>
                    <a:pt x="343" y="86"/>
                  </a:lnTo>
                  <a:lnTo>
                    <a:pt x="338" y="89"/>
                  </a:lnTo>
                  <a:lnTo>
                    <a:pt x="331" y="95"/>
                  </a:lnTo>
                  <a:lnTo>
                    <a:pt x="327" y="101"/>
                  </a:lnTo>
                  <a:lnTo>
                    <a:pt x="315" y="101"/>
                  </a:lnTo>
                  <a:lnTo>
                    <a:pt x="312" y="106"/>
                  </a:lnTo>
                  <a:lnTo>
                    <a:pt x="310" y="112"/>
                  </a:lnTo>
                  <a:lnTo>
                    <a:pt x="305" y="113"/>
                  </a:lnTo>
                  <a:lnTo>
                    <a:pt x="302" y="115"/>
                  </a:lnTo>
                  <a:lnTo>
                    <a:pt x="300" y="118"/>
                  </a:lnTo>
                  <a:lnTo>
                    <a:pt x="299" y="123"/>
                  </a:lnTo>
                  <a:lnTo>
                    <a:pt x="288" y="128"/>
                  </a:lnTo>
                  <a:lnTo>
                    <a:pt x="288" y="138"/>
                  </a:lnTo>
                  <a:lnTo>
                    <a:pt x="282" y="142"/>
                  </a:lnTo>
                  <a:lnTo>
                    <a:pt x="276" y="144"/>
                  </a:lnTo>
                  <a:lnTo>
                    <a:pt x="276" y="155"/>
                  </a:lnTo>
                  <a:lnTo>
                    <a:pt x="271" y="161"/>
                  </a:lnTo>
                  <a:lnTo>
                    <a:pt x="260" y="161"/>
                  </a:lnTo>
                  <a:lnTo>
                    <a:pt x="259" y="163"/>
                  </a:lnTo>
                  <a:lnTo>
                    <a:pt x="255" y="165"/>
                  </a:lnTo>
                  <a:lnTo>
                    <a:pt x="251" y="167"/>
                  </a:lnTo>
                  <a:lnTo>
                    <a:pt x="245" y="169"/>
                  </a:lnTo>
                  <a:lnTo>
                    <a:pt x="234" y="171"/>
                  </a:lnTo>
                  <a:lnTo>
                    <a:pt x="226" y="172"/>
                  </a:lnTo>
                  <a:lnTo>
                    <a:pt x="221" y="178"/>
                  </a:lnTo>
                  <a:lnTo>
                    <a:pt x="221" y="182"/>
                  </a:lnTo>
                  <a:lnTo>
                    <a:pt x="221" y="185"/>
                  </a:lnTo>
                  <a:lnTo>
                    <a:pt x="218" y="188"/>
                  </a:lnTo>
                  <a:lnTo>
                    <a:pt x="215" y="189"/>
                  </a:lnTo>
                  <a:lnTo>
                    <a:pt x="215" y="224"/>
                  </a:lnTo>
                  <a:lnTo>
                    <a:pt x="213" y="263"/>
                  </a:lnTo>
                  <a:lnTo>
                    <a:pt x="211" y="303"/>
                  </a:lnTo>
                  <a:lnTo>
                    <a:pt x="211" y="338"/>
                  </a:lnTo>
                  <a:lnTo>
                    <a:pt x="208" y="339"/>
                  </a:lnTo>
                  <a:lnTo>
                    <a:pt x="207" y="342"/>
                  </a:lnTo>
                  <a:lnTo>
                    <a:pt x="206" y="344"/>
                  </a:lnTo>
                  <a:lnTo>
                    <a:pt x="205" y="347"/>
                  </a:lnTo>
                  <a:lnTo>
                    <a:pt x="205" y="355"/>
                  </a:lnTo>
                  <a:lnTo>
                    <a:pt x="205" y="361"/>
                  </a:lnTo>
                  <a:lnTo>
                    <a:pt x="203" y="361"/>
                  </a:lnTo>
                  <a:lnTo>
                    <a:pt x="200" y="363"/>
                  </a:lnTo>
                  <a:lnTo>
                    <a:pt x="199" y="365"/>
                  </a:lnTo>
                  <a:lnTo>
                    <a:pt x="198" y="367"/>
                  </a:lnTo>
                  <a:lnTo>
                    <a:pt x="196" y="375"/>
                  </a:lnTo>
                  <a:lnTo>
                    <a:pt x="195" y="386"/>
                  </a:lnTo>
                  <a:lnTo>
                    <a:pt x="195" y="412"/>
                  </a:lnTo>
                  <a:lnTo>
                    <a:pt x="196" y="442"/>
                  </a:lnTo>
                  <a:lnTo>
                    <a:pt x="202" y="499"/>
                  </a:lnTo>
                  <a:lnTo>
                    <a:pt x="205" y="527"/>
                  </a:lnTo>
                  <a:lnTo>
                    <a:pt x="211" y="529"/>
                  </a:lnTo>
                  <a:lnTo>
                    <a:pt x="215" y="532"/>
                  </a:lnTo>
                  <a:lnTo>
                    <a:pt x="218" y="544"/>
                  </a:lnTo>
                  <a:lnTo>
                    <a:pt x="221" y="555"/>
                  </a:lnTo>
                  <a:lnTo>
                    <a:pt x="225" y="557"/>
                  </a:lnTo>
                  <a:lnTo>
                    <a:pt x="231" y="563"/>
                  </a:lnTo>
                  <a:lnTo>
                    <a:pt x="233" y="566"/>
                  </a:lnTo>
                  <a:lnTo>
                    <a:pt x="236" y="568"/>
                  </a:lnTo>
                  <a:lnTo>
                    <a:pt x="240" y="570"/>
                  </a:lnTo>
                  <a:lnTo>
                    <a:pt x="243" y="572"/>
                  </a:lnTo>
                  <a:lnTo>
                    <a:pt x="246" y="597"/>
                  </a:lnTo>
                  <a:lnTo>
                    <a:pt x="252" y="631"/>
                  </a:lnTo>
                  <a:lnTo>
                    <a:pt x="254" y="649"/>
                  </a:lnTo>
                  <a:lnTo>
                    <a:pt x="257" y="666"/>
                  </a:lnTo>
                  <a:lnTo>
                    <a:pt x="260" y="683"/>
                  </a:lnTo>
                  <a:lnTo>
                    <a:pt x="260" y="699"/>
                  </a:lnTo>
                  <a:lnTo>
                    <a:pt x="254" y="708"/>
                  </a:lnTo>
                  <a:lnTo>
                    <a:pt x="248" y="721"/>
                  </a:lnTo>
                  <a:lnTo>
                    <a:pt x="245" y="721"/>
                  </a:lnTo>
                  <a:lnTo>
                    <a:pt x="241" y="724"/>
                  </a:lnTo>
                  <a:lnTo>
                    <a:pt x="238" y="728"/>
                  </a:lnTo>
                  <a:lnTo>
                    <a:pt x="237" y="731"/>
                  </a:lnTo>
                  <a:lnTo>
                    <a:pt x="232" y="737"/>
                  </a:lnTo>
                  <a:lnTo>
                    <a:pt x="221" y="737"/>
                  </a:lnTo>
                  <a:lnTo>
                    <a:pt x="219" y="741"/>
                  </a:lnTo>
                  <a:lnTo>
                    <a:pt x="216" y="743"/>
                  </a:lnTo>
                  <a:lnTo>
                    <a:pt x="212" y="746"/>
                  </a:lnTo>
                  <a:lnTo>
                    <a:pt x="206" y="747"/>
                  </a:lnTo>
                  <a:lnTo>
                    <a:pt x="195" y="748"/>
                  </a:lnTo>
                  <a:lnTo>
                    <a:pt x="188" y="748"/>
                  </a:lnTo>
                  <a:lnTo>
                    <a:pt x="180" y="752"/>
                  </a:lnTo>
                  <a:lnTo>
                    <a:pt x="163" y="762"/>
                  </a:lnTo>
                  <a:lnTo>
                    <a:pt x="144" y="771"/>
                  </a:lnTo>
                  <a:lnTo>
                    <a:pt x="132" y="776"/>
                  </a:lnTo>
                  <a:lnTo>
                    <a:pt x="127" y="781"/>
                  </a:lnTo>
                  <a:lnTo>
                    <a:pt x="127" y="784"/>
                  </a:lnTo>
                  <a:lnTo>
                    <a:pt x="125" y="786"/>
                  </a:lnTo>
                  <a:lnTo>
                    <a:pt x="123" y="788"/>
                  </a:lnTo>
                  <a:lnTo>
                    <a:pt x="121" y="789"/>
                  </a:lnTo>
                  <a:lnTo>
                    <a:pt x="116" y="791"/>
                  </a:lnTo>
                  <a:lnTo>
                    <a:pt x="110" y="792"/>
                  </a:lnTo>
                  <a:lnTo>
                    <a:pt x="108" y="797"/>
                  </a:lnTo>
                  <a:lnTo>
                    <a:pt x="104" y="800"/>
                  </a:lnTo>
                  <a:lnTo>
                    <a:pt x="100" y="805"/>
                  </a:lnTo>
                  <a:lnTo>
                    <a:pt x="96" y="808"/>
                  </a:lnTo>
                  <a:lnTo>
                    <a:pt x="91" y="810"/>
                  </a:lnTo>
                  <a:lnTo>
                    <a:pt x="87" y="813"/>
                  </a:lnTo>
                  <a:lnTo>
                    <a:pt x="81" y="814"/>
                  </a:lnTo>
                  <a:lnTo>
                    <a:pt x="77" y="815"/>
                  </a:lnTo>
                  <a:lnTo>
                    <a:pt x="77" y="822"/>
                  </a:lnTo>
                  <a:lnTo>
                    <a:pt x="77" y="825"/>
                  </a:lnTo>
                  <a:lnTo>
                    <a:pt x="75" y="827"/>
                  </a:lnTo>
                  <a:lnTo>
                    <a:pt x="74" y="827"/>
                  </a:lnTo>
                  <a:lnTo>
                    <a:pt x="73" y="827"/>
                  </a:lnTo>
                  <a:lnTo>
                    <a:pt x="72" y="827"/>
                  </a:lnTo>
                  <a:lnTo>
                    <a:pt x="72" y="828"/>
                  </a:lnTo>
                  <a:lnTo>
                    <a:pt x="71" y="832"/>
                  </a:lnTo>
                  <a:lnTo>
                    <a:pt x="63" y="834"/>
                  </a:lnTo>
                  <a:lnTo>
                    <a:pt x="55" y="837"/>
                  </a:lnTo>
                  <a:lnTo>
                    <a:pt x="55" y="848"/>
                  </a:lnTo>
                  <a:lnTo>
                    <a:pt x="51" y="849"/>
                  </a:lnTo>
                  <a:lnTo>
                    <a:pt x="48" y="852"/>
                  </a:lnTo>
                  <a:lnTo>
                    <a:pt x="45" y="855"/>
                  </a:lnTo>
                  <a:lnTo>
                    <a:pt x="44" y="859"/>
                  </a:lnTo>
                  <a:lnTo>
                    <a:pt x="40" y="859"/>
                  </a:lnTo>
                  <a:lnTo>
                    <a:pt x="36" y="863"/>
                  </a:lnTo>
                  <a:lnTo>
                    <a:pt x="34" y="866"/>
                  </a:lnTo>
                  <a:lnTo>
                    <a:pt x="33" y="871"/>
                  </a:lnTo>
                  <a:lnTo>
                    <a:pt x="19" y="884"/>
                  </a:lnTo>
                  <a:lnTo>
                    <a:pt x="5" y="897"/>
                  </a:lnTo>
                  <a:lnTo>
                    <a:pt x="0" y="903"/>
                  </a:lnTo>
                  <a:lnTo>
                    <a:pt x="0" y="917"/>
                  </a:lnTo>
                  <a:lnTo>
                    <a:pt x="0" y="931"/>
                  </a:lnTo>
                  <a:lnTo>
                    <a:pt x="11" y="936"/>
                  </a:lnTo>
                  <a:lnTo>
                    <a:pt x="13" y="942"/>
                  </a:lnTo>
                  <a:lnTo>
                    <a:pt x="16" y="948"/>
                  </a:lnTo>
                  <a:lnTo>
                    <a:pt x="116" y="948"/>
                  </a:lnTo>
                  <a:lnTo>
                    <a:pt x="127" y="936"/>
                  </a:lnTo>
                  <a:lnTo>
                    <a:pt x="132" y="936"/>
                  </a:lnTo>
                  <a:lnTo>
                    <a:pt x="137" y="935"/>
                  </a:lnTo>
                  <a:lnTo>
                    <a:pt x="140" y="935"/>
                  </a:lnTo>
                  <a:lnTo>
                    <a:pt x="141" y="934"/>
                  </a:lnTo>
                  <a:lnTo>
                    <a:pt x="144" y="933"/>
                  </a:lnTo>
                  <a:lnTo>
                    <a:pt x="144" y="931"/>
                  </a:lnTo>
                  <a:lnTo>
                    <a:pt x="177" y="931"/>
                  </a:lnTo>
                  <a:lnTo>
                    <a:pt x="178" y="930"/>
                  </a:lnTo>
                  <a:lnTo>
                    <a:pt x="180" y="928"/>
                  </a:lnTo>
                  <a:lnTo>
                    <a:pt x="184" y="926"/>
                  </a:lnTo>
                  <a:lnTo>
                    <a:pt x="188" y="926"/>
                  </a:lnTo>
                  <a:lnTo>
                    <a:pt x="198" y="925"/>
                  </a:lnTo>
                  <a:lnTo>
                    <a:pt x="205" y="925"/>
                  </a:lnTo>
                  <a:lnTo>
                    <a:pt x="217" y="926"/>
                  </a:lnTo>
                  <a:lnTo>
                    <a:pt x="232" y="929"/>
                  </a:lnTo>
                  <a:lnTo>
                    <a:pt x="246" y="930"/>
                  </a:lnTo>
                  <a:lnTo>
                    <a:pt x="260" y="931"/>
                  </a:lnTo>
                  <a:lnTo>
                    <a:pt x="271" y="942"/>
                  </a:lnTo>
                  <a:lnTo>
                    <a:pt x="286" y="945"/>
                  </a:lnTo>
                  <a:lnTo>
                    <a:pt x="299" y="948"/>
                  </a:lnTo>
                  <a:lnTo>
                    <a:pt x="300" y="951"/>
                  </a:lnTo>
                  <a:lnTo>
                    <a:pt x="304" y="954"/>
                  </a:lnTo>
                  <a:lnTo>
                    <a:pt x="307" y="955"/>
                  </a:lnTo>
                  <a:lnTo>
                    <a:pt x="308" y="958"/>
                  </a:lnTo>
                  <a:lnTo>
                    <a:pt x="309" y="961"/>
                  </a:lnTo>
                  <a:lnTo>
                    <a:pt x="310" y="964"/>
                  </a:lnTo>
                  <a:lnTo>
                    <a:pt x="318" y="968"/>
                  </a:lnTo>
                  <a:lnTo>
                    <a:pt x="329" y="976"/>
                  </a:lnTo>
                  <a:lnTo>
                    <a:pt x="341" y="983"/>
                  </a:lnTo>
                  <a:lnTo>
                    <a:pt x="349" y="987"/>
                  </a:lnTo>
                  <a:lnTo>
                    <a:pt x="357" y="998"/>
                  </a:lnTo>
                  <a:lnTo>
                    <a:pt x="365" y="1009"/>
                  </a:lnTo>
                  <a:lnTo>
                    <a:pt x="370" y="1012"/>
                  </a:lnTo>
                  <a:lnTo>
                    <a:pt x="377" y="1022"/>
                  </a:lnTo>
                  <a:lnTo>
                    <a:pt x="380" y="1028"/>
                  </a:lnTo>
                  <a:lnTo>
                    <a:pt x="385" y="1032"/>
                  </a:lnTo>
                  <a:lnTo>
                    <a:pt x="389" y="1035"/>
                  </a:lnTo>
                  <a:lnTo>
                    <a:pt x="392" y="1036"/>
                  </a:lnTo>
                  <a:lnTo>
                    <a:pt x="395" y="1040"/>
                  </a:lnTo>
                  <a:lnTo>
                    <a:pt x="398" y="1046"/>
                  </a:lnTo>
                  <a:lnTo>
                    <a:pt x="404" y="1050"/>
                  </a:lnTo>
                  <a:lnTo>
                    <a:pt x="410" y="1055"/>
                  </a:lnTo>
                  <a:lnTo>
                    <a:pt x="423" y="1064"/>
                  </a:lnTo>
                  <a:lnTo>
                    <a:pt x="432" y="1069"/>
                  </a:lnTo>
                  <a:lnTo>
                    <a:pt x="493" y="1069"/>
                  </a:lnTo>
                  <a:lnTo>
                    <a:pt x="493" y="1066"/>
                  </a:lnTo>
                  <a:lnTo>
                    <a:pt x="496" y="1065"/>
                  </a:lnTo>
                  <a:lnTo>
                    <a:pt x="500" y="1064"/>
                  </a:lnTo>
                  <a:lnTo>
                    <a:pt x="504" y="1064"/>
                  </a:lnTo>
                  <a:lnTo>
                    <a:pt x="506" y="1058"/>
                  </a:lnTo>
                  <a:lnTo>
                    <a:pt x="510" y="1053"/>
                  </a:lnTo>
                  <a:lnTo>
                    <a:pt x="525" y="1053"/>
                  </a:lnTo>
                  <a:lnTo>
                    <a:pt x="547" y="1053"/>
                  </a:lnTo>
                  <a:lnTo>
                    <a:pt x="557" y="1054"/>
                  </a:lnTo>
                  <a:lnTo>
                    <a:pt x="565" y="1055"/>
                  </a:lnTo>
                  <a:lnTo>
                    <a:pt x="569" y="1057"/>
                  </a:lnTo>
                  <a:lnTo>
                    <a:pt x="572" y="1059"/>
                  </a:lnTo>
                  <a:lnTo>
                    <a:pt x="574" y="1061"/>
                  </a:lnTo>
                  <a:lnTo>
                    <a:pt x="576" y="1064"/>
                  </a:lnTo>
                  <a:lnTo>
                    <a:pt x="589" y="1067"/>
                  </a:lnTo>
                  <a:lnTo>
                    <a:pt x="603" y="1069"/>
                  </a:lnTo>
                  <a:lnTo>
                    <a:pt x="620" y="1080"/>
                  </a:lnTo>
                  <a:lnTo>
                    <a:pt x="637" y="1092"/>
                  </a:lnTo>
                  <a:lnTo>
                    <a:pt x="687" y="1093"/>
                  </a:lnTo>
                  <a:lnTo>
                    <a:pt x="741" y="1094"/>
                  </a:lnTo>
                  <a:lnTo>
                    <a:pt x="795" y="1097"/>
                  </a:lnTo>
                  <a:lnTo>
                    <a:pt x="850" y="1099"/>
                  </a:lnTo>
                  <a:lnTo>
                    <a:pt x="906" y="1103"/>
                  </a:lnTo>
                  <a:lnTo>
                    <a:pt x="962" y="1106"/>
                  </a:lnTo>
                  <a:lnTo>
                    <a:pt x="1015" y="1107"/>
                  </a:lnTo>
                  <a:lnTo>
                    <a:pt x="1069" y="1108"/>
                  </a:lnTo>
                  <a:lnTo>
                    <a:pt x="1069" y="1092"/>
                  </a:lnTo>
                  <a:lnTo>
                    <a:pt x="1064" y="1090"/>
                  </a:lnTo>
                  <a:lnTo>
                    <a:pt x="1061" y="1086"/>
                  </a:lnTo>
                  <a:lnTo>
                    <a:pt x="1059" y="1083"/>
                  </a:lnTo>
                  <a:lnTo>
                    <a:pt x="1058" y="1080"/>
                  </a:lnTo>
                  <a:lnTo>
                    <a:pt x="1049" y="1078"/>
                  </a:lnTo>
                  <a:lnTo>
                    <a:pt x="1037" y="1075"/>
                  </a:lnTo>
                  <a:lnTo>
                    <a:pt x="1030" y="1072"/>
                  </a:lnTo>
                  <a:lnTo>
                    <a:pt x="1024" y="1069"/>
                  </a:lnTo>
                  <a:lnTo>
                    <a:pt x="1020" y="1066"/>
                  </a:lnTo>
                  <a:lnTo>
                    <a:pt x="1019" y="1064"/>
                  </a:lnTo>
                  <a:lnTo>
                    <a:pt x="1008" y="1064"/>
                  </a:lnTo>
                  <a:lnTo>
                    <a:pt x="1002" y="1058"/>
                  </a:lnTo>
                  <a:lnTo>
                    <a:pt x="996" y="1053"/>
                  </a:lnTo>
                  <a:lnTo>
                    <a:pt x="994" y="1046"/>
                  </a:lnTo>
                  <a:lnTo>
                    <a:pt x="987" y="1036"/>
                  </a:lnTo>
                  <a:lnTo>
                    <a:pt x="981" y="1027"/>
                  </a:lnTo>
                  <a:lnTo>
                    <a:pt x="974" y="1020"/>
                  </a:lnTo>
                  <a:lnTo>
                    <a:pt x="974" y="942"/>
                  </a:lnTo>
                  <a:lnTo>
                    <a:pt x="980" y="936"/>
                  </a:lnTo>
                  <a:lnTo>
                    <a:pt x="985" y="931"/>
                  </a:lnTo>
                  <a:lnTo>
                    <a:pt x="995" y="930"/>
                  </a:lnTo>
                  <a:lnTo>
                    <a:pt x="1009" y="929"/>
                  </a:lnTo>
                  <a:lnTo>
                    <a:pt x="1022" y="926"/>
                  </a:lnTo>
                  <a:lnTo>
                    <a:pt x="1035" y="925"/>
                  </a:lnTo>
                  <a:lnTo>
                    <a:pt x="1037" y="923"/>
                  </a:lnTo>
                  <a:lnTo>
                    <a:pt x="1038" y="921"/>
                  </a:lnTo>
                  <a:lnTo>
                    <a:pt x="1041" y="920"/>
                  </a:lnTo>
                  <a:lnTo>
                    <a:pt x="1044" y="920"/>
                  </a:lnTo>
                  <a:lnTo>
                    <a:pt x="1054" y="920"/>
                  </a:lnTo>
                  <a:lnTo>
                    <a:pt x="1066" y="923"/>
                  </a:lnTo>
                  <a:lnTo>
                    <a:pt x="1077" y="926"/>
                  </a:lnTo>
                  <a:lnTo>
                    <a:pt x="1087" y="930"/>
                  </a:lnTo>
                  <a:lnTo>
                    <a:pt x="1094" y="934"/>
                  </a:lnTo>
                  <a:lnTo>
                    <a:pt x="1097" y="936"/>
                  </a:lnTo>
                  <a:lnTo>
                    <a:pt x="1107" y="940"/>
                  </a:lnTo>
                  <a:lnTo>
                    <a:pt x="1118" y="942"/>
                  </a:lnTo>
                  <a:lnTo>
                    <a:pt x="1119" y="945"/>
                  </a:lnTo>
                  <a:lnTo>
                    <a:pt x="1120" y="949"/>
                  </a:lnTo>
                  <a:lnTo>
                    <a:pt x="1123" y="951"/>
                  </a:lnTo>
                  <a:lnTo>
                    <a:pt x="1125" y="954"/>
                  </a:lnTo>
                  <a:lnTo>
                    <a:pt x="1131" y="961"/>
                  </a:lnTo>
                  <a:lnTo>
                    <a:pt x="1138" y="967"/>
                  </a:lnTo>
                  <a:lnTo>
                    <a:pt x="1146" y="972"/>
                  </a:lnTo>
                  <a:lnTo>
                    <a:pt x="1154" y="977"/>
                  </a:lnTo>
                  <a:lnTo>
                    <a:pt x="1159" y="982"/>
                  </a:lnTo>
                  <a:lnTo>
                    <a:pt x="1163" y="987"/>
                  </a:lnTo>
                  <a:lnTo>
                    <a:pt x="1171" y="989"/>
                  </a:lnTo>
                  <a:lnTo>
                    <a:pt x="1179" y="992"/>
                  </a:lnTo>
                  <a:lnTo>
                    <a:pt x="1181" y="996"/>
                  </a:lnTo>
                  <a:lnTo>
                    <a:pt x="1185" y="998"/>
                  </a:lnTo>
                  <a:lnTo>
                    <a:pt x="1187" y="1000"/>
                  </a:lnTo>
                  <a:lnTo>
                    <a:pt x="1188" y="1002"/>
                  </a:lnTo>
                  <a:lnTo>
                    <a:pt x="1190" y="1005"/>
                  </a:lnTo>
                  <a:lnTo>
                    <a:pt x="1191" y="1009"/>
                  </a:lnTo>
                  <a:lnTo>
                    <a:pt x="1198" y="1011"/>
                  </a:lnTo>
                  <a:lnTo>
                    <a:pt x="1207" y="1015"/>
                  </a:lnTo>
                  <a:lnTo>
                    <a:pt x="1213" y="1020"/>
                  </a:lnTo>
                  <a:lnTo>
                    <a:pt x="1213" y="1030"/>
                  </a:lnTo>
                  <a:lnTo>
                    <a:pt x="1216" y="1031"/>
                  </a:lnTo>
                  <a:lnTo>
                    <a:pt x="1220" y="1032"/>
                  </a:lnTo>
                  <a:lnTo>
                    <a:pt x="1221" y="1035"/>
                  </a:lnTo>
                  <a:lnTo>
                    <a:pt x="1223" y="1036"/>
                  </a:lnTo>
                  <a:lnTo>
                    <a:pt x="1226" y="1040"/>
                  </a:lnTo>
                  <a:lnTo>
                    <a:pt x="1230" y="1041"/>
                  </a:lnTo>
                  <a:lnTo>
                    <a:pt x="1232" y="1058"/>
                  </a:lnTo>
                  <a:lnTo>
                    <a:pt x="1235" y="1075"/>
                  </a:lnTo>
                  <a:lnTo>
                    <a:pt x="1246" y="1080"/>
                  </a:lnTo>
                  <a:lnTo>
                    <a:pt x="1246" y="1085"/>
                  </a:lnTo>
                  <a:lnTo>
                    <a:pt x="1248" y="1089"/>
                  </a:lnTo>
                  <a:lnTo>
                    <a:pt x="1250" y="1095"/>
                  </a:lnTo>
                  <a:lnTo>
                    <a:pt x="1252" y="1099"/>
                  </a:lnTo>
                  <a:lnTo>
                    <a:pt x="1258" y="1108"/>
                  </a:lnTo>
                  <a:lnTo>
                    <a:pt x="1262" y="1114"/>
                  </a:lnTo>
                  <a:lnTo>
                    <a:pt x="1263" y="1125"/>
                  </a:lnTo>
                  <a:lnTo>
                    <a:pt x="1265" y="1138"/>
                  </a:lnTo>
                  <a:lnTo>
                    <a:pt x="1268" y="1154"/>
                  </a:lnTo>
                  <a:lnTo>
                    <a:pt x="1271" y="1170"/>
                  </a:lnTo>
                  <a:lnTo>
                    <a:pt x="1274" y="1186"/>
                  </a:lnTo>
                  <a:lnTo>
                    <a:pt x="1277" y="1202"/>
                  </a:lnTo>
                  <a:lnTo>
                    <a:pt x="1279" y="1217"/>
                  </a:lnTo>
                  <a:lnTo>
                    <a:pt x="1279" y="1230"/>
                  </a:lnTo>
                  <a:lnTo>
                    <a:pt x="1307" y="1230"/>
                  </a:lnTo>
                  <a:lnTo>
                    <a:pt x="1308" y="1227"/>
                  </a:lnTo>
                  <a:lnTo>
                    <a:pt x="1310" y="1226"/>
                  </a:lnTo>
                  <a:lnTo>
                    <a:pt x="1313" y="1224"/>
                  </a:lnTo>
                  <a:lnTo>
                    <a:pt x="1318" y="1224"/>
                  </a:lnTo>
                  <a:lnTo>
                    <a:pt x="1322" y="1215"/>
                  </a:lnTo>
                  <a:lnTo>
                    <a:pt x="1329" y="1207"/>
                  </a:lnTo>
                  <a:lnTo>
                    <a:pt x="1332" y="1203"/>
                  </a:lnTo>
                  <a:lnTo>
                    <a:pt x="1335" y="1200"/>
                  </a:lnTo>
                  <a:lnTo>
                    <a:pt x="1338" y="1198"/>
                  </a:lnTo>
                  <a:lnTo>
                    <a:pt x="1340" y="1197"/>
                  </a:lnTo>
                  <a:lnTo>
                    <a:pt x="1340" y="1185"/>
                  </a:lnTo>
                  <a:lnTo>
                    <a:pt x="1346" y="1180"/>
                  </a:lnTo>
                  <a:lnTo>
                    <a:pt x="1351" y="1174"/>
                  </a:lnTo>
                  <a:lnTo>
                    <a:pt x="1354" y="1173"/>
                  </a:lnTo>
                  <a:lnTo>
                    <a:pt x="1358" y="1170"/>
                  </a:lnTo>
                  <a:lnTo>
                    <a:pt x="1363" y="1165"/>
                  </a:lnTo>
                  <a:lnTo>
                    <a:pt x="1369" y="1159"/>
                  </a:lnTo>
                  <a:lnTo>
                    <a:pt x="1383" y="1141"/>
                  </a:lnTo>
                  <a:lnTo>
                    <a:pt x="1397" y="1121"/>
                  </a:lnTo>
                  <a:lnTo>
                    <a:pt x="1425" y="1082"/>
                  </a:lnTo>
                  <a:lnTo>
                    <a:pt x="1440" y="1058"/>
                  </a:lnTo>
                  <a:lnTo>
                    <a:pt x="1456" y="1058"/>
                  </a:lnTo>
                  <a:lnTo>
                    <a:pt x="1473" y="1056"/>
                  </a:lnTo>
                  <a:lnTo>
                    <a:pt x="1489" y="1054"/>
                  </a:lnTo>
                  <a:lnTo>
                    <a:pt x="1503" y="1050"/>
                  </a:lnTo>
                  <a:lnTo>
                    <a:pt x="1517" y="1046"/>
                  </a:lnTo>
                  <a:lnTo>
                    <a:pt x="1530" y="1040"/>
                  </a:lnTo>
                  <a:lnTo>
                    <a:pt x="1542" y="1035"/>
                  </a:lnTo>
                  <a:lnTo>
                    <a:pt x="1556" y="1028"/>
                  </a:lnTo>
                  <a:lnTo>
                    <a:pt x="1540" y="1025"/>
                  </a:lnTo>
                  <a:lnTo>
                    <a:pt x="1522" y="1021"/>
                  </a:lnTo>
                  <a:lnTo>
                    <a:pt x="1514" y="1021"/>
                  </a:lnTo>
                  <a:lnTo>
                    <a:pt x="1507" y="1022"/>
                  </a:lnTo>
                  <a:lnTo>
                    <a:pt x="1504" y="1024"/>
                  </a:lnTo>
                  <a:lnTo>
                    <a:pt x="1502" y="1026"/>
                  </a:lnTo>
                  <a:lnTo>
                    <a:pt x="1501" y="1028"/>
                  </a:lnTo>
                  <a:lnTo>
                    <a:pt x="1501" y="1030"/>
                  </a:lnTo>
                  <a:lnTo>
                    <a:pt x="1496" y="1031"/>
                  </a:lnTo>
                  <a:lnTo>
                    <a:pt x="1493" y="1031"/>
                  </a:lnTo>
                  <a:lnTo>
                    <a:pt x="1491" y="1034"/>
                  </a:lnTo>
                  <a:lnTo>
                    <a:pt x="1490" y="1036"/>
                  </a:lnTo>
                  <a:lnTo>
                    <a:pt x="1481" y="1036"/>
                  </a:lnTo>
                  <a:lnTo>
                    <a:pt x="1470" y="1036"/>
                  </a:lnTo>
                  <a:lnTo>
                    <a:pt x="1460" y="1036"/>
                  </a:lnTo>
                  <a:lnTo>
                    <a:pt x="1451" y="1036"/>
                  </a:lnTo>
                  <a:lnTo>
                    <a:pt x="1445" y="1025"/>
                  </a:lnTo>
                  <a:lnTo>
                    <a:pt x="1441" y="1025"/>
                  </a:lnTo>
                  <a:lnTo>
                    <a:pt x="1437" y="1021"/>
                  </a:lnTo>
                  <a:lnTo>
                    <a:pt x="1433" y="1018"/>
                  </a:lnTo>
                  <a:lnTo>
                    <a:pt x="1428" y="1012"/>
                  </a:lnTo>
                  <a:lnTo>
                    <a:pt x="1421" y="999"/>
                  </a:lnTo>
                  <a:lnTo>
                    <a:pt x="1414" y="983"/>
                  </a:lnTo>
                  <a:lnTo>
                    <a:pt x="1406" y="969"/>
                  </a:lnTo>
                  <a:lnTo>
                    <a:pt x="1400" y="955"/>
                  </a:lnTo>
                  <a:lnTo>
                    <a:pt x="1397" y="950"/>
                  </a:lnTo>
                  <a:lnTo>
                    <a:pt x="1395" y="945"/>
                  </a:lnTo>
                  <a:lnTo>
                    <a:pt x="1392" y="943"/>
                  </a:lnTo>
                  <a:lnTo>
                    <a:pt x="1390" y="942"/>
                  </a:lnTo>
                  <a:lnTo>
                    <a:pt x="1390" y="931"/>
                  </a:lnTo>
                  <a:lnTo>
                    <a:pt x="1385" y="929"/>
                  </a:lnTo>
                  <a:lnTo>
                    <a:pt x="1379" y="925"/>
                  </a:lnTo>
                  <a:lnTo>
                    <a:pt x="1379" y="914"/>
                  </a:lnTo>
                  <a:lnTo>
                    <a:pt x="1374" y="909"/>
                  </a:lnTo>
                  <a:lnTo>
                    <a:pt x="1369" y="907"/>
                  </a:lnTo>
                  <a:lnTo>
                    <a:pt x="1365" y="904"/>
                  </a:lnTo>
                  <a:lnTo>
                    <a:pt x="1361" y="900"/>
                  </a:lnTo>
                  <a:lnTo>
                    <a:pt x="1357" y="895"/>
                  </a:lnTo>
                  <a:lnTo>
                    <a:pt x="1350" y="885"/>
                  </a:lnTo>
                  <a:lnTo>
                    <a:pt x="1346" y="881"/>
                  </a:lnTo>
                  <a:lnTo>
                    <a:pt x="1344" y="876"/>
                  </a:lnTo>
                  <a:lnTo>
                    <a:pt x="1339" y="871"/>
                  </a:lnTo>
                  <a:lnTo>
                    <a:pt x="1334" y="866"/>
                  </a:lnTo>
                  <a:lnTo>
                    <a:pt x="1329" y="865"/>
                  </a:lnTo>
                  <a:lnTo>
                    <a:pt x="1329" y="858"/>
                  </a:lnTo>
                  <a:lnTo>
                    <a:pt x="1328" y="854"/>
                  </a:lnTo>
                  <a:lnTo>
                    <a:pt x="1327" y="853"/>
                  </a:lnTo>
                  <a:lnTo>
                    <a:pt x="1326" y="852"/>
                  </a:lnTo>
                  <a:lnTo>
                    <a:pt x="1326" y="853"/>
                  </a:lnTo>
                  <a:lnTo>
                    <a:pt x="1325" y="852"/>
                  </a:lnTo>
                  <a:lnTo>
                    <a:pt x="1323" y="851"/>
                  </a:lnTo>
                  <a:lnTo>
                    <a:pt x="1323" y="848"/>
                  </a:lnTo>
                  <a:lnTo>
                    <a:pt x="1312" y="843"/>
                  </a:lnTo>
                  <a:lnTo>
                    <a:pt x="1312" y="838"/>
                  </a:lnTo>
                  <a:lnTo>
                    <a:pt x="1311" y="835"/>
                  </a:lnTo>
                  <a:lnTo>
                    <a:pt x="1310" y="833"/>
                  </a:lnTo>
                  <a:lnTo>
                    <a:pt x="1307" y="832"/>
                  </a:lnTo>
                  <a:lnTo>
                    <a:pt x="1306" y="822"/>
                  </a:lnTo>
                  <a:lnTo>
                    <a:pt x="1304" y="810"/>
                  </a:lnTo>
                  <a:lnTo>
                    <a:pt x="1301" y="800"/>
                  </a:lnTo>
                  <a:lnTo>
                    <a:pt x="1299" y="790"/>
                  </a:lnTo>
                  <a:lnTo>
                    <a:pt x="1296" y="779"/>
                  </a:lnTo>
                  <a:lnTo>
                    <a:pt x="1293" y="769"/>
                  </a:lnTo>
                  <a:lnTo>
                    <a:pt x="1291" y="759"/>
                  </a:lnTo>
                  <a:lnTo>
                    <a:pt x="1290" y="748"/>
                  </a:lnTo>
                  <a:lnTo>
                    <a:pt x="1284" y="746"/>
                  </a:lnTo>
                  <a:lnTo>
                    <a:pt x="1279" y="742"/>
                  </a:lnTo>
                  <a:lnTo>
                    <a:pt x="1273" y="737"/>
                  </a:lnTo>
                  <a:lnTo>
                    <a:pt x="1268" y="731"/>
                  </a:lnTo>
                  <a:lnTo>
                    <a:pt x="1268" y="721"/>
                  </a:lnTo>
                  <a:lnTo>
                    <a:pt x="1262" y="715"/>
                  </a:lnTo>
                  <a:lnTo>
                    <a:pt x="1256" y="710"/>
                  </a:lnTo>
                  <a:lnTo>
                    <a:pt x="1246" y="710"/>
                  </a:lnTo>
                  <a:lnTo>
                    <a:pt x="1241" y="699"/>
                  </a:lnTo>
                  <a:lnTo>
                    <a:pt x="1235" y="693"/>
                  </a:lnTo>
                  <a:lnTo>
                    <a:pt x="1224" y="693"/>
                  </a:lnTo>
                  <a:lnTo>
                    <a:pt x="1223" y="689"/>
                  </a:lnTo>
                  <a:lnTo>
                    <a:pt x="1221" y="685"/>
                  </a:lnTo>
                  <a:lnTo>
                    <a:pt x="1216" y="683"/>
                  </a:lnTo>
                  <a:lnTo>
                    <a:pt x="1213" y="682"/>
                  </a:lnTo>
                  <a:lnTo>
                    <a:pt x="1210" y="676"/>
                  </a:lnTo>
                  <a:lnTo>
                    <a:pt x="1207" y="671"/>
                  </a:lnTo>
                  <a:lnTo>
                    <a:pt x="1194" y="665"/>
                  </a:lnTo>
                  <a:lnTo>
                    <a:pt x="1185" y="660"/>
                  </a:lnTo>
                  <a:lnTo>
                    <a:pt x="1187" y="657"/>
                  </a:lnTo>
                  <a:lnTo>
                    <a:pt x="1195" y="654"/>
                  </a:lnTo>
                  <a:lnTo>
                    <a:pt x="1204" y="651"/>
                  </a:lnTo>
                  <a:lnTo>
                    <a:pt x="1213" y="649"/>
                  </a:lnTo>
                  <a:lnTo>
                    <a:pt x="1214" y="644"/>
                  </a:lnTo>
                  <a:lnTo>
                    <a:pt x="1219" y="641"/>
                  </a:lnTo>
                  <a:lnTo>
                    <a:pt x="1222" y="638"/>
                  </a:lnTo>
                  <a:lnTo>
                    <a:pt x="1224" y="637"/>
                  </a:lnTo>
                  <a:lnTo>
                    <a:pt x="1224" y="633"/>
                  </a:lnTo>
                  <a:lnTo>
                    <a:pt x="1224" y="630"/>
                  </a:lnTo>
                  <a:lnTo>
                    <a:pt x="1226" y="627"/>
                  </a:lnTo>
                  <a:lnTo>
                    <a:pt x="1230" y="626"/>
                  </a:lnTo>
                  <a:lnTo>
                    <a:pt x="1230" y="618"/>
                  </a:lnTo>
                  <a:lnTo>
                    <a:pt x="1230" y="609"/>
                  </a:lnTo>
                  <a:lnTo>
                    <a:pt x="1296" y="609"/>
                  </a:lnTo>
                  <a:lnTo>
                    <a:pt x="1296" y="560"/>
                  </a:lnTo>
                  <a:lnTo>
                    <a:pt x="1301" y="551"/>
                  </a:lnTo>
                  <a:lnTo>
                    <a:pt x="1307" y="538"/>
                  </a:lnTo>
                  <a:lnTo>
                    <a:pt x="1318" y="538"/>
                  </a:lnTo>
                  <a:lnTo>
                    <a:pt x="1323" y="532"/>
                  </a:lnTo>
                  <a:lnTo>
                    <a:pt x="1329" y="527"/>
                  </a:lnTo>
                  <a:lnTo>
                    <a:pt x="1335" y="521"/>
                  </a:lnTo>
                  <a:lnTo>
                    <a:pt x="1340" y="516"/>
                  </a:lnTo>
                  <a:lnTo>
                    <a:pt x="1340" y="510"/>
                  </a:lnTo>
                  <a:lnTo>
                    <a:pt x="1340" y="502"/>
                  </a:lnTo>
                  <a:lnTo>
                    <a:pt x="1341" y="499"/>
                  </a:lnTo>
                  <a:lnTo>
                    <a:pt x="1342" y="497"/>
                  </a:lnTo>
                  <a:lnTo>
                    <a:pt x="1344" y="494"/>
                  </a:lnTo>
                  <a:lnTo>
                    <a:pt x="1346" y="493"/>
                  </a:lnTo>
                  <a:lnTo>
                    <a:pt x="1346" y="449"/>
                  </a:lnTo>
                  <a:lnTo>
                    <a:pt x="1335" y="443"/>
                  </a:lnTo>
                  <a:lnTo>
                    <a:pt x="1331" y="438"/>
                  </a:lnTo>
                  <a:lnTo>
                    <a:pt x="1329" y="433"/>
                  </a:lnTo>
                  <a:lnTo>
                    <a:pt x="1318" y="433"/>
                  </a:lnTo>
                  <a:lnTo>
                    <a:pt x="1313" y="429"/>
                  </a:lnTo>
                  <a:lnTo>
                    <a:pt x="1310" y="424"/>
                  </a:lnTo>
                  <a:lnTo>
                    <a:pt x="1308" y="420"/>
                  </a:lnTo>
                  <a:lnTo>
                    <a:pt x="1307" y="416"/>
                  </a:lnTo>
                  <a:lnTo>
                    <a:pt x="1296" y="411"/>
                  </a:lnTo>
                  <a:lnTo>
                    <a:pt x="1284" y="405"/>
                  </a:lnTo>
                  <a:lnTo>
                    <a:pt x="1283" y="401"/>
                  </a:lnTo>
                  <a:lnTo>
                    <a:pt x="1280" y="396"/>
                  </a:lnTo>
                  <a:lnTo>
                    <a:pt x="1275" y="392"/>
                  </a:lnTo>
                  <a:lnTo>
                    <a:pt x="1271" y="387"/>
                  </a:lnTo>
                  <a:lnTo>
                    <a:pt x="1265" y="383"/>
                  </a:lnTo>
                  <a:lnTo>
                    <a:pt x="1261" y="377"/>
                  </a:lnTo>
                  <a:lnTo>
                    <a:pt x="1258" y="372"/>
                  </a:lnTo>
                  <a:lnTo>
                    <a:pt x="1256" y="366"/>
                  </a:lnTo>
                  <a:lnTo>
                    <a:pt x="1246" y="359"/>
                  </a:lnTo>
                  <a:lnTo>
                    <a:pt x="1227" y="344"/>
                  </a:lnTo>
                  <a:lnTo>
                    <a:pt x="1210" y="328"/>
                  </a:lnTo>
                  <a:lnTo>
                    <a:pt x="1202" y="322"/>
                  </a:lnTo>
                  <a:lnTo>
                    <a:pt x="1185" y="310"/>
                  </a:lnTo>
                  <a:lnTo>
                    <a:pt x="1168" y="299"/>
                  </a:lnTo>
                  <a:lnTo>
                    <a:pt x="1167" y="292"/>
                  </a:lnTo>
                  <a:lnTo>
                    <a:pt x="1165" y="287"/>
                  </a:lnTo>
                  <a:lnTo>
                    <a:pt x="1162" y="281"/>
                  </a:lnTo>
                  <a:lnTo>
                    <a:pt x="1157" y="278"/>
                  </a:lnTo>
                  <a:lnTo>
                    <a:pt x="1157" y="267"/>
                  </a:lnTo>
                  <a:lnTo>
                    <a:pt x="1146" y="261"/>
                  </a:lnTo>
                  <a:lnTo>
                    <a:pt x="1146" y="250"/>
                  </a:lnTo>
                  <a:lnTo>
                    <a:pt x="1143" y="249"/>
                  </a:lnTo>
                  <a:lnTo>
                    <a:pt x="1142" y="247"/>
                  </a:lnTo>
                  <a:lnTo>
                    <a:pt x="1140" y="242"/>
                  </a:lnTo>
                  <a:lnTo>
                    <a:pt x="1140" y="239"/>
                  </a:lnTo>
                  <a:lnTo>
                    <a:pt x="1135" y="233"/>
                  </a:lnTo>
                  <a:lnTo>
                    <a:pt x="1129" y="228"/>
                  </a:lnTo>
                  <a:lnTo>
                    <a:pt x="1124" y="222"/>
                  </a:lnTo>
                  <a:lnTo>
                    <a:pt x="1118" y="217"/>
                  </a:lnTo>
                  <a:lnTo>
                    <a:pt x="1110" y="213"/>
                  </a:lnTo>
                  <a:lnTo>
                    <a:pt x="1101" y="211"/>
                  </a:lnTo>
                  <a:lnTo>
                    <a:pt x="1101" y="209"/>
                  </a:lnTo>
                  <a:lnTo>
                    <a:pt x="1099" y="207"/>
                  </a:lnTo>
                  <a:lnTo>
                    <a:pt x="1096" y="203"/>
                  </a:lnTo>
                  <a:lnTo>
                    <a:pt x="1092" y="201"/>
                  </a:lnTo>
                  <a:lnTo>
                    <a:pt x="1086" y="197"/>
                  </a:lnTo>
                  <a:lnTo>
                    <a:pt x="1080" y="194"/>
                  </a:lnTo>
                  <a:lnTo>
                    <a:pt x="1077" y="189"/>
                  </a:lnTo>
                  <a:lnTo>
                    <a:pt x="1075" y="183"/>
                  </a:lnTo>
                  <a:lnTo>
                    <a:pt x="1051" y="183"/>
                  </a:lnTo>
                  <a:lnTo>
                    <a:pt x="1029" y="184"/>
                  </a:lnTo>
                  <a:lnTo>
                    <a:pt x="1005" y="185"/>
                  </a:lnTo>
                  <a:lnTo>
                    <a:pt x="983" y="186"/>
                  </a:lnTo>
                  <a:lnTo>
                    <a:pt x="960" y="188"/>
                  </a:lnTo>
                  <a:lnTo>
                    <a:pt x="937" y="188"/>
                  </a:lnTo>
                  <a:lnTo>
                    <a:pt x="914" y="189"/>
                  </a:lnTo>
                  <a:lnTo>
                    <a:pt x="891" y="189"/>
                  </a:lnTo>
                  <a:lnTo>
                    <a:pt x="889" y="186"/>
                  </a:lnTo>
                  <a:lnTo>
                    <a:pt x="885" y="181"/>
                  </a:lnTo>
                  <a:lnTo>
                    <a:pt x="879" y="175"/>
                  </a:lnTo>
                  <a:lnTo>
                    <a:pt x="875" y="172"/>
                  </a:lnTo>
                  <a:lnTo>
                    <a:pt x="875" y="161"/>
                  </a:lnTo>
                  <a:lnTo>
                    <a:pt x="864" y="150"/>
                  </a:lnTo>
                  <a:lnTo>
                    <a:pt x="862" y="123"/>
                  </a:lnTo>
                  <a:lnTo>
                    <a:pt x="861" y="92"/>
                  </a:lnTo>
                  <a:lnTo>
                    <a:pt x="859" y="59"/>
                  </a:lnTo>
                  <a:lnTo>
                    <a:pt x="858" y="28"/>
                  </a:lnTo>
                  <a:lnTo>
                    <a:pt x="856" y="28"/>
                  </a:lnTo>
                  <a:lnTo>
                    <a:pt x="854" y="27"/>
                  </a:lnTo>
                  <a:lnTo>
                    <a:pt x="852" y="25"/>
                  </a:lnTo>
                  <a:lnTo>
                    <a:pt x="850" y="22"/>
                  </a:lnTo>
                  <a:lnTo>
                    <a:pt x="848" y="17"/>
                  </a:lnTo>
                  <a:lnTo>
                    <a:pt x="847" y="11"/>
                  </a:lnTo>
                  <a:lnTo>
                    <a:pt x="841" y="6"/>
                  </a:lnTo>
                  <a:lnTo>
                    <a:pt x="830" y="6"/>
                  </a:lnTo>
                  <a:lnTo>
                    <a:pt x="829" y="5"/>
                  </a:lnTo>
                  <a:lnTo>
                    <a:pt x="826" y="3"/>
                  </a:lnTo>
                  <a:lnTo>
                    <a:pt x="820" y="2"/>
                  </a:lnTo>
                  <a:lnTo>
                    <a:pt x="813" y="1"/>
                  </a:lnTo>
                  <a:lnTo>
                    <a:pt x="800" y="1"/>
                  </a:lnTo>
                  <a:lnTo>
                    <a:pt x="792" y="0"/>
                  </a:lnTo>
                  <a:lnTo>
                    <a:pt x="792" y="11"/>
                  </a:lnTo>
                  <a:lnTo>
                    <a:pt x="787" y="22"/>
                  </a:lnTo>
                  <a:lnTo>
                    <a:pt x="782" y="24"/>
                  </a:lnTo>
                  <a:lnTo>
                    <a:pt x="779" y="26"/>
                  </a:lnTo>
                  <a:lnTo>
                    <a:pt x="776" y="28"/>
                  </a:lnTo>
                  <a:lnTo>
                    <a:pt x="773" y="31"/>
                  </a:lnTo>
                  <a:lnTo>
                    <a:pt x="771" y="37"/>
                  </a:lnTo>
                  <a:lnTo>
                    <a:pt x="770" y="39"/>
                  </a:lnTo>
                  <a:lnTo>
                    <a:pt x="770" y="50"/>
                  </a:lnTo>
                  <a:lnTo>
                    <a:pt x="768" y="51"/>
                  </a:lnTo>
                  <a:lnTo>
                    <a:pt x="766" y="53"/>
                  </a:lnTo>
                  <a:lnTo>
                    <a:pt x="765" y="55"/>
                  </a:lnTo>
                  <a:lnTo>
                    <a:pt x="764" y="57"/>
                  </a:lnTo>
                  <a:lnTo>
                    <a:pt x="764" y="63"/>
                  </a:lnTo>
                  <a:lnTo>
                    <a:pt x="764" y="67"/>
                  </a:lnTo>
                  <a:lnTo>
                    <a:pt x="753" y="67"/>
                  </a:lnTo>
                  <a:lnTo>
                    <a:pt x="750" y="69"/>
                  </a:lnTo>
                  <a:lnTo>
                    <a:pt x="742" y="70"/>
                  </a:lnTo>
                  <a:lnTo>
                    <a:pt x="731" y="72"/>
                  </a:lnTo>
                  <a:lnTo>
                    <a:pt x="718" y="72"/>
                  </a:lnTo>
                  <a:lnTo>
                    <a:pt x="692" y="73"/>
                  </a:lnTo>
                  <a:lnTo>
                    <a:pt x="675" y="73"/>
                  </a:lnTo>
                  <a:lnTo>
                    <a:pt x="675" y="76"/>
                  </a:lnTo>
                  <a:lnTo>
                    <a:pt x="672" y="77"/>
                  </a:lnTo>
                  <a:lnTo>
                    <a:pt x="668" y="78"/>
                  </a:lnTo>
                  <a:lnTo>
                    <a:pt x="664" y="78"/>
                  </a:lnTo>
                  <a:lnTo>
                    <a:pt x="664" y="82"/>
                  </a:lnTo>
                  <a:lnTo>
                    <a:pt x="660" y="83"/>
                  </a:lnTo>
                  <a:lnTo>
                    <a:pt x="657" y="84"/>
                  </a:lnTo>
                  <a:lnTo>
                    <a:pt x="654" y="84"/>
                  </a:lnTo>
                  <a:lnTo>
                    <a:pt x="653" y="87"/>
                  </a:lnTo>
                  <a:lnTo>
                    <a:pt x="649" y="88"/>
                  </a:lnTo>
                  <a:lnTo>
                    <a:pt x="646" y="89"/>
                  </a:lnTo>
                  <a:lnTo>
                    <a:pt x="643" y="89"/>
                  </a:lnTo>
                  <a:lnTo>
                    <a:pt x="640" y="93"/>
                  </a:lnTo>
                  <a:lnTo>
                    <a:pt x="637" y="97"/>
                  </a:lnTo>
                  <a:lnTo>
                    <a:pt x="632" y="99"/>
                  </a:lnTo>
                  <a:lnTo>
                    <a:pt x="631" y="101"/>
                  </a:lnTo>
                  <a:lnTo>
                    <a:pt x="631" y="117"/>
                  </a:lnTo>
                  <a:lnTo>
                    <a:pt x="629" y="117"/>
                  </a:lnTo>
                  <a:lnTo>
                    <a:pt x="628" y="118"/>
                  </a:lnTo>
                  <a:lnTo>
                    <a:pt x="627" y="121"/>
                  </a:lnTo>
                  <a:lnTo>
                    <a:pt x="626" y="123"/>
                  </a:lnTo>
                  <a:lnTo>
                    <a:pt x="626" y="128"/>
                  </a:lnTo>
                  <a:lnTo>
                    <a:pt x="626" y="134"/>
                  </a:lnTo>
                  <a:lnTo>
                    <a:pt x="615" y="138"/>
                  </a:lnTo>
                  <a:lnTo>
                    <a:pt x="615" y="150"/>
                  </a:lnTo>
                  <a:lnTo>
                    <a:pt x="609" y="155"/>
                  </a:lnTo>
                  <a:lnTo>
                    <a:pt x="598" y="155"/>
                  </a:lnTo>
                  <a:lnTo>
                    <a:pt x="589" y="164"/>
                  </a:lnTo>
                  <a:lnTo>
                    <a:pt x="581" y="172"/>
                  </a:lnTo>
                  <a:lnTo>
                    <a:pt x="567" y="172"/>
                  </a:lnTo>
                  <a:lnTo>
                    <a:pt x="551" y="170"/>
                  </a:lnTo>
                  <a:lnTo>
                    <a:pt x="534" y="167"/>
                  </a:lnTo>
                  <a:lnTo>
                    <a:pt x="519" y="164"/>
                  </a:lnTo>
                  <a:lnTo>
                    <a:pt x="503" y="161"/>
                  </a:lnTo>
                  <a:lnTo>
                    <a:pt x="490" y="159"/>
                  </a:lnTo>
                  <a:lnTo>
                    <a:pt x="476" y="156"/>
                  </a:lnTo>
                  <a:lnTo>
                    <a:pt x="465" y="155"/>
                  </a:lnTo>
                  <a:lnTo>
                    <a:pt x="464" y="153"/>
                  </a:lnTo>
                  <a:lnTo>
                    <a:pt x="461" y="151"/>
                  </a:lnTo>
                  <a:lnTo>
                    <a:pt x="456" y="147"/>
                  </a:lnTo>
                  <a:lnTo>
                    <a:pt x="451" y="145"/>
                  </a:lnTo>
                  <a:lnTo>
                    <a:pt x="439" y="141"/>
                  </a:lnTo>
                  <a:lnTo>
                    <a:pt x="432" y="138"/>
                  </a:lnTo>
                  <a:lnTo>
                    <a:pt x="432" y="137"/>
                  </a:lnTo>
                  <a:lnTo>
                    <a:pt x="429" y="136"/>
                  </a:lnTo>
                  <a:lnTo>
                    <a:pt x="428" y="135"/>
                  </a:lnTo>
                  <a:lnTo>
                    <a:pt x="425" y="134"/>
                  </a:lnTo>
                  <a:lnTo>
                    <a:pt x="420" y="134"/>
                  </a:lnTo>
                  <a:lnTo>
                    <a:pt x="415" y="134"/>
                  </a:lnTo>
                  <a:lnTo>
                    <a:pt x="414" y="131"/>
                  </a:lnTo>
                  <a:lnTo>
                    <a:pt x="411" y="128"/>
                  </a:lnTo>
                  <a:lnTo>
                    <a:pt x="408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3" y="124"/>
                  </a:lnTo>
                  <a:lnTo>
                    <a:pt x="400" y="122"/>
                  </a:lnTo>
                  <a:lnTo>
                    <a:pt x="398" y="121"/>
                  </a:lnTo>
                  <a:lnTo>
                    <a:pt x="392" y="118"/>
                  </a:lnTo>
                  <a:lnTo>
                    <a:pt x="387" y="117"/>
                  </a:lnTo>
                  <a:lnTo>
                    <a:pt x="381" y="112"/>
                  </a:lnTo>
                  <a:lnTo>
                    <a:pt x="381" y="101"/>
                  </a:lnTo>
                  <a:lnTo>
                    <a:pt x="376" y="95"/>
                  </a:lnTo>
                  <a:lnTo>
                    <a:pt x="365" y="92"/>
                  </a:lnTo>
                  <a:lnTo>
                    <a:pt x="349" y="89"/>
                  </a:lnTo>
                  <a:lnTo>
                    <a:pt x="349" y="8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1" name="Freeform 24">
              <a:extLst>
                <a:ext uri="{FF2B5EF4-FFF2-40B4-BE49-F238E27FC236}">
                  <a16:creationId xmlns:a16="http://schemas.microsoft.com/office/drawing/2014/main" id="{084C3C96-C7A6-4AAB-B735-7E29F346E1B1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308850" y="3773488"/>
              <a:ext cx="283385" cy="196850"/>
            </a:xfrm>
            <a:custGeom>
              <a:avLst/>
              <a:gdLst/>
              <a:ahLst/>
              <a:cxnLst>
                <a:cxn ang="0">
                  <a:pos x="302" y="115"/>
                </a:cxn>
                <a:cxn ang="0">
                  <a:pos x="259" y="163"/>
                </a:cxn>
                <a:cxn ang="0">
                  <a:pos x="215" y="189"/>
                </a:cxn>
                <a:cxn ang="0">
                  <a:pos x="205" y="361"/>
                </a:cxn>
                <a:cxn ang="0">
                  <a:pos x="205" y="527"/>
                </a:cxn>
                <a:cxn ang="0">
                  <a:pos x="243" y="572"/>
                </a:cxn>
                <a:cxn ang="0">
                  <a:pos x="241" y="724"/>
                </a:cxn>
                <a:cxn ang="0">
                  <a:pos x="188" y="748"/>
                </a:cxn>
                <a:cxn ang="0">
                  <a:pos x="116" y="791"/>
                </a:cxn>
                <a:cxn ang="0">
                  <a:pos x="77" y="822"/>
                </a:cxn>
                <a:cxn ang="0">
                  <a:pos x="55" y="848"/>
                </a:cxn>
                <a:cxn ang="0">
                  <a:pos x="5" y="897"/>
                </a:cxn>
                <a:cxn ang="0">
                  <a:pos x="137" y="935"/>
                </a:cxn>
                <a:cxn ang="0">
                  <a:pos x="198" y="925"/>
                </a:cxn>
                <a:cxn ang="0">
                  <a:pos x="304" y="954"/>
                </a:cxn>
                <a:cxn ang="0">
                  <a:pos x="365" y="1009"/>
                </a:cxn>
                <a:cxn ang="0">
                  <a:pos x="410" y="1055"/>
                </a:cxn>
                <a:cxn ang="0">
                  <a:pos x="525" y="1053"/>
                </a:cxn>
                <a:cxn ang="0">
                  <a:pos x="620" y="1080"/>
                </a:cxn>
                <a:cxn ang="0">
                  <a:pos x="1069" y="1092"/>
                </a:cxn>
                <a:cxn ang="0">
                  <a:pos x="1019" y="1064"/>
                </a:cxn>
                <a:cxn ang="0">
                  <a:pos x="985" y="931"/>
                </a:cxn>
                <a:cxn ang="0">
                  <a:pos x="1066" y="923"/>
                </a:cxn>
                <a:cxn ang="0">
                  <a:pos x="1125" y="954"/>
                </a:cxn>
                <a:cxn ang="0">
                  <a:pos x="1185" y="998"/>
                </a:cxn>
                <a:cxn ang="0">
                  <a:pos x="1220" y="1032"/>
                </a:cxn>
                <a:cxn ang="0">
                  <a:pos x="1250" y="1095"/>
                </a:cxn>
                <a:cxn ang="0">
                  <a:pos x="1279" y="1217"/>
                </a:cxn>
                <a:cxn ang="0">
                  <a:pos x="1335" y="1200"/>
                </a:cxn>
                <a:cxn ang="0">
                  <a:pos x="1383" y="1141"/>
                </a:cxn>
                <a:cxn ang="0">
                  <a:pos x="1542" y="1035"/>
                </a:cxn>
                <a:cxn ang="0">
                  <a:pos x="1496" y="1031"/>
                </a:cxn>
                <a:cxn ang="0">
                  <a:pos x="1437" y="1021"/>
                </a:cxn>
                <a:cxn ang="0">
                  <a:pos x="1390" y="942"/>
                </a:cxn>
                <a:cxn ang="0">
                  <a:pos x="1350" y="885"/>
                </a:cxn>
                <a:cxn ang="0">
                  <a:pos x="1326" y="853"/>
                </a:cxn>
                <a:cxn ang="0">
                  <a:pos x="1304" y="810"/>
                </a:cxn>
                <a:cxn ang="0">
                  <a:pos x="1268" y="731"/>
                </a:cxn>
                <a:cxn ang="0">
                  <a:pos x="1216" y="683"/>
                </a:cxn>
                <a:cxn ang="0">
                  <a:pos x="1214" y="644"/>
                </a:cxn>
                <a:cxn ang="0">
                  <a:pos x="1296" y="609"/>
                </a:cxn>
                <a:cxn ang="0">
                  <a:pos x="1340" y="502"/>
                </a:cxn>
                <a:cxn ang="0">
                  <a:pos x="1313" y="429"/>
                </a:cxn>
                <a:cxn ang="0">
                  <a:pos x="1265" y="383"/>
                </a:cxn>
                <a:cxn ang="0">
                  <a:pos x="1167" y="292"/>
                </a:cxn>
                <a:cxn ang="0">
                  <a:pos x="1140" y="239"/>
                </a:cxn>
                <a:cxn ang="0">
                  <a:pos x="1092" y="201"/>
                </a:cxn>
                <a:cxn ang="0">
                  <a:pos x="937" y="188"/>
                </a:cxn>
                <a:cxn ang="0">
                  <a:pos x="861" y="92"/>
                </a:cxn>
                <a:cxn ang="0">
                  <a:pos x="830" y="6"/>
                </a:cxn>
                <a:cxn ang="0">
                  <a:pos x="779" y="26"/>
                </a:cxn>
                <a:cxn ang="0">
                  <a:pos x="764" y="63"/>
                </a:cxn>
                <a:cxn ang="0">
                  <a:pos x="672" y="77"/>
                </a:cxn>
                <a:cxn ang="0">
                  <a:pos x="643" y="89"/>
                </a:cxn>
                <a:cxn ang="0">
                  <a:pos x="626" y="128"/>
                </a:cxn>
                <a:cxn ang="0">
                  <a:pos x="534" y="167"/>
                </a:cxn>
                <a:cxn ang="0">
                  <a:pos x="439" y="141"/>
                </a:cxn>
                <a:cxn ang="0">
                  <a:pos x="408" y="128"/>
                </a:cxn>
                <a:cxn ang="0">
                  <a:pos x="376" y="95"/>
                </a:cxn>
              </a:cxnLst>
              <a:rect l="0" t="0" r="r" b="b"/>
              <a:pathLst>
                <a:path w="1556" h="1230">
                  <a:moveTo>
                    <a:pt x="349" y="84"/>
                  </a:moveTo>
                  <a:lnTo>
                    <a:pt x="343" y="86"/>
                  </a:lnTo>
                  <a:lnTo>
                    <a:pt x="338" y="89"/>
                  </a:lnTo>
                  <a:lnTo>
                    <a:pt x="331" y="95"/>
                  </a:lnTo>
                  <a:lnTo>
                    <a:pt x="327" y="101"/>
                  </a:lnTo>
                  <a:lnTo>
                    <a:pt x="315" y="101"/>
                  </a:lnTo>
                  <a:lnTo>
                    <a:pt x="312" y="106"/>
                  </a:lnTo>
                  <a:lnTo>
                    <a:pt x="310" y="112"/>
                  </a:lnTo>
                  <a:lnTo>
                    <a:pt x="305" y="113"/>
                  </a:lnTo>
                  <a:lnTo>
                    <a:pt x="302" y="115"/>
                  </a:lnTo>
                  <a:lnTo>
                    <a:pt x="300" y="118"/>
                  </a:lnTo>
                  <a:lnTo>
                    <a:pt x="299" y="123"/>
                  </a:lnTo>
                  <a:lnTo>
                    <a:pt x="288" y="128"/>
                  </a:lnTo>
                  <a:lnTo>
                    <a:pt x="288" y="138"/>
                  </a:lnTo>
                  <a:lnTo>
                    <a:pt x="282" y="142"/>
                  </a:lnTo>
                  <a:lnTo>
                    <a:pt x="276" y="144"/>
                  </a:lnTo>
                  <a:lnTo>
                    <a:pt x="276" y="155"/>
                  </a:lnTo>
                  <a:lnTo>
                    <a:pt x="271" y="161"/>
                  </a:lnTo>
                  <a:lnTo>
                    <a:pt x="260" y="161"/>
                  </a:lnTo>
                  <a:lnTo>
                    <a:pt x="259" y="163"/>
                  </a:lnTo>
                  <a:lnTo>
                    <a:pt x="255" y="165"/>
                  </a:lnTo>
                  <a:lnTo>
                    <a:pt x="251" y="167"/>
                  </a:lnTo>
                  <a:lnTo>
                    <a:pt x="245" y="169"/>
                  </a:lnTo>
                  <a:lnTo>
                    <a:pt x="234" y="171"/>
                  </a:lnTo>
                  <a:lnTo>
                    <a:pt x="226" y="172"/>
                  </a:lnTo>
                  <a:lnTo>
                    <a:pt x="221" y="178"/>
                  </a:lnTo>
                  <a:lnTo>
                    <a:pt x="221" y="182"/>
                  </a:lnTo>
                  <a:lnTo>
                    <a:pt x="221" y="185"/>
                  </a:lnTo>
                  <a:lnTo>
                    <a:pt x="218" y="188"/>
                  </a:lnTo>
                  <a:lnTo>
                    <a:pt x="215" y="189"/>
                  </a:lnTo>
                  <a:lnTo>
                    <a:pt x="215" y="224"/>
                  </a:lnTo>
                  <a:lnTo>
                    <a:pt x="213" y="263"/>
                  </a:lnTo>
                  <a:lnTo>
                    <a:pt x="211" y="303"/>
                  </a:lnTo>
                  <a:lnTo>
                    <a:pt x="211" y="338"/>
                  </a:lnTo>
                  <a:lnTo>
                    <a:pt x="208" y="339"/>
                  </a:lnTo>
                  <a:lnTo>
                    <a:pt x="207" y="342"/>
                  </a:lnTo>
                  <a:lnTo>
                    <a:pt x="206" y="344"/>
                  </a:lnTo>
                  <a:lnTo>
                    <a:pt x="205" y="347"/>
                  </a:lnTo>
                  <a:lnTo>
                    <a:pt x="205" y="355"/>
                  </a:lnTo>
                  <a:lnTo>
                    <a:pt x="205" y="361"/>
                  </a:lnTo>
                  <a:lnTo>
                    <a:pt x="203" y="361"/>
                  </a:lnTo>
                  <a:lnTo>
                    <a:pt x="200" y="363"/>
                  </a:lnTo>
                  <a:lnTo>
                    <a:pt x="199" y="365"/>
                  </a:lnTo>
                  <a:lnTo>
                    <a:pt x="198" y="367"/>
                  </a:lnTo>
                  <a:lnTo>
                    <a:pt x="196" y="375"/>
                  </a:lnTo>
                  <a:lnTo>
                    <a:pt x="195" y="386"/>
                  </a:lnTo>
                  <a:lnTo>
                    <a:pt x="195" y="412"/>
                  </a:lnTo>
                  <a:lnTo>
                    <a:pt x="196" y="442"/>
                  </a:lnTo>
                  <a:lnTo>
                    <a:pt x="202" y="499"/>
                  </a:lnTo>
                  <a:lnTo>
                    <a:pt x="205" y="527"/>
                  </a:lnTo>
                  <a:lnTo>
                    <a:pt x="211" y="529"/>
                  </a:lnTo>
                  <a:lnTo>
                    <a:pt x="215" y="532"/>
                  </a:lnTo>
                  <a:lnTo>
                    <a:pt x="218" y="544"/>
                  </a:lnTo>
                  <a:lnTo>
                    <a:pt x="221" y="555"/>
                  </a:lnTo>
                  <a:lnTo>
                    <a:pt x="225" y="557"/>
                  </a:lnTo>
                  <a:lnTo>
                    <a:pt x="231" y="563"/>
                  </a:lnTo>
                  <a:lnTo>
                    <a:pt x="233" y="566"/>
                  </a:lnTo>
                  <a:lnTo>
                    <a:pt x="236" y="568"/>
                  </a:lnTo>
                  <a:lnTo>
                    <a:pt x="240" y="570"/>
                  </a:lnTo>
                  <a:lnTo>
                    <a:pt x="243" y="572"/>
                  </a:lnTo>
                  <a:lnTo>
                    <a:pt x="246" y="597"/>
                  </a:lnTo>
                  <a:lnTo>
                    <a:pt x="252" y="631"/>
                  </a:lnTo>
                  <a:lnTo>
                    <a:pt x="254" y="649"/>
                  </a:lnTo>
                  <a:lnTo>
                    <a:pt x="257" y="666"/>
                  </a:lnTo>
                  <a:lnTo>
                    <a:pt x="260" y="683"/>
                  </a:lnTo>
                  <a:lnTo>
                    <a:pt x="260" y="699"/>
                  </a:lnTo>
                  <a:lnTo>
                    <a:pt x="254" y="708"/>
                  </a:lnTo>
                  <a:lnTo>
                    <a:pt x="248" y="721"/>
                  </a:lnTo>
                  <a:lnTo>
                    <a:pt x="245" y="721"/>
                  </a:lnTo>
                  <a:lnTo>
                    <a:pt x="241" y="724"/>
                  </a:lnTo>
                  <a:lnTo>
                    <a:pt x="238" y="728"/>
                  </a:lnTo>
                  <a:lnTo>
                    <a:pt x="237" y="731"/>
                  </a:lnTo>
                  <a:lnTo>
                    <a:pt x="232" y="737"/>
                  </a:lnTo>
                  <a:lnTo>
                    <a:pt x="221" y="737"/>
                  </a:lnTo>
                  <a:lnTo>
                    <a:pt x="219" y="741"/>
                  </a:lnTo>
                  <a:lnTo>
                    <a:pt x="216" y="743"/>
                  </a:lnTo>
                  <a:lnTo>
                    <a:pt x="212" y="746"/>
                  </a:lnTo>
                  <a:lnTo>
                    <a:pt x="206" y="747"/>
                  </a:lnTo>
                  <a:lnTo>
                    <a:pt x="195" y="748"/>
                  </a:lnTo>
                  <a:lnTo>
                    <a:pt x="188" y="748"/>
                  </a:lnTo>
                  <a:lnTo>
                    <a:pt x="180" y="752"/>
                  </a:lnTo>
                  <a:lnTo>
                    <a:pt x="163" y="762"/>
                  </a:lnTo>
                  <a:lnTo>
                    <a:pt x="144" y="771"/>
                  </a:lnTo>
                  <a:lnTo>
                    <a:pt x="132" y="776"/>
                  </a:lnTo>
                  <a:lnTo>
                    <a:pt x="127" y="781"/>
                  </a:lnTo>
                  <a:lnTo>
                    <a:pt x="127" y="784"/>
                  </a:lnTo>
                  <a:lnTo>
                    <a:pt x="125" y="786"/>
                  </a:lnTo>
                  <a:lnTo>
                    <a:pt x="123" y="788"/>
                  </a:lnTo>
                  <a:lnTo>
                    <a:pt x="121" y="789"/>
                  </a:lnTo>
                  <a:lnTo>
                    <a:pt x="116" y="791"/>
                  </a:lnTo>
                  <a:lnTo>
                    <a:pt x="110" y="792"/>
                  </a:lnTo>
                  <a:lnTo>
                    <a:pt x="108" y="797"/>
                  </a:lnTo>
                  <a:lnTo>
                    <a:pt x="104" y="800"/>
                  </a:lnTo>
                  <a:lnTo>
                    <a:pt x="100" y="805"/>
                  </a:lnTo>
                  <a:lnTo>
                    <a:pt x="96" y="808"/>
                  </a:lnTo>
                  <a:lnTo>
                    <a:pt x="91" y="810"/>
                  </a:lnTo>
                  <a:lnTo>
                    <a:pt x="87" y="813"/>
                  </a:lnTo>
                  <a:lnTo>
                    <a:pt x="81" y="814"/>
                  </a:lnTo>
                  <a:lnTo>
                    <a:pt x="77" y="815"/>
                  </a:lnTo>
                  <a:lnTo>
                    <a:pt x="77" y="822"/>
                  </a:lnTo>
                  <a:lnTo>
                    <a:pt x="77" y="825"/>
                  </a:lnTo>
                  <a:lnTo>
                    <a:pt x="75" y="827"/>
                  </a:lnTo>
                  <a:lnTo>
                    <a:pt x="74" y="827"/>
                  </a:lnTo>
                  <a:lnTo>
                    <a:pt x="73" y="827"/>
                  </a:lnTo>
                  <a:lnTo>
                    <a:pt x="72" y="827"/>
                  </a:lnTo>
                  <a:lnTo>
                    <a:pt x="72" y="828"/>
                  </a:lnTo>
                  <a:lnTo>
                    <a:pt x="71" y="832"/>
                  </a:lnTo>
                  <a:lnTo>
                    <a:pt x="63" y="834"/>
                  </a:lnTo>
                  <a:lnTo>
                    <a:pt x="55" y="837"/>
                  </a:lnTo>
                  <a:lnTo>
                    <a:pt x="55" y="848"/>
                  </a:lnTo>
                  <a:lnTo>
                    <a:pt x="51" y="849"/>
                  </a:lnTo>
                  <a:lnTo>
                    <a:pt x="48" y="852"/>
                  </a:lnTo>
                  <a:lnTo>
                    <a:pt x="45" y="855"/>
                  </a:lnTo>
                  <a:lnTo>
                    <a:pt x="44" y="859"/>
                  </a:lnTo>
                  <a:lnTo>
                    <a:pt x="40" y="859"/>
                  </a:lnTo>
                  <a:lnTo>
                    <a:pt x="36" y="863"/>
                  </a:lnTo>
                  <a:lnTo>
                    <a:pt x="34" y="866"/>
                  </a:lnTo>
                  <a:lnTo>
                    <a:pt x="33" y="871"/>
                  </a:lnTo>
                  <a:lnTo>
                    <a:pt x="19" y="884"/>
                  </a:lnTo>
                  <a:lnTo>
                    <a:pt x="5" y="897"/>
                  </a:lnTo>
                  <a:lnTo>
                    <a:pt x="0" y="903"/>
                  </a:lnTo>
                  <a:lnTo>
                    <a:pt x="0" y="917"/>
                  </a:lnTo>
                  <a:lnTo>
                    <a:pt x="0" y="931"/>
                  </a:lnTo>
                  <a:lnTo>
                    <a:pt x="11" y="936"/>
                  </a:lnTo>
                  <a:lnTo>
                    <a:pt x="13" y="942"/>
                  </a:lnTo>
                  <a:lnTo>
                    <a:pt x="16" y="948"/>
                  </a:lnTo>
                  <a:lnTo>
                    <a:pt x="116" y="948"/>
                  </a:lnTo>
                  <a:lnTo>
                    <a:pt x="127" y="936"/>
                  </a:lnTo>
                  <a:lnTo>
                    <a:pt x="132" y="936"/>
                  </a:lnTo>
                  <a:lnTo>
                    <a:pt x="137" y="935"/>
                  </a:lnTo>
                  <a:lnTo>
                    <a:pt x="140" y="935"/>
                  </a:lnTo>
                  <a:lnTo>
                    <a:pt x="141" y="934"/>
                  </a:lnTo>
                  <a:lnTo>
                    <a:pt x="144" y="933"/>
                  </a:lnTo>
                  <a:lnTo>
                    <a:pt x="144" y="931"/>
                  </a:lnTo>
                  <a:lnTo>
                    <a:pt x="177" y="931"/>
                  </a:lnTo>
                  <a:lnTo>
                    <a:pt x="178" y="930"/>
                  </a:lnTo>
                  <a:lnTo>
                    <a:pt x="180" y="928"/>
                  </a:lnTo>
                  <a:lnTo>
                    <a:pt x="184" y="926"/>
                  </a:lnTo>
                  <a:lnTo>
                    <a:pt x="188" y="926"/>
                  </a:lnTo>
                  <a:lnTo>
                    <a:pt x="198" y="925"/>
                  </a:lnTo>
                  <a:lnTo>
                    <a:pt x="205" y="925"/>
                  </a:lnTo>
                  <a:lnTo>
                    <a:pt x="217" y="926"/>
                  </a:lnTo>
                  <a:lnTo>
                    <a:pt x="232" y="929"/>
                  </a:lnTo>
                  <a:lnTo>
                    <a:pt x="246" y="930"/>
                  </a:lnTo>
                  <a:lnTo>
                    <a:pt x="260" y="931"/>
                  </a:lnTo>
                  <a:lnTo>
                    <a:pt x="271" y="942"/>
                  </a:lnTo>
                  <a:lnTo>
                    <a:pt x="286" y="945"/>
                  </a:lnTo>
                  <a:lnTo>
                    <a:pt x="299" y="948"/>
                  </a:lnTo>
                  <a:lnTo>
                    <a:pt x="300" y="951"/>
                  </a:lnTo>
                  <a:lnTo>
                    <a:pt x="304" y="954"/>
                  </a:lnTo>
                  <a:lnTo>
                    <a:pt x="307" y="955"/>
                  </a:lnTo>
                  <a:lnTo>
                    <a:pt x="308" y="958"/>
                  </a:lnTo>
                  <a:lnTo>
                    <a:pt x="309" y="961"/>
                  </a:lnTo>
                  <a:lnTo>
                    <a:pt x="310" y="964"/>
                  </a:lnTo>
                  <a:lnTo>
                    <a:pt x="318" y="968"/>
                  </a:lnTo>
                  <a:lnTo>
                    <a:pt x="329" y="976"/>
                  </a:lnTo>
                  <a:lnTo>
                    <a:pt x="341" y="983"/>
                  </a:lnTo>
                  <a:lnTo>
                    <a:pt x="349" y="987"/>
                  </a:lnTo>
                  <a:lnTo>
                    <a:pt x="357" y="998"/>
                  </a:lnTo>
                  <a:lnTo>
                    <a:pt x="365" y="1009"/>
                  </a:lnTo>
                  <a:lnTo>
                    <a:pt x="370" y="1012"/>
                  </a:lnTo>
                  <a:lnTo>
                    <a:pt x="377" y="1022"/>
                  </a:lnTo>
                  <a:lnTo>
                    <a:pt x="380" y="1028"/>
                  </a:lnTo>
                  <a:lnTo>
                    <a:pt x="385" y="1032"/>
                  </a:lnTo>
                  <a:lnTo>
                    <a:pt x="389" y="1035"/>
                  </a:lnTo>
                  <a:lnTo>
                    <a:pt x="392" y="1036"/>
                  </a:lnTo>
                  <a:lnTo>
                    <a:pt x="395" y="1040"/>
                  </a:lnTo>
                  <a:lnTo>
                    <a:pt x="398" y="1046"/>
                  </a:lnTo>
                  <a:lnTo>
                    <a:pt x="404" y="1050"/>
                  </a:lnTo>
                  <a:lnTo>
                    <a:pt x="410" y="1055"/>
                  </a:lnTo>
                  <a:lnTo>
                    <a:pt x="423" y="1064"/>
                  </a:lnTo>
                  <a:lnTo>
                    <a:pt x="432" y="1069"/>
                  </a:lnTo>
                  <a:lnTo>
                    <a:pt x="493" y="1069"/>
                  </a:lnTo>
                  <a:lnTo>
                    <a:pt x="493" y="1066"/>
                  </a:lnTo>
                  <a:lnTo>
                    <a:pt x="496" y="1065"/>
                  </a:lnTo>
                  <a:lnTo>
                    <a:pt x="500" y="1064"/>
                  </a:lnTo>
                  <a:lnTo>
                    <a:pt x="504" y="1064"/>
                  </a:lnTo>
                  <a:lnTo>
                    <a:pt x="506" y="1058"/>
                  </a:lnTo>
                  <a:lnTo>
                    <a:pt x="510" y="1053"/>
                  </a:lnTo>
                  <a:lnTo>
                    <a:pt x="525" y="1053"/>
                  </a:lnTo>
                  <a:lnTo>
                    <a:pt x="547" y="1053"/>
                  </a:lnTo>
                  <a:lnTo>
                    <a:pt x="557" y="1054"/>
                  </a:lnTo>
                  <a:lnTo>
                    <a:pt x="565" y="1055"/>
                  </a:lnTo>
                  <a:lnTo>
                    <a:pt x="569" y="1057"/>
                  </a:lnTo>
                  <a:lnTo>
                    <a:pt x="572" y="1059"/>
                  </a:lnTo>
                  <a:lnTo>
                    <a:pt x="574" y="1061"/>
                  </a:lnTo>
                  <a:lnTo>
                    <a:pt x="576" y="1064"/>
                  </a:lnTo>
                  <a:lnTo>
                    <a:pt x="589" y="1067"/>
                  </a:lnTo>
                  <a:lnTo>
                    <a:pt x="603" y="1069"/>
                  </a:lnTo>
                  <a:lnTo>
                    <a:pt x="620" y="1080"/>
                  </a:lnTo>
                  <a:lnTo>
                    <a:pt x="637" y="1092"/>
                  </a:lnTo>
                  <a:lnTo>
                    <a:pt x="687" y="1093"/>
                  </a:lnTo>
                  <a:lnTo>
                    <a:pt x="741" y="1094"/>
                  </a:lnTo>
                  <a:lnTo>
                    <a:pt x="795" y="1097"/>
                  </a:lnTo>
                  <a:lnTo>
                    <a:pt x="850" y="1099"/>
                  </a:lnTo>
                  <a:lnTo>
                    <a:pt x="906" y="1103"/>
                  </a:lnTo>
                  <a:lnTo>
                    <a:pt x="962" y="1106"/>
                  </a:lnTo>
                  <a:lnTo>
                    <a:pt x="1015" y="1107"/>
                  </a:lnTo>
                  <a:lnTo>
                    <a:pt x="1069" y="1108"/>
                  </a:lnTo>
                  <a:lnTo>
                    <a:pt x="1069" y="1092"/>
                  </a:lnTo>
                  <a:lnTo>
                    <a:pt x="1064" y="1090"/>
                  </a:lnTo>
                  <a:lnTo>
                    <a:pt x="1061" y="1086"/>
                  </a:lnTo>
                  <a:lnTo>
                    <a:pt x="1059" y="1083"/>
                  </a:lnTo>
                  <a:lnTo>
                    <a:pt x="1058" y="1080"/>
                  </a:lnTo>
                  <a:lnTo>
                    <a:pt x="1049" y="1078"/>
                  </a:lnTo>
                  <a:lnTo>
                    <a:pt x="1037" y="1075"/>
                  </a:lnTo>
                  <a:lnTo>
                    <a:pt x="1030" y="1072"/>
                  </a:lnTo>
                  <a:lnTo>
                    <a:pt x="1024" y="1069"/>
                  </a:lnTo>
                  <a:lnTo>
                    <a:pt x="1020" y="1066"/>
                  </a:lnTo>
                  <a:lnTo>
                    <a:pt x="1019" y="1064"/>
                  </a:lnTo>
                  <a:lnTo>
                    <a:pt x="1008" y="1064"/>
                  </a:lnTo>
                  <a:lnTo>
                    <a:pt x="1002" y="1058"/>
                  </a:lnTo>
                  <a:lnTo>
                    <a:pt x="996" y="1053"/>
                  </a:lnTo>
                  <a:lnTo>
                    <a:pt x="994" y="1046"/>
                  </a:lnTo>
                  <a:lnTo>
                    <a:pt x="987" y="1036"/>
                  </a:lnTo>
                  <a:lnTo>
                    <a:pt x="981" y="1027"/>
                  </a:lnTo>
                  <a:lnTo>
                    <a:pt x="974" y="1020"/>
                  </a:lnTo>
                  <a:lnTo>
                    <a:pt x="974" y="942"/>
                  </a:lnTo>
                  <a:lnTo>
                    <a:pt x="980" y="936"/>
                  </a:lnTo>
                  <a:lnTo>
                    <a:pt x="985" y="931"/>
                  </a:lnTo>
                  <a:lnTo>
                    <a:pt x="995" y="930"/>
                  </a:lnTo>
                  <a:lnTo>
                    <a:pt x="1009" y="929"/>
                  </a:lnTo>
                  <a:lnTo>
                    <a:pt x="1022" y="926"/>
                  </a:lnTo>
                  <a:lnTo>
                    <a:pt x="1035" y="925"/>
                  </a:lnTo>
                  <a:lnTo>
                    <a:pt x="1037" y="923"/>
                  </a:lnTo>
                  <a:lnTo>
                    <a:pt x="1038" y="921"/>
                  </a:lnTo>
                  <a:lnTo>
                    <a:pt x="1041" y="920"/>
                  </a:lnTo>
                  <a:lnTo>
                    <a:pt x="1044" y="920"/>
                  </a:lnTo>
                  <a:lnTo>
                    <a:pt x="1054" y="920"/>
                  </a:lnTo>
                  <a:lnTo>
                    <a:pt x="1066" y="923"/>
                  </a:lnTo>
                  <a:lnTo>
                    <a:pt x="1077" y="926"/>
                  </a:lnTo>
                  <a:lnTo>
                    <a:pt x="1087" y="930"/>
                  </a:lnTo>
                  <a:lnTo>
                    <a:pt x="1094" y="934"/>
                  </a:lnTo>
                  <a:lnTo>
                    <a:pt x="1097" y="936"/>
                  </a:lnTo>
                  <a:lnTo>
                    <a:pt x="1107" y="940"/>
                  </a:lnTo>
                  <a:lnTo>
                    <a:pt x="1118" y="942"/>
                  </a:lnTo>
                  <a:lnTo>
                    <a:pt x="1119" y="945"/>
                  </a:lnTo>
                  <a:lnTo>
                    <a:pt x="1120" y="949"/>
                  </a:lnTo>
                  <a:lnTo>
                    <a:pt x="1123" y="951"/>
                  </a:lnTo>
                  <a:lnTo>
                    <a:pt x="1125" y="954"/>
                  </a:lnTo>
                  <a:lnTo>
                    <a:pt x="1131" y="961"/>
                  </a:lnTo>
                  <a:lnTo>
                    <a:pt x="1138" y="967"/>
                  </a:lnTo>
                  <a:lnTo>
                    <a:pt x="1146" y="972"/>
                  </a:lnTo>
                  <a:lnTo>
                    <a:pt x="1154" y="977"/>
                  </a:lnTo>
                  <a:lnTo>
                    <a:pt x="1159" y="982"/>
                  </a:lnTo>
                  <a:lnTo>
                    <a:pt x="1163" y="987"/>
                  </a:lnTo>
                  <a:lnTo>
                    <a:pt x="1171" y="989"/>
                  </a:lnTo>
                  <a:lnTo>
                    <a:pt x="1179" y="992"/>
                  </a:lnTo>
                  <a:lnTo>
                    <a:pt x="1181" y="996"/>
                  </a:lnTo>
                  <a:lnTo>
                    <a:pt x="1185" y="998"/>
                  </a:lnTo>
                  <a:lnTo>
                    <a:pt x="1187" y="1000"/>
                  </a:lnTo>
                  <a:lnTo>
                    <a:pt x="1188" y="1002"/>
                  </a:lnTo>
                  <a:lnTo>
                    <a:pt x="1190" y="1005"/>
                  </a:lnTo>
                  <a:lnTo>
                    <a:pt x="1191" y="1009"/>
                  </a:lnTo>
                  <a:lnTo>
                    <a:pt x="1198" y="1011"/>
                  </a:lnTo>
                  <a:lnTo>
                    <a:pt x="1207" y="1015"/>
                  </a:lnTo>
                  <a:lnTo>
                    <a:pt x="1213" y="1020"/>
                  </a:lnTo>
                  <a:lnTo>
                    <a:pt x="1213" y="1030"/>
                  </a:lnTo>
                  <a:lnTo>
                    <a:pt x="1216" y="1031"/>
                  </a:lnTo>
                  <a:lnTo>
                    <a:pt x="1220" y="1032"/>
                  </a:lnTo>
                  <a:lnTo>
                    <a:pt x="1221" y="1035"/>
                  </a:lnTo>
                  <a:lnTo>
                    <a:pt x="1223" y="1036"/>
                  </a:lnTo>
                  <a:lnTo>
                    <a:pt x="1226" y="1040"/>
                  </a:lnTo>
                  <a:lnTo>
                    <a:pt x="1230" y="1041"/>
                  </a:lnTo>
                  <a:lnTo>
                    <a:pt x="1232" y="1058"/>
                  </a:lnTo>
                  <a:lnTo>
                    <a:pt x="1235" y="1075"/>
                  </a:lnTo>
                  <a:lnTo>
                    <a:pt x="1246" y="1080"/>
                  </a:lnTo>
                  <a:lnTo>
                    <a:pt x="1246" y="1085"/>
                  </a:lnTo>
                  <a:lnTo>
                    <a:pt x="1248" y="1089"/>
                  </a:lnTo>
                  <a:lnTo>
                    <a:pt x="1250" y="1095"/>
                  </a:lnTo>
                  <a:lnTo>
                    <a:pt x="1252" y="1099"/>
                  </a:lnTo>
                  <a:lnTo>
                    <a:pt x="1258" y="1108"/>
                  </a:lnTo>
                  <a:lnTo>
                    <a:pt x="1262" y="1114"/>
                  </a:lnTo>
                  <a:lnTo>
                    <a:pt x="1263" y="1125"/>
                  </a:lnTo>
                  <a:lnTo>
                    <a:pt x="1265" y="1138"/>
                  </a:lnTo>
                  <a:lnTo>
                    <a:pt x="1268" y="1154"/>
                  </a:lnTo>
                  <a:lnTo>
                    <a:pt x="1271" y="1170"/>
                  </a:lnTo>
                  <a:lnTo>
                    <a:pt x="1274" y="1186"/>
                  </a:lnTo>
                  <a:lnTo>
                    <a:pt x="1277" y="1202"/>
                  </a:lnTo>
                  <a:lnTo>
                    <a:pt x="1279" y="1217"/>
                  </a:lnTo>
                  <a:lnTo>
                    <a:pt x="1279" y="1230"/>
                  </a:lnTo>
                  <a:lnTo>
                    <a:pt x="1307" y="1230"/>
                  </a:lnTo>
                  <a:lnTo>
                    <a:pt x="1308" y="1227"/>
                  </a:lnTo>
                  <a:lnTo>
                    <a:pt x="1310" y="1226"/>
                  </a:lnTo>
                  <a:lnTo>
                    <a:pt x="1313" y="1224"/>
                  </a:lnTo>
                  <a:lnTo>
                    <a:pt x="1318" y="1224"/>
                  </a:lnTo>
                  <a:lnTo>
                    <a:pt x="1322" y="1215"/>
                  </a:lnTo>
                  <a:lnTo>
                    <a:pt x="1329" y="1207"/>
                  </a:lnTo>
                  <a:lnTo>
                    <a:pt x="1332" y="1203"/>
                  </a:lnTo>
                  <a:lnTo>
                    <a:pt x="1335" y="1200"/>
                  </a:lnTo>
                  <a:lnTo>
                    <a:pt x="1338" y="1198"/>
                  </a:lnTo>
                  <a:lnTo>
                    <a:pt x="1340" y="1197"/>
                  </a:lnTo>
                  <a:lnTo>
                    <a:pt x="1340" y="1185"/>
                  </a:lnTo>
                  <a:lnTo>
                    <a:pt x="1346" y="1180"/>
                  </a:lnTo>
                  <a:lnTo>
                    <a:pt x="1351" y="1174"/>
                  </a:lnTo>
                  <a:lnTo>
                    <a:pt x="1354" y="1173"/>
                  </a:lnTo>
                  <a:lnTo>
                    <a:pt x="1358" y="1170"/>
                  </a:lnTo>
                  <a:lnTo>
                    <a:pt x="1363" y="1165"/>
                  </a:lnTo>
                  <a:lnTo>
                    <a:pt x="1369" y="1159"/>
                  </a:lnTo>
                  <a:lnTo>
                    <a:pt x="1383" y="1141"/>
                  </a:lnTo>
                  <a:lnTo>
                    <a:pt x="1397" y="1121"/>
                  </a:lnTo>
                  <a:lnTo>
                    <a:pt x="1425" y="1082"/>
                  </a:lnTo>
                  <a:lnTo>
                    <a:pt x="1440" y="1058"/>
                  </a:lnTo>
                  <a:lnTo>
                    <a:pt x="1456" y="1058"/>
                  </a:lnTo>
                  <a:lnTo>
                    <a:pt x="1473" y="1056"/>
                  </a:lnTo>
                  <a:lnTo>
                    <a:pt x="1489" y="1054"/>
                  </a:lnTo>
                  <a:lnTo>
                    <a:pt x="1503" y="1050"/>
                  </a:lnTo>
                  <a:lnTo>
                    <a:pt x="1517" y="1046"/>
                  </a:lnTo>
                  <a:lnTo>
                    <a:pt x="1530" y="1040"/>
                  </a:lnTo>
                  <a:lnTo>
                    <a:pt x="1542" y="1035"/>
                  </a:lnTo>
                  <a:lnTo>
                    <a:pt x="1556" y="1028"/>
                  </a:lnTo>
                  <a:lnTo>
                    <a:pt x="1540" y="1025"/>
                  </a:lnTo>
                  <a:lnTo>
                    <a:pt x="1522" y="1021"/>
                  </a:lnTo>
                  <a:lnTo>
                    <a:pt x="1514" y="1021"/>
                  </a:lnTo>
                  <a:lnTo>
                    <a:pt x="1507" y="1022"/>
                  </a:lnTo>
                  <a:lnTo>
                    <a:pt x="1504" y="1024"/>
                  </a:lnTo>
                  <a:lnTo>
                    <a:pt x="1502" y="1026"/>
                  </a:lnTo>
                  <a:lnTo>
                    <a:pt x="1501" y="1028"/>
                  </a:lnTo>
                  <a:lnTo>
                    <a:pt x="1501" y="1030"/>
                  </a:lnTo>
                  <a:lnTo>
                    <a:pt x="1496" y="1031"/>
                  </a:lnTo>
                  <a:lnTo>
                    <a:pt x="1493" y="1031"/>
                  </a:lnTo>
                  <a:lnTo>
                    <a:pt x="1491" y="1034"/>
                  </a:lnTo>
                  <a:lnTo>
                    <a:pt x="1490" y="1036"/>
                  </a:lnTo>
                  <a:lnTo>
                    <a:pt x="1481" y="1036"/>
                  </a:lnTo>
                  <a:lnTo>
                    <a:pt x="1470" y="1036"/>
                  </a:lnTo>
                  <a:lnTo>
                    <a:pt x="1460" y="1036"/>
                  </a:lnTo>
                  <a:lnTo>
                    <a:pt x="1451" y="1036"/>
                  </a:lnTo>
                  <a:lnTo>
                    <a:pt x="1445" y="1025"/>
                  </a:lnTo>
                  <a:lnTo>
                    <a:pt x="1441" y="1025"/>
                  </a:lnTo>
                  <a:lnTo>
                    <a:pt x="1437" y="1021"/>
                  </a:lnTo>
                  <a:lnTo>
                    <a:pt x="1433" y="1018"/>
                  </a:lnTo>
                  <a:lnTo>
                    <a:pt x="1428" y="1012"/>
                  </a:lnTo>
                  <a:lnTo>
                    <a:pt x="1421" y="999"/>
                  </a:lnTo>
                  <a:lnTo>
                    <a:pt x="1414" y="983"/>
                  </a:lnTo>
                  <a:lnTo>
                    <a:pt x="1406" y="969"/>
                  </a:lnTo>
                  <a:lnTo>
                    <a:pt x="1400" y="955"/>
                  </a:lnTo>
                  <a:lnTo>
                    <a:pt x="1397" y="950"/>
                  </a:lnTo>
                  <a:lnTo>
                    <a:pt x="1395" y="945"/>
                  </a:lnTo>
                  <a:lnTo>
                    <a:pt x="1392" y="943"/>
                  </a:lnTo>
                  <a:lnTo>
                    <a:pt x="1390" y="942"/>
                  </a:lnTo>
                  <a:lnTo>
                    <a:pt x="1390" y="931"/>
                  </a:lnTo>
                  <a:lnTo>
                    <a:pt x="1385" y="929"/>
                  </a:lnTo>
                  <a:lnTo>
                    <a:pt x="1379" y="925"/>
                  </a:lnTo>
                  <a:lnTo>
                    <a:pt x="1379" y="914"/>
                  </a:lnTo>
                  <a:lnTo>
                    <a:pt x="1374" y="909"/>
                  </a:lnTo>
                  <a:lnTo>
                    <a:pt x="1369" y="907"/>
                  </a:lnTo>
                  <a:lnTo>
                    <a:pt x="1365" y="904"/>
                  </a:lnTo>
                  <a:lnTo>
                    <a:pt x="1361" y="900"/>
                  </a:lnTo>
                  <a:lnTo>
                    <a:pt x="1357" y="895"/>
                  </a:lnTo>
                  <a:lnTo>
                    <a:pt x="1350" y="885"/>
                  </a:lnTo>
                  <a:lnTo>
                    <a:pt x="1346" y="881"/>
                  </a:lnTo>
                  <a:lnTo>
                    <a:pt x="1344" y="876"/>
                  </a:lnTo>
                  <a:lnTo>
                    <a:pt x="1339" y="871"/>
                  </a:lnTo>
                  <a:lnTo>
                    <a:pt x="1334" y="866"/>
                  </a:lnTo>
                  <a:lnTo>
                    <a:pt x="1329" y="865"/>
                  </a:lnTo>
                  <a:lnTo>
                    <a:pt x="1329" y="858"/>
                  </a:lnTo>
                  <a:lnTo>
                    <a:pt x="1328" y="854"/>
                  </a:lnTo>
                  <a:lnTo>
                    <a:pt x="1327" y="853"/>
                  </a:lnTo>
                  <a:lnTo>
                    <a:pt x="1326" y="852"/>
                  </a:lnTo>
                  <a:lnTo>
                    <a:pt x="1326" y="853"/>
                  </a:lnTo>
                  <a:lnTo>
                    <a:pt x="1325" y="852"/>
                  </a:lnTo>
                  <a:lnTo>
                    <a:pt x="1323" y="851"/>
                  </a:lnTo>
                  <a:lnTo>
                    <a:pt x="1323" y="848"/>
                  </a:lnTo>
                  <a:lnTo>
                    <a:pt x="1312" y="843"/>
                  </a:lnTo>
                  <a:lnTo>
                    <a:pt x="1312" y="838"/>
                  </a:lnTo>
                  <a:lnTo>
                    <a:pt x="1311" y="835"/>
                  </a:lnTo>
                  <a:lnTo>
                    <a:pt x="1310" y="833"/>
                  </a:lnTo>
                  <a:lnTo>
                    <a:pt x="1307" y="832"/>
                  </a:lnTo>
                  <a:lnTo>
                    <a:pt x="1306" y="822"/>
                  </a:lnTo>
                  <a:lnTo>
                    <a:pt x="1304" y="810"/>
                  </a:lnTo>
                  <a:lnTo>
                    <a:pt x="1301" y="800"/>
                  </a:lnTo>
                  <a:lnTo>
                    <a:pt x="1299" y="790"/>
                  </a:lnTo>
                  <a:lnTo>
                    <a:pt x="1296" y="779"/>
                  </a:lnTo>
                  <a:lnTo>
                    <a:pt x="1293" y="769"/>
                  </a:lnTo>
                  <a:lnTo>
                    <a:pt x="1291" y="759"/>
                  </a:lnTo>
                  <a:lnTo>
                    <a:pt x="1290" y="748"/>
                  </a:lnTo>
                  <a:lnTo>
                    <a:pt x="1284" y="746"/>
                  </a:lnTo>
                  <a:lnTo>
                    <a:pt x="1279" y="742"/>
                  </a:lnTo>
                  <a:lnTo>
                    <a:pt x="1273" y="737"/>
                  </a:lnTo>
                  <a:lnTo>
                    <a:pt x="1268" y="731"/>
                  </a:lnTo>
                  <a:lnTo>
                    <a:pt x="1268" y="721"/>
                  </a:lnTo>
                  <a:lnTo>
                    <a:pt x="1262" y="715"/>
                  </a:lnTo>
                  <a:lnTo>
                    <a:pt x="1256" y="710"/>
                  </a:lnTo>
                  <a:lnTo>
                    <a:pt x="1246" y="710"/>
                  </a:lnTo>
                  <a:lnTo>
                    <a:pt x="1241" y="699"/>
                  </a:lnTo>
                  <a:lnTo>
                    <a:pt x="1235" y="693"/>
                  </a:lnTo>
                  <a:lnTo>
                    <a:pt x="1224" y="693"/>
                  </a:lnTo>
                  <a:lnTo>
                    <a:pt x="1223" y="689"/>
                  </a:lnTo>
                  <a:lnTo>
                    <a:pt x="1221" y="685"/>
                  </a:lnTo>
                  <a:lnTo>
                    <a:pt x="1216" y="683"/>
                  </a:lnTo>
                  <a:lnTo>
                    <a:pt x="1213" y="682"/>
                  </a:lnTo>
                  <a:lnTo>
                    <a:pt x="1210" y="676"/>
                  </a:lnTo>
                  <a:lnTo>
                    <a:pt x="1207" y="671"/>
                  </a:lnTo>
                  <a:lnTo>
                    <a:pt x="1194" y="665"/>
                  </a:lnTo>
                  <a:lnTo>
                    <a:pt x="1185" y="660"/>
                  </a:lnTo>
                  <a:lnTo>
                    <a:pt x="1187" y="657"/>
                  </a:lnTo>
                  <a:lnTo>
                    <a:pt x="1195" y="654"/>
                  </a:lnTo>
                  <a:lnTo>
                    <a:pt x="1204" y="651"/>
                  </a:lnTo>
                  <a:lnTo>
                    <a:pt x="1213" y="649"/>
                  </a:lnTo>
                  <a:lnTo>
                    <a:pt x="1214" y="644"/>
                  </a:lnTo>
                  <a:lnTo>
                    <a:pt x="1219" y="641"/>
                  </a:lnTo>
                  <a:lnTo>
                    <a:pt x="1222" y="638"/>
                  </a:lnTo>
                  <a:lnTo>
                    <a:pt x="1224" y="637"/>
                  </a:lnTo>
                  <a:lnTo>
                    <a:pt x="1224" y="633"/>
                  </a:lnTo>
                  <a:lnTo>
                    <a:pt x="1224" y="630"/>
                  </a:lnTo>
                  <a:lnTo>
                    <a:pt x="1226" y="627"/>
                  </a:lnTo>
                  <a:lnTo>
                    <a:pt x="1230" y="626"/>
                  </a:lnTo>
                  <a:lnTo>
                    <a:pt x="1230" y="618"/>
                  </a:lnTo>
                  <a:lnTo>
                    <a:pt x="1230" y="609"/>
                  </a:lnTo>
                  <a:lnTo>
                    <a:pt x="1296" y="609"/>
                  </a:lnTo>
                  <a:lnTo>
                    <a:pt x="1296" y="560"/>
                  </a:lnTo>
                  <a:lnTo>
                    <a:pt x="1301" y="551"/>
                  </a:lnTo>
                  <a:lnTo>
                    <a:pt x="1307" y="538"/>
                  </a:lnTo>
                  <a:lnTo>
                    <a:pt x="1318" y="538"/>
                  </a:lnTo>
                  <a:lnTo>
                    <a:pt x="1323" y="532"/>
                  </a:lnTo>
                  <a:lnTo>
                    <a:pt x="1329" y="527"/>
                  </a:lnTo>
                  <a:lnTo>
                    <a:pt x="1335" y="521"/>
                  </a:lnTo>
                  <a:lnTo>
                    <a:pt x="1340" y="516"/>
                  </a:lnTo>
                  <a:lnTo>
                    <a:pt x="1340" y="510"/>
                  </a:lnTo>
                  <a:lnTo>
                    <a:pt x="1340" y="502"/>
                  </a:lnTo>
                  <a:lnTo>
                    <a:pt x="1341" y="499"/>
                  </a:lnTo>
                  <a:lnTo>
                    <a:pt x="1342" y="497"/>
                  </a:lnTo>
                  <a:lnTo>
                    <a:pt x="1344" y="494"/>
                  </a:lnTo>
                  <a:lnTo>
                    <a:pt x="1346" y="493"/>
                  </a:lnTo>
                  <a:lnTo>
                    <a:pt x="1346" y="449"/>
                  </a:lnTo>
                  <a:lnTo>
                    <a:pt x="1335" y="443"/>
                  </a:lnTo>
                  <a:lnTo>
                    <a:pt x="1331" y="438"/>
                  </a:lnTo>
                  <a:lnTo>
                    <a:pt x="1329" y="433"/>
                  </a:lnTo>
                  <a:lnTo>
                    <a:pt x="1318" y="433"/>
                  </a:lnTo>
                  <a:lnTo>
                    <a:pt x="1313" y="429"/>
                  </a:lnTo>
                  <a:lnTo>
                    <a:pt x="1310" y="424"/>
                  </a:lnTo>
                  <a:lnTo>
                    <a:pt x="1308" y="420"/>
                  </a:lnTo>
                  <a:lnTo>
                    <a:pt x="1307" y="416"/>
                  </a:lnTo>
                  <a:lnTo>
                    <a:pt x="1296" y="411"/>
                  </a:lnTo>
                  <a:lnTo>
                    <a:pt x="1284" y="405"/>
                  </a:lnTo>
                  <a:lnTo>
                    <a:pt x="1283" y="401"/>
                  </a:lnTo>
                  <a:lnTo>
                    <a:pt x="1280" y="396"/>
                  </a:lnTo>
                  <a:lnTo>
                    <a:pt x="1275" y="392"/>
                  </a:lnTo>
                  <a:lnTo>
                    <a:pt x="1271" y="387"/>
                  </a:lnTo>
                  <a:lnTo>
                    <a:pt x="1265" y="383"/>
                  </a:lnTo>
                  <a:lnTo>
                    <a:pt x="1261" y="377"/>
                  </a:lnTo>
                  <a:lnTo>
                    <a:pt x="1258" y="372"/>
                  </a:lnTo>
                  <a:lnTo>
                    <a:pt x="1256" y="366"/>
                  </a:lnTo>
                  <a:lnTo>
                    <a:pt x="1246" y="359"/>
                  </a:lnTo>
                  <a:lnTo>
                    <a:pt x="1227" y="344"/>
                  </a:lnTo>
                  <a:lnTo>
                    <a:pt x="1210" y="328"/>
                  </a:lnTo>
                  <a:lnTo>
                    <a:pt x="1202" y="322"/>
                  </a:lnTo>
                  <a:lnTo>
                    <a:pt x="1185" y="310"/>
                  </a:lnTo>
                  <a:lnTo>
                    <a:pt x="1168" y="299"/>
                  </a:lnTo>
                  <a:lnTo>
                    <a:pt x="1167" y="292"/>
                  </a:lnTo>
                  <a:lnTo>
                    <a:pt x="1165" y="287"/>
                  </a:lnTo>
                  <a:lnTo>
                    <a:pt x="1162" y="281"/>
                  </a:lnTo>
                  <a:lnTo>
                    <a:pt x="1157" y="278"/>
                  </a:lnTo>
                  <a:lnTo>
                    <a:pt x="1157" y="267"/>
                  </a:lnTo>
                  <a:lnTo>
                    <a:pt x="1146" y="261"/>
                  </a:lnTo>
                  <a:lnTo>
                    <a:pt x="1146" y="250"/>
                  </a:lnTo>
                  <a:lnTo>
                    <a:pt x="1143" y="249"/>
                  </a:lnTo>
                  <a:lnTo>
                    <a:pt x="1142" y="247"/>
                  </a:lnTo>
                  <a:lnTo>
                    <a:pt x="1140" y="242"/>
                  </a:lnTo>
                  <a:lnTo>
                    <a:pt x="1140" y="239"/>
                  </a:lnTo>
                  <a:lnTo>
                    <a:pt x="1135" y="233"/>
                  </a:lnTo>
                  <a:lnTo>
                    <a:pt x="1129" y="228"/>
                  </a:lnTo>
                  <a:lnTo>
                    <a:pt x="1124" y="222"/>
                  </a:lnTo>
                  <a:lnTo>
                    <a:pt x="1118" y="217"/>
                  </a:lnTo>
                  <a:lnTo>
                    <a:pt x="1110" y="213"/>
                  </a:lnTo>
                  <a:lnTo>
                    <a:pt x="1101" y="211"/>
                  </a:lnTo>
                  <a:lnTo>
                    <a:pt x="1101" y="209"/>
                  </a:lnTo>
                  <a:lnTo>
                    <a:pt x="1099" y="207"/>
                  </a:lnTo>
                  <a:lnTo>
                    <a:pt x="1096" y="203"/>
                  </a:lnTo>
                  <a:lnTo>
                    <a:pt x="1092" y="201"/>
                  </a:lnTo>
                  <a:lnTo>
                    <a:pt x="1086" y="197"/>
                  </a:lnTo>
                  <a:lnTo>
                    <a:pt x="1080" y="194"/>
                  </a:lnTo>
                  <a:lnTo>
                    <a:pt x="1077" y="189"/>
                  </a:lnTo>
                  <a:lnTo>
                    <a:pt x="1075" y="183"/>
                  </a:lnTo>
                  <a:lnTo>
                    <a:pt x="1051" y="183"/>
                  </a:lnTo>
                  <a:lnTo>
                    <a:pt x="1029" y="184"/>
                  </a:lnTo>
                  <a:lnTo>
                    <a:pt x="1005" y="185"/>
                  </a:lnTo>
                  <a:lnTo>
                    <a:pt x="983" y="186"/>
                  </a:lnTo>
                  <a:lnTo>
                    <a:pt x="960" y="188"/>
                  </a:lnTo>
                  <a:lnTo>
                    <a:pt x="937" y="188"/>
                  </a:lnTo>
                  <a:lnTo>
                    <a:pt x="914" y="189"/>
                  </a:lnTo>
                  <a:lnTo>
                    <a:pt x="891" y="189"/>
                  </a:lnTo>
                  <a:lnTo>
                    <a:pt x="889" y="186"/>
                  </a:lnTo>
                  <a:lnTo>
                    <a:pt x="885" y="181"/>
                  </a:lnTo>
                  <a:lnTo>
                    <a:pt x="879" y="175"/>
                  </a:lnTo>
                  <a:lnTo>
                    <a:pt x="875" y="172"/>
                  </a:lnTo>
                  <a:lnTo>
                    <a:pt x="875" y="161"/>
                  </a:lnTo>
                  <a:lnTo>
                    <a:pt x="864" y="150"/>
                  </a:lnTo>
                  <a:lnTo>
                    <a:pt x="862" y="123"/>
                  </a:lnTo>
                  <a:lnTo>
                    <a:pt x="861" y="92"/>
                  </a:lnTo>
                  <a:lnTo>
                    <a:pt x="859" y="59"/>
                  </a:lnTo>
                  <a:lnTo>
                    <a:pt x="858" y="28"/>
                  </a:lnTo>
                  <a:lnTo>
                    <a:pt x="856" y="28"/>
                  </a:lnTo>
                  <a:lnTo>
                    <a:pt x="854" y="27"/>
                  </a:lnTo>
                  <a:lnTo>
                    <a:pt x="852" y="25"/>
                  </a:lnTo>
                  <a:lnTo>
                    <a:pt x="850" y="22"/>
                  </a:lnTo>
                  <a:lnTo>
                    <a:pt x="848" y="17"/>
                  </a:lnTo>
                  <a:lnTo>
                    <a:pt x="847" y="11"/>
                  </a:lnTo>
                  <a:lnTo>
                    <a:pt x="841" y="6"/>
                  </a:lnTo>
                  <a:lnTo>
                    <a:pt x="830" y="6"/>
                  </a:lnTo>
                  <a:lnTo>
                    <a:pt x="829" y="5"/>
                  </a:lnTo>
                  <a:lnTo>
                    <a:pt x="826" y="3"/>
                  </a:lnTo>
                  <a:lnTo>
                    <a:pt x="820" y="2"/>
                  </a:lnTo>
                  <a:lnTo>
                    <a:pt x="813" y="1"/>
                  </a:lnTo>
                  <a:lnTo>
                    <a:pt x="800" y="1"/>
                  </a:lnTo>
                  <a:lnTo>
                    <a:pt x="792" y="0"/>
                  </a:lnTo>
                  <a:lnTo>
                    <a:pt x="792" y="11"/>
                  </a:lnTo>
                  <a:lnTo>
                    <a:pt x="787" y="22"/>
                  </a:lnTo>
                  <a:lnTo>
                    <a:pt x="782" y="24"/>
                  </a:lnTo>
                  <a:lnTo>
                    <a:pt x="779" y="26"/>
                  </a:lnTo>
                  <a:lnTo>
                    <a:pt x="776" y="28"/>
                  </a:lnTo>
                  <a:lnTo>
                    <a:pt x="773" y="31"/>
                  </a:lnTo>
                  <a:lnTo>
                    <a:pt x="771" y="37"/>
                  </a:lnTo>
                  <a:lnTo>
                    <a:pt x="770" y="39"/>
                  </a:lnTo>
                  <a:lnTo>
                    <a:pt x="770" y="50"/>
                  </a:lnTo>
                  <a:lnTo>
                    <a:pt x="768" y="51"/>
                  </a:lnTo>
                  <a:lnTo>
                    <a:pt x="766" y="53"/>
                  </a:lnTo>
                  <a:lnTo>
                    <a:pt x="765" y="55"/>
                  </a:lnTo>
                  <a:lnTo>
                    <a:pt x="764" y="57"/>
                  </a:lnTo>
                  <a:lnTo>
                    <a:pt x="764" y="63"/>
                  </a:lnTo>
                  <a:lnTo>
                    <a:pt x="764" y="67"/>
                  </a:lnTo>
                  <a:lnTo>
                    <a:pt x="753" y="67"/>
                  </a:lnTo>
                  <a:lnTo>
                    <a:pt x="750" y="69"/>
                  </a:lnTo>
                  <a:lnTo>
                    <a:pt x="742" y="70"/>
                  </a:lnTo>
                  <a:lnTo>
                    <a:pt x="731" y="72"/>
                  </a:lnTo>
                  <a:lnTo>
                    <a:pt x="718" y="72"/>
                  </a:lnTo>
                  <a:lnTo>
                    <a:pt x="692" y="73"/>
                  </a:lnTo>
                  <a:lnTo>
                    <a:pt x="675" y="73"/>
                  </a:lnTo>
                  <a:lnTo>
                    <a:pt x="675" y="76"/>
                  </a:lnTo>
                  <a:lnTo>
                    <a:pt x="672" y="77"/>
                  </a:lnTo>
                  <a:lnTo>
                    <a:pt x="668" y="78"/>
                  </a:lnTo>
                  <a:lnTo>
                    <a:pt x="664" y="78"/>
                  </a:lnTo>
                  <a:lnTo>
                    <a:pt x="664" y="82"/>
                  </a:lnTo>
                  <a:lnTo>
                    <a:pt x="660" y="83"/>
                  </a:lnTo>
                  <a:lnTo>
                    <a:pt x="657" y="84"/>
                  </a:lnTo>
                  <a:lnTo>
                    <a:pt x="654" y="84"/>
                  </a:lnTo>
                  <a:lnTo>
                    <a:pt x="653" y="87"/>
                  </a:lnTo>
                  <a:lnTo>
                    <a:pt x="649" y="88"/>
                  </a:lnTo>
                  <a:lnTo>
                    <a:pt x="646" y="89"/>
                  </a:lnTo>
                  <a:lnTo>
                    <a:pt x="643" y="89"/>
                  </a:lnTo>
                  <a:lnTo>
                    <a:pt x="640" y="93"/>
                  </a:lnTo>
                  <a:lnTo>
                    <a:pt x="637" y="97"/>
                  </a:lnTo>
                  <a:lnTo>
                    <a:pt x="632" y="99"/>
                  </a:lnTo>
                  <a:lnTo>
                    <a:pt x="631" y="101"/>
                  </a:lnTo>
                  <a:lnTo>
                    <a:pt x="631" y="117"/>
                  </a:lnTo>
                  <a:lnTo>
                    <a:pt x="629" y="117"/>
                  </a:lnTo>
                  <a:lnTo>
                    <a:pt x="628" y="118"/>
                  </a:lnTo>
                  <a:lnTo>
                    <a:pt x="627" y="121"/>
                  </a:lnTo>
                  <a:lnTo>
                    <a:pt x="626" y="123"/>
                  </a:lnTo>
                  <a:lnTo>
                    <a:pt x="626" y="128"/>
                  </a:lnTo>
                  <a:lnTo>
                    <a:pt x="626" y="134"/>
                  </a:lnTo>
                  <a:lnTo>
                    <a:pt x="615" y="138"/>
                  </a:lnTo>
                  <a:lnTo>
                    <a:pt x="615" y="150"/>
                  </a:lnTo>
                  <a:lnTo>
                    <a:pt x="609" y="155"/>
                  </a:lnTo>
                  <a:lnTo>
                    <a:pt x="598" y="155"/>
                  </a:lnTo>
                  <a:lnTo>
                    <a:pt x="589" y="164"/>
                  </a:lnTo>
                  <a:lnTo>
                    <a:pt x="581" y="172"/>
                  </a:lnTo>
                  <a:lnTo>
                    <a:pt x="567" y="172"/>
                  </a:lnTo>
                  <a:lnTo>
                    <a:pt x="551" y="170"/>
                  </a:lnTo>
                  <a:lnTo>
                    <a:pt x="534" y="167"/>
                  </a:lnTo>
                  <a:lnTo>
                    <a:pt x="519" y="164"/>
                  </a:lnTo>
                  <a:lnTo>
                    <a:pt x="503" y="161"/>
                  </a:lnTo>
                  <a:lnTo>
                    <a:pt x="490" y="159"/>
                  </a:lnTo>
                  <a:lnTo>
                    <a:pt x="476" y="156"/>
                  </a:lnTo>
                  <a:lnTo>
                    <a:pt x="465" y="155"/>
                  </a:lnTo>
                  <a:lnTo>
                    <a:pt x="464" y="153"/>
                  </a:lnTo>
                  <a:lnTo>
                    <a:pt x="461" y="151"/>
                  </a:lnTo>
                  <a:lnTo>
                    <a:pt x="456" y="147"/>
                  </a:lnTo>
                  <a:lnTo>
                    <a:pt x="451" y="145"/>
                  </a:lnTo>
                  <a:lnTo>
                    <a:pt x="439" y="141"/>
                  </a:lnTo>
                  <a:lnTo>
                    <a:pt x="432" y="138"/>
                  </a:lnTo>
                  <a:lnTo>
                    <a:pt x="432" y="137"/>
                  </a:lnTo>
                  <a:lnTo>
                    <a:pt x="429" y="136"/>
                  </a:lnTo>
                  <a:lnTo>
                    <a:pt x="428" y="135"/>
                  </a:lnTo>
                  <a:lnTo>
                    <a:pt x="425" y="134"/>
                  </a:lnTo>
                  <a:lnTo>
                    <a:pt x="420" y="134"/>
                  </a:lnTo>
                  <a:lnTo>
                    <a:pt x="415" y="134"/>
                  </a:lnTo>
                  <a:lnTo>
                    <a:pt x="414" y="131"/>
                  </a:lnTo>
                  <a:lnTo>
                    <a:pt x="411" y="128"/>
                  </a:lnTo>
                  <a:lnTo>
                    <a:pt x="408" y="128"/>
                  </a:lnTo>
                  <a:lnTo>
                    <a:pt x="404" y="128"/>
                  </a:lnTo>
                  <a:lnTo>
                    <a:pt x="404" y="126"/>
                  </a:lnTo>
                  <a:lnTo>
                    <a:pt x="403" y="124"/>
                  </a:lnTo>
                  <a:lnTo>
                    <a:pt x="400" y="122"/>
                  </a:lnTo>
                  <a:lnTo>
                    <a:pt x="398" y="121"/>
                  </a:lnTo>
                  <a:lnTo>
                    <a:pt x="392" y="118"/>
                  </a:lnTo>
                  <a:lnTo>
                    <a:pt x="387" y="117"/>
                  </a:lnTo>
                  <a:lnTo>
                    <a:pt x="381" y="112"/>
                  </a:lnTo>
                  <a:lnTo>
                    <a:pt x="381" y="101"/>
                  </a:lnTo>
                  <a:lnTo>
                    <a:pt x="376" y="95"/>
                  </a:lnTo>
                  <a:lnTo>
                    <a:pt x="365" y="92"/>
                  </a:lnTo>
                  <a:lnTo>
                    <a:pt x="349" y="89"/>
                  </a:lnTo>
                  <a:lnTo>
                    <a:pt x="349" y="84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2" name="Freeform 25">
              <a:extLst>
                <a:ext uri="{FF2B5EF4-FFF2-40B4-BE49-F238E27FC236}">
                  <a16:creationId xmlns:a16="http://schemas.microsoft.com/office/drawing/2014/main" id="{6C957AB9-EC1C-44A5-8682-D9488EF6FB28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313613" y="3598863"/>
              <a:ext cx="548629" cy="312738"/>
            </a:xfrm>
            <a:custGeom>
              <a:avLst/>
              <a:gdLst/>
              <a:ahLst/>
              <a:cxnLst>
                <a:cxn ang="0">
                  <a:pos x="2941" y="1828"/>
                </a:cxn>
                <a:cxn ang="0">
                  <a:pos x="2825" y="1778"/>
                </a:cxn>
                <a:cxn ang="0">
                  <a:pos x="2753" y="1654"/>
                </a:cxn>
                <a:cxn ang="0">
                  <a:pos x="2820" y="1585"/>
                </a:cxn>
                <a:cxn ang="0">
                  <a:pos x="2699" y="1490"/>
                </a:cxn>
                <a:cxn ang="0">
                  <a:pos x="2532" y="1462"/>
                </a:cxn>
                <a:cxn ang="0">
                  <a:pos x="2444" y="1502"/>
                </a:cxn>
                <a:cxn ang="0">
                  <a:pos x="2371" y="1363"/>
                </a:cxn>
                <a:cxn ang="0">
                  <a:pos x="2218" y="1286"/>
                </a:cxn>
                <a:cxn ang="0">
                  <a:pos x="1844" y="1192"/>
                </a:cxn>
                <a:cxn ang="0">
                  <a:pos x="1762" y="1122"/>
                </a:cxn>
                <a:cxn ang="0">
                  <a:pos x="1673" y="1047"/>
                </a:cxn>
                <a:cxn ang="0">
                  <a:pos x="1656" y="948"/>
                </a:cxn>
                <a:cxn ang="0">
                  <a:pos x="1914" y="870"/>
                </a:cxn>
                <a:cxn ang="0">
                  <a:pos x="2072" y="810"/>
                </a:cxn>
                <a:cxn ang="0">
                  <a:pos x="2182" y="731"/>
                </a:cxn>
                <a:cxn ang="0">
                  <a:pos x="2210" y="621"/>
                </a:cxn>
                <a:cxn ang="0">
                  <a:pos x="2139" y="688"/>
                </a:cxn>
                <a:cxn ang="0">
                  <a:pos x="1961" y="704"/>
                </a:cxn>
                <a:cxn ang="0">
                  <a:pos x="1852" y="669"/>
                </a:cxn>
                <a:cxn ang="0">
                  <a:pos x="1746" y="622"/>
                </a:cxn>
                <a:cxn ang="0">
                  <a:pos x="1578" y="569"/>
                </a:cxn>
                <a:cxn ang="0">
                  <a:pos x="1440" y="537"/>
                </a:cxn>
                <a:cxn ang="0">
                  <a:pos x="1296" y="560"/>
                </a:cxn>
                <a:cxn ang="0">
                  <a:pos x="1252" y="471"/>
                </a:cxn>
                <a:cxn ang="0">
                  <a:pos x="1210" y="394"/>
                </a:cxn>
                <a:cxn ang="0">
                  <a:pos x="1166" y="256"/>
                </a:cxn>
                <a:cxn ang="0">
                  <a:pos x="1092" y="127"/>
                </a:cxn>
                <a:cxn ang="0">
                  <a:pos x="867" y="9"/>
                </a:cxn>
                <a:cxn ang="0">
                  <a:pos x="731" y="17"/>
                </a:cxn>
                <a:cxn ang="0">
                  <a:pos x="686" y="127"/>
                </a:cxn>
                <a:cxn ang="0">
                  <a:pos x="612" y="281"/>
                </a:cxn>
                <a:cxn ang="0">
                  <a:pos x="662" y="479"/>
                </a:cxn>
                <a:cxn ang="0">
                  <a:pos x="486" y="533"/>
                </a:cxn>
                <a:cxn ang="0">
                  <a:pos x="407" y="557"/>
                </a:cxn>
                <a:cxn ang="0">
                  <a:pos x="39" y="593"/>
                </a:cxn>
                <a:cxn ang="0">
                  <a:pos x="17" y="774"/>
                </a:cxn>
                <a:cxn ang="0">
                  <a:pos x="101" y="899"/>
                </a:cxn>
                <a:cxn ang="0">
                  <a:pos x="177" y="1114"/>
                </a:cxn>
                <a:cxn ang="0">
                  <a:pos x="220" y="1182"/>
                </a:cxn>
                <a:cxn ang="0">
                  <a:pos x="355" y="1252"/>
                </a:cxn>
                <a:cxn ang="0">
                  <a:pos x="432" y="1297"/>
                </a:cxn>
                <a:cxn ang="0">
                  <a:pos x="568" y="1333"/>
                </a:cxn>
                <a:cxn ang="0">
                  <a:pos x="657" y="1256"/>
                </a:cxn>
                <a:cxn ang="0">
                  <a:pos x="767" y="1232"/>
                </a:cxn>
                <a:cxn ang="0">
                  <a:pos x="817" y="1164"/>
                </a:cxn>
                <a:cxn ang="0">
                  <a:pos x="892" y="1324"/>
                </a:cxn>
                <a:cxn ang="0">
                  <a:pos x="1113" y="1366"/>
                </a:cxn>
                <a:cxn ang="0">
                  <a:pos x="1182" y="1450"/>
                </a:cxn>
                <a:cxn ang="0">
                  <a:pos x="1324" y="1579"/>
                </a:cxn>
                <a:cxn ang="0">
                  <a:pos x="1340" y="1695"/>
                </a:cxn>
                <a:cxn ang="0">
                  <a:pos x="1529" y="1778"/>
                </a:cxn>
                <a:cxn ang="0">
                  <a:pos x="1748" y="1779"/>
                </a:cxn>
                <a:cxn ang="0">
                  <a:pos x="1817" y="1718"/>
                </a:cxn>
                <a:cxn ang="0">
                  <a:pos x="1909" y="1697"/>
                </a:cxn>
                <a:cxn ang="0">
                  <a:pos x="1995" y="1748"/>
                </a:cxn>
                <a:cxn ang="0">
                  <a:pos x="2059" y="1813"/>
                </a:cxn>
                <a:cxn ang="0">
                  <a:pos x="2372" y="1836"/>
                </a:cxn>
                <a:cxn ang="0">
                  <a:pos x="2642" y="1928"/>
                </a:cxn>
                <a:cxn ang="0">
                  <a:pos x="2807" y="1925"/>
                </a:cxn>
                <a:cxn ang="0">
                  <a:pos x="3010" y="1886"/>
                </a:cxn>
              </a:cxnLst>
              <a:rect l="0" t="0" r="r" b="b"/>
              <a:pathLst>
                <a:path w="3010" h="1952">
                  <a:moveTo>
                    <a:pt x="3010" y="1886"/>
                  </a:moveTo>
                  <a:lnTo>
                    <a:pt x="3004" y="1880"/>
                  </a:lnTo>
                  <a:lnTo>
                    <a:pt x="2998" y="1873"/>
                  </a:lnTo>
                  <a:lnTo>
                    <a:pt x="2995" y="1871"/>
                  </a:lnTo>
                  <a:lnTo>
                    <a:pt x="2991" y="1868"/>
                  </a:lnTo>
                  <a:lnTo>
                    <a:pt x="2989" y="1867"/>
                  </a:lnTo>
                  <a:lnTo>
                    <a:pt x="2986" y="1867"/>
                  </a:lnTo>
                  <a:lnTo>
                    <a:pt x="2985" y="1863"/>
                  </a:lnTo>
                  <a:lnTo>
                    <a:pt x="2984" y="1861"/>
                  </a:lnTo>
                  <a:lnTo>
                    <a:pt x="2983" y="1858"/>
                  </a:lnTo>
                  <a:lnTo>
                    <a:pt x="2980" y="1856"/>
                  </a:lnTo>
                  <a:lnTo>
                    <a:pt x="2976" y="1854"/>
                  </a:lnTo>
                  <a:lnTo>
                    <a:pt x="2975" y="1851"/>
                  </a:lnTo>
                  <a:lnTo>
                    <a:pt x="2964" y="1847"/>
                  </a:lnTo>
                  <a:lnTo>
                    <a:pt x="2952" y="1845"/>
                  </a:lnTo>
                  <a:lnTo>
                    <a:pt x="2947" y="1839"/>
                  </a:lnTo>
                  <a:lnTo>
                    <a:pt x="2945" y="1834"/>
                  </a:lnTo>
                  <a:lnTo>
                    <a:pt x="2941" y="1828"/>
                  </a:lnTo>
                  <a:lnTo>
                    <a:pt x="2928" y="1827"/>
                  </a:lnTo>
                  <a:lnTo>
                    <a:pt x="2913" y="1825"/>
                  </a:lnTo>
                  <a:lnTo>
                    <a:pt x="2899" y="1824"/>
                  </a:lnTo>
                  <a:lnTo>
                    <a:pt x="2885" y="1823"/>
                  </a:lnTo>
                  <a:lnTo>
                    <a:pt x="2885" y="1819"/>
                  </a:lnTo>
                  <a:lnTo>
                    <a:pt x="2882" y="1818"/>
                  </a:lnTo>
                  <a:lnTo>
                    <a:pt x="2879" y="1817"/>
                  </a:lnTo>
                  <a:lnTo>
                    <a:pt x="2875" y="1817"/>
                  </a:lnTo>
                  <a:lnTo>
                    <a:pt x="2866" y="1809"/>
                  </a:lnTo>
                  <a:lnTo>
                    <a:pt x="2859" y="1800"/>
                  </a:lnTo>
                  <a:lnTo>
                    <a:pt x="2847" y="1800"/>
                  </a:lnTo>
                  <a:lnTo>
                    <a:pt x="2846" y="1797"/>
                  </a:lnTo>
                  <a:lnTo>
                    <a:pt x="2844" y="1796"/>
                  </a:lnTo>
                  <a:lnTo>
                    <a:pt x="2840" y="1795"/>
                  </a:lnTo>
                  <a:lnTo>
                    <a:pt x="2836" y="1795"/>
                  </a:lnTo>
                  <a:lnTo>
                    <a:pt x="2831" y="1789"/>
                  </a:lnTo>
                  <a:lnTo>
                    <a:pt x="2827" y="1784"/>
                  </a:lnTo>
                  <a:lnTo>
                    <a:pt x="2825" y="1778"/>
                  </a:lnTo>
                  <a:lnTo>
                    <a:pt x="2814" y="1778"/>
                  </a:lnTo>
                  <a:lnTo>
                    <a:pt x="2808" y="1772"/>
                  </a:lnTo>
                  <a:lnTo>
                    <a:pt x="2806" y="1767"/>
                  </a:lnTo>
                  <a:lnTo>
                    <a:pt x="2801" y="1760"/>
                  </a:lnTo>
                  <a:lnTo>
                    <a:pt x="2794" y="1753"/>
                  </a:lnTo>
                  <a:lnTo>
                    <a:pt x="2792" y="1750"/>
                  </a:lnTo>
                  <a:lnTo>
                    <a:pt x="2792" y="1735"/>
                  </a:lnTo>
                  <a:lnTo>
                    <a:pt x="2797" y="1731"/>
                  </a:lnTo>
                  <a:lnTo>
                    <a:pt x="2803" y="1729"/>
                  </a:lnTo>
                  <a:lnTo>
                    <a:pt x="2803" y="1695"/>
                  </a:lnTo>
                  <a:lnTo>
                    <a:pt x="2792" y="1690"/>
                  </a:lnTo>
                  <a:lnTo>
                    <a:pt x="2789" y="1684"/>
                  </a:lnTo>
                  <a:lnTo>
                    <a:pt x="2786" y="1679"/>
                  </a:lnTo>
                  <a:lnTo>
                    <a:pt x="2769" y="1679"/>
                  </a:lnTo>
                  <a:lnTo>
                    <a:pt x="2764" y="1673"/>
                  </a:lnTo>
                  <a:lnTo>
                    <a:pt x="2758" y="1668"/>
                  </a:lnTo>
                  <a:lnTo>
                    <a:pt x="2753" y="1662"/>
                  </a:lnTo>
                  <a:lnTo>
                    <a:pt x="2753" y="1654"/>
                  </a:lnTo>
                  <a:lnTo>
                    <a:pt x="2753" y="1645"/>
                  </a:lnTo>
                  <a:lnTo>
                    <a:pt x="2758" y="1640"/>
                  </a:lnTo>
                  <a:lnTo>
                    <a:pt x="2767" y="1637"/>
                  </a:lnTo>
                  <a:lnTo>
                    <a:pt x="2775" y="1634"/>
                  </a:lnTo>
                  <a:lnTo>
                    <a:pt x="2778" y="1628"/>
                  </a:lnTo>
                  <a:lnTo>
                    <a:pt x="2781" y="1623"/>
                  </a:lnTo>
                  <a:lnTo>
                    <a:pt x="2785" y="1622"/>
                  </a:lnTo>
                  <a:lnTo>
                    <a:pt x="2788" y="1620"/>
                  </a:lnTo>
                  <a:lnTo>
                    <a:pt x="2791" y="1616"/>
                  </a:lnTo>
                  <a:lnTo>
                    <a:pt x="2792" y="1612"/>
                  </a:lnTo>
                  <a:lnTo>
                    <a:pt x="2803" y="1612"/>
                  </a:lnTo>
                  <a:lnTo>
                    <a:pt x="2803" y="1601"/>
                  </a:lnTo>
                  <a:lnTo>
                    <a:pt x="2806" y="1601"/>
                  </a:lnTo>
                  <a:lnTo>
                    <a:pt x="2807" y="1597"/>
                  </a:lnTo>
                  <a:lnTo>
                    <a:pt x="2808" y="1594"/>
                  </a:lnTo>
                  <a:lnTo>
                    <a:pt x="2808" y="1591"/>
                  </a:lnTo>
                  <a:lnTo>
                    <a:pt x="2814" y="1587"/>
                  </a:lnTo>
                  <a:lnTo>
                    <a:pt x="2820" y="1585"/>
                  </a:lnTo>
                  <a:lnTo>
                    <a:pt x="2820" y="1574"/>
                  </a:lnTo>
                  <a:lnTo>
                    <a:pt x="2824" y="1573"/>
                  </a:lnTo>
                  <a:lnTo>
                    <a:pt x="2827" y="1570"/>
                  </a:lnTo>
                  <a:lnTo>
                    <a:pt x="2830" y="1566"/>
                  </a:lnTo>
                  <a:lnTo>
                    <a:pt x="2831" y="1563"/>
                  </a:lnTo>
                  <a:lnTo>
                    <a:pt x="2836" y="1557"/>
                  </a:lnTo>
                  <a:lnTo>
                    <a:pt x="2847" y="1557"/>
                  </a:lnTo>
                  <a:lnTo>
                    <a:pt x="2853" y="1551"/>
                  </a:lnTo>
                  <a:lnTo>
                    <a:pt x="2859" y="1546"/>
                  </a:lnTo>
                  <a:lnTo>
                    <a:pt x="2853" y="1540"/>
                  </a:lnTo>
                  <a:lnTo>
                    <a:pt x="2847" y="1529"/>
                  </a:lnTo>
                  <a:lnTo>
                    <a:pt x="2836" y="1529"/>
                  </a:lnTo>
                  <a:lnTo>
                    <a:pt x="2820" y="1518"/>
                  </a:lnTo>
                  <a:lnTo>
                    <a:pt x="2803" y="1507"/>
                  </a:lnTo>
                  <a:lnTo>
                    <a:pt x="2731" y="1507"/>
                  </a:lnTo>
                  <a:lnTo>
                    <a:pt x="2717" y="1499"/>
                  </a:lnTo>
                  <a:lnTo>
                    <a:pt x="2703" y="1490"/>
                  </a:lnTo>
                  <a:lnTo>
                    <a:pt x="2699" y="1490"/>
                  </a:lnTo>
                  <a:lnTo>
                    <a:pt x="2693" y="1488"/>
                  </a:lnTo>
                  <a:lnTo>
                    <a:pt x="2688" y="1485"/>
                  </a:lnTo>
                  <a:lnTo>
                    <a:pt x="2682" y="1481"/>
                  </a:lnTo>
                  <a:lnTo>
                    <a:pt x="2678" y="1477"/>
                  </a:lnTo>
                  <a:lnTo>
                    <a:pt x="2673" y="1471"/>
                  </a:lnTo>
                  <a:lnTo>
                    <a:pt x="2671" y="1467"/>
                  </a:lnTo>
                  <a:lnTo>
                    <a:pt x="2670" y="1462"/>
                  </a:lnTo>
                  <a:lnTo>
                    <a:pt x="2659" y="1462"/>
                  </a:lnTo>
                  <a:lnTo>
                    <a:pt x="2654" y="1461"/>
                  </a:lnTo>
                  <a:lnTo>
                    <a:pt x="2642" y="1460"/>
                  </a:lnTo>
                  <a:lnTo>
                    <a:pt x="2625" y="1459"/>
                  </a:lnTo>
                  <a:lnTo>
                    <a:pt x="2605" y="1458"/>
                  </a:lnTo>
                  <a:lnTo>
                    <a:pt x="2565" y="1458"/>
                  </a:lnTo>
                  <a:lnTo>
                    <a:pt x="2543" y="1457"/>
                  </a:lnTo>
                  <a:lnTo>
                    <a:pt x="2542" y="1460"/>
                  </a:lnTo>
                  <a:lnTo>
                    <a:pt x="2539" y="1462"/>
                  </a:lnTo>
                  <a:lnTo>
                    <a:pt x="2536" y="1462"/>
                  </a:lnTo>
                  <a:lnTo>
                    <a:pt x="2532" y="1462"/>
                  </a:lnTo>
                  <a:lnTo>
                    <a:pt x="2526" y="1468"/>
                  </a:lnTo>
                  <a:lnTo>
                    <a:pt x="2526" y="1479"/>
                  </a:lnTo>
                  <a:lnTo>
                    <a:pt x="2524" y="1480"/>
                  </a:lnTo>
                  <a:lnTo>
                    <a:pt x="2523" y="1482"/>
                  </a:lnTo>
                  <a:lnTo>
                    <a:pt x="2522" y="1487"/>
                  </a:lnTo>
                  <a:lnTo>
                    <a:pt x="2522" y="1491"/>
                  </a:lnTo>
                  <a:lnTo>
                    <a:pt x="2520" y="1500"/>
                  </a:lnTo>
                  <a:lnTo>
                    <a:pt x="2520" y="1507"/>
                  </a:lnTo>
                  <a:lnTo>
                    <a:pt x="2515" y="1512"/>
                  </a:lnTo>
                  <a:lnTo>
                    <a:pt x="2509" y="1518"/>
                  </a:lnTo>
                  <a:lnTo>
                    <a:pt x="2496" y="1517"/>
                  </a:lnTo>
                  <a:lnTo>
                    <a:pt x="2481" y="1516"/>
                  </a:lnTo>
                  <a:lnTo>
                    <a:pt x="2467" y="1514"/>
                  </a:lnTo>
                  <a:lnTo>
                    <a:pt x="2453" y="1512"/>
                  </a:lnTo>
                  <a:lnTo>
                    <a:pt x="2452" y="1509"/>
                  </a:lnTo>
                  <a:lnTo>
                    <a:pt x="2448" y="1506"/>
                  </a:lnTo>
                  <a:lnTo>
                    <a:pt x="2447" y="1505"/>
                  </a:lnTo>
                  <a:lnTo>
                    <a:pt x="2444" y="1502"/>
                  </a:lnTo>
                  <a:lnTo>
                    <a:pt x="2443" y="1499"/>
                  </a:lnTo>
                  <a:lnTo>
                    <a:pt x="2442" y="1496"/>
                  </a:lnTo>
                  <a:lnTo>
                    <a:pt x="2439" y="1495"/>
                  </a:lnTo>
                  <a:lnTo>
                    <a:pt x="2436" y="1492"/>
                  </a:lnTo>
                  <a:lnTo>
                    <a:pt x="2432" y="1489"/>
                  </a:lnTo>
                  <a:lnTo>
                    <a:pt x="2432" y="1485"/>
                  </a:lnTo>
                  <a:lnTo>
                    <a:pt x="2421" y="1485"/>
                  </a:lnTo>
                  <a:lnTo>
                    <a:pt x="2419" y="1469"/>
                  </a:lnTo>
                  <a:lnTo>
                    <a:pt x="2415" y="1448"/>
                  </a:lnTo>
                  <a:lnTo>
                    <a:pt x="2411" y="1424"/>
                  </a:lnTo>
                  <a:lnTo>
                    <a:pt x="2410" y="1402"/>
                  </a:lnTo>
                  <a:lnTo>
                    <a:pt x="2404" y="1396"/>
                  </a:lnTo>
                  <a:lnTo>
                    <a:pt x="2399" y="1393"/>
                  </a:lnTo>
                  <a:lnTo>
                    <a:pt x="2393" y="1391"/>
                  </a:lnTo>
                  <a:lnTo>
                    <a:pt x="2393" y="1380"/>
                  </a:lnTo>
                  <a:lnTo>
                    <a:pt x="2388" y="1374"/>
                  </a:lnTo>
                  <a:lnTo>
                    <a:pt x="2376" y="1374"/>
                  </a:lnTo>
                  <a:lnTo>
                    <a:pt x="2371" y="1363"/>
                  </a:lnTo>
                  <a:lnTo>
                    <a:pt x="2364" y="1363"/>
                  </a:lnTo>
                  <a:lnTo>
                    <a:pt x="2357" y="1361"/>
                  </a:lnTo>
                  <a:lnTo>
                    <a:pt x="2350" y="1358"/>
                  </a:lnTo>
                  <a:lnTo>
                    <a:pt x="2343" y="1354"/>
                  </a:lnTo>
                  <a:lnTo>
                    <a:pt x="2326" y="1345"/>
                  </a:lnTo>
                  <a:lnTo>
                    <a:pt x="2309" y="1335"/>
                  </a:lnTo>
                  <a:lnTo>
                    <a:pt x="2294" y="1325"/>
                  </a:lnTo>
                  <a:lnTo>
                    <a:pt x="2277" y="1316"/>
                  </a:lnTo>
                  <a:lnTo>
                    <a:pt x="2269" y="1313"/>
                  </a:lnTo>
                  <a:lnTo>
                    <a:pt x="2263" y="1310"/>
                  </a:lnTo>
                  <a:lnTo>
                    <a:pt x="2256" y="1308"/>
                  </a:lnTo>
                  <a:lnTo>
                    <a:pt x="2249" y="1307"/>
                  </a:lnTo>
                  <a:lnTo>
                    <a:pt x="2240" y="1303"/>
                  </a:lnTo>
                  <a:lnTo>
                    <a:pt x="2227" y="1297"/>
                  </a:lnTo>
                  <a:lnTo>
                    <a:pt x="2226" y="1294"/>
                  </a:lnTo>
                  <a:lnTo>
                    <a:pt x="2225" y="1291"/>
                  </a:lnTo>
                  <a:lnTo>
                    <a:pt x="2221" y="1289"/>
                  </a:lnTo>
                  <a:lnTo>
                    <a:pt x="2218" y="1286"/>
                  </a:lnTo>
                  <a:lnTo>
                    <a:pt x="2210" y="1281"/>
                  </a:lnTo>
                  <a:lnTo>
                    <a:pt x="2204" y="1280"/>
                  </a:lnTo>
                  <a:lnTo>
                    <a:pt x="2199" y="1275"/>
                  </a:lnTo>
                  <a:lnTo>
                    <a:pt x="2198" y="1269"/>
                  </a:lnTo>
                  <a:lnTo>
                    <a:pt x="2196" y="1265"/>
                  </a:lnTo>
                  <a:lnTo>
                    <a:pt x="2191" y="1259"/>
                  </a:lnTo>
                  <a:lnTo>
                    <a:pt x="2184" y="1255"/>
                  </a:lnTo>
                  <a:lnTo>
                    <a:pt x="2177" y="1250"/>
                  </a:lnTo>
                  <a:lnTo>
                    <a:pt x="2168" y="1246"/>
                  </a:lnTo>
                  <a:lnTo>
                    <a:pt x="2158" y="1242"/>
                  </a:lnTo>
                  <a:lnTo>
                    <a:pt x="2146" y="1238"/>
                  </a:lnTo>
                  <a:lnTo>
                    <a:pt x="2121" y="1230"/>
                  </a:lnTo>
                  <a:lnTo>
                    <a:pt x="2091" y="1223"/>
                  </a:lnTo>
                  <a:lnTo>
                    <a:pt x="2059" y="1218"/>
                  </a:lnTo>
                  <a:lnTo>
                    <a:pt x="2026" y="1212"/>
                  </a:lnTo>
                  <a:lnTo>
                    <a:pt x="1958" y="1203"/>
                  </a:lnTo>
                  <a:lnTo>
                    <a:pt x="1895" y="1197"/>
                  </a:lnTo>
                  <a:lnTo>
                    <a:pt x="1844" y="1192"/>
                  </a:lnTo>
                  <a:lnTo>
                    <a:pt x="1812" y="1191"/>
                  </a:lnTo>
                  <a:lnTo>
                    <a:pt x="1808" y="1188"/>
                  </a:lnTo>
                  <a:lnTo>
                    <a:pt x="1800" y="1184"/>
                  </a:lnTo>
                  <a:lnTo>
                    <a:pt x="1796" y="1182"/>
                  </a:lnTo>
                  <a:lnTo>
                    <a:pt x="1793" y="1179"/>
                  </a:lnTo>
                  <a:lnTo>
                    <a:pt x="1790" y="1174"/>
                  </a:lnTo>
                  <a:lnTo>
                    <a:pt x="1789" y="1169"/>
                  </a:lnTo>
                  <a:lnTo>
                    <a:pt x="1784" y="1163"/>
                  </a:lnTo>
                  <a:lnTo>
                    <a:pt x="1772" y="1163"/>
                  </a:lnTo>
                  <a:lnTo>
                    <a:pt x="1772" y="1158"/>
                  </a:lnTo>
                  <a:lnTo>
                    <a:pt x="1771" y="1151"/>
                  </a:lnTo>
                  <a:lnTo>
                    <a:pt x="1771" y="1147"/>
                  </a:lnTo>
                  <a:lnTo>
                    <a:pt x="1770" y="1144"/>
                  </a:lnTo>
                  <a:lnTo>
                    <a:pt x="1769" y="1142"/>
                  </a:lnTo>
                  <a:lnTo>
                    <a:pt x="1767" y="1142"/>
                  </a:lnTo>
                  <a:lnTo>
                    <a:pt x="1767" y="1125"/>
                  </a:lnTo>
                  <a:lnTo>
                    <a:pt x="1764" y="1124"/>
                  </a:lnTo>
                  <a:lnTo>
                    <a:pt x="1762" y="1122"/>
                  </a:lnTo>
                  <a:lnTo>
                    <a:pt x="1761" y="1117"/>
                  </a:lnTo>
                  <a:lnTo>
                    <a:pt x="1761" y="1114"/>
                  </a:lnTo>
                  <a:lnTo>
                    <a:pt x="1759" y="1112"/>
                  </a:lnTo>
                  <a:lnTo>
                    <a:pt x="1754" y="1107"/>
                  </a:lnTo>
                  <a:lnTo>
                    <a:pt x="1748" y="1102"/>
                  </a:lnTo>
                  <a:lnTo>
                    <a:pt x="1745" y="1097"/>
                  </a:lnTo>
                  <a:lnTo>
                    <a:pt x="1740" y="1095"/>
                  </a:lnTo>
                  <a:lnTo>
                    <a:pt x="1735" y="1091"/>
                  </a:lnTo>
                  <a:lnTo>
                    <a:pt x="1730" y="1085"/>
                  </a:lnTo>
                  <a:lnTo>
                    <a:pt x="1728" y="1080"/>
                  </a:lnTo>
                  <a:lnTo>
                    <a:pt x="1723" y="1079"/>
                  </a:lnTo>
                  <a:lnTo>
                    <a:pt x="1717" y="1075"/>
                  </a:lnTo>
                  <a:lnTo>
                    <a:pt x="1710" y="1070"/>
                  </a:lnTo>
                  <a:lnTo>
                    <a:pt x="1702" y="1064"/>
                  </a:lnTo>
                  <a:lnTo>
                    <a:pt x="1694" y="1058"/>
                  </a:lnTo>
                  <a:lnTo>
                    <a:pt x="1687" y="1053"/>
                  </a:lnTo>
                  <a:lnTo>
                    <a:pt x="1680" y="1049"/>
                  </a:lnTo>
                  <a:lnTo>
                    <a:pt x="1673" y="1047"/>
                  </a:lnTo>
                  <a:lnTo>
                    <a:pt x="1671" y="1044"/>
                  </a:lnTo>
                  <a:lnTo>
                    <a:pt x="1666" y="1039"/>
                  </a:lnTo>
                  <a:lnTo>
                    <a:pt x="1659" y="1033"/>
                  </a:lnTo>
                  <a:lnTo>
                    <a:pt x="1651" y="1026"/>
                  </a:lnTo>
                  <a:lnTo>
                    <a:pt x="1635" y="1014"/>
                  </a:lnTo>
                  <a:lnTo>
                    <a:pt x="1628" y="1008"/>
                  </a:lnTo>
                  <a:lnTo>
                    <a:pt x="1628" y="998"/>
                  </a:lnTo>
                  <a:lnTo>
                    <a:pt x="1626" y="997"/>
                  </a:lnTo>
                  <a:lnTo>
                    <a:pt x="1625" y="993"/>
                  </a:lnTo>
                  <a:lnTo>
                    <a:pt x="1624" y="990"/>
                  </a:lnTo>
                  <a:lnTo>
                    <a:pt x="1624" y="986"/>
                  </a:lnTo>
                  <a:lnTo>
                    <a:pt x="1623" y="977"/>
                  </a:lnTo>
                  <a:lnTo>
                    <a:pt x="1623" y="970"/>
                  </a:lnTo>
                  <a:lnTo>
                    <a:pt x="1628" y="964"/>
                  </a:lnTo>
                  <a:lnTo>
                    <a:pt x="1640" y="964"/>
                  </a:lnTo>
                  <a:lnTo>
                    <a:pt x="1640" y="953"/>
                  </a:lnTo>
                  <a:lnTo>
                    <a:pt x="1651" y="953"/>
                  </a:lnTo>
                  <a:lnTo>
                    <a:pt x="1656" y="948"/>
                  </a:lnTo>
                  <a:lnTo>
                    <a:pt x="1659" y="942"/>
                  </a:lnTo>
                  <a:lnTo>
                    <a:pt x="1662" y="937"/>
                  </a:lnTo>
                  <a:lnTo>
                    <a:pt x="1666" y="935"/>
                  </a:lnTo>
                  <a:lnTo>
                    <a:pt x="1672" y="933"/>
                  </a:lnTo>
                  <a:lnTo>
                    <a:pt x="1674" y="931"/>
                  </a:lnTo>
                  <a:lnTo>
                    <a:pt x="1676" y="930"/>
                  </a:lnTo>
                  <a:lnTo>
                    <a:pt x="1678" y="928"/>
                  </a:lnTo>
                  <a:lnTo>
                    <a:pt x="1679" y="925"/>
                  </a:lnTo>
                  <a:lnTo>
                    <a:pt x="1823" y="903"/>
                  </a:lnTo>
                  <a:lnTo>
                    <a:pt x="1839" y="903"/>
                  </a:lnTo>
                  <a:lnTo>
                    <a:pt x="1842" y="901"/>
                  </a:lnTo>
                  <a:lnTo>
                    <a:pt x="1847" y="897"/>
                  </a:lnTo>
                  <a:lnTo>
                    <a:pt x="1855" y="894"/>
                  </a:lnTo>
                  <a:lnTo>
                    <a:pt x="1865" y="890"/>
                  </a:lnTo>
                  <a:lnTo>
                    <a:pt x="1885" y="884"/>
                  </a:lnTo>
                  <a:lnTo>
                    <a:pt x="1900" y="881"/>
                  </a:lnTo>
                  <a:lnTo>
                    <a:pt x="1911" y="875"/>
                  </a:lnTo>
                  <a:lnTo>
                    <a:pt x="1914" y="870"/>
                  </a:lnTo>
                  <a:lnTo>
                    <a:pt x="1916" y="864"/>
                  </a:lnTo>
                  <a:lnTo>
                    <a:pt x="1928" y="864"/>
                  </a:lnTo>
                  <a:lnTo>
                    <a:pt x="1930" y="858"/>
                  </a:lnTo>
                  <a:lnTo>
                    <a:pt x="1933" y="854"/>
                  </a:lnTo>
                  <a:lnTo>
                    <a:pt x="1949" y="851"/>
                  </a:lnTo>
                  <a:lnTo>
                    <a:pt x="1973" y="844"/>
                  </a:lnTo>
                  <a:lnTo>
                    <a:pt x="1986" y="839"/>
                  </a:lnTo>
                  <a:lnTo>
                    <a:pt x="1996" y="835"/>
                  </a:lnTo>
                  <a:lnTo>
                    <a:pt x="1999" y="833"/>
                  </a:lnTo>
                  <a:lnTo>
                    <a:pt x="2002" y="830"/>
                  </a:lnTo>
                  <a:lnTo>
                    <a:pt x="2005" y="828"/>
                  </a:lnTo>
                  <a:lnTo>
                    <a:pt x="2005" y="826"/>
                  </a:lnTo>
                  <a:lnTo>
                    <a:pt x="2038" y="826"/>
                  </a:lnTo>
                  <a:lnTo>
                    <a:pt x="2040" y="824"/>
                  </a:lnTo>
                  <a:lnTo>
                    <a:pt x="2044" y="820"/>
                  </a:lnTo>
                  <a:lnTo>
                    <a:pt x="2049" y="818"/>
                  </a:lnTo>
                  <a:lnTo>
                    <a:pt x="2056" y="815"/>
                  </a:lnTo>
                  <a:lnTo>
                    <a:pt x="2072" y="810"/>
                  </a:lnTo>
                  <a:lnTo>
                    <a:pt x="2083" y="809"/>
                  </a:lnTo>
                  <a:lnTo>
                    <a:pt x="2084" y="807"/>
                  </a:lnTo>
                  <a:lnTo>
                    <a:pt x="2086" y="804"/>
                  </a:lnTo>
                  <a:lnTo>
                    <a:pt x="2090" y="801"/>
                  </a:lnTo>
                  <a:lnTo>
                    <a:pt x="2094" y="799"/>
                  </a:lnTo>
                  <a:lnTo>
                    <a:pt x="2104" y="795"/>
                  </a:lnTo>
                  <a:lnTo>
                    <a:pt x="2111" y="793"/>
                  </a:lnTo>
                  <a:lnTo>
                    <a:pt x="2113" y="787"/>
                  </a:lnTo>
                  <a:lnTo>
                    <a:pt x="2116" y="781"/>
                  </a:lnTo>
                  <a:lnTo>
                    <a:pt x="2130" y="776"/>
                  </a:lnTo>
                  <a:lnTo>
                    <a:pt x="2144" y="770"/>
                  </a:lnTo>
                  <a:lnTo>
                    <a:pt x="2144" y="759"/>
                  </a:lnTo>
                  <a:lnTo>
                    <a:pt x="2152" y="757"/>
                  </a:lnTo>
                  <a:lnTo>
                    <a:pt x="2165" y="749"/>
                  </a:lnTo>
                  <a:lnTo>
                    <a:pt x="2172" y="746"/>
                  </a:lnTo>
                  <a:lnTo>
                    <a:pt x="2178" y="740"/>
                  </a:lnTo>
                  <a:lnTo>
                    <a:pt x="2181" y="736"/>
                  </a:lnTo>
                  <a:lnTo>
                    <a:pt x="2182" y="731"/>
                  </a:lnTo>
                  <a:lnTo>
                    <a:pt x="2191" y="729"/>
                  </a:lnTo>
                  <a:lnTo>
                    <a:pt x="2199" y="726"/>
                  </a:lnTo>
                  <a:lnTo>
                    <a:pt x="2204" y="720"/>
                  </a:lnTo>
                  <a:lnTo>
                    <a:pt x="2210" y="714"/>
                  </a:lnTo>
                  <a:lnTo>
                    <a:pt x="2216" y="710"/>
                  </a:lnTo>
                  <a:lnTo>
                    <a:pt x="2221" y="704"/>
                  </a:lnTo>
                  <a:lnTo>
                    <a:pt x="2221" y="695"/>
                  </a:lnTo>
                  <a:lnTo>
                    <a:pt x="2222" y="682"/>
                  </a:lnTo>
                  <a:lnTo>
                    <a:pt x="2222" y="676"/>
                  </a:lnTo>
                  <a:lnTo>
                    <a:pt x="2223" y="671"/>
                  </a:lnTo>
                  <a:lnTo>
                    <a:pt x="2225" y="666"/>
                  </a:lnTo>
                  <a:lnTo>
                    <a:pt x="2227" y="665"/>
                  </a:lnTo>
                  <a:lnTo>
                    <a:pt x="2222" y="661"/>
                  </a:lnTo>
                  <a:lnTo>
                    <a:pt x="2219" y="656"/>
                  </a:lnTo>
                  <a:lnTo>
                    <a:pt x="2217" y="651"/>
                  </a:lnTo>
                  <a:lnTo>
                    <a:pt x="2215" y="645"/>
                  </a:lnTo>
                  <a:lnTo>
                    <a:pt x="2211" y="633"/>
                  </a:lnTo>
                  <a:lnTo>
                    <a:pt x="2210" y="621"/>
                  </a:lnTo>
                  <a:lnTo>
                    <a:pt x="2193" y="621"/>
                  </a:lnTo>
                  <a:lnTo>
                    <a:pt x="2192" y="625"/>
                  </a:lnTo>
                  <a:lnTo>
                    <a:pt x="2190" y="628"/>
                  </a:lnTo>
                  <a:lnTo>
                    <a:pt x="2187" y="631"/>
                  </a:lnTo>
                  <a:lnTo>
                    <a:pt x="2182" y="632"/>
                  </a:lnTo>
                  <a:lnTo>
                    <a:pt x="2180" y="637"/>
                  </a:lnTo>
                  <a:lnTo>
                    <a:pt x="2177" y="643"/>
                  </a:lnTo>
                  <a:lnTo>
                    <a:pt x="2173" y="644"/>
                  </a:lnTo>
                  <a:lnTo>
                    <a:pt x="2169" y="646"/>
                  </a:lnTo>
                  <a:lnTo>
                    <a:pt x="2167" y="650"/>
                  </a:lnTo>
                  <a:lnTo>
                    <a:pt x="2165" y="654"/>
                  </a:lnTo>
                  <a:lnTo>
                    <a:pt x="2162" y="655"/>
                  </a:lnTo>
                  <a:lnTo>
                    <a:pt x="2158" y="658"/>
                  </a:lnTo>
                  <a:lnTo>
                    <a:pt x="2154" y="661"/>
                  </a:lnTo>
                  <a:lnTo>
                    <a:pt x="2151" y="665"/>
                  </a:lnTo>
                  <a:lnTo>
                    <a:pt x="2145" y="675"/>
                  </a:lnTo>
                  <a:lnTo>
                    <a:pt x="2144" y="682"/>
                  </a:lnTo>
                  <a:lnTo>
                    <a:pt x="2139" y="688"/>
                  </a:lnTo>
                  <a:lnTo>
                    <a:pt x="2127" y="688"/>
                  </a:lnTo>
                  <a:lnTo>
                    <a:pt x="2124" y="693"/>
                  </a:lnTo>
                  <a:lnTo>
                    <a:pt x="2122" y="699"/>
                  </a:lnTo>
                  <a:lnTo>
                    <a:pt x="2105" y="699"/>
                  </a:lnTo>
                  <a:lnTo>
                    <a:pt x="2104" y="700"/>
                  </a:lnTo>
                  <a:lnTo>
                    <a:pt x="2101" y="702"/>
                  </a:lnTo>
                  <a:lnTo>
                    <a:pt x="2096" y="703"/>
                  </a:lnTo>
                  <a:lnTo>
                    <a:pt x="2091" y="704"/>
                  </a:lnTo>
                  <a:lnTo>
                    <a:pt x="2076" y="707"/>
                  </a:lnTo>
                  <a:lnTo>
                    <a:pt x="2058" y="708"/>
                  </a:lnTo>
                  <a:lnTo>
                    <a:pt x="2023" y="709"/>
                  </a:lnTo>
                  <a:lnTo>
                    <a:pt x="1999" y="710"/>
                  </a:lnTo>
                  <a:lnTo>
                    <a:pt x="1998" y="708"/>
                  </a:lnTo>
                  <a:lnTo>
                    <a:pt x="1995" y="707"/>
                  </a:lnTo>
                  <a:lnTo>
                    <a:pt x="1989" y="705"/>
                  </a:lnTo>
                  <a:lnTo>
                    <a:pt x="1982" y="704"/>
                  </a:lnTo>
                  <a:lnTo>
                    <a:pt x="1969" y="704"/>
                  </a:lnTo>
                  <a:lnTo>
                    <a:pt x="1961" y="704"/>
                  </a:lnTo>
                  <a:lnTo>
                    <a:pt x="1960" y="701"/>
                  </a:lnTo>
                  <a:lnTo>
                    <a:pt x="1958" y="699"/>
                  </a:lnTo>
                  <a:lnTo>
                    <a:pt x="1953" y="699"/>
                  </a:lnTo>
                  <a:lnTo>
                    <a:pt x="1950" y="699"/>
                  </a:lnTo>
                  <a:lnTo>
                    <a:pt x="1889" y="688"/>
                  </a:lnTo>
                  <a:lnTo>
                    <a:pt x="1887" y="684"/>
                  </a:lnTo>
                  <a:lnTo>
                    <a:pt x="1885" y="682"/>
                  </a:lnTo>
                  <a:lnTo>
                    <a:pt x="1882" y="682"/>
                  </a:lnTo>
                  <a:lnTo>
                    <a:pt x="1877" y="682"/>
                  </a:lnTo>
                  <a:lnTo>
                    <a:pt x="1876" y="679"/>
                  </a:lnTo>
                  <a:lnTo>
                    <a:pt x="1874" y="676"/>
                  </a:lnTo>
                  <a:lnTo>
                    <a:pt x="1871" y="676"/>
                  </a:lnTo>
                  <a:lnTo>
                    <a:pt x="1866" y="676"/>
                  </a:lnTo>
                  <a:lnTo>
                    <a:pt x="1866" y="674"/>
                  </a:lnTo>
                  <a:lnTo>
                    <a:pt x="1863" y="673"/>
                  </a:lnTo>
                  <a:lnTo>
                    <a:pt x="1860" y="671"/>
                  </a:lnTo>
                  <a:lnTo>
                    <a:pt x="1855" y="670"/>
                  </a:lnTo>
                  <a:lnTo>
                    <a:pt x="1852" y="669"/>
                  </a:lnTo>
                  <a:lnTo>
                    <a:pt x="1848" y="666"/>
                  </a:lnTo>
                  <a:lnTo>
                    <a:pt x="1845" y="663"/>
                  </a:lnTo>
                  <a:lnTo>
                    <a:pt x="1845" y="660"/>
                  </a:lnTo>
                  <a:lnTo>
                    <a:pt x="1828" y="660"/>
                  </a:lnTo>
                  <a:lnTo>
                    <a:pt x="1820" y="656"/>
                  </a:lnTo>
                  <a:lnTo>
                    <a:pt x="1805" y="649"/>
                  </a:lnTo>
                  <a:lnTo>
                    <a:pt x="1786" y="641"/>
                  </a:lnTo>
                  <a:lnTo>
                    <a:pt x="1772" y="637"/>
                  </a:lnTo>
                  <a:lnTo>
                    <a:pt x="1771" y="634"/>
                  </a:lnTo>
                  <a:lnTo>
                    <a:pt x="1769" y="633"/>
                  </a:lnTo>
                  <a:lnTo>
                    <a:pt x="1766" y="632"/>
                  </a:lnTo>
                  <a:lnTo>
                    <a:pt x="1761" y="632"/>
                  </a:lnTo>
                  <a:lnTo>
                    <a:pt x="1760" y="628"/>
                  </a:lnTo>
                  <a:lnTo>
                    <a:pt x="1758" y="627"/>
                  </a:lnTo>
                  <a:lnTo>
                    <a:pt x="1755" y="626"/>
                  </a:lnTo>
                  <a:lnTo>
                    <a:pt x="1750" y="626"/>
                  </a:lnTo>
                  <a:lnTo>
                    <a:pt x="1749" y="624"/>
                  </a:lnTo>
                  <a:lnTo>
                    <a:pt x="1746" y="622"/>
                  </a:lnTo>
                  <a:lnTo>
                    <a:pt x="1740" y="621"/>
                  </a:lnTo>
                  <a:lnTo>
                    <a:pt x="1733" y="618"/>
                  </a:lnTo>
                  <a:lnTo>
                    <a:pt x="1717" y="614"/>
                  </a:lnTo>
                  <a:lnTo>
                    <a:pt x="1698" y="610"/>
                  </a:lnTo>
                  <a:lnTo>
                    <a:pt x="1679" y="605"/>
                  </a:lnTo>
                  <a:lnTo>
                    <a:pt x="1662" y="602"/>
                  </a:lnTo>
                  <a:lnTo>
                    <a:pt x="1655" y="599"/>
                  </a:lnTo>
                  <a:lnTo>
                    <a:pt x="1650" y="597"/>
                  </a:lnTo>
                  <a:lnTo>
                    <a:pt x="1646" y="595"/>
                  </a:lnTo>
                  <a:lnTo>
                    <a:pt x="1645" y="593"/>
                  </a:lnTo>
                  <a:lnTo>
                    <a:pt x="1628" y="593"/>
                  </a:lnTo>
                  <a:lnTo>
                    <a:pt x="1626" y="591"/>
                  </a:lnTo>
                  <a:lnTo>
                    <a:pt x="1622" y="587"/>
                  </a:lnTo>
                  <a:lnTo>
                    <a:pt x="1615" y="584"/>
                  </a:lnTo>
                  <a:lnTo>
                    <a:pt x="1607" y="580"/>
                  </a:lnTo>
                  <a:lnTo>
                    <a:pt x="1592" y="574"/>
                  </a:lnTo>
                  <a:lnTo>
                    <a:pt x="1578" y="570"/>
                  </a:lnTo>
                  <a:lnTo>
                    <a:pt x="1578" y="569"/>
                  </a:lnTo>
                  <a:lnTo>
                    <a:pt x="1577" y="568"/>
                  </a:lnTo>
                  <a:lnTo>
                    <a:pt x="1575" y="567"/>
                  </a:lnTo>
                  <a:lnTo>
                    <a:pt x="1573" y="566"/>
                  </a:lnTo>
                  <a:lnTo>
                    <a:pt x="1567" y="566"/>
                  </a:lnTo>
                  <a:lnTo>
                    <a:pt x="1561" y="565"/>
                  </a:lnTo>
                  <a:lnTo>
                    <a:pt x="1561" y="564"/>
                  </a:lnTo>
                  <a:lnTo>
                    <a:pt x="1560" y="563"/>
                  </a:lnTo>
                  <a:lnTo>
                    <a:pt x="1558" y="562"/>
                  </a:lnTo>
                  <a:lnTo>
                    <a:pt x="1556" y="560"/>
                  </a:lnTo>
                  <a:lnTo>
                    <a:pt x="1550" y="560"/>
                  </a:lnTo>
                  <a:lnTo>
                    <a:pt x="1546" y="560"/>
                  </a:lnTo>
                  <a:lnTo>
                    <a:pt x="1543" y="555"/>
                  </a:lnTo>
                  <a:lnTo>
                    <a:pt x="1540" y="549"/>
                  </a:lnTo>
                  <a:lnTo>
                    <a:pt x="1522" y="548"/>
                  </a:lnTo>
                  <a:lnTo>
                    <a:pt x="1503" y="546"/>
                  </a:lnTo>
                  <a:lnTo>
                    <a:pt x="1482" y="544"/>
                  </a:lnTo>
                  <a:lnTo>
                    <a:pt x="1462" y="540"/>
                  </a:lnTo>
                  <a:lnTo>
                    <a:pt x="1440" y="537"/>
                  </a:lnTo>
                  <a:lnTo>
                    <a:pt x="1419" y="535"/>
                  </a:lnTo>
                  <a:lnTo>
                    <a:pt x="1399" y="533"/>
                  </a:lnTo>
                  <a:lnTo>
                    <a:pt x="1380" y="533"/>
                  </a:lnTo>
                  <a:lnTo>
                    <a:pt x="1365" y="540"/>
                  </a:lnTo>
                  <a:lnTo>
                    <a:pt x="1352" y="549"/>
                  </a:lnTo>
                  <a:lnTo>
                    <a:pt x="1329" y="549"/>
                  </a:lnTo>
                  <a:lnTo>
                    <a:pt x="1329" y="550"/>
                  </a:lnTo>
                  <a:lnTo>
                    <a:pt x="1327" y="551"/>
                  </a:lnTo>
                  <a:lnTo>
                    <a:pt x="1326" y="553"/>
                  </a:lnTo>
                  <a:lnTo>
                    <a:pt x="1323" y="554"/>
                  </a:lnTo>
                  <a:lnTo>
                    <a:pt x="1318" y="554"/>
                  </a:lnTo>
                  <a:lnTo>
                    <a:pt x="1313" y="555"/>
                  </a:lnTo>
                  <a:lnTo>
                    <a:pt x="1313" y="556"/>
                  </a:lnTo>
                  <a:lnTo>
                    <a:pt x="1311" y="557"/>
                  </a:lnTo>
                  <a:lnTo>
                    <a:pt x="1309" y="558"/>
                  </a:lnTo>
                  <a:lnTo>
                    <a:pt x="1307" y="559"/>
                  </a:lnTo>
                  <a:lnTo>
                    <a:pt x="1301" y="559"/>
                  </a:lnTo>
                  <a:lnTo>
                    <a:pt x="1296" y="560"/>
                  </a:lnTo>
                  <a:lnTo>
                    <a:pt x="1295" y="556"/>
                  </a:lnTo>
                  <a:lnTo>
                    <a:pt x="1290" y="553"/>
                  </a:lnTo>
                  <a:lnTo>
                    <a:pt x="1287" y="549"/>
                  </a:lnTo>
                  <a:lnTo>
                    <a:pt x="1285" y="549"/>
                  </a:lnTo>
                  <a:lnTo>
                    <a:pt x="1285" y="538"/>
                  </a:lnTo>
                  <a:lnTo>
                    <a:pt x="1282" y="537"/>
                  </a:lnTo>
                  <a:lnTo>
                    <a:pt x="1281" y="536"/>
                  </a:lnTo>
                  <a:lnTo>
                    <a:pt x="1279" y="534"/>
                  </a:lnTo>
                  <a:lnTo>
                    <a:pt x="1277" y="531"/>
                  </a:lnTo>
                  <a:lnTo>
                    <a:pt x="1273" y="525"/>
                  </a:lnTo>
                  <a:lnTo>
                    <a:pt x="1270" y="517"/>
                  </a:lnTo>
                  <a:lnTo>
                    <a:pt x="1265" y="500"/>
                  </a:lnTo>
                  <a:lnTo>
                    <a:pt x="1263" y="488"/>
                  </a:lnTo>
                  <a:lnTo>
                    <a:pt x="1261" y="487"/>
                  </a:lnTo>
                  <a:lnTo>
                    <a:pt x="1259" y="486"/>
                  </a:lnTo>
                  <a:lnTo>
                    <a:pt x="1257" y="482"/>
                  </a:lnTo>
                  <a:lnTo>
                    <a:pt x="1256" y="479"/>
                  </a:lnTo>
                  <a:lnTo>
                    <a:pt x="1252" y="471"/>
                  </a:lnTo>
                  <a:lnTo>
                    <a:pt x="1252" y="466"/>
                  </a:lnTo>
                  <a:lnTo>
                    <a:pt x="1250" y="464"/>
                  </a:lnTo>
                  <a:lnTo>
                    <a:pt x="1248" y="462"/>
                  </a:lnTo>
                  <a:lnTo>
                    <a:pt x="1246" y="459"/>
                  </a:lnTo>
                  <a:lnTo>
                    <a:pt x="1244" y="454"/>
                  </a:lnTo>
                  <a:lnTo>
                    <a:pt x="1241" y="444"/>
                  </a:lnTo>
                  <a:lnTo>
                    <a:pt x="1241" y="438"/>
                  </a:lnTo>
                  <a:lnTo>
                    <a:pt x="1239" y="438"/>
                  </a:lnTo>
                  <a:lnTo>
                    <a:pt x="1237" y="437"/>
                  </a:lnTo>
                  <a:lnTo>
                    <a:pt x="1234" y="434"/>
                  </a:lnTo>
                  <a:lnTo>
                    <a:pt x="1232" y="431"/>
                  </a:lnTo>
                  <a:lnTo>
                    <a:pt x="1228" y="424"/>
                  </a:lnTo>
                  <a:lnTo>
                    <a:pt x="1224" y="415"/>
                  </a:lnTo>
                  <a:lnTo>
                    <a:pt x="1220" y="408"/>
                  </a:lnTo>
                  <a:lnTo>
                    <a:pt x="1215" y="401"/>
                  </a:lnTo>
                  <a:lnTo>
                    <a:pt x="1213" y="397"/>
                  </a:lnTo>
                  <a:lnTo>
                    <a:pt x="1212" y="395"/>
                  </a:lnTo>
                  <a:lnTo>
                    <a:pt x="1210" y="394"/>
                  </a:lnTo>
                  <a:lnTo>
                    <a:pt x="1208" y="394"/>
                  </a:lnTo>
                  <a:lnTo>
                    <a:pt x="1208" y="377"/>
                  </a:lnTo>
                  <a:lnTo>
                    <a:pt x="1205" y="376"/>
                  </a:lnTo>
                  <a:lnTo>
                    <a:pt x="1204" y="375"/>
                  </a:lnTo>
                  <a:lnTo>
                    <a:pt x="1202" y="374"/>
                  </a:lnTo>
                  <a:lnTo>
                    <a:pt x="1201" y="372"/>
                  </a:lnTo>
                  <a:lnTo>
                    <a:pt x="1199" y="366"/>
                  </a:lnTo>
                  <a:lnTo>
                    <a:pt x="1198" y="360"/>
                  </a:lnTo>
                  <a:lnTo>
                    <a:pt x="1196" y="344"/>
                  </a:lnTo>
                  <a:lnTo>
                    <a:pt x="1196" y="333"/>
                  </a:lnTo>
                  <a:lnTo>
                    <a:pt x="1185" y="288"/>
                  </a:lnTo>
                  <a:lnTo>
                    <a:pt x="1180" y="286"/>
                  </a:lnTo>
                  <a:lnTo>
                    <a:pt x="1174" y="283"/>
                  </a:lnTo>
                  <a:lnTo>
                    <a:pt x="1174" y="277"/>
                  </a:lnTo>
                  <a:lnTo>
                    <a:pt x="1173" y="271"/>
                  </a:lnTo>
                  <a:lnTo>
                    <a:pt x="1171" y="266"/>
                  </a:lnTo>
                  <a:lnTo>
                    <a:pt x="1169" y="261"/>
                  </a:lnTo>
                  <a:lnTo>
                    <a:pt x="1166" y="256"/>
                  </a:lnTo>
                  <a:lnTo>
                    <a:pt x="1165" y="250"/>
                  </a:lnTo>
                  <a:lnTo>
                    <a:pt x="1164" y="245"/>
                  </a:lnTo>
                  <a:lnTo>
                    <a:pt x="1163" y="239"/>
                  </a:lnTo>
                  <a:lnTo>
                    <a:pt x="1152" y="228"/>
                  </a:lnTo>
                  <a:lnTo>
                    <a:pt x="1152" y="223"/>
                  </a:lnTo>
                  <a:lnTo>
                    <a:pt x="1152" y="220"/>
                  </a:lnTo>
                  <a:lnTo>
                    <a:pt x="1150" y="218"/>
                  </a:lnTo>
                  <a:lnTo>
                    <a:pt x="1146" y="217"/>
                  </a:lnTo>
                  <a:lnTo>
                    <a:pt x="1141" y="200"/>
                  </a:lnTo>
                  <a:lnTo>
                    <a:pt x="1135" y="183"/>
                  </a:lnTo>
                  <a:lnTo>
                    <a:pt x="1129" y="181"/>
                  </a:lnTo>
                  <a:lnTo>
                    <a:pt x="1124" y="178"/>
                  </a:lnTo>
                  <a:lnTo>
                    <a:pt x="1118" y="166"/>
                  </a:lnTo>
                  <a:lnTo>
                    <a:pt x="1114" y="155"/>
                  </a:lnTo>
                  <a:lnTo>
                    <a:pt x="1109" y="152"/>
                  </a:lnTo>
                  <a:lnTo>
                    <a:pt x="1103" y="144"/>
                  </a:lnTo>
                  <a:lnTo>
                    <a:pt x="1095" y="134"/>
                  </a:lnTo>
                  <a:lnTo>
                    <a:pt x="1092" y="127"/>
                  </a:lnTo>
                  <a:lnTo>
                    <a:pt x="1052" y="89"/>
                  </a:lnTo>
                  <a:lnTo>
                    <a:pt x="1047" y="84"/>
                  </a:lnTo>
                  <a:lnTo>
                    <a:pt x="1036" y="84"/>
                  </a:lnTo>
                  <a:lnTo>
                    <a:pt x="1030" y="78"/>
                  </a:lnTo>
                  <a:lnTo>
                    <a:pt x="1028" y="73"/>
                  </a:lnTo>
                  <a:lnTo>
                    <a:pt x="1025" y="67"/>
                  </a:lnTo>
                  <a:lnTo>
                    <a:pt x="1011" y="64"/>
                  </a:lnTo>
                  <a:lnTo>
                    <a:pt x="997" y="62"/>
                  </a:lnTo>
                  <a:lnTo>
                    <a:pt x="993" y="58"/>
                  </a:lnTo>
                  <a:lnTo>
                    <a:pt x="982" y="54"/>
                  </a:lnTo>
                  <a:lnTo>
                    <a:pt x="968" y="48"/>
                  </a:lnTo>
                  <a:lnTo>
                    <a:pt x="950" y="43"/>
                  </a:lnTo>
                  <a:lnTo>
                    <a:pt x="917" y="33"/>
                  </a:lnTo>
                  <a:lnTo>
                    <a:pt x="903" y="28"/>
                  </a:lnTo>
                  <a:lnTo>
                    <a:pt x="900" y="22"/>
                  </a:lnTo>
                  <a:lnTo>
                    <a:pt x="897" y="17"/>
                  </a:lnTo>
                  <a:lnTo>
                    <a:pt x="881" y="17"/>
                  </a:lnTo>
                  <a:lnTo>
                    <a:pt x="867" y="9"/>
                  </a:lnTo>
                  <a:lnTo>
                    <a:pt x="853" y="0"/>
                  </a:lnTo>
                  <a:lnTo>
                    <a:pt x="787" y="0"/>
                  </a:lnTo>
                  <a:lnTo>
                    <a:pt x="786" y="2"/>
                  </a:lnTo>
                  <a:lnTo>
                    <a:pt x="783" y="3"/>
                  </a:lnTo>
                  <a:lnTo>
                    <a:pt x="781" y="5"/>
                  </a:lnTo>
                  <a:lnTo>
                    <a:pt x="778" y="6"/>
                  </a:lnTo>
                  <a:lnTo>
                    <a:pt x="770" y="6"/>
                  </a:lnTo>
                  <a:lnTo>
                    <a:pt x="764" y="6"/>
                  </a:lnTo>
                  <a:lnTo>
                    <a:pt x="763" y="8"/>
                  </a:lnTo>
                  <a:lnTo>
                    <a:pt x="761" y="9"/>
                  </a:lnTo>
                  <a:lnTo>
                    <a:pt x="759" y="10"/>
                  </a:lnTo>
                  <a:lnTo>
                    <a:pt x="756" y="11"/>
                  </a:lnTo>
                  <a:lnTo>
                    <a:pt x="748" y="11"/>
                  </a:lnTo>
                  <a:lnTo>
                    <a:pt x="742" y="11"/>
                  </a:lnTo>
                  <a:lnTo>
                    <a:pt x="741" y="15"/>
                  </a:lnTo>
                  <a:lnTo>
                    <a:pt x="739" y="17"/>
                  </a:lnTo>
                  <a:lnTo>
                    <a:pt x="735" y="17"/>
                  </a:lnTo>
                  <a:lnTo>
                    <a:pt x="731" y="17"/>
                  </a:lnTo>
                  <a:lnTo>
                    <a:pt x="729" y="22"/>
                  </a:lnTo>
                  <a:lnTo>
                    <a:pt x="725" y="28"/>
                  </a:lnTo>
                  <a:lnTo>
                    <a:pt x="720" y="31"/>
                  </a:lnTo>
                  <a:lnTo>
                    <a:pt x="714" y="34"/>
                  </a:lnTo>
                  <a:lnTo>
                    <a:pt x="714" y="45"/>
                  </a:lnTo>
                  <a:lnTo>
                    <a:pt x="713" y="51"/>
                  </a:lnTo>
                  <a:lnTo>
                    <a:pt x="709" y="67"/>
                  </a:lnTo>
                  <a:lnTo>
                    <a:pt x="705" y="85"/>
                  </a:lnTo>
                  <a:lnTo>
                    <a:pt x="703" y="95"/>
                  </a:lnTo>
                  <a:lnTo>
                    <a:pt x="702" y="96"/>
                  </a:lnTo>
                  <a:lnTo>
                    <a:pt x="700" y="98"/>
                  </a:lnTo>
                  <a:lnTo>
                    <a:pt x="699" y="102"/>
                  </a:lnTo>
                  <a:lnTo>
                    <a:pt x="697" y="106"/>
                  </a:lnTo>
                  <a:lnTo>
                    <a:pt x="695" y="110"/>
                  </a:lnTo>
                  <a:lnTo>
                    <a:pt x="693" y="113"/>
                  </a:lnTo>
                  <a:lnTo>
                    <a:pt x="691" y="116"/>
                  </a:lnTo>
                  <a:lnTo>
                    <a:pt x="686" y="117"/>
                  </a:lnTo>
                  <a:lnTo>
                    <a:pt x="686" y="127"/>
                  </a:lnTo>
                  <a:lnTo>
                    <a:pt x="683" y="128"/>
                  </a:lnTo>
                  <a:lnTo>
                    <a:pt x="678" y="132"/>
                  </a:lnTo>
                  <a:lnTo>
                    <a:pt x="675" y="135"/>
                  </a:lnTo>
                  <a:lnTo>
                    <a:pt x="672" y="140"/>
                  </a:lnTo>
                  <a:lnTo>
                    <a:pt x="666" y="149"/>
                  </a:lnTo>
                  <a:lnTo>
                    <a:pt x="665" y="155"/>
                  </a:lnTo>
                  <a:lnTo>
                    <a:pt x="654" y="161"/>
                  </a:lnTo>
                  <a:lnTo>
                    <a:pt x="654" y="172"/>
                  </a:lnTo>
                  <a:lnTo>
                    <a:pt x="648" y="178"/>
                  </a:lnTo>
                  <a:lnTo>
                    <a:pt x="643" y="183"/>
                  </a:lnTo>
                  <a:lnTo>
                    <a:pt x="637" y="187"/>
                  </a:lnTo>
                  <a:lnTo>
                    <a:pt x="632" y="189"/>
                  </a:lnTo>
                  <a:lnTo>
                    <a:pt x="632" y="200"/>
                  </a:lnTo>
                  <a:lnTo>
                    <a:pt x="628" y="203"/>
                  </a:lnTo>
                  <a:lnTo>
                    <a:pt x="626" y="214"/>
                  </a:lnTo>
                  <a:lnTo>
                    <a:pt x="622" y="229"/>
                  </a:lnTo>
                  <a:lnTo>
                    <a:pt x="618" y="247"/>
                  </a:lnTo>
                  <a:lnTo>
                    <a:pt x="612" y="281"/>
                  </a:lnTo>
                  <a:lnTo>
                    <a:pt x="609" y="305"/>
                  </a:lnTo>
                  <a:lnTo>
                    <a:pt x="607" y="330"/>
                  </a:lnTo>
                  <a:lnTo>
                    <a:pt x="604" y="357"/>
                  </a:lnTo>
                  <a:lnTo>
                    <a:pt x="600" y="384"/>
                  </a:lnTo>
                  <a:lnTo>
                    <a:pt x="598" y="411"/>
                  </a:lnTo>
                  <a:lnTo>
                    <a:pt x="605" y="416"/>
                  </a:lnTo>
                  <a:lnTo>
                    <a:pt x="614" y="424"/>
                  </a:lnTo>
                  <a:lnTo>
                    <a:pt x="623" y="432"/>
                  </a:lnTo>
                  <a:lnTo>
                    <a:pt x="626" y="438"/>
                  </a:lnTo>
                  <a:lnTo>
                    <a:pt x="632" y="443"/>
                  </a:lnTo>
                  <a:lnTo>
                    <a:pt x="643" y="443"/>
                  </a:lnTo>
                  <a:lnTo>
                    <a:pt x="645" y="450"/>
                  </a:lnTo>
                  <a:lnTo>
                    <a:pt x="651" y="457"/>
                  </a:lnTo>
                  <a:lnTo>
                    <a:pt x="656" y="463"/>
                  </a:lnTo>
                  <a:lnTo>
                    <a:pt x="660" y="466"/>
                  </a:lnTo>
                  <a:lnTo>
                    <a:pt x="660" y="477"/>
                  </a:lnTo>
                  <a:lnTo>
                    <a:pt x="661" y="478"/>
                  </a:lnTo>
                  <a:lnTo>
                    <a:pt x="662" y="479"/>
                  </a:lnTo>
                  <a:lnTo>
                    <a:pt x="663" y="480"/>
                  </a:lnTo>
                  <a:lnTo>
                    <a:pt x="664" y="483"/>
                  </a:lnTo>
                  <a:lnTo>
                    <a:pt x="664" y="489"/>
                  </a:lnTo>
                  <a:lnTo>
                    <a:pt x="665" y="493"/>
                  </a:lnTo>
                  <a:lnTo>
                    <a:pt x="662" y="495"/>
                  </a:lnTo>
                  <a:lnTo>
                    <a:pt x="660" y="497"/>
                  </a:lnTo>
                  <a:lnTo>
                    <a:pt x="657" y="501"/>
                  </a:lnTo>
                  <a:lnTo>
                    <a:pt x="654" y="506"/>
                  </a:lnTo>
                  <a:lnTo>
                    <a:pt x="649" y="515"/>
                  </a:lnTo>
                  <a:lnTo>
                    <a:pt x="648" y="521"/>
                  </a:lnTo>
                  <a:lnTo>
                    <a:pt x="643" y="527"/>
                  </a:lnTo>
                  <a:lnTo>
                    <a:pt x="623" y="527"/>
                  </a:lnTo>
                  <a:lnTo>
                    <a:pt x="601" y="528"/>
                  </a:lnTo>
                  <a:lnTo>
                    <a:pt x="579" y="528"/>
                  </a:lnTo>
                  <a:lnTo>
                    <a:pt x="556" y="529"/>
                  </a:lnTo>
                  <a:lnTo>
                    <a:pt x="532" y="530"/>
                  </a:lnTo>
                  <a:lnTo>
                    <a:pt x="509" y="531"/>
                  </a:lnTo>
                  <a:lnTo>
                    <a:pt x="486" y="533"/>
                  </a:lnTo>
                  <a:lnTo>
                    <a:pt x="465" y="533"/>
                  </a:lnTo>
                  <a:lnTo>
                    <a:pt x="464" y="534"/>
                  </a:lnTo>
                  <a:lnTo>
                    <a:pt x="463" y="536"/>
                  </a:lnTo>
                  <a:lnTo>
                    <a:pt x="462" y="536"/>
                  </a:lnTo>
                  <a:lnTo>
                    <a:pt x="459" y="537"/>
                  </a:lnTo>
                  <a:lnTo>
                    <a:pt x="453" y="538"/>
                  </a:lnTo>
                  <a:lnTo>
                    <a:pt x="449" y="538"/>
                  </a:lnTo>
                  <a:lnTo>
                    <a:pt x="446" y="544"/>
                  </a:lnTo>
                  <a:lnTo>
                    <a:pt x="443" y="549"/>
                  </a:lnTo>
                  <a:lnTo>
                    <a:pt x="438" y="549"/>
                  </a:lnTo>
                  <a:lnTo>
                    <a:pt x="433" y="549"/>
                  </a:lnTo>
                  <a:lnTo>
                    <a:pt x="431" y="550"/>
                  </a:lnTo>
                  <a:lnTo>
                    <a:pt x="428" y="551"/>
                  </a:lnTo>
                  <a:lnTo>
                    <a:pt x="427" y="553"/>
                  </a:lnTo>
                  <a:lnTo>
                    <a:pt x="426" y="555"/>
                  </a:lnTo>
                  <a:lnTo>
                    <a:pt x="409" y="555"/>
                  </a:lnTo>
                  <a:lnTo>
                    <a:pt x="409" y="556"/>
                  </a:lnTo>
                  <a:lnTo>
                    <a:pt x="407" y="557"/>
                  </a:lnTo>
                  <a:lnTo>
                    <a:pt x="404" y="558"/>
                  </a:lnTo>
                  <a:lnTo>
                    <a:pt x="401" y="559"/>
                  </a:lnTo>
                  <a:lnTo>
                    <a:pt x="394" y="559"/>
                  </a:lnTo>
                  <a:lnTo>
                    <a:pt x="387" y="560"/>
                  </a:lnTo>
                  <a:lnTo>
                    <a:pt x="379" y="563"/>
                  </a:lnTo>
                  <a:lnTo>
                    <a:pt x="358" y="566"/>
                  </a:lnTo>
                  <a:lnTo>
                    <a:pt x="327" y="569"/>
                  </a:lnTo>
                  <a:lnTo>
                    <a:pt x="291" y="573"/>
                  </a:lnTo>
                  <a:lnTo>
                    <a:pt x="254" y="576"/>
                  </a:lnTo>
                  <a:lnTo>
                    <a:pt x="222" y="579"/>
                  </a:lnTo>
                  <a:lnTo>
                    <a:pt x="196" y="582"/>
                  </a:lnTo>
                  <a:lnTo>
                    <a:pt x="183" y="582"/>
                  </a:lnTo>
                  <a:lnTo>
                    <a:pt x="177" y="584"/>
                  </a:lnTo>
                  <a:lnTo>
                    <a:pt x="163" y="586"/>
                  </a:lnTo>
                  <a:lnTo>
                    <a:pt x="143" y="588"/>
                  </a:lnTo>
                  <a:lnTo>
                    <a:pt x="119" y="589"/>
                  </a:lnTo>
                  <a:lnTo>
                    <a:pt x="70" y="592"/>
                  </a:lnTo>
                  <a:lnTo>
                    <a:pt x="39" y="593"/>
                  </a:lnTo>
                  <a:lnTo>
                    <a:pt x="36" y="598"/>
                  </a:lnTo>
                  <a:lnTo>
                    <a:pt x="33" y="604"/>
                  </a:lnTo>
                  <a:lnTo>
                    <a:pt x="22" y="604"/>
                  </a:lnTo>
                  <a:lnTo>
                    <a:pt x="20" y="608"/>
                  </a:lnTo>
                  <a:lnTo>
                    <a:pt x="13" y="618"/>
                  </a:lnTo>
                  <a:lnTo>
                    <a:pt x="10" y="623"/>
                  </a:lnTo>
                  <a:lnTo>
                    <a:pt x="5" y="627"/>
                  </a:lnTo>
                  <a:lnTo>
                    <a:pt x="2" y="631"/>
                  </a:lnTo>
                  <a:lnTo>
                    <a:pt x="0" y="632"/>
                  </a:lnTo>
                  <a:lnTo>
                    <a:pt x="5" y="742"/>
                  </a:lnTo>
                  <a:lnTo>
                    <a:pt x="8" y="743"/>
                  </a:lnTo>
                  <a:lnTo>
                    <a:pt x="9" y="746"/>
                  </a:lnTo>
                  <a:lnTo>
                    <a:pt x="10" y="750"/>
                  </a:lnTo>
                  <a:lnTo>
                    <a:pt x="10" y="755"/>
                  </a:lnTo>
                  <a:lnTo>
                    <a:pt x="11" y="764"/>
                  </a:lnTo>
                  <a:lnTo>
                    <a:pt x="11" y="770"/>
                  </a:lnTo>
                  <a:lnTo>
                    <a:pt x="14" y="771"/>
                  </a:lnTo>
                  <a:lnTo>
                    <a:pt x="17" y="774"/>
                  </a:lnTo>
                  <a:lnTo>
                    <a:pt x="19" y="777"/>
                  </a:lnTo>
                  <a:lnTo>
                    <a:pt x="21" y="781"/>
                  </a:lnTo>
                  <a:lnTo>
                    <a:pt x="23" y="793"/>
                  </a:lnTo>
                  <a:lnTo>
                    <a:pt x="25" y="806"/>
                  </a:lnTo>
                  <a:lnTo>
                    <a:pt x="28" y="834"/>
                  </a:lnTo>
                  <a:lnTo>
                    <a:pt x="28" y="854"/>
                  </a:lnTo>
                  <a:lnTo>
                    <a:pt x="30" y="854"/>
                  </a:lnTo>
                  <a:lnTo>
                    <a:pt x="32" y="855"/>
                  </a:lnTo>
                  <a:lnTo>
                    <a:pt x="33" y="857"/>
                  </a:lnTo>
                  <a:lnTo>
                    <a:pt x="36" y="860"/>
                  </a:lnTo>
                  <a:lnTo>
                    <a:pt x="38" y="865"/>
                  </a:lnTo>
                  <a:lnTo>
                    <a:pt x="39" y="870"/>
                  </a:lnTo>
                  <a:lnTo>
                    <a:pt x="53" y="873"/>
                  </a:lnTo>
                  <a:lnTo>
                    <a:pt x="72" y="875"/>
                  </a:lnTo>
                  <a:lnTo>
                    <a:pt x="84" y="881"/>
                  </a:lnTo>
                  <a:lnTo>
                    <a:pt x="99" y="886"/>
                  </a:lnTo>
                  <a:lnTo>
                    <a:pt x="99" y="897"/>
                  </a:lnTo>
                  <a:lnTo>
                    <a:pt x="101" y="899"/>
                  </a:lnTo>
                  <a:lnTo>
                    <a:pt x="104" y="901"/>
                  </a:lnTo>
                  <a:lnTo>
                    <a:pt x="106" y="903"/>
                  </a:lnTo>
                  <a:lnTo>
                    <a:pt x="107" y="906"/>
                  </a:lnTo>
                  <a:lnTo>
                    <a:pt x="109" y="914"/>
                  </a:lnTo>
                  <a:lnTo>
                    <a:pt x="110" y="920"/>
                  </a:lnTo>
                  <a:lnTo>
                    <a:pt x="121" y="925"/>
                  </a:lnTo>
                  <a:lnTo>
                    <a:pt x="121" y="937"/>
                  </a:lnTo>
                  <a:lnTo>
                    <a:pt x="125" y="943"/>
                  </a:lnTo>
                  <a:lnTo>
                    <a:pt x="130" y="959"/>
                  </a:lnTo>
                  <a:lnTo>
                    <a:pt x="136" y="982"/>
                  </a:lnTo>
                  <a:lnTo>
                    <a:pt x="143" y="1008"/>
                  </a:lnTo>
                  <a:lnTo>
                    <a:pt x="155" y="1058"/>
                  </a:lnTo>
                  <a:lnTo>
                    <a:pt x="161" y="1080"/>
                  </a:lnTo>
                  <a:lnTo>
                    <a:pt x="163" y="1083"/>
                  </a:lnTo>
                  <a:lnTo>
                    <a:pt x="167" y="1088"/>
                  </a:lnTo>
                  <a:lnTo>
                    <a:pt x="172" y="1095"/>
                  </a:lnTo>
                  <a:lnTo>
                    <a:pt x="177" y="1097"/>
                  </a:lnTo>
                  <a:lnTo>
                    <a:pt x="177" y="1114"/>
                  </a:lnTo>
                  <a:lnTo>
                    <a:pt x="178" y="1114"/>
                  </a:lnTo>
                  <a:lnTo>
                    <a:pt x="181" y="1115"/>
                  </a:lnTo>
                  <a:lnTo>
                    <a:pt x="182" y="1117"/>
                  </a:lnTo>
                  <a:lnTo>
                    <a:pt x="182" y="1120"/>
                  </a:lnTo>
                  <a:lnTo>
                    <a:pt x="183" y="1125"/>
                  </a:lnTo>
                  <a:lnTo>
                    <a:pt x="183" y="1131"/>
                  </a:lnTo>
                  <a:lnTo>
                    <a:pt x="188" y="1136"/>
                  </a:lnTo>
                  <a:lnTo>
                    <a:pt x="194" y="1139"/>
                  </a:lnTo>
                  <a:lnTo>
                    <a:pt x="200" y="1142"/>
                  </a:lnTo>
                  <a:lnTo>
                    <a:pt x="200" y="1153"/>
                  </a:lnTo>
                  <a:lnTo>
                    <a:pt x="203" y="1153"/>
                  </a:lnTo>
                  <a:lnTo>
                    <a:pt x="206" y="1156"/>
                  </a:lnTo>
                  <a:lnTo>
                    <a:pt x="210" y="1160"/>
                  </a:lnTo>
                  <a:lnTo>
                    <a:pt x="212" y="1164"/>
                  </a:lnTo>
                  <a:lnTo>
                    <a:pt x="215" y="1173"/>
                  </a:lnTo>
                  <a:lnTo>
                    <a:pt x="216" y="1180"/>
                  </a:lnTo>
                  <a:lnTo>
                    <a:pt x="217" y="1181"/>
                  </a:lnTo>
                  <a:lnTo>
                    <a:pt x="220" y="1182"/>
                  </a:lnTo>
                  <a:lnTo>
                    <a:pt x="222" y="1185"/>
                  </a:lnTo>
                  <a:lnTo>
                    <a:pt x="223" y="1189"/>
                  </a:lnTo>
                  <a:lnTo>
                    <a:pt x="226" y="1198"/>
                  </a:lnTo>
                  <a:lnTo>
                    <a:pt x="229" y="1209"/>
                  </a:lnTo>
                  <a:lnTo>
                    <a:pt x="234" y="1229"/>
                  </a:lnTo>
                  <a:lnTo>
                    <a:pt x="238" y="1241"/>
                  </a:lnTo>
                  <a:lnTo>
                    <a:pt x="238" y="1258"/>
                  </a:lnTo>
                  <a:lnTo>
                    <a:pt x="252" y="1257"/>
                  </a:lnTo>
                  <a:lnTo>
                    <a:pt x="278" y="1255"/>
                  </a:lnTo>
                  <a:lnTo>
                    <a:pt x="307" y="1253"/>
                  </a:lnTo>
                  <a:lnTo>
                    <a:pt x="327" y="1252"/>
                  </a:lnTo>
                  <a:lnTo>
                    <a:pt x="329" y="1259"/>
                  </a:lnTo>
                  <a:lnTo>
                    <a:pt x="332" y="1267"/>
                  </a:lnTo>
                  <a:lnTo>
                    <a:pt x="332" y="1266"/>
                  </a:lnTo>
                  <a:lnTo>
                    <a:pt x="332" y="1264"/>
                  </a:lnTo>
                  <a:lnTo>
                    <a:pt x="344" y="1264"/>
                  </a:lnTo>
                  <a:lnTo>
                    <a:pt x="348" y="1258"/>
                  </a:lnTo>
                  <a:lnTo>
                    <a:pt x="355" y="1252"/>
                  </a:lnTo>
                  <a:lnTo>
                    <a:pt x="360" y="1249"/>
                  </a:lnTo>
                  <a:lnTo>
                    <a:pt x="366" y="1247"/>
                  </a:lnTo>
                  <a:lnTo>
                    <a:pt x="366" y="1252"/>
                  </a:lnTo>
                  <a:lnTo>
                    <a:pt x="382" y="1255"/>
                  </a:lnTo>
                  <a:lnTo>
                    <a:pt x="393" y="1258"/>
                  </a:lnTo>
                  <a:lnTo>
                    <a:pt x="398" y="1264"/>
                  </a:lnTo>
                  <a:lnTo>
                    <a:pt x="398" y="1275"/>
                  </a:lnTo>
                  <a:lnTo>
                    <a:pt x="404" y="1280"/>
                  </a:lnTo>
                  <a:lnTo>
                    <a:pt x="409" y="1281"/>
                  </a:lnTo>
                  <a:lnTo>
                    <a:pt x="415" y="1284"/>
                  </a:lnTo>
                  <a:lnTo>
                    <a:pt x="417" y="1285"/>
                  </a:lnTo>
                  <a:lnTo>
                    <a:pt x="420" y="1287"/>
                  </a:lnTo>
                  <a:lnTo>
                    <a:pt x="421" y="1289"/>
                  </a:lnTo>
                  <a:lnTo>
                    <a:pt x="421" y="1291"/>
                  </a:lnTo>
                  <a:lnTo>
                    <a:pt x="425" y="1291"/>
                  </a:lnTo>
                  <a:lnTo>
                    <a:pt x="428" y="1291"/>
                  </a:lnTo>
                  <a:lnTo>
                    <a:pt x="431" y="1294"/>
                  </a:lnTo>
                  <a:lnTo>
                    <a:pt x="432" y="1297"/>
                  </a:lnTo>
                  <a:lnTo>
                    <a:pt x="437" y="1297"/>
                  </a:lnTo>
                  <a:lnTo>
                    <a:pt x="442" y="1297"/>
                  </a:lnTo>
                  <a:lnTo>
                    <a:pt x="445" y="1298"/>
                  </a:lnTo>
                  <a:lnTo>
                    <a:pt x="446" y="1299"/>
                  </a:lnTo>
                  <a:lnTo>
                    <a:pt x="449" y="1300"/>
                  </a:lnTo>
                  <a:lnTo>
                    <a:pt x="449" y="1301"/>
                  </a:lnTo>
                  <a:lnTo>
                    <a:pt x="456" y="1304"/>
                  </a:lnTo>
                  <a:lnTo>
                    <a:pt x="468" y="1308"/>
                  </a:lnTo>
                  <a:lnTo>
                    <a:pt x="473" y="1310"/>
                  </a:lnTo>
                  <a:lnTo>
                    <a:pt x="478" y="1314"/>
                  </a:lnTo>
                  <a:lnTo>
                    <a:pt x="481" y="1316"/>
                  </a:lnTo>
                  <a:lnTo>
                    <a:pt x="482" y="1318"/>
                  </a:lnTo>
                  <a:lnTo>
                    <a:pt x="493" y="1319"/>
                  </a:lnTo>
                  <a:lnTo>
                    <a:pt x="507" y="1322"/>
                  </a:lnTo>
                  <a:lnTo>
                    <a:pt x="520" y="1324"/>
                  </a:lnTo>
                  <a:lnTo>
                    <a:pt x="536" y="1327"/>
                  </a:lnTo>
                  <a:lnTo>
                    <a:pt x="551" y="1330"/>
                  </a:lnTo>
                  <a:lnTo>
                    <a:pt x="568" y="1333"/>
                  </a:lnTo>
                  <a:lnTo>
                    <a:pt x="584" y="1335"/>
                  </a:lnTo>
                  <a:lnTo>
                    <a:pt x="598" y="1335"/>
                  </a:lnTo>
                  <a:lnTo>
                    <a:pt x="606" y="1327"/>
                  </a:lnTo>
                  <a:lnTo>
                    <a:pt x="615" y="1318"/>
                  </a:lnTo>
                  <a:lnTo>
                    <a:pt x="626" y="1318"/>
                  </a:lnTo>
                  <a:lnTo>
                    <a:pt x="632" y="1313"/>
                  </a:lnTo>
                  <a:lnTo>
                    <a:pt x="632" y="1301"/>
                  </a:lnTo>
                  <a:lnTo>
                    <a:pt x="643" y="1297"/>
                  </a:lnTo>
                  <a:lnTo>
                    <a:pt x="643" y="1291"/>
                  </a:lnTo>
                  <a:lnTo>
                    <a:pt x="643" y="1286"/>
                  </a:lnTo>
                  <a:lnTo>
                    <a:pt x="644" y="1284"/>
                  </a:lnTo>
                  <a:lnTo>
                    <a:pt x="645" y="1281"/>
                  </a:lnTo>
                  <a:lnTo>
                    <a:pt x="646" y="1280"/>
                  </a:lnTo>
                  <a:lnTo>
                    <a:pt x="648" y="1280"/>
                  </a:lnTo>
                  <a:lnTo>
                    <a:pt x="648" y="1264"/>
                  </a:lnTo>
                  <a:lnTo>
                    <a:pt x="649" y="1262"/>
                  </a:lnTo>
                  <a:lnTo>
                    <a:pt x="654" y="1260"/>
                  </a:lnTo>
                  <a:lnTo>
                    <a:pt x="657" y="1256"/>
                  </a:lnTo>
                  <a:lnTo>
                    <a:pt x="660" y="1252"/>
                  </a:lnTo>
                  <a:lnTo>
                    <a:pt x="663" y="1252"/>
                  </a:lnTo>
                  <a:lnTo>
                    <a:pt x="666" y="1251"/>
                  </a:lnTo>
                  <a:lnTo>
                    <a:pt x="670" y="1250"/>
                  </a:lnTo>
                  <a:lnTo>
                    <a:pt x="671" y="1247"/>
                  </a:lnTo>
                  <a:lnTo>
                    <a:pt x="674" y="1247"/>
                  </a:lnTo>
                  <a:lnTo>
                    <a:pt x="677" y="1246"/>
                  </a:lnTo>
                  <a:lnTo>
                    <a:pt x="681" y="1245"/>
                  </a:lnTo>
                  <a:lnTo>
                    <a:pt x="681" y="1241"/>
                  </a:lnTo>
                  <a:lnTo>
                    <a:pt x="685" y="1241"/>
                  </a:lnTo>
                  <a:lnTo>
                    <a:pt x="689" y="1240"/>
                  </a:lnTo>
                  <a:lnTo>
                    <a:pt x="692" y="1239"/>
                  </a:lnTo>
                  <a:lnTo>
                    <a:pt x="692" y="1236"/>
                  </a:lnTo>
                  <a:lnTo>
                    <a:pt x="709" y="1236"/>
                  </a:lnTo>
                  <a:lnTo>
                    <a:pt x="735" y="1235"/>
                  </a:lnTo>
                  <a:lnTo>
                    <a:pt x="748" y="1235"/>
                  </a:lnTo>
                  <a:lnTo>
                    <a:pt x="759" y="1233"/>
                  </a:lnTo>
                  <a:lnTo>
                    <a:pt x="767" y="1232"/>
                  </a:lnTo>
                  <a:lnTo>
                    <a:pt x="770" y="1230"/>
                  </a:lnTo>
                  <a:lnTo>
                    <a:pt x="781" y="1230"/>
                  </a:lnTo>
                  <a:lnTo>
                    <a:pt x="781" y="1226"/>
                  </a:lnTo>
                  <a:lnTo>
                    <a:pt x="781" y="1220"/>
                  </a:lnTo>
                  <a:lnTo>
                    <a:pt x="782" y="1218"/>
                  </a:lnTo>
                  <a:lnTo>
                    <a:pt x="783" y="1216"/>
                  </a:lnTo>
                  <a:lnTo>
                    <a:pt x="785" y="1214"/>
                  </a:lnTo>
                  <a:lnTo>
                    <a:pt x="787" y="1213"/>
                  </a:lnTo>
                  <a:lnTo>
                    <a:pt x="787" y="1202"/>
                  </a:lnTo>
                  <a:lnTo>
                    <a:pt x="788" y="1200"/>
                  </a:lnTo>
                  <a:lnTo>
                    <a:pt x="790" y="1194"/>
                  </a:lnTo>
                  <a:lnTo>
                    <a:pt x="793" y="1191"/>
                  </a:lnTo>
                  <a:lnTo>
                    <a:pt x="796" y="1189"/>
                  </a:lnTo>
                  <a:lnTo>
                    <a:pt x="799" y="1187"/>
                  </a:lnTo>
                  <a:lnTo>
                    <a:pt x="804" y="1185"/>
                  </a:lnTo>
                  <a:lnTo>
                    <a:pt x="809" y="1174"/>
                  </a:lnTo>
                  <a:lnTo>
                    <a:pt x="809" y="1163"/>
                  </a:lnTo>
                  <a:lnTo>
                    <a:pt x="817" y="1164"/>
                  </a:lnTo>
                  <a:lnTo>
                    <a:pt x="830" y="1164"/>
                  </a:lnTo>
                  <a:lnTo>
                    <a:pt x="837" y="1165"/>
                  </a:lnTo>
                  <a:lnTo>
                    <a:pt x="843" y="1166"/>
                  </a:lnTo>
                  <a:lnTo>
                    <a:pt x="846" y="1168"/>
                  </a:lnTo>
                  <a:lnTo>
                    <a:pt x="847" y="1169"/>
                  </a:lnTo>
                  <a:lnTo>
                    <a:pt x="858" y="1169"/>
                  </a:lnTo>
                  <a:lnTo>
                    <a:pt x="864" y="1174"/>
                  </a:lnTo>
                  <a:lnTo>
                    <a:pt x="865" y="1180"/>
                  </a:lnTo>
                  <a:lnTo>
                    <a:pt x="867" y="1185"/>
                  </a:lnTo>
                  <a:lnTo>
                    <a:pt x="869" y="1188"/>
                  </a:lnTo>
                  <a:lnTo>
                    <a:pt x="871" y="1190"/>
                  </a:lnTo>
                  <a:lnTo>
                    <a:pt x="873" y="1191"/>
                  </a:lnTo>
                  <a:lnTo>
                    <a:pt x="875" y="1191"/>
                  </a:lnTo>
                  <a:lnTo>
                    <a:pt x="876" y="1222"/>
                  </a:lnTo>
                  <a:lnTo>
                    <a:pt x="878" y="1255"/>
                  </a:lnTo>
                  <a:lnTo>
                    <a:pt x="879" y="1286"/>
                  </a:lnTo>
                  <a:lnTo>
                    <a:pt x="881" y="1313"/>
                  </a:lnTo>
                  <a:lnTo>
                    <a:pt x="892" y="1324"/>
                  </a:lnTo>
                  <a:lnTo>
                    <a:pt x="892" y="1335"/>
                  </a:lnTo>
                  <a:lnTo>
                    <a:pt x="896" y="1338"/>
                  </a:lnTo>
                  <a:lnTo>
                    <a:pt x="902" y="1344"/>
                  </a:lnTo>
                  <a:lnTo>
                    <a:pt x="906" y="1349"/>
                  </a:lnTo>
                  <a:lnTo>
                    <a:pt x="908" y="1352"/>
                  </a:lnTo>
                  <a:lnTo>
                    <a:pt x="931" y="1352"/>
                  </a:lnTo>
                  <a:lnTo>
                    <a:pt x="954" y="1351"/>
                  </a:lnTo>
                  <a:lnTo>
                    <a:pt x="977" y="1351"/>
                  </a:lnTo>
                  <a:lnTo>
                    <a:pt x="1000" y="1349"/>
                  </a:lnTo>
                  <a:lnTo>
                    <a:pt x="1022" y="1348"/>
                  </a:lnTo>
                  <a:lnTo>
                    <a:pt x="1046" y="1347"/>
                  </a:lnTo>
                  <a:lnTo>
                    <a:pt x="1068" y="1346"/>
                  </a:lnTo>
                  <a:lnTo>
                    <a:pt x="1092" y="1346"/>
                  </a:lnTo>
                  <a:lnTo>
                    <a:pt x="1094" y="1352"/>
                  </a:lnTo>
                  <a:lnTo>
                    <a:pt x="1097" y="1357"/>
                  </a:lnTo>
                  <a:lnTo>
                    <a:pt x="1103" y="1360"/>
                  </a:lnTo>
                  <a:lnTo>
                    <a:pt x="1109" y="1364"/>
                  </a:lnTo>
                  <a:lnTo>
                    <a:pt x="1113" y="1366"/>
                  </a:lnTo>
                  <a:lnTo>
                    <a:pt x="1116" y="1370"/>
                  </a:lnTo>
                  <a:lnTo>
                    <a:pt x="1118" y="1372"/>
                  </a:lnTo>
                  <a:lnTo>
                    <a:pt x="1118" y="1374"/>
                  </a:lnTo>
                  <a:lnTo>
                    <a:pt x="1127" y="1376"/>
                  </a:lnTo>
                  <a:lnTo>
                    <a:pt x="1135" y="1380"/>
                  </a:lnTo>
                  <a:lnTo>
                    <a:pt x="1141" y="1385"/>
                  </a:lnTo>
                  <a:lnTo>
                    <a:pt x="1146" y="1391"/>
                  </a:lnTo>
                  <a:lnTo>
                    <a:pt x="1152" y="1396"/>
                  </a:lnTo>
                  <a:lnTo>
                    <a:pt x="1157" y="1402"/>
                  </a:lnTo>
                  <a:lnTo>
                    <a:pt x="1157" y="1405"/>
                  </a:lnTo>
                  <a:lnTo>
                    <a:pt x="1159" y="1410"/>
                  </a:lnTo>
                  <a:lnTo>
                    <a:pt x="1160" y="1412"/>
                  </a:lnTo>
                  <a:lnTo>
                    <a:pt x="1163" y="1413"/>
                  </a:lnTo>
                  <a:lnTo>
                    <a:pt x="1163" y="1424"/>
                  </a:lnTo>
                  <a:lnTo>
                    <a:pt x="1174" y="1430"/>
                  </a:lnTo>
                  <a:lnTo>
                    <a:pt x="1174" y="1441"/>
                  </a:lnTo>
                  <a:lnTo>
                    <a:pt x="1179" y="1444"/>
                  </a:lnTo>
                  <a:lnTo>
                    <a:pt x="1182" y="1450"/>
                  </a:lnTo>
                  <a:lnTo>
                    <a:pt x="1184" y="1455"/>
                  </a:lnTo>
                  <a:lnTo>
                    <a:pt x="1185" y="1462"/>
                  </a:lnTo>
                  <a:lnTo>
                    <a:pt x="1202" y="1473"/>
                  </a:lnTo>
                  <a:lnTo>
                    <a:pt x="1219" y="1485"/>
                  </a:lnTo>
                  <a:lnTo>
                    <a:pt x="1227" y="1491"/>
                  </a:lnTo>
                  <a:lnTo>
                    <a:pt x="1244" y="1507"/>
                  </a:lnTo>
                  <a:lnTo>
                    <a:pt x="1263" y="1522"/>
                  </a:lnTo>
                  <a:lnTo>
                    <a:pt x="1273" y="1529"/>
                  </a:lnTo>
                  <a:lnTo>
                    <a:pt x="1275" y="1535"/>
                  </a:lnTo>
                  <a:lnTo>
                    <a:pt x="1278" y="1540"/>
                  </a:lnTo>
                  <a:lnTo>
                    <a:pt x="1282" y="1546"/>
                  </a:lnTo>
                  <a:lnTo>
                    <a:pt x="1288" y="1550"/>
                  </a:lnTo>
                  <a:lnTo>
                    <a:pt x="1292" y="1555"/>
                  </a:lnTo>
                  <a:lnTo>
                    <a:pt x="1297" y="1559"/>
                  </a:lnTo>
                  <a:lnTo>
                    <a:pt x="1300" y="1564"/>
                  </a:lnTo>
                  <a:lnTo>
                    <a:pt x="1301" y="1568"/>
                  </a:lnTo>
                  <a:lnTo>
                    <a:pt x="1313" y="1574"/>
                  </a:lnTo>
                  <a:lnTo>
                    <a:pt x="1324" y="1579"/>
                  </a:lnTo>
                  <a:lnTo>
                    <a:pt x="1325" y="1583"/>
                  </a:lnTo>
                  <a:lnTo>
                    <a:pt x="1327" y="1587"/>
                  </a:lnTo>
                  <a:lnTo>
                    <a:pt x="1330" y="1592"/>
                  </a:lnTo>
                  <a:lnTo>
                    <a:pt x="1335" y="1596"/>
                  </a:lnTo>
                  <a:lnTo>
                    <a:pt x="1346" y="1596"/>
                  </a:lnTo>
                  <a:lnTo>
                    <a:pt x="1348" y="1601"/>
                  </a:lnTo>
                  <a:lnTo>
                    <a:pt x="1352" y="1606"/>
                  </a:lnTo>
                  <a:lnTo>
                    <a:pt x="1363" y="1612"/>
                  </a:lnTo>
                  <a:lnTo>
                    <a:pt x="1363" y="1656"/>
                  </a:lnTo>
                  <a:lnTo>
                    <a:pt x="1361" y="1657"/>
                  </a:lnTo>
                  <a:lnTo>
                    <a:pt x="1359" y="1660"/>
                  </a:lnTo>
                  <a:lnTo>
                    <a:pt x="1358" y="1662"/>
                  </a:lnTo>
                  <a:lnTo>
                    <a:pt x="1357" y="1665"/>
                  </a:lnTo>
                  <a:lnTo>
                    <a:pt x="1357" y="1673"/>
                  </a:lnTo>
                  <a:lnTo>
                    <a:pt x="1357" y="1679"/>
                  </a:lnTo>
                  <a:lnTo>
                    <a:pt x="1352" y="1684"/>
                  </a:lnTo>
                  <a:lnTo>
                    <a:pt x="1346" y="1690"/>
                  </a:lnTo>
                  <a:lnTo>
                    <a:pt x="1340" y="1695"/>
                  </a:lnTo>
                  <a:lnTo>
                    <a:pt x="1335" y="1701"/>
                  </a:lnTo>
                  <a:lnTo>
                    <a:pt x="1324" y="1701"/>
                  </a:lnTo>
                  <a:lnTo>
                    <a:pt x="1318" y="1714"/>
                  </a:lnTo>
                  <a:lnTo>
                    <a:pt x="1313" y="1723"/>
                  </a:lnTo>
                  <a:lnTo>
                    <a:pt x="1313" y="1772"/>
                  </a:lnTo>
                  <a:lnTo>
                    <a:pt x="1451" y="1772"/>
                  </a:lnTo>
                  <a:lnTo>
                    <a:pt x="1460" y="1781"/>
                  </a:lnTo>
                  <a:lnTo>
                    <a:pt x="1468" y="1789"/>
                  </a:lnTo>
                  <a:lnTo>
                    <a:pt x="1482" y="1791"/>
                  </a:lnTo>
                  <a:lnTo>
                    <a:pt x="1502" y="1795"/>
                  </a:lnTo>
                  <a:lnTo>
                    <a:pt x="1508" y="1795"/>
                  </a:lnTo>
                  <a:lnTo>
                    <a:pt x="1512" y="1794"/>
                  </a:lnTo>
                  <a:lnTo>
                    <a:pt x="1517" y="1794"/>
                  </a:lnTo>
                  <a:lnTo>
                    <a:pt x="1521" y="1791"/>
                  </a:lnTo>
                  <a:lnTo>
                    <a:pt x="1524" y="1789"/>
                  </a:lnTo>
                  <a:lnTo>
                    <a:pt x="1527" y="1787"/>
                  </a:lnTo>
                  <a:lnTo>
                    <a:pt x="1528" y="1784"/>
                  </a:lnTo>
                  <a:lnTo>
                    <a:pt x="1529" y="1778"/>
                  </a:lnTo>
                  <a:lnTo>
                    <a:pt x="1546" y="1779"/>
                  </a:lnTo>
                  <a:lnTo>
                    <a:pt x="1561" y="1781"/>
                  </a:lnTo>
                  <a:lnTo>
                    <a:pt x="1578" y="1782"/>
                  </a:lnTo>
                  <a:lnTo>
                    <a:pt x="1595" y="1784"/>
                  </a:lnTo>
                  <a:lnTo>
                    <a:pt x="1596" y="1786"/>
                  </a:lnTo>
                  <a:lnTo>
                    <a:pt x="1596" y="1788"/>
                  </a:lnTo>
                  <a:lnTo>
                    <a:pt x="1598" y="1789"/>
                  </a:lnTo>
                  <a:lnTo>
                    <a:pt x="1601" y="1790"/>
                  </a:lnTo>
                  <a:lnTo>
                    <a:pt x="1606" y="1793"/>
                  </a:lnTo>
                  <a:lnTo>
                    <a:pt x="1615" y="1794"/>
                  </a:lnTo>
                  <a:lnTo>
                    <a:pt x="1635" y="1796"/>
                  </a:lnTo>
                  <a:lnTo>
                    <a:pt x="1659" y="1795"/>
                  </a:lnTo>
                  <a:lnTo>
                    <a:pt x="1706" y="1791"/>
                  </a:lnTo>
                  <a:lnTo>
                    <a:pt x="1733" y="1789"/>
                  </a:lnTo>
                  <a:lnTo>
                    <a:pt x="1735" y="1787"/>
                  </a:lnTo>
                  <a:lnTo>
                    <a:pt x="1738" y="1785"/>
                  </a:lnTo>
                  <a:lnTo>
                    <a:pt x="1742" y="1781"/>
                  </a:lnTo>
                  <a:lnTo>
                    <a:pt x="1748" y="1779"/>
                  </a:lnTo>
                  <a:lnTo>
                    <a:pt x="1759" y="1775"/>
                  </a:lnTo>
                  <a:lnTo>
                    <a:pt x="1767" y="1772"/>
                  </a:lnTo>
                  <a:lnTo>
                    <a:pt x="1768" y="1769"/>
                  </a:lnTo>
                  <a:lnTo>
                    <a:pt x="1770" y="1766"/>
                  </a:lnTo>
                  <a:lnTo>
                    <a:pt x="1775" y="1762"/>
                  </a:lnTo>
                  <a:lnTo>
                    <a:pt x="1779" y="1760"/>
                  </a:lnTo>
                  <a:lnTo>
                    <a:pt x="1788" y="1757"/>
                  </a:lnTo>
                  <a:lnTo>
                    <a:pt x="1795" y="1756"/>
                  </a:lnTo>
                  <a:lnTo>
                    <a:pt x="1796" y="1752"/>
                  </a:lnTo>
                  <a:lnTo>
                    <a:pt x="1798" y="1749"/>
                  </a:lnTo>
                  <a:lnTo>
                    <a:pt x="1802" y="1746"/>
                  </a:lnTo>
                  <a:lnTo>
                    <a:pt x="1806" y="1745"/>
                  </a:lnTo>
                  <a:lnTo>
                    <a:pt x="1806" y="1741"/>
                  </a:lnTo>
                  <a:lnTo>
                    <a:pt x="1806" y="1738"/>
                  </a:lnTo>
                  <a:lnTo>
                    <a:pt x="1808" y="1735"/>
                  </a:lnTo>
                  <a:lnTo>
                    <a:pt x="1812" y="1735"/>
                  </a:lnTo>
                  <a:lnTo>
                    <a:pt x="1812" y="1723"/>
                  </a:lnTo>
                  <a:lnTo>
                    <a:pt x="1817" y="1718"/>
                  </a:lnTo>
                  <a:lnTo>
                    <a:pt x="1823" y="1717"/>
                  </a:lnTo>
                  <a:lnTo>
                    <a:pt x="1828" y="1716"/>
                  </a:lnTo>
                  <a:lnTo>
                    <a:pt x="1834" y="1714"/>
                  </a:lnTo>
                  <a:lnTo>
                    <a:pt x="1839" y="1712"/>
                  </a:lnTo>
                  <a:lnTo>
                    <a:pt x="1844" y="1710"/>
                  </a:lnTo>
                  <a:lnTo>
                    <a:pt x="1850" y="1708"/>
                  </a:lnTo>
                  <a:lnTo>
                    <a:pt x="1855" y="1707"/>
                  </a:lnTo>
                  <a:lnTo>
                    <a:pt x="1861" y="1707"/>
                  </a:lnTo>
                  <a:lnTo>
                    <a:pt x="1866" y="1702"/>
                  </a:lnTo>
                  <a:lnTo>
                    <a:pt x="1872" y="1699"/>
                  </a:lnTo>
                  <a:lnTo>
                    <a:pt x="1879" y="1697"/>
                  </a:lnTo>
                  <a:lnTo>
                    <a:pt x="1883" y="1695"/>
                  </a:lnTo>
                  <a:lnTo>
                    <a:pt x="1890" y="1697"/>
                  </a:lnTo>
                  <a:lnTo>
                    <a:pt x="1894" y="1697"/>
                  </a:lnTo>
                  <a:lnTo>
                    <a:pt x="1900" y="1697"/>
                  </a:lnTo>
                  <a:lnTo>
                    <a:pt x="1903" y="1695"/>
                  </a:lnTo>
                  <a:lnTo>
                    <a:pt x="1906" y="1695"/>
                  </a:lnTo>
                  <a:lnTo>
                    <a:pt x="1909" y="1697"/>
                  </a:lnTo>
                  <a:lnTo>
                    <a:pt x="1911" y="1698"/>
                  </a:lnTo>
                  <a:lnTo>
                    <a:pt x="1911" y="1701"/>
                  </a:lnTo>
                  <a:lnTo>
                    <a:pt x="1920" y="1701"/>
                  </a:lnTo>
                  <a:lnTo>
                    <a:pt x="1935" y="1701"/>
                  </a:lnTo>
                  <a:lnTo>
                    <a:pt x="1943" y="1702"/>
                  </a:lnTo>
                  <a:lnTo>
                    <a:pt x="1949" y="1703"/>
                  </a:lnTo>
                  <a:lnTo>
                    <a:pt x="1953" y="1704"/>
                  </a:lnTo>
                  <a:lnTo>
                    <a:pt x="1956" y="1707"/>
                  </a:lnTo>
                  <a:lnTo>
                    <a:pt x="1967" y="1707"/>
                  </a:lnTo>
                  <a:lnTo>
                    <a:pt x="1972" y="1712"/>
                  </a:lnTo>
                  <a:lnTo>
                    <a:pt x="1972" y="1723"/>
                  </a:lnTo>
                  <a:lnTo>
                    <a:pt x="1976" y="1723"/>
                  </a:lnTo>
                  <a:lnTo>
                    <a:pt x="1979" y="1726"/>
                  </a:lnTo>
                  <a:lnTo>
                    <a:pt x="1982" y="1729"/>
                  </a:lnTo>
                  <a:lnTo>
                    <a:pt x="1985" y="1732"/>
                  </a:lnTo>
                  <a:lnTo>
                    <a:pt x="1988" y="1739"/>
                  </a:lnTo>
                  <a:lnTo>
                    <a:pt x="1989" y="1745"/>
                  </a:lnTo>
                  <a:lnTo>
                    <a:pt x="1995" y="1748"/>
                  </a:lnTo>
                  <a:lnTo>
                    <a:pt x="1999" y="1750"/>
                  </a:lnTo>
                  <a:lnTo>
                    <a:pt x="2005" y="1756"/>
                  </a:lnTo>
                  <a:lnTo>
                    <a:pt x="2010" y="1761"/>
                  </a:lnTo>
                  <a:lnTo>
                    <a:pt x="2010" y="1772"/>
                  </a:lnTo>
                  <a:lnTo>
                    <a:pt x="2015" y="1776"/>
                  </a:lnTo>
                  <a:lnTo>
                    <a:pt x="2019" y="1781"/>
                  </a:lnTo>
                  <a:lnTo>
                    <a:pt x="2023" y="1784"/>
                  </a:lnTo>
                  <a:lnTo>
                    <a:pt x="2026" y="1787"/>
                  </a:lnTo>
                  <a:lnTo>
                    <a:pt x="2029" y="1789"/>
                  </a:lnTo>
                  <a:lnTo>
                    <a:pt x="2033" y="1789"/>
                  </a:lnTo>
                  <a:lnTo>
                    <a:pt x="2036" y="1795"/>
                  </a:lnTo>
                  <a:lnTo>
                    <a:pt x="2038" y="1800"/>
                  </a:lnTo>
                  <a:lnTo>
                    <a:pt x="2043" y="1801"/>
                  </a:lnTo>
                  <a:lnTo>
                    <a:pt x="2046" y="1804"/>
                  </a:lnTo>
                  <a:lnTo>
                    <a:pt x="2048" y="1807"/>
                  </a:lnTo>
                  <a:lnTo>
                    <a:pt x="2049" y="1812"/>
                  </a:lnTo>
                  <a:lnTo>
                    <a:pt x="2055" y="1812"/>
                  </a:lnTo>
                  <a:lnTo>
                    <a:pt x="2059" y="1813"/>
                  </a:lnTo>
                  <a:lnTo>
                    <a:pt x="2063" y="1813"/>
                  </a:lnTo>
                  <a:lnTo>
                    <a:pt x="2064" y="1814"/>
                  </a:lnTo>
                  <a:lnTo>
                    <a:pt x="2066" y="1815"/>
                  </a:lnTo>
                  <a:lnTo>
                    <a:pt x="2066" y="1817"/>
                  </a:lnTo>
                  <a:lnTo>
                    <a:pt x="2071" y="1817"/>
                  </a:lnTo>
                  <a:lnTo>
                    <a:pt x="2074" y="1818"/>
                  </a:lnTo>
                  <a:lnTo>
                    <a:pt x="2076" y="1819"/>
                  </a:lnTo>
                  <a:lnTo>
                    <a:pt x="2077" y="1823"/>
                  </a:lnTo>
                  <a:lnTo>
                    <a:pt x="2111" y="1823"/>
                  </a:lnTo>
                  <a:lnTo>
                    <a:pt x="2163" y="1824"/>
                  </a:lnTo>
                  <a:lnTo>
                    <a:pt x="2189" y="1824"/>
                  </a:lnTo>
                  <a:lnTo>
                    <a:pt x="2211" y="1825"/>
                  </a:lnTo>
                  <a:lnTo>
                    <a:pt x="2227" y="1826"/>
                  </a:lnTo>
                  <a:lnTo>
                    <a:pt x="2232" y="1828"/>
                  </a:lnTo>
                  <a:lnTo>
                    <a:pt x="2266" y="1829"/>
                  </a:lnTo>
                  <a:lnTo>
                    <a:pt x="2300" y="1830"/>
                  </a:lnTo>
                  <a:lnTo>
                    <a:pt x="2336" y="1834"/>
                  </a:lnTo>
                  <a:lnTo>
                    <a:pt x="2372" y="1836"/>
                  </a:lnTo>
                  <a:lnTo>
                    <a:pt x="2409" y="1839"/>
                  </a:lnTo>
                  <a:lnTo>
                    <a:pt x="2446" y="1842"/>
                  </a:lnTo>
                  <a:lnTo>
                    <a:pt x="2482" y="1844"/>
                  </a:lnTo>
                  <a:lnTo>
                    <a:pt x="2520" y="1845"/>
                  </a:lnTo>
                  <a:lnTo>
                    <a:pt x="2532" y="1851"/>
                  </a:lnTo>
                  <a:lnTo>
                    <a:pt x="2548" y="1856"/>
                  </a:lnTo>
                  <a:lnTo>
                    <a:pt x="2559" y="1867"/>
                  </a:lnTo>
                  <a:lnTo>
                    <a:pt x="2571" y="1878"/>
                  </a:lnTo>
                  <a:lnTo>
                    <a:pt x="2582" y="1884"/>
                  </a:lnTo>
                  <a:lnTo>
                    <a:pt x="2597" y="1890"/>
                  </a:lnTo>
                  <a:lnTo>
                    <a:pt x="2601" y="1894"/>
                  </a:lnTo>
                  <a:lnTo>
                    <a:pt x="2603" y="1900"/>
                  </a:lnTo>
                  <a:lnTo>
                    <a:pt x="2620" y="1909"/>
                  </a:lnTo>
                  <a:lnTo>
                    <a:pt x="2637" y="1916"/>
                  </a:lnTo>
                  <a:lnTo>
                    <a:pt x="2638" y="1921"/>
                  </a:lnTo>
                  <a:lnTo>
                    <a:pt x="2639" y="1923"/>
                  </a:lnTo>
                  <a:lnTo>
                    <a:pt x="2640" y="1925"/>
                  </a:lnTo>
                  <a:lnTo>
                    <a:pt x="2642" y="1928"/>
                  </a:lnTo>
                  <a:lnTo>
                    <a:pt x="2647" y="1930"/>
                  </a:lnTo>
                  <a:lnTo>
                    <a:pt x="2648" y="1933"/>
                  </a:lnTo>
                  <a:lnTo>
                    <a:pt x="2669" y="1939"/>
                  </a:lnTo>
                  <a:lnTo>
                    <a:pt x="2715" y="1948"/>
                  </a:lnTo>
                  <a:lnTo>
                    <a:pt x="2738" y="1951"/>
                  </a:lnTo>
                  <a:lnTo>
                    <a:pt x="2760" y="1952"/>
                  </a:lnTo>
                  <a:lnTo>
                    <a:pt x="2768" y="1952"/>
                  </a:lnTo>
                  <a:lnTo>
                    <a:pt x="2775" y="1950"/>
                  </a:lnTo>
                  <a:lnTo>
                    <a:pt x="2777" y="1950"/>
                  </a:lnTo>
                  <a:lnTo>
                    <a:pt x="2779" y="1948"/>
                  </a:lnTo>
                  <a:lnTo>
                    <a:pt x="2781" y="1947"/>
                  </a:lnTo>
                  <a:lnTo>
                    <a:pt x="2781" y="1944"/>
                  </a:lnTo>
                  <a:lnTo>
                    <a:pt x="2789" y="1944"/>
                  </a:lnTo>
                  <a:lnTo>
                    <a:pt x="2797" y="1944"/>
                  </a:lnTo>
                  <a:lnTo>
                    <a:pt x="2803" y="1939"/>
                  </a:lnTo>
                  <a:lnTo>
                    <a:pt x="2803" y="1928"/>
                  </a:lnTo>
                  <a:lnTo>
                    <a:pt x="2805" y="1928"/>
                  </a:lnTo>
                  <a:lnTo>
                    <a:pt x="2807" y="1925"/>
                  </a:lnTo>
                  <a:lnTo>
                    <a:pt x="2811" y="1922"/>
                  </a:lnTo>
                  <a:lnTo>
                    <a:pt x="2813" y="1919"/>
                  </a:lnTo>
                  <a:lnTo>
                    <a:pt x="2817" y="1912"/>
                  </a:lnTo>
                  <a:lnTo>
                    <a:pt x="2820" y="1905"/>
                  </a:lnTo>
                  <a:lnTo>
                    <a:pt x="2843" y="1905"/>
                  </a:lnTo>
                  <a:lnTo>
                    <a:pt x="2869" y="1903"/>
                  </a:lnTo>
                  <a:lnTo>
                    <a:pt x="2893" y="1901"/>
                  </a:lnTo>
                  <a:lnTo>
                    <a:pt x="2913" y="1900"/>
                  </a:lnTo>
                  <a:lnTo>
                    <a:pt x="2925" y="1890"/>
                  </a:lnTo>
                  <a:lnTo>
                    <a:pt x="2936" y="1878"/>
                  </a:lnTo>
                  <a:lnTo>
                    <a:pt x="2946" y="1878"/>
                  </a:lnTo>
                  <a:lnTo>
                    <a:pt x="2962" y="1878"/>
                  </a:lnTo>
                  <a:lnTo>
                    <a:pt x="2971" y="1880"/>
                  </a:lnTo>
                  <a:lnTo>
                    <a:pt x="2979" y="1881"/>
                  </a:lnTo>
                  <a:lnTo>
                    <a:pt x="2984" y="1882"/>
                  </a:lnTo>
                  <a:lnTo>
                    <a:pt x="2986" y="1884"/>
                  </a:lnTo>
                  <a:lnTo>
                    <a:pt x="2993" y="1884"/>
                  </a:lnTo>
                  <a:lnTo>
                    <a:pt x="3010" y="188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3" name="Freeform 26">
              <a:extLst>
                <a:ext uri="{FF2B5EF4-FFF2-40B4-BE49-F238E27FC236}">
                  <a16:creationId xmlns:a16="http://schemas.microsoft.com/office/drawing/2014/main" id="{F3C39A71-E12C-401A-ADEE-BC0999F5EFD6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919913" y="3576638"/>
              <a:ext cx="454025" cy="344794"/>
            </a:xfrm>
            <a:custGeom>
              <a:avLst/>
              <a:gdLst/>
              <a:ahLst/>
              <a:cxnLst>
                <a:cxn ang="0">
                  <a:pos x="1313" y="105"/>
                </a:cxn>
                <a:cxn ang="0">
                  <a:pos x="1311" y="208"/>
                </a:cxn>
                <a:cxn ang="0">
                  <a:pos x="1326" y="300"/>
                </a:cxn>
                <a:cxn ang="0">
                  <a:pos x="1294" y="365"/>
                </a:cxn>
                <a:cxn ang="0">
                  <a:pos x="1482" y="569"/>
                </a:cxn>
                <a:cxn ang="0">
                  <a:pos x="1661" y="702"/>
                </a:cxn>
                <a:cxn ang="0">
                  <a:pos x="1744" y="764"/>
                </a:cxn>
                <a:cxn ang="0">
                  <a:pos x="1764" y="811"/>
                </a:cxn>
                <a:cxn ang="0">
                  <a:pos x="1644" y="863"/>
                </a:cxn>
                <a:cxn ang="0">
                  <a:pos x="1616" y="1013"/>
                </a:cxn>
                <a:cxn ang="0">
                  <a:pos x="1669" y="1123"/>
                </a:cxn>
                <a:cxn ang="0">
                  <a:pos x="1871" y="1201"/>
                </a:cxn>
                <a:cxn ang="0">
                  <a:pos x="2039" y="1219"/>
                </a:cxn>
                <a:cxn ang="0">
                  <a:pos x="2139" y="1155"/>
                </a:cxn>
                <a:cxn ang="0">
                  <a:pos x="2326" y="1134"/>
                </a:cxn>
                <a:cxn ang="0">
                  <a:pos x="2476" y="1082"/>
                </a:cxn>
                <a:cxn ang="0">
                  <a:pos x="2475" y="1116"/>
                </a:cxn>
                <a:cxn ang="0">
                  <a:pos x="2421" y="1162"/>
                </a:cxn>
                <a:cxn ang="0">
                  <a:pos x="2387" y="1331"/>
                </a:cxn>
                <a:cxn ang="0">
                  <a:pos x="2372" y="1368"/>
                </a:cxn>
                <a:cxn ang="0">
                  <a:pos x="2407" y="1556"/>
                </a:cxn>
                <a:cxn ang="0">
                  <a:pos x="2430" y="1701"/>
                </a:cxn>
                <a:cxn ang="0">
                  <a:pos x="2382" y="1740"/>
                </a:cxn>
                <a:cxn ang="0">
                  <a:pos x="2297" y="1782"/>
                </a:cxn>
                <a:cxn ang="0">
                  <a:pos x="2253" y="1815"/>
                </a:cxn>
                <a:cxn ang="0">
                  <a:pos x="2227" y="1842"/>
                </a:cxn>
                <a:cxn ang="0">
                  <a:pos x="2176" y="1910"/>
                </a:cxn>
                <a:cxn ang="0">
                  <a:pos x="2173" y="1984"/>
                </a:cxn>
                <a:cxn ang="0">
                  <a:pos x="2014" y="2003"/>
                </a:cxn>
                <a:cxn ang="0">
                  <a:pos x="1911" y="2091"/>
                </a:cxn>
                <a:cxn ang="0">
                  <a:pos x="1759" y="2024"/>
                </a:cxn>
                <a:cxn ang="0">
                  <a:pos x="1652" y="2044"/>
                </a:cxn>
                <a:cxn ang="0">
                  <a:pos x="1495" y="2118"/>
                </a:cxn>
                <a:cxn ang="0">
                  <a:pos x="1374" y="2137"/>
                </a:cxn>
                <a:cxn ang="0">
                  <a:pos x="1351" y="1996"/>
                </a:cxn>
                <a:cxn ang="0">
                  <a:pos x="1268" y="1971"/>
                </a:cxn>
                <a:cxn ang="0">
                  <a:pos x="1200" y="1817"/>
                </a:cxn>
                <a:cxn ang="0">
                  <a:pos x="1195" y="1597"/>
                </a:cxn>
                <a:cxn ang="0">
                  <a:pos x="1134" y="1616"/>
                </a:cxn>
                <a:cxn ang="0">
                  <a:pos x="1057" y="1676"/>
                </a:cxn>
                <a:cxn ang="0">
                  <a:pos x="1059" y="1917"/>
                </a:cxn>
                <a:cxn ang="0">
                  <a:pos x="955" y="2073"/>
                </a:cxn>
                <a:cxn ang="0">
                  <a:pos x="806" y="2146"/>
                </a:cxn>
                <a:cxn ang="0">
                  <a:pos x="694" y="1963"/>
                </a:cxn>
                <a:cxn ang="0">
                  <a:pos x="646" y="1739"/>
                </a:cxn>
                <a:cxn ang="0">
                  <a:pos x="470" y="1348"/>
                </a:cxn>
                <a:cxn ang="0">
                  <a:pos x="282" y="1137"/>
                </a:cxn>
                <a:cxn ang="0">
                  <a:pos x="59" y="1011"/>
                </a:cxn>
                <a:cxn ang="0">
                  <a:pos x="30" y="894"/>
                </a:cxn>
                <a:cxn ang="0">
                  <a:pos x="1" y="665"/>
                </a:cxn>
                <a:cxn ang="0">
                  <a:pos x="118" y="590"/>
                </a:cxn>
                <a:cxn ang="0">
                  <a:pos x="446" y="554"/>
                </a:cxn>
                <a:cxn ang="0">
                  <a:pos x="593" y="674"/>
                </a:cxn>
                <a:cxn ang="0">
                  <a:pos x="722" y="676"/>
                </a:cxn>
                <a:cxn ang="0">
                  <a:pos x="783" y="569"/>
                </a:cxn>
                <a:cxn ang="0">
                  <a:pos x="746" y="272"/>
                </a:cxn>
                <a:cxn ang="0">
                  <a:pos x="847" y="171"/>
                </a:cxn>
                <a:cxn ang="0">
                  <a:pos x="1080" y="174"/>
                </a:cxn>
                <a:cxn ang="0">
                  <a:pos x="1189" y="85"/>
                </a:cxn>
              </a:cxnLst>
              <a:rect l="0" t="0" r="r" b="b"/>
              <a:pathLst>
                <a:path w="2491" h="2147">
                  <a:moveTo>
                    <a:pt x="1240" y="0"/>
                  </a:moveTo>
                  <a:lnTo>
                    <a:pt x="1246" y="6"/>
                  </a:lnTo>
                  <a:lnTo>
                    <a:pt x="1250" y="13"/>
                  </a:lnTo>
                  <a:lnTo>
                    <a:pt x="1252" y="21"/>
                  </a:lnTo>
                  <a:lnTo>
                    <a:pt x="1255" y="30"/>
                  </a:lnTo>
                  <a:lnTo>
                    <a:pt x="1257" y="38"/>
                  </a:lnTo>
                  <a:lnTo>
                    <a:pt x="1259" y="44"/>
                  </a:lnTo>
                  <a:lnTo>
                    <a:pt x="1261" y="50"/>
                  </a:lnTo>
                  <a:lnTo>
                    <a:pt x="1265" y="56"/>
                  </a:lnTo>
                  <a:lnTo>
                    <a:pt x="1295" y="86"/>
                  </a:lnTo>
                  <a:lnTo>
                    <a:pt x="1313" y="105"/>
                  </a:lnTo>
                  <a:lnTo>
                    <a:pt x="1318" y="111"/>
                  </a:lnTo>
                  <a:lnTo>
                    <a:pt x="1322" y="119"/>
                  </a:lnTo>
                  <a:lnTo>
                    <a:pt x="1323" y="127"/>
                  </a:lnTo>
                  <a:lnTo>
                    <a:pt x="1323" y="138"/>
                  </a:lnTo>
                  <a:lnTo>
                    <a:pt x="1319" y="152"/>
                  </a:lnTo>
                  <a:lnTo>
                    <a:pt x="1311" y="168"/>
                  </a:lnTo>
                  <a:lnTo>
                    <a:pt x="1309" y="178"/>
                  </a:lnTo>
                  <a:lnTo>
                    <a:pt x="1308" y="190"/>
                  </a:lnTo>
                  <a:lnTo>
                    <a:pt x="1308" y="196"/>
                  </a:lnTo>
                  <a:lnTo>
                    <a:pt x="1310" y="202"/>
                  </a:lnTo>
                  <a:lnTo>
                    <a:pt x="1311" y="208"/>
                  </a:lnTo>
                  <a:lnTo>
                    <a:pt x="1315" y="215"/>
                  </a:lnTo>
                  <a:lnTo>
                    <a:pt x="1320" y="227"/>
                  </a:lnTo>
                  <a:lnTo>
                    <a:pt x="1325" y="239"/>
                  </a:lnTo>
                  <a:lnTo>
                    <a:pt x="1328" y="249"/>
                  </a:lnTo>
                  <a:lnTo>
                    <a:pt x="1330" y="259"/>
                  </a:lnTo>
                  <a:lnTo>
                    <a:pt x="1332" y="268"/>
                  </a:lnTo>
                  <a:lnTo>
                    <a:pt x="1332" y="275"/>
                  </a:lnTo>
                  <a:lnTo>
                    <a:pt x="1332" y="282"/>
                  </a:lnTo>
                  <a:lnTo>
                    <a:pt x="1330" y="289"/>
                  </a:lnTo>
                  <a:lnTo>
                    <a:pt x="1328" y="294"/>
                  </a:lnTo>
                  <a:lnTo>
                    <a:pt x="1326" y="300"/>
                  </a:lnTo>
                  <a:lnTo>
                    <a:pt x="1324" y="306"/>
                  </a:lnTo>
                  <a:lnTo>
                    <a:pt x="1320" y="310"/>
                  </a:lnTo>
                  <a:lnTo>
                    <a:pt x="1314" y="319"/>
                  </a:lnTo>
                  <a:lnTo>
                    <a:pt x="1307" y="326"/>
                  </a:lnTo>
                  <a:lnTo>
                    <a:pt x="1301" y="333"/>
                  </a:lnTo>
                  <a:lnTo>
                    <a:pt x="1296" y="341"/>
                  </a:lnTo>
                  <a:lnTo>
                    <a:pt x="1294" y="346"/>
                  </a:lnTo>
                  <a:lnTo>
                    <a:pt x="1293" y="349"/>
                  </a:lnTo>
                  <a:lnTo>
                    <a:pt x="1293" y="355"/>
                  </a:lnTo>
                  <a:lnTo>
                    <a:pt x="1293" y="359"/>
                  </a:lnTo>
                  <a:lnTo>
                    <a:pt x="1294" y="365"/>
                  </a:lnTo>
                  <a:lnTo>
                    <a:pt x="1295" y="370"/>
                  </a:lnTo>
                  <a:lnTo>
                    <a:pt x="1298" y="376"/>
                  </a:lnTo>
                  <a:lnTo>
                    <a:pt x="1303" y="384"/>
                  </a:lnTo>
                  <a:lnTo>
                    <a:pt x="1307" y="390"/>
                  </a:lnTo>
                  <a:lnTo>
                    <a:pt x="1314" y="399"/>
                  </a:lnTo>
                  <a:lnTo>
                    <a:pt x="1323" y="408"/>
                  </a:lnTo>
                  <a:lnTo>
                    <a:pt x="1332" y="418"/>
                  </a:lnTo>
                  <a:lnTo>
                    <a:pt x="1365" y="451"/>
                  </a:lnTo>
                  <a:lnTo>
                    <a:pt x="1408" y="493"/>
                  </a:lnTo>
                  <a:lnTo>
                    <a:pt x="1449" y="535"/>
                  </a:lnTo>
                  <a:lnTo>
                    <a:pt x="1482" y="569"/>
                  </a:lnTo>
                  <a:lnTo>
                    <a:pt x="1504" y="591"/>
                  </a:lnTo>
                  <a:lnTo>
                    <a:pt x="1525" y="614"/>
                  </a:lnTo>
                  <a:lnTo>
                    <a:pt x="1547" y="638"/>
                  </a:lnTo>
                  <a:lnTo>
                    <a:pt x="1572" y="664"/>
                  </a:lnTo>
                  <a:lnTo>
                    <a:pt x="1582" y="674"/>
                  </a:lnTo>
                  <a:lnTo>
                    <a:pt x="1593" y="682"/>
                  </a:lnTo>
                  <a:lnTo>
                    <a:pt x="1604" y="688"/>
                  </a:lnTo>
                  <a:lnTo>
                    <a:pt x="1617" y="693"/>
                  </a:lnTo>
                  <a:lnTo>
                    <a:pt x="1631" y="697"/>
                  </a:lnTo>
                  <a:lnTo>
                    <a:pt x="1645" y="701"/>
                  </a:lnTo>
                  <a:lnTo>
                    <a:pt x="1661" y="702"/>
                  </a:lnTo>
                  <a:lnTo>
                    <a:pt x="1678" y="703"/>
                  </a:lnTo>
                  <a:lnTo>
                    <a:pt x="1681" y="703"/>
                  </a:lnTo>
                  <a:lnTo>
                    <a:pt x="1685" y="705"/>
                  </a:lnTo>
                  <a:lnTo>
                    <a:pt x="1690" y="707"/>
                  </a:lnTo>
                  <a:lnTo>
                    <a:pt x="1693" y="711"/>
                  </a:lnTo>
                  <a:lnTo>
                    <a:pt x="1701" y="719"/>
                  </a:lnTo>
                  <a:lnTo>
                    <a:pt x="1710" y="727"/>
                  </a:lnTo>
                  <a:lnTo>
                    <a:pt x="1718" y="739"/>
                  </a:lnTo>
                  <a:lnTo>
                    <a:pt x="1726" y="749"/>
                  </a:lnTo>
                  <a:lnTo>
                    <a:pt x="1735" y="758"/>
                  </a:lnTo>
                  <a:lnTo>
                    <a:pt x="1744" y="764"/>
                  </a:lnTo>
                  <a:lnTo>
                    <a:pt x="1757" y="773"/>
                  </a:lnTo>
                  <a:lnTo>
                    <a:pt x="1769" y="782"/>
                  </a:lnTo>
                  <a:lnTo>
                    <a:pt x="1774" y="787"/>
                  </a:lnTo>
                  <a:lnTo>
                    <a:pt x="1778" y="791"/>
                  </a:lnTo>
                  <a:lnTo>
                    <a:pt x="1780" y="794"/>
                  </a:lnTo>
                  <a:lnTo>
                    <a:pt x="1781" y="798"/>
                  </a:lnTo>
                  <a:lnTo>
                    <a:pt x="1781" y="801"/>
                  </a:lnTo>
                  <a:lnTo>
                    <a:pt x="1780" y="804"/>
                  </a:lnTo>
                  <a:lnTo>
                    <a:pt x="1777" y="808"/>
                  </a:lnTo>
                  <a:lnTo>
                    <a:pt x="1771" y="810"/>
                  </a:lnTo>
                  <a:lnTo>
                    <a:pt x="1764" y="811"/>
                  </a:lnTo>
                  <a:lnTo>
                    <a:pt x="1755" y="812"/>
                  </a:lnTo>
                  <a:lnTo>
                    <a:pt x="1742" y="813"/>
                  </a:lnTo>
                  <a:lnTo>
                    <a:pt x="1728" y="813"/>
                  </a:lnTo>
                  <a:lnTo>
                    <a:pt x="1714" y="815"/>
                  </a:lnTo>
                  <a:lnTo>
                    <a:pt x="1701" y="818"/>
                  </a:lnTo>
                  <a:lnTo>
                    <a:pt x="1690" y="821"/>
                  </a:lnTo>
                  <a:lnTo>
                    <a:pt x="1679" y="827"/>
                  </a:lnTo>
                  <a:lnTo>
                    <a:pt x="1669" y="835"/>
                  </a:lnTo>
                  <a:lnTo>
                    <a:pt x="1660" y="842"/>
                  </a:lnTo>
                  <a:lnTo>
                    <a:pt x="1652" y="852"/>
                  </a:lnTo>
                  <a:lnTo>
                    <a:pt x="1644" y="863"/>
                  </a:lnTo>
                  <a:lnTo>
                    <a:pt x="1637" y="874"/>
                  </a:lnTo>
                  <a:lnTo>
                    <a:pt x="1632" y="886"/>
                  </a:lnTo>
                  <a:lnTo>
                    <a:pt x="1627" y="899"/>
                  </a:lnTo>
                  <a:lnTo>
                    <a:pt x="1623" y="913"/>
                  </a:lnTo>
                  <a:lnTo>
                    <a:pt x="1620" y="926"/>
                  </a:lnTo>
                  <a:lnTo>
                    <a:pt x="1617" y="941"/>
                  </a:lnTo>
                  <a:lnTo>
                    <a:pt x="1616" y="955"/>
                  </a:lnTo>
                  <a:lnTo>
                    <a:pt x="1615" y="970"/>
                  </a:lnTo>
                  <a:lnTo>
                    <a:pt x="1615" y="984"/>
                  </a:lnTo>
                  <a:lnTo>
                    <a:pt x="1615" y="999"/>
                  </a:lnTo>
                  <a:lnTo>
                    <a:pt x="1616" y="1013"/>
                  </a:lnTo>
                  <a:lnTo>
                    <a:pt x="1618" y="1027"/>
                  </a:lnTo>
                  <a:lnTo>
                    <a:pt x="1621" y="1041"/>
                  </a:lnTo>
                  <a:lnTo>
                    <a:pt x="1624" y="1053"/>
                  </a:lnTo>
                  <a:lnTo>
                    <a:pt x="1627" y="1066"/>
                  </a:lnTo>
                  <a:lnTo>
                    <a:pt x="1632" y="1077"/>
                  </a:lnTo>
                  <a:lnTo>
                    <a:pt x="1636" y="1088"/>
                  </a:lnTo>
                  <a:lnTo>
                    <a:pt x="1642" y="1097"/>
                  </a:lnTo>
                  <a:lnTo>
                    <a:pt x="1648" y="1106"/>
                  </a:lnTo>
                  <a:lnTo>
                    <a:pt x="1654" y="1112"/>
                  </a:lnTo>
                  <a:lnTo>
                    <a:pt x="1662" y="1118"/>
                  </a:lnTo>
                  <a:lnTo>
                    <a:pt x="1669" y="1123"/>
                  </a:lnTo>
                  <a:lnTo>
                    <a:pt x="1678" y="1125"/>
                  </a:lnTo>
                  <a:lnTo>
                    <a:pt x="1685" y="1126"/>
                  </a:lnTo>
                  <a:lnTo>
                    <a:pt x="1696" y="1126"/>
                  </a:lnTo>
                  <a:lnTo>
                    <a:pt x="1704" y="1127"/>
                  </a:lnTo>
                  <a:lnTo>
                    <a:pt x="1714" y="1129"/>
                  </a:lnTo>
                  <a:lnTo>
                    <a:pt x="1723" y="1131"/>
                  </a:lnTo>
                  <a:lnTo>
                    <a:pt x="1744" y="1138"/>
                  </a:lnTo>
                  <a:lnTo>
                    <a:pt x="1762" y="1147"/>
                  </a:lnTo>
                  <a:lnTo>
                    <a:pt x="1804" y="1168"/>
                  </a:lnTo>
                  <a:lnTo>
                    <a:pt x="1847" y="1190"/>
                  </a:lnTo>
                  <a:lnTo>
                    <a:pt x="1871" y="1201"/>
                  </a:lnTo>
                  <a:lnTo>
                    <a:pt x="1895" y="1210"/>
                  </a:lnTo>
                  <a:lnTo>
                    <a:pt x="1909" y="1213"/>
                  </a:lnTo>
                  <a:lnTo>
                    <a:pt x="1922" y="1216"/>
                  </a:lnTo>
                  <a:lnTo>
                    <a:pt x="1936" y="1220"/>
                  </a:lnTo>
                  <a:lnTo>
                    <a:pt x="1949" y="1222"/>
                  </a:lnTo>
                  <a:lnTo>
                    <a:pt x="1962" y="1223"/>
                  </a:lnTo>
                  <a:lnTo>
                    <a:pt x="1977" y="1224"/>
                  </a:lnTo>
                  <a:lnTo>
                    <a:pt x="1992" y="1224"/>
                  </a:lnTo>
                  <a:lnTo>
                    <a:pt x="2008" y="1223"/>
                  </a:lnTo>
                  <a:lnTo>
                    <a:pt x="2024" y="1222"/>
                  </a:lnTo>
                  <a:lnTo>
                    <a:pt x="2039" y="1219"/>
                  </a:lnTo>
                  <a:lnTo>
                    <a:pt x="2056" y="1215"/>
                  </a:lnTo>
                  <a:lnTo>
                    <a:pt x="2073" y="1210"/>
                  </a:lnTo>
                  <a:lnTo>
                    <a:pt x="2085" y="1206"/>
                  </a:lnTo>
                  <a:lnTo>
                    <a:pt x="2094" y="1202"/>
                  </a:lnTo>
                  <a:lnTo>
                    <a:pt x="2101" y="1197"/>
                  </a:lnTo>
                  <a:lnTo>
                    <a:pt x="2106" y="1193"/>
                  </a:lnTo>
                  <a:lnTo>
                    <a:pt x="2114" y="1182"/>
                  </a:lnTo>
                  <a:lnTo>
                    <a:pt x="2122" y="1169"/>
                  </a:lnTo>
                  <a:lnTo>
                    <a:pt x="2126" y="1165"/>
                  </a:lnTo>
                  <a:lnTo>
                    <a:pt x="2132" y="1159"/>
                  </a:lnTo>
                  <a:lnTo>
                    <a:pt x="2139" y="1155"/>
                  </a:lnTo>
                  <a:lnTo>
                    <a:pt x="2146" y="1150"/>
                  </a:lnTo>
                  <a:lnTo>
                    <a:pt x="2158" y="1147"/>
                  </a:lnTo>
                  <a:lnTo>
                    <a:pt x="2171" y="1145"/>
                  </a:lnTo>
                  <a:lnTo>
                    <a:pt x="2188" y="1143"/>
                  </a:lnTo>
                  <a:lnTo>
                    <a:pt x="2208" y="1143"/>
                  </a:lnTo>
                  <a:lnTo>
                    <a:pt x="2234" y="1143"/>
                  </a:lnTo>
                  <a:lnTo>
                    <a:pt x="2256" y="1142"/>
                  </a:lnTo>
                  <a:lnTo>
                    <a:pt x="2276" y="1140"/>
                  </a:lnTo>
                  <a:lnTo>
                    <a:pt x="2294" y="1138"/>
                  </a:lnTo>
                  <a:lnTo>
                    <a:pt x="2311" y="1136"/>
                  </a:lnTo>
                  <a:lnTo>
                    <a:pt x="2326" y="1134"/>
                  </a:lnTo>
                  <a:lnTo>
                    <a:pt x="2340" y="1130"/>
                  </a:lnTo>
                  <a:lnTo>
                    <a:pt x="2352" y="1127"/>
                  </a:lnTo>
                  <a:lnTo>
                    <a:pt x="2363" y="1123"/>
                  </a:lnTo>
                  <a:lnTo>
                    <a:pt x="2373" y="1118"/>
                  </a:lnTo>
                  <a:lnTo>
                    <a:pt x="2383" y="1114"/>
                  </a:lnTo>
                  <a:lnTo>
                    <a:pt x="2393" y="1108"/>
                  </a:lnTo>
                  <a:lnTo>
                    <a:pt x="2411" y="1098"/>
                  </a:lnTo>
                  <a:lnTo>
                    <a:pt x="2430" y="1086"/>
                  </a:lnTo>
                  <a:lnTo>
                    <a:pt x="2447" y="1085"/>
                  </a:lnTo>
                  <a:lnTo>
                    <a:pt x="2462" y="1083"/>
                  </a:lnTo>
                  <a:lnTo>
                    <a:pt x="2476" y="1082"/>
                  </a:lnTo>
                  <a:lnTo>
                    <a:pt x="2486" y="1082"/>
                  </a:lnTo>
                  <a:lnTo>
                    <a:pt x="2488" y="1089"/>
                  </a:lnTo>
                  <a:lnTo>
                    <a:pt x="2491" y="1097"/>
                  </a:lnTo>
                  <a:lnTo>
                    <a:pt x="2489" y="1099"/>
                  </a:lnTo>
                  <a:lnTo>
                    <a:pt x="2488" y="1099"/>
                  </a:lnTo>
                  <a:lnTo>
                    <a:pt x="2486" y="1100"/>
                  </a:lnTo>
                  <a:lnTo>
                    <a:pt x="2486" y="1105"/>
                  </a:lnTo>
                  <a:lnTo>
                    <a:pt x="2481" y="1106"/>
                  </a:lnTo>
                  <a:lnTo>
                    <a:pt x="2478" y="1108"/>
                  </a:lnTo>
                  <a:lnTo>
                    <a:pt x="2476" y="1111"/>
                  </a:lnTo>
                  <a:lnTo>
                    <a:pt x="2475" y="1116"/>
                  </a:lnTo>
                  <a:lnTo>
                    <a:pt x="2464" y="1121"/>
                  </a:lnTo>
                  <a:lnTo>
                    <a:pt x="2464" y="1131"/>
                  </a:lnTo>
                  <a:lnTo>
                    <a:pt x="2458" y="1135"/>
                  </a:lnTo>
                  <a:lnTo>
                    <a:pt x="2452" y="1137"/>
                  </a:lnTo>
                  <a:lnTo>
                    <a:pt x="2452" y="1148"/>
                  </a:lnTo>
                  <a:lnTo>
                    <a:pt x="2447" y="1154"/>
                  </a:lnTo>
                  <a:lnTo>
                    <a:pt x="2436" y="1154"/>
                  </a:lnTo>
                  <a:lnTo>
                    <a:pt x="2435" y="1156"/>
                  </a:lnTo>
                  <a:lnTo>
                    <a:pt x="2431" y="1158"/>
                  </a:lnTo>
                  <a:lnTo>
                    <a:pt x="2427" y="1160"/>
                  </a:lnTo>
                  <a:lnTo>
                    <a:pt x="2421" y="1162"/>
                  </a:lnTo>
                  <a:lnTo>
                    <a:pt x="2410" y="1164"/>
                  </a:lnTo>
                  <a:lnTo>
                    <a:pt x="2402" y="1165"/>
                  </a:lnTo>
                  <a:lnTo>
                    <a:pt x="2397" y="1171"/>
                  </a:lnTo>
                  <a:lnTo>
                    <a:pt x="2397" y="1175"/>
                  </a:lnTo>
                  <a:lnTo>
                    <a:pt x="2397" y="1178"/>
                  </a:lnTo>
                  <a:lnTo>
                    <a:pt x="2394" y="1181"/>
                  </a:lnTo>
                  <a:lnTo>
                    <a:pt x="2391" y="1182"/>
                  </a:lnTo>
                  <a:lnTo>
                    <a:pt x="2391" y="1217"/>
                  </a:lnTo>
                  <a:lnTo>
                    <a:pt x="2389" y="1256"/>
                  </a:lnTo>
                  <a:lnTo>
                    <a:pt x="2387" y="1296"/>
                  </a:lnTo>
                  <a:lnTo>
                    <a:pt x="2387" y="1331"/>
                  </a:lnTo>
                  <a:lnTo>
                    <a:pt x="2384" y="1332"/>
                  </a:lnTo>
                  <a:lnTo>
                    <a:pt x="2383" y="1335"/>
                  </a:lnTo>
                  <a:lnTo>
                    <a:pt x="2382" y="1337"/>
                  </a:lnTo>
                  <a:lnTo>
                    <a:pt x="2381" y="1340"/>
                  </a:lnTo>
                  <a:lnTo>
                    <a:pt x="2381" y="1348"/>
                  </a:lnTo>
                  <a:lnTo>
                    <a:pt x="2381" y="1354"/>
                  </a:lnTo>
                  <a:lnTo>
                    <a:pt x="2379" y="1354"/>
                  </a:lnTo>
                  <a:lnTo>
                    <a:pt x="2376" y="1356"/>
                  </a:lnTo>
                  <a:lnTo>
                    <a:pt x="2375" y="1358"/>
                  </a:lnTo>
                  <a:lnTo>
                    <a:pt x="2374" y="1360"/>
                  </a:lnTo>
                  <a:lnTo>
                    <a:pt x="2372" y="1368"/>
                  </a:lnTo>
                  <a:lnTo>
                    <a:pt x="2371" y="1379"/>
                  </a:lnTo>
                  <a:lnTo>
                    <a:pt x="2371" y="1405"/>
                  </a:lnTo>
                  <a:lnTo>
                    <a:pt x="2372" y="1435"/>
                  </a:lnTo>
                  <a:lnTo>
                    <a:pt x="2378" y="1492"/>
                  </a:lnTo>
                  <a:lnTo>
                    <a:pt x="2381" y="1520"/>
                  </a:lnTo>
                  <a:lnTo>
                    <a:pt x="2387" y="1522"/>
                  </a:lnTo>
                  <a:lnTo>
                    <a:pt x="2391" y="1525"/>
                  </a:lnTo>
                  <a:lnTo>
                    <a:pt x="2394" y="1537"/>
                  </a:lnTo>
                  <a:lnTo>
                    <a:pt x="2397" y="1548"/>
                  </a:lnTo>
                  <a:lnTo>
                    <a:pt x="2401" y="1550"/>
                  </a:lnTo>
                  <a:lnTo>
                    <a:pt x="2407" y="1556"/>
                  </a:lnTo>
                  <a:lnTo>
                    <a:pt x="2409" y="1559"/>
                  </a:lnTo>
                  <a:lnTo>
                    <a:pt x="2412" y="1561"/>
                  </a:lnTo>
                  <a:lnTo>
                    <a:pt x="2416" y="1563"/>
                  </a:lnTo>
                  <a:lnTo>
                    <a:pt x="2419" y="1565"/>
                  </a:lnTo>
                  <a:lnTo>
                    <a:pt x="2422" y="1590"/>
                  </a:lnTo>
                  <a:lnTo>
                    <a:pt x="2428" y="1624"/>
                  </a:lnTo>
                  <a:lnTo>
                    <a:pt x="2430" y="1642"/>
                  </a:lnTo>
                  <a:lnTo>
                    <a:pt x="2433" y="1659"/>
                  </a:lnTo>
                  <a:lnTo>
                    <a:pt x="2436" y="1676"/>
                  </a:lnTo>
                  <a:lnTo>
                    <a:pt x="2436" y="1692"/>
                  </a:lnTo>
                  <a:lnTo>
                    <a:pt x="2430" y="1701"/>
                  </a:lnTo>
                  <a:lnTo>
                    <a:pt x="2424" y="1714"/>
                  </a:lnTo>
                  <a:lnTo>
                    <a:pt x="2421" y="1714"/>
                  </a:lnTo>
                  <a:lnTo>
                    <a:pt x="2417" y="1717"/>
                  </a:lnTo>
                  <a:lnTo>
                    <a:pt x="2414" y="1721"/>
                  </a:lnTo>
                  <a:lnTo>
                    <a:pt x="2413" y="1724"/>
                  </a:lnTo>
                  <a:lnTo>
                    <a:pt x="2408" y="1730"/>
                  </a:lnTo>
                  <a:lnTo>
                    <a:pt x="2397" y="1730"/>
                  </a:lnTo>
                  <a:lnTo>
                    <a:pt x="2395" y="1734"/>
                  </a:lnTo>
                  <a:lnTo>
                    <a:pt x="2392" y="1736"/>
                  </a:lnTo>
                  <a:lnTo>
                    <a:pt x="2388" y="1739"/>
                  </a:lnTo>
                  <a:lnTo>
                    <a:pt x="2382" y="1740"/>
                  </a:lnTo>
                  <a:lnTo>
                    <a:pt x="2371" y="1741"/>
                  </a:lnTo>
                  <a:lnTo>
                    <a:pt x="2364" y="1741"/>
                  </a:lnTo>
                  <a:lnTo>
                    <a:pt x="2356" y="1745"/>
                  </a:lnTo>
                  <a:lnTo>
                    <a:pt x="2339" y="1755"/>
                  </a:lnTo>
                  <a:lnTo>
                    <a:pt x="2320" y="1764"/>
                  </a:lnTo>
                  <a:lnTo>
                    <a:pt x="2308" y="1769"/>
                  </a:lnTo>
                  <a:lnTo>
                    <a:pt x="2303" y="1774"/>
                  </a:lnTo>
                  <a:lnTo>
                    <a:pt x="2303" y="1777"/>
                  </a:lnTo>
                  <a:lnTo>
                    <a:pt x="2301" y="1779"/>
                  </a:lnTo>
                  <a:lnTo>
                    <a:pt x="2299" y="1781"/>
                  </a:lnTo>
                  <a:lnTo>
                    <a:pt x="2297" y="1782"/>
                  </a:lnTo>
                  <a:lnTo>
                    <a:pt x="2292" y="1784"/>
                  </a:lnTo>
                  <a:lnTo>
                    <a:pt x="2286" y="1785"/>
                  </a:lnTo>
                  <a:lnTo>
                    <a:pt x="2284" y="1790"/>
                  </a:lnTo>
                  <a:lnTo>
                    <a:pt x="2280" y="1793"/>
                  </a:lnTo>
                  <a:lnTo>
                    <a:pt x="2276" y="1798"/>
                  </a:lnTo>
                  <a:lnTo>
                    <a:pt x="2272" y="1801"/>
                  </a:lnTo>
                  <a:lnTo>
                    <a:pt x="2267" y="1803"/>
                  </a:lnTo>
                  <a:lnTo>
                    <a:pt x="2263" y="1806"/>
                  </a:lnTo>
                  <a:lnTo>
                    <a:pt x="2257" y="1807"/>
                  </a:lnTo>
                  <a:lnTo>
                    <a:pt x="2253" y="1808"/>
                  </a:lnTo>
                  <a:lnTo>
                    <a:pt x="2253" y="1815"/>
                  </a:lnTo>
                  <a:lnTo>
                    <a:pt x="2253" y="1818"/>
                  </a:lnTo>
                  <a:lnTo>
                    <a:pt x="2251" y="1820"/>
                  </a:lnTo>
                  <a:lnTo>
                    <a:pt x="2250" y="1820"/>
                  </a:lnTo>
                  <a:lnTo>
                    <a:pt x="2249" y="1820"/>
                  </a:lnTo>
                  <a:lnTo>
                    <a:pt x="2248" y="1820"/>
                  </a:lnTo>
                  <a:lnTo>
                    <a:pt x="2248" y="1821"/>
                  </a:lnTo>
                  <a:lnTo>
                    <a:pt x="2247" y="1825"/>
                  </a:lnTo>
                  <a:lnTo>
                    <a:pt x="2239" y="1827"/>
                  </a:lnTo>
                  <a:lnTo>
                    <a:pt x="2231" y="1830"/>
                  </a:lnTo>
                  <a:lnTo>
                    <a:pt x="2231" y="1841"/>
                  </a:lnTo>
                  <a:lnTo>
                    <a:pt x="2227" y="1842"/>
                  </a:lnTo>
                  <a:lnTo>
                    <a:pt x="2224" y="1845"/>
                  </a:lnTo>
                  <a:lnTo>
                    <a:pt x="2221" y="1848"/>
                  </a:lnTo>
                  <a:lnTo>
                    <a:pt x="2220" y="1852"/>
                  </a:lnTo>
                  <a:lnTo>
                    <a:pt x="2216" y="1852"/>
                  </a:lnTo>
                  <a:lnTo>
                    <a:pt x="2212" y="1856"/>
                  </a:lnTo>
                  <a:lnTo>
                    <a:pt x="2210" y="1859"/>
                  </a:lnTo>
                  <a:lnTo>
                    <a:pt x="2209" y="1864"/>
                  </a:lnTo>
                  <a:lnTo>
                    <a:pt x="2195" y="1877"/>
                  </a:lnTo>
                  <a:lnTo>
                    <a:pt x="2181" y="1890"/>
                  </a:lnTo>
                  <a:lnTo>
                    <a:pt x="2176" y="1896"/>
                  </a:lnTo>
                  <a:lnTo>
                    <a:pt x="2176" y="1910"/>
                  </a:lnTo>
                  <a:lnTo>
                    <a:pt x="2176" y="1924"/>
                  </a:lnTo>
                  <a:lnTo>
                    <a:pt x="2187" y="1929"/>
                  </a:lnTo>
                  <a:lnTo>
                    <a:pt x="2189" y="1935"/>
                  </a:lnTo>
                  <a:lnTo>
                    <a:pt x="2192" y="1941"/>
                  </a:lnTo>
                  <a:lnTo>
                    <a:pt x="2213" y="1941"/>
                  </a:lnTo>
                  <a:lnTo>
                    <a:pt x="2207" y="1951"/>
                  </a:lnTo>
                  <a:lnTo>
                    <a:pt x="2201" y="1961"/>
                  </a:lnTo>
                  <a:lnTo>
                    <a:pt x="2193" y="1970"/>
                  </a:lnTo>
                  <a:lnTo>
                    <a:pt x="2184" y="1977"/>
                  </a:lnTo>
                  <a:lnTo>
                    <a:pt x="2179" y="1981"/>
                  </a:lnTo>
                  <a:lnTo>
                    <a:pt x="2173" y="1984"/>
                  </a:lnTo>
                  <a:lnTo>
                    <a:pt x="2167" y="1987"/>
                  </a:lnTo>
                  <a:lnTo>
                    <a:pt x="2160" y="1990"/>
                  </a:lnTo>
                  <a:lnTo>
                    <a:pt x="2152" y="1991"/>
                  </a:lnTo>
                  <a:lnTo>
                    <a:pt x="2143" y="1993"/>
                  </a:lnTo>
                  <a:lnTo>
                    <a:pt x="2134" y="1993"/>
                  </a:lnTo>
                  <a:lnTo>
                    <a:pt x="2124" y="1994"/>
                  </a:lnTo>
                  <a:lnTo>
                    <a:pt x="2078" y="1994"/>
                  </a:lnTo>
                  <a:lnTo>
                    <a:pt x="2045" y="1996"/>
                  </a:lnTo>
                  <a:lnTo>
                    <a:pt x="2033" y="1998"/>
                  </a:lnTo>
                  <a:lnTo>
                    <a:pt x="2023" y="2001"/>
                  </a:lnTo>
                  <a:lnTo>
                    <a:pt x="2014" y="2003"/>
                  </a:lnTo>
                  <a:lnTo>
                    <a:pt x="2006" y="2008"/>
                  </a:lnTo>
                  <a:lnTo>
                    <a:pt x="1999" y="2012"/>
                  </a:lnTo>
                  <a:lnTo>
                    <a:pt x="1992" y="2018"/>
                  </a:lnTo>
                  <a:lnTo>
                    <a:pt x="1986" y="2024"/>
                  </a:lnTo>
                  <a:lnTo>
                    <a:pt x="1979" y="2033"/>
                  </a:lnTo>
                  <a:lnTo>
                    <a:pt x="1962" y="2052"/>
                  </a:lnTo>
                  <a:lnTo>
                    <a:pt x="1939" y="2078"/>
                  </a:lnTo>
                  <a:lnTo>
                    <a:pt x="1932" y="2083"/>
                  </a:lnTo>
                  <a:lnTo>
                    <a:pt x="1925" y="2088"/>
                  </a:lnTo>
                  <a:lnTo>
                    <a:pt x="1919" y="2090"/>
                  </a:lnTo>
                  <a:lnTo>
                    <a:pt x="1911" y="2091"/>
                  </a:lnTo>
                  <a:lnTo>
                    <a:pt x="1903" y="2092"/>
                  </a:lnTo>
                  <a:lnTo>
                    <a:pt x="1895" y="2091"/>
                  </a:lnTo>
                  <a:lnTo>
                    <a:pt x="1888" y="2089"/>
                  </a:lnTo>
                  <a:lnTo>
                    <a:pt x="1880" y="2087"/>
                  </a:lnTo>
                  <a:lnTo>
                    <a:pt x="1863" y="2080"/>
                  </a:lnTo>
                  <a:lnTo>
                    <a:pt x="1845" y="2070"/>
                  </a:lnTo>
                  <a:lnTo>
                    <a:pt x="1826" y="2060"/>
                  </a:lnTo>
                  <a:lnTo>
                    <a:pt x="1808" y="2049"/>
                  </a:lnTo>
                  <a:lnTo>
                    <a:pt x="1788" y="2038"/>
                  </a:lnTo>
                  <a:lnTo>
                    <a:pt x="1769" y="2028"/>
                  </a:lnTo>
                  <a:lnTo>
                    <a:pt x="1759" y="2024"/>
                  </a:lnTo>
                  <a:lnTo>
                    <a:pt x="1749" y="2021"/>
                  </a:lnTo>
                  <a:lnTo>
                    <a:pt x="1740" y="2018"/>
                  </a:lnTo>
                  <a:lnTo>
                    <a:pt x="1730" y="2017"/>
                  </a:lnTo>
                  <a:lnTo>
                    <a:pt x="1720" y="2015"/>
                  </a:lnTo>
                  <a:lnTo>
                    <a:pt x="1710" y="2015"/>
                  </a:lnTo>
                  <a:lnTo>
                    <a:pt x="1700" y="2017"/>
                  </a:lnTo>
                  <a:lnTo>
                    <a:pt x="1691" y="2020"/>
                  </a:lnTo>
                  <a:lnTo>
                    <a:pt x="1681" y="2023"/>
                  </a:lnTo>
                  <a:lnTo>
                    <a:pt x="1671" y="2029"/>
                  </a:lnTo>
                  <a:lnTo>
                    <a:pt x="1661" y="2035"/>
                  </a:lnTo>
                  <a:lnTo>
                    <a:pt x="1652" y="2044"/>
                  </a:lnTo>
                  <a:lnTo>
                    <a:pt x="1629" y="2070"/>
                  </a:lnTo>
                  <a:lnTo>
                    <a:pt x="1605" y="2095"/>
                  </a:lnTo>
                  <a:lnTo>
                    <a:pt x="1600" y="2100"/>
                  </a:lnTo>
                  <a:lnTo>
                    <a:pt x="1592" y="2105"/>
                  </a:lnTo>
                  <a:lnTo>
                    <a:pt x="1584" y="2109"/>
                  </a:lnTo>
                  <a:lnTo>
                    <a:pt x="1576" y="2112"/>
                  </a:lnTo>
                  <a:lnTo>
                    <a:pt x="1567" y="2116"/>
                  </a:lnTo>
                  <a:lnTo>
                    <a:pt x="1557" y="2118"/>
                  </a:lnTo>
                  <a:lnTo>
                    <a:pt x="1546" y="2119"/>
                  </a:lnTo>
                  <a:lnTo>
                    <a:pt x="1534" y="2120"/>
                  </a:lnTo>
                  <a:lnTo>
                    <a:pt x="1495" y="2118"/>
                  </a:lnTo>
                  <a:lnTo>
                    <a:pt x="1441" y="2116"/>
                  </a:lnTo>
                  <a:lnTo>
                    <a:pt x="1428" y="2116"/>
                  </a:lnTo>
                  <a:lnTo>
                    <a:pt x="1415" y="2117"/>
                  </a:lnTo>
                  <a:lnTo>
                    <a:pt x="1404" y="2118"/>
                  </a:lnTo>
                  <a:lnTo>
                    <a:pt x="1394" y="2120"/>
                  </a:lnTo>
                  <a:lnTo>
                    <a:pt x="1385" y="2123"/>
                  </a:lnTo>
                  <a:lnTo>
                    <a:pt x="1380" y="2127"/>
                  </a:lnTo>
                  <a:lnTo>
                    <a:pt x="1377" y="2129"/>
                  </a:lnTo>
                  <a:lnTo>
                    <a:pt x="1375" y="2131"/>
                  </a:lnTo>
                  <a:lnTo>
                    <a:pt x="1374" y="2134"/>
                  </a:lnTo>
                  <a:lnTo>
                    <a:pt x="1374" y="2137"/>
                  </a:lnTo>
                  <a:lnTo>
                    <a:pt x="1374" y="2119"/>
                  </a:lnTo>
                  <a:lnTo>
                    <a:pt x="1374" y="2097"/>
                  </a:lnTo>
                  <a:lnTo>
                    <a:pt x="1374" y="2073"/>
                  </a:lnTo>
                  <a:lnTo>
                    <a:pt x="1373" y="2050"/>
                  </a:lnTo>
                  <a:lnTo>
                    <a:pt x="1372" y="2039"/>
                  </a:lnTo>
                  <a:lnTo>
                    <a:pt x="1370" y="2028"/>
                  </a:lnTo>
                  <a:lnTo>
                    <a:pt x="1366" y="2019"/>
                  </a:lnTo>
                  <a:lnTo>
                    <a:pt x="1363" y="2010"/>
                  </a:lnTo>
                  <a:lnTo>
                    <a:pt x="1358" y="2003"/>
                  </a:lnTo>
                  <a:lnTo>
                    <a:pt x="1354" y="1998"/>
                  </a:lnTo>
                  <a:lnTo>
                    <a:pt x="1351" y="1996"/>
                  </a:lnTo>
                  <a:lnTo>
                    <a:pt x="1347" y="1995"/>
                  </a:lnTo>
                  <a:lnTo>
                    <a:pt x="1344" y="1994"/>
                  </a:lnTo>
                  <a:lnTo>
                    <a:pt x="1341" y="1994"/>
                  </a:lnTo>
                  <a:lnTo>
                    <a:pt x="1329" y="1993"/>
                  </a:lnTo>
                  <a:lnTo>
                    <a:pt x="1319" y="1992"/>
                  </a:lnTo>
                  <a:lnTo>
                    <a:pt x="1309" y="1990"/>
                  </a:lnTo>
                  <a:lnTo>
                    <a:pt x="1300" y="1987"/>
                  </a:lnTo>
                  <a:lnTo>
                    <a:pt x="1291" y="1984"/>
                  </a:lnTo>
                  <a:lnTo>
                    <a:pt x="1282" y="1981"/>
                  </a:lnTo>
                  <a:lnTo>
                    <a:pt x="1275" y="1976"/>
                  </a:lnTo>
                  <a:lnTo>
                    <a:pt x="1268" y="1971"/>
                  </a:lnTo>
                  <a:lnTo>
                    <a:pt x="1261" y="1965"/>
                  </a:lnTo>
                  <a:lnTo>
                    <a:pt x="1255" y="1960"/>
                  </a:lnTo>
                  <a:lnTo>
                    <a:pt x="1249" y="1953"/>
                  </a:lnTo>
                  <a:lnTo>
                    <a:pt x="1243" y="1946"/>
                  </a:lnTo>
                  <a:lnTo>
                    <a:pt x="1232" y="1931"/>
                  </a:lnTo>
                  <a:lnTo>
                    <a:pt x="1224" y="1914"/>
                  </a:lnTo>
                  <a:lnTo>
                    <a:pt x="1217" y="1896"/>
                  </a:lnTo>
                  <a:lnTo>
                    <a:pt x="1211" y="1877"/>
                  </a:lnTo>
                  <a:lnTo>
                    <a:pt x="1207" y="1857"/>
                  </a:lnTo>
                  <a:lnTo>
                    <a:pt x="1202" y="1837"/>
                  </a:lnTo>
                  <a:lnTo>
                    <a:pt x="1200" y="1817"/>
                  </a:lnTo>
                  <a:lnTo>
                    <a:pt x="1198" y="1797"/>
                  </a:lnTo>
                  <a:lnTo>
                    <a:pt x="1198" y="1777"/>
                  </a:lnTo>
                  <a:lnTo>
                    <a:pt x="1197" y="1758"/>
                  </a:lnTo>
                  <a:lnTo>
                    <a:pt x="1199" y="1722"/>
                  </a:lnTo>
                  <a:lnTo>
                    <a:pt x="1202" y="1675"/>
                  </a:lnTo>
                  <a:lnTo>
                    <a:pt x="1203" y="1652"/>
                  </a:lnTo>
                  <a:lnTo>
                    <a:pt x="1202" y="1630"/>
                  </a:lnTo>
                  <a:lnTo>
                    <a:pt x="1201" y="1620"/>
                  </a:lnTo>
                  <a:lnTo>
                    <a:pt x="1200" y="1611"/>
                  </a:lnTo>
                  <a:lnTo>
                    <a:pt x="1198" y="1604"/>
                  </a:lnTo>
                  <a:lnTo>
                    <a:pt x="1195" y="1597"/>
                  </a:lnTo>
                  <a:lnTo>
                    <a:pt x="1193" y="1594"/>
                  </a:lnTo>
                  <a:lnTo>
                    <a:pt x="1190" y="1591"/>
                  </a:lnTo>
                  <a:lnTo>
                    <a:pt x="1188" y="1590"/>
                  </a:lnTo>
                  <a:lnTo>
                    <a:pt x="1184" y="1589"/>
                  </a:lnTo>
                  <a:lnTo>
                    <a:pt x="1181" y="1588"/>
                  </a:lnTo>
                  <a:lnTo>
                    <a:pt x="1178" y="1588"/>
                  </a:lnTo>
                  <a:lnTo>
                    <a:pt x="1173" y="1589"/>
                  </a:lnTo>
                  <a:lnTo>
                    <a:pt x="1169" y="1591"/>
                  </a:lnTo>
                  <a:lnTo>
                    <a:pt x="1159" y="1597"/>
                  </a:lnTo>
                  <a:lnTo>
                    <a:pt x="1146" y="1605"/>
                  </a:lnTo>
                  <a:lnTo>
                    <a:pt x="1134" y="1616"/>
                  </a:lnTo>
                  <a:lnTo>
                    <a:pt x="1119" y="1629"/>
                  </a:lnTo>
                  <a:lnTo>
                    <a:pt x="1111" y="1637"/>
                  </a:lnTo>
                  <a:lnTo>
                    <a:pt x="1102" y="1643"/>
                  </a:lnTo>
                  <a:lnTo>
                    <a:pt x="1092" y="1648"/>
                  </a:lnTo>
                  <a:lnTo>
                    <a:pt x="1083" y="1653"/>
                  </a:lnTo>
                  <a:lnTo>
                    <a:pt x="1074" y="1657"/>
                  </a:lnTo>
                  <a:lnTo>
                    <a:pt x="1067" y="1663"/>
                  </a:lnTo>
                  <a:lnTo>
                    <a:pt x="1064" y="1666"/>
                  </a:lnTo>
                  <a:lnTo>
                    <a:pt x="1060" y="1668"/>
                  </a:lnTo>
                  <a:lnTo>
                    <a:pt x="1058" y="1672"/>
                  </a:lnTo>
                  <a:lnTo>
                    <a:pt x="1057" y="1676"/>
                  </a:lnTo>
                  <a:lnTo>
                    <a:pt x="1055" y="1683"/>
                  </a:lnTo>
                  <a:lnTo>
                    <a:pt x="1053" y="1691"/>
                  </a:lnTo>
                  <a:lnTo>
                    <a:pt x="1051" y="1698"/>
                  </a:lnTo>
                  <a:lnTo>
                    <a:pt x="1051" y="1706"/>
                  </a:lnTo>
                  <a:lnTo>
                    <a:pt x="1053" y="1724"/>
                  </a:lnTo>
                  <a:lnTo>
                    <a:pt x="1054" y="1742"/>
                  </a:lnTo>
                  <a:lnTo>
                    <a:pt x="1059" y="1780"/>
                  </a:lnTo>
                  <a:lnTo>
                    <a:pt x="1061" y="1817"/>
                  </a:lnTo>
                  <a:lnTo>
                    <a:pt x="1061" y="1865"/>
                  </a:lnTo>
                  <a:lnTo>
                    <a:pt x="1060" y="1902"/>
                  </a:lnTo>
                  <a:lnTo>
                    <a:pt x="1059" y="1917"/>
                  </a:lnTo>
                  <a:lnTo>
                    <a:pt x="1058" y="1932"/>
                  </a:lnTo>
                  <a:lnTo>
                    <a:pt x="1056" y="1944"/>
                  </a:lnTo>
                  <a:lnTo>
                    <a:pt x="1053" y="1956"/>
                  </a:lnTo>
                  <a:lnTo>
                    <a:pt x="1048" y="1966"/>
                  </a:lnTo>
                  <a:lnTo>
                    <a:pt x="1044" y="1976"/>
                  </a:lnTo>
                  <a:lnTo>
                    <a:pt x="1037" y="1986"/>
                  </a:lnTo>
                  <a:lnTo>
                    <a:pt x="1030" y="1996"/>
                  </a:lnTo>
                  <a:lnTo>
                    <a:pt x="1011" y="2019"/>
                  </a:lnTo>
                  <a:lnTo>
                    <a:pt x="986" y="2044"/>
                  </a:lnTo>
                  <a:lnTo>
                    <a:pt x="974" y="2057"/>
                  </a:lnTo>
                  <a:lnTo>
                    <a:pt x="955" y="2073"/>
                  </a:lnTo>
                  <a:lnTo>
                    <a:pt x="944" y="2082"/>
                  </a:lnTo>
                  <a:lnTo>
                    <a:pt x="932" y="2092"/>
                  </a:lnTo>
                  <a:lnTo>
                    <a:pt x="920" y="2101"/>
                  </a:lnTo>
                  <a:lnTo>
                    <a:pt x="906" y="2109"/>
                  </a:lnTo>
                  <a:lnTo>
                    <a:pt x="890" y="2118"/>
                  </a:lnTo>
                  <a:lnTo>
                    <a:pt x="873" y="2126"/>
                  </a:lnTo>
                  <a:lnTo>
                    <a:pt x="857" y="2133"/>
                  </a:lnTo>
                  <a:lnTo>
                    <a:pt x="843" y="2138"/>
                  </a:lnTo>
                  <a:lnTo>
                    <a:pt x="820" y="2145"/>
                  </a:lnTo>
                  <a:lnTo>
                    <a:pt x="809" y="2147"/>
                  </a:lnTo>
                  <a:lnTo>
                    <a:pt x="806" y="2146"/>
                  </a:lnTo>
                  <a:lnTo>
                    <a:pt x="801" y="2145"/>
                  </a:lnTo>
                  <a:lnTo>
                    <a:pt x="797" y="2142"/>
                  </a:lnTo>
                  <a:lnTo>
                    <a:pt x="792" y="2137"/>
                  </a:lnTo>
                  <a:lnTo>
                    <a:pt x="782" y="2125"/>
                  </a:lnTo>
                  <a:lnTo>
                    <a:pt x="770" y="2109"/>
                  </a:lnTo>
                  <a:lnTo>
                    <a:pt x="758" y="2090"/>
                  </a:lnTo>
                  <a:lnTo>
                    <a:pt x="744" y="2068"/>
                  </a:lnTo>
                  <a:lnTo>
                    <a:pt x="732" y="2043"/>
                  </a:lnTo>
                  <a:lnTo>
                    <a:pt x="719" y="2018"/>
                  </a:lnTo>
                  <a:lnTo>
                    <a:pt x="705" y="1991"/>
                  </a:lnTo>
                  <a:lnTo>
                    <a:pt x="694" y="1963"/>
                  </a:lnTo>
                  <a:lnTo>
                    <a:pt x="683" y="1935"/>
                  </a:lnTo>
                  <a:lnTo>
                    <a:pt x="673" y="1907"/>
                  </a:lnTo>
                  <a:lnTo>
                    <a:pt x="665" y="1880"/>
                  </a:lnTo>
                  <a:lnTo>
                    <a:pt x="658" y="1856"/>
                  </a:lnTo>
                  <a:lnTo>
                    <a:pt x="656" y="1844"/>
                  </a:lnTo>
                  <a:lnTo>
                    <a:pt x="655" y="1832"/>
                  </a:lnTo>
                  <a:lnTo>
                    <a:pt x="654" y="1822"/>
                  </a:lnTo>
                  <a:lnTo>
                    <a:pt x="653" y="1812"/>
                  </a:lnTo>
                  <a:lnTo>
                    <a:pt x="653" y="1788"/>
                  </a:lnTo>
                  <a:lnTo>
                    <a:pt x="650" y="1762"/>
                  </a:lnTo>
                  <a:lnTo>
                    <a:pt x="646" y="1739"/>
                  </a:lnTo>
                  <a:lnTo>
                    <a:pt x="641" y="1714"/>
                  </a:lnTo>
                  <a:lnTo>
                    <a:pt x="635" y="1691"/>
                  </a:lnTo>
                  <a:lnTo>
                    <a:pt x="627" y="1667"/>
                  </a:lnTo>
                  <a:lnTo>
                    <a:pt x="618" y="1645"/>
                  </a:lnTo>
                  <a:lnTo>
                    <a:pt x="609" y="1621"/>
                  </a:lnTo>
                  <a:lnTo>
                    <a:pt x="589" y="1577"/>
                  </a:lnTo>
                  <a:lnTo>
                    <a:pt x="568" y="1533"/>
                  </a:lnTo>
                  <a:lnTo>
                    <a:pt x="545" y="1491"/>
                  </a:lnTo>
                  <a:lnTo>
                    <a:pt x="523" y="1448"/>
                  </a:lnTo>
                  <a:lnTo>
                    <a:pt x="497" y="1398"/>
                  </a:lnTo>
                  <a:lnTo>
                    <a:pt x="470" y="1348"/>
                  </a:lnTo>
                  <a:lnTo>
                    <a:pt x="456" y="1325"/>
                  </a:lnTo>
                  <a:lnTo>
                    <a:pt x="442" y="1301"/>
                  </a:lnTo>
                  <a:lnTo>
                    <a:pt x="427" y="1279"/>
                  </a:lnTo>
                  <a:lnTo>
                    <a:pt x="412" y="1258"/>
                  </a:lnTo>
                  <a:lnTo>
                    <a:pt x="396" y="1237"/>
                  </a:lnTo>
                  <a:lnTo>
                    <a:pt x="379" y="1217"/>
                  </a:lnTo>
                  <a:lnTo>
                    <a:pt x="363" y="1200"/>
                  </a:lnTo>
                  <a:lnTo>
                    <a:pt x="344" y="1182"/>
                  </a:lnTo>
                  <a:lnTo>
                    <a:pt x="325" y="1166"/>
                  </a:lnTo>
                  <a:lnTo>
                    <a:pt x="305" y="1150"/>
                  </a:lnTo>
                  <a:lnTo>
                    <a:pt x="282" y="1137"/>
                  </a:lnTo>
                  <a:lnTo>
                    <a:pt x="260" y="1125"/>
                  </a:lnTo>
                  <a:lnTo>
                    <a:pt x="230" y="1111"/>
                  </a:lnTo>
                  <a:lnTo>
                    <a:pt x="195" y="1097"/>
                  </a:lnTo>
                  <a:lnTo>
                    <a:pt x="177" y="1088"/>
                  </a:lnTo>
                  <a:lnTo>
                    <a:pt x="158" y="1079"/>
                  </a:lnTo>
                  <a:lnTo>
                    <a:pt x="139" y="1070"/>
                  </a:lnTo>
                  <a:lnTo>
                    <a:pt x="122" y="1059"/>
                  </a:lnTo>
                  <a:lnTo>
                    <a:pt x="104" y="1048"/>
                  </a:lnTo>
                  <a:lnTo>
                    <a:pt x="87" y="1037"/>
                  </a:lnTo>
                  <a:lnTo>
                    <a:pt x="72" y="1024"/>
                  </a:lnTo>
                  <a:lnTo>
                    <a:pt x="59" y="1011"/>
                  </a:lnTo>
                  <a:lnTo>
                    <a:pt x="53" y="1004"/>
                  </a:lnTo>
                  <a:lnTo>
                    <a:pt x="49" y="996"/>
                  </a:lnTo>
                  <a:lnTo>
                    <a:pt x="44" y="990"/>
                  </a:lnTo>
                  <a:lnTo>
                    <a:pt x="41" y="982"/>
                  </a:lnTo>
                  <a:lnTo>
                    <a:pt x="38" y="974"/>
                  </a:lnTo>
                  <a:lnTo>
                    <a:pt x="36" y="965"/>
                  </a:lnTo>
                  <a:lnTo>
                    <a:pt x="34" y="957"/>
                  </a:lnTo>
                  <a:lnTo>
                    <a:pt x="33" y="948"/>
                  </a:lnTo>
                  <a:lnTo>
                    <a:pt x="33" y="929"/>
                  </a:lnTo>
                  <a:lnTo>
                    <a:pt x="32" y="912"/>
                  </a:lnTo>
                  <a:lnTo>
                    <a:pt x="30" y="894"/>
                  </a:lnTo>
                  <a:lnTo>
                    <a:pt x="29" y="876"/>
                  </a:lnTo>
                  <a:lnTo>
                    <a:pt x="23" y="841"/>
                  </a:lnTo>
                  <a:lnTo>
                    <a:pt x="17" y="808"/>
                  </a:lnTo>
                  <a:lnTo>
                    <a:pt x="11" y="774"/>
                  </a:lnTo>
                  <a:lnTo>
                    <a:pt x="5" y="743"/>
                  </a:lnTo>
                  <a:lnTo>
                    <a:pt x="3" y="726"/>
                  </a:lnTo>
                  <a:lnTo>
                    <a:pt x="1" y="711"/>
                  </a:lnTo>
                  <a:lnTo>
                    <a:pt x="0" y="695"/>
                  </a:lnTo>
                  <a:lnTo>
                    <a:pt x="0" y="679"/>
                  </a:lnTo>
                  <a:lnTo>
                    <a:pt x="0" y="672"/>
                  </a:lnTo>
                  <a:lnTo>
                    <a:pt x="1" y="665"/>
                  </a:lnTo>
                  <a:lnTo>
                    <a:pt x="3" y="658"/>
                  </a:lnTo>
                  <a:lnTo>
                    <a:pt x="5" y="652"/>
                  </a:lnTo>
                  <a:lnTo>
                    <a:pt x="8" y="646"/>
                  </a:lnTo>
                  <a:lnTo>
                    <a:pt x="12" y="640"/>
                  </a:lnTo>
                  <a:lnTo>
                    <a:pt x="17" y="636"/>
                  </a:lnTo>
                  <a:lnTo>
                    <a:pt x="21" y="631"/>
                  </a:lnTo>
                  <a:lnTo>
                    <a:pt x="33" y="623"/>
                  </a:lnTo>
                  <a:lnTo>
                    <a:pt x="48" y="615"/>
                  </a:lnTo>
                  <a:lnTo>
                    <a:pt x="67" y="607"/>
                  </a:lnTo>
                  <a:lnTo>
                    <a:pt x="87" y="599"/>
                  </a:lnTo>
                  <a:lnTo>
                    <a:pt x="118" y="590"/>
                  </a:lnTo>
                  <a:lnTo>
                    <a:pt x="153" y="581"/>
                  </a:lnTo>
                  <a:lnTo>
                    <a:pt x="188" y="572"/>
                  </a:lnTo>
                  <a:lnTo>
                    <a:pt x="226" y="565"/>
                  </a:lnTo>
                  <a:lnTo>
                    <a:pt x="264" y="558"/>
                  </a:lnTo>
                  <a:lnTo>
                    <a:pt x="301" y="553"/>
                  </a:lnTo>
                  <a:lnTo>
                    <a:pt x="337" y="549"/>
                  </a:lnTo>
                  <a:lnTo>
                    <a:pt x="369" y="547"/>
                  </a:lnTo>
                  <a:lnTo>
                    <a:pt x="394" y="547"/>
                  </a:lnTo>
                  <a:lnTo>
                    <a:pt x="414" y="548"/>
                  </a:lnTo>
                  <a:lnTo>
                    <a:pt x="432" y="550"/>
                  </a:lnTo>
                  <a:lnTo>
                    <a:pt x="446" y="554"/>
                  </a:lnTo>
                  <a:lnTo>
                    <a:pt x="459" y="560"/>
                  </a:lnTo>
                  <a:lnTo>
                    <a:pt x="469" y="567"/>
                  </a:lnTo>
                  <a:lnTo>
                    <a:pt x="478" y="573"/>
                  </a:lnTo>
                  <a:lnTo>
                    <a:pt x="487" y="582"/>
                  </a:lnTo>
                  <a:lnTo>
                    <a:pt x="502" y="601"/>
                  </a:lnTo>
                  <a:lnTo>
                    <a:pt x="521" y="624"/>
                  </a:lnTo>
                  <a:lnTo>
                    <a:pt x="532" y="635"/>
                  </a:lnTo>
                  <a:lnTo>
                    <a:pt x="547" y="646"/>
                  </a:lnTo>
                  <a:lnTo>
                    <a:pt x="564" y="658"/>
                  </a:lnTo>
                  <a:lnTo>
                    <a:pt x="583" y="669"/>
                  </a:lnTo>
                  <a:lnTo>
                    <a:pt x="593" y="674"/>
                  </a:lnTo>
                  <a:lnTo>
                    <a:pt x="603" y="678"/>
                  </a:lnTo>
                  <a:lnTo>
                    <a:pt x="614" y="681"/>
                  </a:lnTo>
                  <a:lnTo>
                    <a:pt x="626" y="684"/>
                  </a:lnTo>
                  <a:lnTo>
                    <a:pt x="638" y="685"/>
                  </a:lnTo>
                  <a:lnTo>
                    <a:pt x="651" y="686"/>
                  </a:lnTo>
                  <a:lnTo>
                    <a:pt x="663" y="686"/>
                  </a:lnTo>
                  <a:lnTo>
                    <a:pt x="675" y="686"/>
                  </a:lnTo>
                  <a:lnTo>
                    <a:pt x="687" y="684"/>
                  </a:lnTo>
                  <a:lnTo>
                    <a:pt x="700" y="683"/>
                  </a:lnTo>
                  <a:lnTo>
                    <a:pt x="711" y="679"/>
                  </a:lnTo>
                  <a:lnTo>
                    <a:pt x="722" y="676"/>
                  </a:lnTo>
                  <a:lnTo>
                    <a:pt x="732" y="672"/>
                  </a:lnTo>
                  <a:lnTo>
                    <a:pt x="742" y="666"/>
                  </a:lnTo>
                  <a:lnTo>
                    <a:pt x="751" y="660"/>
                  </a:lnTo>
                  <a:lnTo>
                    <a:pt x="759" y="654"/>
                  </a:lnTo>
                  <a:lnTo>
                    <a:pt x="766" y="645"/>
                  </a:lnTo>
                  <a:lnTo>
                    <a:pt x="771" y="635"/>
                  </a:lnTo>
                  <a:lnTo>
                    <a:pt x="776" y="624"/>
                  </a:lnTo>
                  <a:lnTo>
                    <a:pt x="779" y="611"/>
                  </a:lnTo>
                  <a:lnTo>
                    <a:pt x="781" y="598"/>
                  </a:lnTo>
                  <a:lnTo>
                    <a:pt x="782" y="585"/>
                  </a:lnTo>
                  <a:lnTo>
                    <a:pt x="783" y="569"/>
                  </a:lnTo>
                  <a:lnTo>
                    <a:pt x="782" y="553"/>
                  </a:lnTo>
                  <a:lnTo>
                    <a:pt x="780" y="520"/>
                  </a:lnTo>
                  <a:lnTo>
                    <a:pt x="775" y="484"/>
                  </a:lnTo>
                  <a:lnTo>
                    <a:pt x="769" y="447"/>
                  </a:lnTo>
                  <a:lnTo>
                    <a:pt x="762" y="409"/>
                  </a:lnTo>
                  <a:lnTo>
                    <a:pt x="756" y="373"/>
                  </a:lnTo>
                  <a:lnTo>
                    <a:pt x="750" y="338"/>
                  </a:lnTo>
                  <a:lnTo>
                    <a:pt x="748" y="320"/>
                  </a:lnTo>
                  <a:lnTo>
                    <a:pt x="747" y="303"/>
                  </a:lnTo>
                  <a:lnTo>
                    <a:pt x="746" y="288"/>
                  </a:lnTo>
                  <a:lnTo>
                    <a:pt x="746" y="272"/>
                  </a:lnTo>
                  <a:lnTo>
                    <a:pt x="747" y="259"/>
                  </a:lnTo>
                  <a:lnTo>
                    <a:pt x="748" y="245"/>
                  </a:lnTo>
                  <a:lnTo>
                    <a:pt x="751" y="233"/>
                  </a:lnTo>
                  <a:lnTo>
                    <a:pt x="754" y="222"/>
                  </a:lnTo>
                  <a:lnTo>
                    <a:pt x="760" y="212"/>
                  </a:lnTo>
                  <a:lnTo>
                    <a:pt x="767" y="203"/>
                  </a:lnTo>
                  <a:lnTo>
                    <a:pt x="775" y="196"/>
                  </a:lnTo>
                  <a:lnTo>
                    <a:pt x="783" y="191"/>
                  </a:lnTo>
                  <a:lnTo>
                    <a:pt x="805" y="182"/>
                  </a:lnTo>
                  <a:lnTo>
                    <a:pt x="826" y="175"/>
                  </a:lnTo>
                  <a:lnTo>
                    <a:pt x="847" y="171"/>
                  </a:lnTo>
                  <a:lnTo>
                    <a:pt x="867" y="167"/>
                  </a:lnTo>
                  <a:lnTo>
                    <a:pt x="887" y="166"/>
                  </a:lnTo>
                  <a:lnTo>
                    <a:pt x="906" y="166"/>
                  </a:lnTo>
                  <a:lnTo>
                    <a:pt x="925" y="166"/>
                  </a:lnTo>
                  <a:lnTo>
                    <a:pt x="944" y="168"/>
                  </a:lnTo>
                  <a:lnTo>
                    <a:pt x="980" y="172"/>
                  </a:lnTo>
                  <a:lnTo>
                    <a:pt x="1015" y="176"/>
                  </a:lnTo>
                  <a:lnTo>
                    <a:pt x="1031" y="177"/>
                  </a:lnTo>
                  <a:lnTo>
                    <a:pt x="1048" y="177"/>
                  </a:lnTo>
                  <a:lnTo>
                    <a:pt x="1065" y="176"/>
                  </a:lnTo>
                  <a:lnTo>
                    <a:pt x="1080" y="174"/>
                  </a:lnTo>
                  <a:lnTo>
                    <a:pt x="1090" y="171"/>
                  </a:lnTo>
                  <a:lnTo>
                    <a:pt x="1101" y="167"/>
                  </a:lnTo>
                  <a:lnTo>
                    <a:pt x="1112" y="163"/>
                  </a:lnTo>
                  <a:lnTo>
                    <a:pt x="1121" y="156"/>
                  </a:lnTo>
                  <a:lnTo>
                    <a:pt x="1131" y="149"/>
                  </a:lnTo>
                  <a:lnTo>
                    <a:pt x="1141" y="142"/>
                  </a:lnTo>
                  <a:lnTo>
                    <a:pt x="1151" y="133"/>
                  </a:lnTo>
                  <a:lnTo>
                    <a:pt x="1160" y="123"/>
                  </a:lnTo>
                  <a:lnTo>
                    <a:pt x="1170" y="111"/>
                  </a:lnTo>
                  <a:lnTo>
                    <a:pt x="1180" y="98"/>
                  </a:lnTo>
                  <a:lnTo>
                    <a:pt x="1189" y="85"/>
                  </a:lnTo>
                  <a:lnTo>
                    <a:pt x="1199" y="70"/>
                  </a:lnTo>
                  <a:lnTo>
                    <a:pt x="1219" y="38"/>
                  </a:lnTo>
                  <a:lnTo>
                    <a:pt x="124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4" name="Freeform 27">
              <a:extLst>
                <a:ext uri="{FF2B5EF4-FFF2-40B4-BE49-F238E27FC236}">
                  <a16:creationId xmlns:a16="http://schemas.microsoft.com/office/drawing/2014/main" id="{FDFE72B0-710D-4EAC-9BAE-7BE46501BA36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726238" y="3857625"/>
              <a:ext cx="200025" cy="172526"/>
            </a:xfrm>
            <a:custGeom>
              <a:avLst/>
              <a:gdLst/>
              <a:ahLst/>
              <a:cxnLst>
                <a:cxn ang="0">
                  <a:pos x="489" y="57"/>
                </a:cxn>
                <a:cxn ang="0">
                  <a:pos x="461" y="102"/>
                </a:cxn>
                <a:cxn ang="0">
                  <a:pos x="451" y="207"/>
                </a:cxn>
                <a:cxn ang="0">
                  <a:pos x="411" y="290"/>
                </a:cxn>
                <a:cxn ang="0">
                  <a:pos x="289" y="319"/>
                </a:cxn>
                <a:cxn ang="0">
                  <a:pos x="246" y="360"/>
                </a:cxn>
                <a:cxn ang="0">
                  <a:pos x="238" y="380"/>
                </a:cxn>
                <a:cxn ang="0">
                  <a:pos x="198" y="401"/>
                </a:cxn>
                <a:cxn ang="0">
                  <a:pos x="179" y="415"/>
                </a:cxn>
                <a:cxn ang="0">
                  <a:pos x="156" y="431"/>
                </a:cxn>
                <a:cxn ang="0">
                  <a:pos x="129" y="454"/>
                </a:cxn>
                <a:cxn ang="0">
                  <a:pos x="104" y="469"/>
                </a:cxn>
                <a:cxn ang="0">
                  <a:pos x="83" y="482"/>
                </a:cxn>
                <a:cxn ang="0">
                  <a:pos x="31" y="532"/>
                </a:cxn>
                <a:cxn ang="0">
                  <a:pos x="17" y="575"/>
                </a:cxn>
                <a:cxn ang="0">
                  <a:pos x="41" y="583"/>
                </a:cxn>
                <a:cxn ang="0">
                  <a:pos x="65" y="603"/>
                </a:cxn>
                <a:cxn ang="0">
                  <a:pos x="94" y="670"/>
                </a:cxn>
                <a:cxn ang="0">
                  <a:pos x="105" y="718"/>
                </a:cxn>
                <a:cxn ang="0">
                  <a:pos x="128" y="773"/>
                </a:cxn>
                <a:cxn ang="0">
                  <a:pos x="162" y="819"/>
                </a:cxn>
                <a:cxn ang="0">
                  <a:pos x="203" y="827"/>
                </a:cxn>
                <a:cxn ang="0">
                  <a:pos x="322" y="831"/>
                </a:cxn>
                <a:cxn ang="0">
                  <a:pos x="339" y="756"/>
                </a:cxn>
                <a:cxn ang="0">
                  <a:pos x="382" y="697"/>
                </a:cxn>
                <a:cxn ang="0">
                  <a:pos x="398" y="673"/>
                </a:cxn>
                <a:cxn ang="0">
                  <a:pos x="413" y="663"/>
                </a:cxn>
                <a:cxn ang="0">
                  <a:pos x="450" y="678"/>
                </a:cxn>
                <a:cxn ang="0">
                  <a:pos x="466" y="694"/>
                </a:cxn>
                <a:cxn ang="0">
                  <a:pos x="484" y="723"/>
                </a:cxn>
                <a:cxn ang="0">
                  <a:pos x="511" y="755"/>
                </a:cxn>
                <a:cxn ang="0">
                  <a:pos x="527" y="766"/>
                </a:cxn>
                <a:cxn ang="0">
                  <a:pos x="555" y="783"/>
                </a:cxn>
                <a:cxn ang="0">
                  <a:pos x="655" y="830"/>
                </a:cxn>
                <a:cxn ang="0">
                  <a:pos x="732" y="886"/>
                </a:cxn>
                <a:cxn ang="0">
                  <a:pos x="781" y="932"/>
                </a:cxn>
                <a:cxn ang="0">
                  <a:pos x="835" y="974"/>
                </a:cxn>
                <a:cxn ang="0">
                  <a:pos x="883" y="1007"/>
                </a:cxn>
                <a:cxn ang="0">
                  <a:pos x="923" y="1034"/>
                </a:cxn>
                <a:cxn ang="0">
                  <a:pos x="1000" y="1057"/>
                </a:cxn>
                <a:cxn ang="0">
                  <a:pos x="1030" y="1027"/>
                </a:cxn>
                <a:cxn ang="0">
                  <a:pos x="1041" y="1008"/>
                </a:cxn>
                <a:cxn ang="0">
                  <a:pos x="1075" y="966"/>
                </a:cxn>
                <a:cxn ang="0">
                  <a:pos x="1104" y="936"/>
                </a:cxn>
                <a:cxn ang="0">
                  <a:pos x="1080" y="889"/>
                </a:cxn>
                <a:cxn ang="0">
                  <a:pos x="1039" y="859"/>
                </a:cxn>
                <a:cxn ang="0">
                  <a:pos x="1039" y="790"/>
                </a:cxn>
                <a:cxn ang="0">
                  <a:pos x="1027" y="719"/>
                </a:cxn>
                <a:cxn ang="0">
                  <a:pos x="1000" y="698"/>
                </a:cxn>
                <a:cxn ang="0">
                  <a:pos x="940" y="667"/>
                </a:cxn>
                <a:cxn ang="0">
                  <a:pos x="894" y="641"/>
                </a:cxn>
                <a:cxn ang="0">
                  <a:pos x="883" y="630"/>
                </a:cxn>
                <a:cxn ang="0">
                  <a:pos x="863" y="602"/>
                </a:cxn>
                <a:cxn ang="0">
                  <a:pos x="834" y="563"/>
                </a:cxn>
                <a:cxn ang="0">
                  <a:pos x="827" y="550"/>
                </a:cxn>
                <a:cxn ang="0">
                  <a:pos x="790" y="540"/>
                </a:cxn>
                <a:cxn ang="0">
                  <a:pos x="702" y="498"/>
                </a:cxn>
                <a:cxn ang="0">
                  <a:pos x="664" y="360"/>
                </a:cxn>
                <a:cxn ang="0">
                  <a:pos x="645" y="320"/>
                </a:cxn>
                <a:cxn ang="0">
                  <a:pos x="634" y="306"/>
                </a:cxn>
                <a:cxn ang="0">
                  <a:pos x="594" y="11"/>
                </a:cxn>
              </a:cxnLst>
              <a:rect l="0" t="0" r="r" b="b"/>
              <a:pathLst>
                <a:path w="1105" h="1057">
                  <a:moveTo>
                    <a:pt x="536" y="0"/>
                  </a:moveTo>
                  <a:lnTo>
                    <a:pt x="522" y="13"/>
                  </a:lnTo>
                  <a:lnTo>
                    <a:pt x="507" y="28"/>
                  </a:lnTo>
                  <a:lnTo>
                    <a:pt x="500" y="37"/>
                  </a:lnTo>
                  <a:lnTo>
                    <a:pt x="493" y="45"/>
                  </a:lnTo>
                  <a:lnTo>
                    <a:pt x="491" y="50"/>
                  </a:lnTo>
                  <a:lnTo>
                    <a:pt x="490" y="54"/>
                  </a:lnTo>
                  <a:lnTo>
                    <a:pt x="489" y="57"/>
                  </a:lnTo>
                  <a:lnTo>
                    <a:pt x="488" y="62"/>
                  </a:lnTo>
                  <a:lnTo>
                    <a:pt x="482" y="64"/>
                  </a:lnTo>
                  <a:lnTo>
                    <a:pt x="478" y="66"/>
                  </a:lnTo>
                  <a:lnTo>
                    <a:pt x="475" y="67"/>
                  </a:lnTo>
                  <a:lnTo>
                    <a:pt x="474" y="70"/>
                  </a:lnTo>
                  <a:lnTo>
                    <a:pt x="471" y="74"/>
                  </a:lnTo>
                  <a:lnTo>
                    <a:pt x="461" y="82"/>
                  </a:lnTo>
                  <a:lnTo>
                    <a:pt x="461" y="102"/>
                  </a:lnTo>
                  <a:lnTo>
                    <a:pt x="459" y="105"/>
                  </a:lnTo>
                  <a:lnTo>
                    <a:pt x="457" y="113"/>
                  </a:lnTo>
                  <a:lnTo>
                    <a:pt x="455" y="124"/>
                  </a:lnTo>
                  <a:lnTo>
                    <a:pt x="455" y="138"/>
                  </a:lnTo>
                  <a:lnTo>
                    <a:pt x="454" y="166"/>
                  </a:lnTo>
                  <a:lnTo>
                    <a:pt x="454" y="184"/>
                  </a:lnTo>
                  <a:lnTo>
                    <a:pt x="453" y="195"/>
                  </a:lnTo>
                  <a:lnTo>
                    <a:pt x="451" y="207"/>
                  </a:lnTo>
                  <a:lnTo>
                    <a:pt x="447" y="220"/>
                  </a:lnTo>
                  <a:lnTo>
                    <a:pt x="444" y="233"/>
                  </a:lnTo>
                  <a:lnTo>
                    <a:pt x="437" y="256"/>
                  </a:lnTo>
                  <a:lnTo>
                    <a:pt x="434" y="272"/>
                  </a:lnTo>
                  <a:lnTo>
                    <a:pt x="427" y="278"/>
                  </a:lnTo>
                  <a:lnTo>
                    <a:pt x="421" y="285"/>
                  </a:lnTo>
                  <a:lnTo>
                    <a:pt x="415" y="286"/>
                  </a:lnTo>
                  <a:lnTo>
                    <a:pt x="411" y="290"/>
                  </a:lnTo>
                  <a:lnTo>
                    <a:pt x="408" y="294"/>
                  </a:lnTo>
                  <a:lnTo>
                    <a:pt x="407" y="298"/>
                  </a:lnTo>
                  <a:lnTo>
                    <a:pt x="379" y="301"/>
                  </a:lnTo>
                  <a:lnTo>
                    <a:pt x="338" y="305"/>
                  </a:lnTo>
                  <a:lnTo>
                    <a:pt x="318" y="309"/>
                  </a:lnTo>
                  <a:lnTo>
                    <a:pt x="301" y="313"/>
                  </a:lnTo>
                  <a:lnTo>
                    <a:pt x="294" y="316"/>
                  </a:lnTo>
                  <a:lnTo>
                    <a:pt x="289" y="319"/>
                  </a:lnTo>
                  <a:lnTo>
                    <a:pt x="286" y="322"/>
                  </a:lnTo>
                  <a:lnTo>
                    <a:pt x="284" y="326"/>
                  </a:lnTo>
                  <a:lnTo>
                    <a:pt x="271" y="326"/>
                  </a:lnTo>
                  <a:lnTo>
                    <a:pt x="264" y="333"/>
                  </a:lnTo>
                  <a:lnTo>
                    <a:pt x="258" y="340"/>
                  </a:lnTo>
                  <a:lnTo>
                    <a:pt x="258" y="353"/>
                  </a:lnTo>
                  <a:lnTo>
                    <a:pt x="251" y="360"/>
                  </a:lnTo>
                  <a:lnTo>
                    <a:pt x="246" y="360"/>
                  </a:lnTo>
                  <a:lnTo>
                    <a:pt x="245" y="361"/>
                  </a:lnTo>
                  <a:lnTo>
                    <a:pt x="244" y="362"/>
                  </a:lnTo>
                  <a:lnTo>
                    <a:pt x="244" y="363"/>
                  </a:lnTo>
                  <a:lnTo>
                    <a:pt x="244" y="364"/>
                  </a:lnTo>
                  <a:lnTo>
                    <a:pt x="243" y="365"/>
                  </a:lnTo>
                  <a:lnTo>
                    <a:pt x="241" y="367"/>
                  </a:lnTo>
                  <a:lnTo>
                    <a:pt x="238" y="367"/>
                  </a:lnTo>
                  <a:lnTo>
                    <a:pt x="238" y="380"/>
                  </a:lnTo>
                  <a:lnTo>
                    <a:pt x="224" y="383"/>
                  </a:lnTo>
                  <a:lnTo>
                    <a:pt x="210" y="387"/>
                  </a:lnTo>
                  <a:lnTo>
                    <a:pt x="203" y="393"/>
                  </a:lnTo>
                  <a:lnTo>
                    <a:pt x="203" y="398"/>
                  </a:lnTo>
                  <a:lnTo>
                    <a:pt x="202" y="400"/>
                  </a:lnTo>
                  <a:lnTo>
                    <a:pt x="201" y="400"/>
                  </a:lnTo>
                  <a:lnTo>
                    <a:pt x="200" y="400"/>
                  </a:lnTo>
                  <a:lnTo>
                    <a:pt x="198" y="401"/>
                  </a:lnTo>
                  <a:lnTo>
                    <a:pt x="197" y="401"/>
                  </a:lnTo>
                  <a:lnTo>
                    <a:pt x="197" y="403"/>
                  </a:lnTo>
                  <a:lnTo>
                    <a:pt x="196" y="408"/>
                  </a:lnTo>
                  <a:lnTo>
                    <a:pt x="183" y="408"/>
                  </a:lnTo>
                  <a:lnTo>
                    <a:pt x="183" y="411"/>
                  </a:lnTo>
                  <a:lnTo>
                    <a:pt x="182" y="413"/>
                  </a:lnTo>
                  <a:lnTo>
                    <a:pt x="181" y="413"/>
                  </a:lnTo>
                  <a:lnTo>
                    <a:pt x="179" y="415"/>
                  </a:lnTo>
                  <a:lnTo>
                    <a:pt x="178" y="415"/>
                  </a:lnTo>
                  <a:lnTo>
                    <a:pt x="177" y="415"/>
                  </a:lnTo>
                  <a:lnTo>
                    <a:pt x="176" y="417"/>
                  </a:lnTo>
                  <a:lnTo>
                    <a:pt x="176" y="421"/>
                  </a:lnTo>
                  <a:lnTo>
                    <a:pt x="172" y="421"/>
                  </a:lnTo>
                  <a:lnTo>
                    <a:pt x="166" y="425"/>
                  </a:lnTo>
                  <a:lnTo>
                    <a:pt x="161" y="427"/>
                  </a:lnTo>
                  <a:lnTo>
                    <a:pt x="156" y="431"/>
                  </a:lnTo>
                  <a:lnTo>
                    <a:pt x="150" y="435"/>
                  </a:lnTo>
                  <a:lnTo>
                    <a:pt x="146" y="438"/>
                  </a:lnTo>
                  <a:lnTo>
                    <a:pt x="140" y="440"/>
                  </a:lnTo>
                  <a:lnTo>
                    <a:pt x="136" y="441"/>
                  </a:lnTo>
                  <a:lnTo>
                    <a:pt x="135" y="446"/>
                  </a:lnTo>
                  <a:lnTo>
                    <a:pt x="134" y="449"/>
                  </a:lnTo>
                  <a:lnTo>
                    <a:pt x="131" y="451"/>
                  </a:lnTo>
                  <a:lnTo>
                    <a:pt x="129" y="454"/>
                  </a:lnTo>
                  <a:lnTo>
                    <a:pt x="126" y="456"/>
                  </a:lnTo>
                  <a:lnTo>
                    <a:pt x="124" y="457"/>
                  </a:lnTo>
                  <a:lnTo>
                    <a:pt x="123" y="459"/>
                  </a:lnTo>
                  <a:lnTo>
                    <a:pt x="123" y="461"/>
                  </a:lnTo>
                  <a:lnTo>
                    <a:pt x="108" y="461"/>
                  </a:lnTo>
                  <a:lnTo>
                    <a:pt x="108" y="464"/>
                  </a:lnTo>
                  <a:lnTo>
                    <a:pt x="106" y="467"/>
                  </a:lnTo>
                  <a:lnTo>
                    <a:pt x="104" y="469"/>
                  </a:lnTo>
                  <a:lnTo>
                    <a:pt x="101" y="470"/>
                  </a:lnTo>
                  <a:lnTo>
                    <a:pt x="95" y="474"/>
                  </a:lnTo>
                  <a:lnTo>
                    <a:pt x="88" y="475"/>
                  </a:lnTo>
                  <a:lnTo>
                    <a:pt x="88" y="479"/>
                  </a:lnTo>
                  <a:lnTo>
                    <a:pt x="87" y="482"/>
                  </a:lnTo>
                  <a:lnTo>
                    <a:pt x="86" y="482"/>
                  </a:lnTo>
                  <a:lnTo>
                    <a:pt x="85" y="482"/>
                  </a:lnTo>
                  <a:lnTo>
                    <a:pt x="83" y="482"/>
                  </a:lnTo>
                  <a:lnTo>
                    <a:pt x="82" y="483"/>
                  </a:lnTo>
                  <a:lnTo>
                    <a:pt x="81" y="485"/>
                  </a:lnTo>
                  <a:lnTo>
                    <a:pt x="81" y="488"/>
                  </a:lnTo>
                  <a:lnTo>
                    <a:pt x="75" y="490"/>
                  </a:lnTo>
                  <a:lnTo>
                    <a:pt x="67" y="496"/>
                  </a:lnTo>
                  <a:lnTo>
                    <a:pt x="58" y="504"/>
                  </a:lnTo>
                  <a:lnTo>
                    <a:pt x="48" y="513"/>
                  </a:lnTo>
                  <a:lnTo>
                    <a:pt x="31" y="532"/>
                  </a:lnTo>
                  <a:lnTo>
                    <a:pt x="20" y="543"/>
                  </a:lnTo>
                  <a:lnTo>
                    <a:pt x="10" y="546"/>
                  </a:lnTo>
                  <a:lnTo>
                    <a:pt x="0" y="550"/>
                  </a:lnTo>
                  <a:lnTo>
                    <a:pt x="0" y="570"/>
                  </a:lnTo>
                  <a:lnTo>
                    <a:pt x="13" y="570"/>
                  </a:lnTo>
                  <a:lnTo>
                    <a:pt x="14" y="572"/>
                  </a:lnTo>
                  <a:lnTo>
                    <a:pt x="14" y="574"/>
                  </a:lnTo>
                  <a:lnTo>
                    <a:pt x="17" y="575"/>
                  </a:lnTo>
                  <a:lnTo>
                    <a:pt x="18" y="576"/>
                  </a:lnTo>
                  <a:lnTo>
                    <a:pt x="22" y="576"/>
                  </a:lnTo>
                  <a:lnTo>
                    <a:pt x="27" y="576"/>
                  </a:lnTo>
                  <a:lnTo>
                    <a:pt x="28" y="579"/>
                  </a:lnTo>
                  <a:lnTo>
                    <a:pt x="29" y="581"/>
                  </a:lnTo>
                  <a:lnTo>
                    <a:pt x="32" y="582"/>
                  </a:lnTo>
                  <a:lnTo>
                    <a:pt x="34" y="583"/>
                  </a:lnTo>
                  <a:lnTo>
                    <a:pt x="41" y="583"/>
                  </a:lnTo>
                  <a:lnTo>
                    <a:pt x="48" y="583"/>
                  </a:lnTo>
                  <a:lnTo>
                    <a:pt x="48" y="586"/>
                  </a:lnTo>
                  <a:lnTo>
                    <a:pt x="50" y="590"/>
                  </a:lnTo>
                  <a:lnTo>
                    <a:pt x="52" y="593"/>
                  </a:lnTo>
                  <a:lnTo>
                    <a:pt x="56" y="596"/>
                  </a:lnTo>
                  <a:lnTo>
                    <a:pt x="58" y="599"/>
                  </a:lnTo>
                  <a:lnTo>
                    <a:pt x="62" y="602"/>
                  </a:lnTo>
                  <a:lnTo>
                    <a:pt x="65" y="603"/>
                  </a:lnTo>
                  <a:lnTo>
                    <a:pt x="68" y="604"/>
                  </a:lnTo>
                  <a:lnTo>
                    <a:pt x="75" y="618"/>
                  </a:lnTo>
                  <a:lnTo>
                    <a:pt x="75" y="631"/>
                  </a:lnTo>
                  <a:lnTo>
                    <a:pt x="88" y="644"/>
                  </a:lnTo>
                  <a:lnTo>
                    <a:pt x="88" y="665"/>
                  </a:lnTo>
                  <a:lnTo>
                    <a:pt x="90" y="666"/>
                  </a:lnTo>
                  <a:lnTo>
                    <a:pt x="92" y="667"/>
                  </a:lnTo>
                  <a:lnTo>
                    <a:pt x="94" y="670"/>
                  </a:lnTo>
                  <a:lnTo>
                    <a:pt x="95" y="673"/>
                  </a:lnTo>
                  <a:lnTo>
                    <a:pt x="95" y="682"/>
                  </a:lnTo>
                  <a:lnTo>
                    <a:pt x="96" y="692"/>
                  </a:lnTo>
                  <a:lnTo>
                    <a:pt x="97" y="701"/>
                  </a:lnTo>
                  <a:lnTo>
                    <a:pt x="99" y="710"/>
                  </a:lnTo>
                  <a:lnTo>
                    <a:pt x="100" y="714"/>
                  </a:lnTo>
                  <a:lnTo>
                    <a:pt x="102" y="717"/>
                  </a:lnTo>
                  <a:lnTo>
                    <a:pt x="105" y="718"/>
                  </a:lnTo>
                  <a:lnTo>
                    <a:pt x="108" y="719"/>
                  </a:lnTo>
                  <a:lnTo>
                    <a:pt x="109" y="727"/>
                  </a:lnTo>
                  <a:lnTo>
                    <a:pt x="111" y="734"/>
                  </a:lnTo>
                  <a:lnTo>
                    <a:pt x="115" y="742"/>
                  </a:lnTo>
                  <a:lnTo>
                    <a:pt x="118" y="749"/>
                  </a:lnTo>
                  <a:lnTo>
                    <a:pt x="123" y="757"/>
                  </a:lnTo>
                  <a:lnTo>
                    <a:pt x="126" y="765"/>
                  </a:lnTo>
                  <a:lnTo>
                    <a:pt x="128" y="773"/>
                  </a:lnTo>
                  <a:lnTo>
                    <a:pt x="129" y="779"/>
                  </a:lnTo>
                  <a:lnTo>
                    <a:pt x="143" y="794"/>
                  </a:lnTo>
                  <a:lnTo>
                    <a:pt x="143" y="807"/>
                  </a:lnTo>
                  <a:lnTo>
                    <a:pt x="148" y="809"/>
                  </a:lnTo>
                  <a:lnTo>
                    <a:pt x="155" y="812"/>
                  </a:lnTo>
                  <a:lnTo>
                    <a:pt x="158" y="813"/>
                  </a:lnTo>
                  <a:lnTo>
                    <a:pt x="161" y="815"/>
                  </a:lnTo>
                  <a:lnTo>
                    <a:pt x="162" y="819"/>
                  </a:lnTo>
                  <a:lnTo>
                    <a:pt x="163" y="821"/>
                  </a:lnTo>
                  <a:lnTo>
                    <a:pt x="183" y="821"/>
                  </a:lnTo>
                  <a:lnTo>
                    <a:pt x="184" y="823"/>
                  </a:lnTo>
                  <a:lnTo>
                    <a:pt x="185" y="824"/>
                  </a:lnTo>
                  <a:lnTo>
                    <a:pt x="187" y="825"/>
                  </a:lnTo>
                  <a:lnTo>
                    <a:pt x="191" y="826"/>
                  </a:lnTo>
                  <a:lnTo>
                    <a:pt x="197" y="827"/>
                  </a:lnTo>
                  <a:lnTo>
                    <a:pt x="203" y="827"/>
                  </a:lnTo>
                  <a:lnTo>
                    <a:pt x="217" y="841"/>
                  </a:lnTo>
                  <a:lnTo>
                    <a:pt x="242" y="842"/>
                  </a:lnTo>
                  <a:lnTo>
                    <a:pt x="268" y="844"/>
                  </a:lnTo>
                  <a:lnTo>
                    <a:pt x="293" y="846"/>
                  </a:lnTo>
                  <a:lnTo>
                    <a:pt x="319" y="848"/>
                  </a:lnTo>
                  <a:lnTo>
                    <a:pt x="319" y="834"/>
                  </a:lnTo>
                  <a:lnTo>
                    <a:pt x="321" y="833"/>
                  </a:lnTo>
                  <a:lnTo>
                    <a:pt x="322" y="831"/>
                  </a:lnTo>
                  <a:lnTo>
                    <a:pt x="325" y="826"/>
                  </a:lnTo>
                  <a:lnTo>
                    <a:pt x="326" y="822"/>
                  </a:lnTo>
                  <a:lnTo>
                    <a:pt x="328" y="809"/>
                  </a:lnTo>
                  <a:lnTo>
                    <a:pt x="329" y="794"/>
                  </a:lnTo>
                  <a:lnTo>
                    <a:pt x="331" y="778"/>
                  </a:lnTo>
                  <a:lnTo>
                    <a:pt x="335" y="766"/>
                  </a:lnTo>
                  <a:lnTo>
                    <a:pt x="337" y="761"/>
                  </a:lnTo>
                  <a:lnTo>
                    <a:pt x="339" y="756"/>
                  </a:lnTo>
                  <a:lnTo>
                    <a:pt x="342" y="754"/>
                  </a:lnTo>
                  <a:lnTo>
                    <a:pt x="346" y="753"/>
                  </a:lnTo>
                  <a:lnTo>
                    <a:pt x="346" y="739"/>
                  </a:lnTo>
                  <a:lnTo>
                    <a:pt x="353" y="726"/>
                  </a:lnTo>
                  <a:lnTo>
                    <a:pt x="358" y="721"/>
                  </a:lnTo>
                  <a:lnTo>
                    <a:pt x="369" y="710"/>
                  </a:lnTo>
                  <a:lnTo>
                    <a:pt x="376" y="704"/>
                  </a:lnTo>
                  <a:lnTo>
                    <a:pt x="382" y="697"/>
                  </a:lnTo>
                  <a:lnTo>
                    <a:pt x="385" y="691"/>
                  </a:lnTo>
                  <a:lnTo>
                    <a:pt x="386" y="685"/>
                  </a:lnTo>
                  <a:lnTo>
                    <a:pt x="388" y="685"/>
                  </a:lnTo>
                  <a:lnTo>
                    <a:pt x="390" y="684"/>
                  </a:lnTo>
                  <a:lnTo>
                    <a:pt x="393" y="681"/>
                  </a:lnTo>
                  <a:lnTo>
                    <a:pt x="394" y="678"/>
                  </a:lnTo>
                  <a:lnTo>
                    <a:pt x="396" y="676"/>
                  </a:lnTo>
                  <a:lnTo>
                    <a:pt x="398" y="673"/>
                  </a:lnTo>
                  <a:lnTo>
                    <a:pt x="402" y="672"/>
                  </a:lnTo>
                  <a:lnTo>
                    <a:pt x="407" y="671"/>
                  </a:lnTo>
                  <a:lnTo>
                    <a:pt x="407" y="668"/>
                  </a:lnTo>
                  <a:lnTo>
                    <a:pt x="407" y="666"/>
                  </a:lnTo>
                  <a:lnTo>
                    <a:pt x="408" y="665"/>
                  </a:lnTo>
                  <a:lnTo>
                    <a:pt x="411" y="665"/>
                  </a:lnTo>
                  <a:lnTo>
                    <a:pt x="412" y="665"/>
                  </a:lnTo>
                  <a:lnTo>
                    <a:pt x="413" y="663"/>
                  </a:lnTo>
                  <a:lnTo>
                    <a:pt x="413" y="662"/>
                  </a:lnTo>
                  <a:lnTo>
                    <a:pt x="414" y="658"/>
                  </a:lnTo>
                  <a:lnTo>
                    <a:pt x="427" y="661"/>
                  </a:lnTo>
                  <a:lnTo>
                    <a:pt x="441" y="665"/>
                  </a:lnTo>
                  <a:lnTo>
                    <a:pt x="447" y="671"/>
                  </a:lnTo>
                  <a:lnTo>
                    <a:pt x="447" y="676"/>
                  </a:lnTo>
                  <a:lnTo>
                    <a:pt x="449" y="678"/>
                  </a:lnTo>
                  <a:lnTo>
                    <a:pt x="450" y="678"/>
                  </a:lnTo>
                  <a:lnTo>
                    <a:pt x="451" y="678"/>
                  </a:lnTo>
                  <a:lnTo>
                    <a:pt x="452" y="678"/>
                  </a:lnTo>
                  <a:lnTo>
                    <a:pt x="453" y="679"/>
                  </a:lnTo>
                  <a:lnTo>
                    <a:pt x="454" y="681"/>
                  </a:lnTo>
                  <a:lnTo>
                    <a:pt x="454" y="685"/>
                  </a:lnTo>
                  <a:lnTo>
                    <a:pt x="459" y="686"/>
                  </a:lnTo>
                  <a:lnTo>
                    <a:pt x="463" y="689"/>
                  </a:lnTo>
                  <a:lnTo>
                    <a:pt x="466" y="694"/>
                  </a:lnTo>
                  <a:lnTo>
                    <a:pt x="467" y="699"/>
                  </a:lnTo>
                  <a:lnTo>
                    <a:pt x="470" y="699"/>
                  </a:lnTo>
                  <a:lnTo>
                    <a:pt x="473" y="701"/>
                  </a:lnTo>
                  <a:lnTo>
                    <a:pt x="475" y="704"/>
                  </a:lnTo>
                  <a:lnTo>
                    <a:pt x="476" y="706"/>
                  </a:lnTo>
                  <a:lnTo>
                    <a:pt x="480" y="713"/>
                  </a:lnTo>
                  <a:lnTo>
                    <a:pt x="481" y="719"/>
                  </a:lnTo>
                  <a:lnTo>
                    <a:pt x="484" y="723"/>
                  </a:lnTo>
                  <a:lnTo>
                    <a:pt x="491" y="730"/>
                  </a:lnTo>
                  <a:lnTo>
                    <a:pt x="499" y="739"/>
                  </a:lnTo>
                  <a:lnTo>
                    <a:pt x="502" y="746"/>
                  </a:lnTo>
                  <a:lnTo>
                    <a:pt x="504" y="747"/>
                  </a:lnTo>
                  <a:lnTo>
                    <a:pt x="505" y="748"/>
                  </a:lnTo>
                  <a:lnTo>
                    <a:pt x="508" y="750"/>
                  </a:lnTo>
                  <a:lnTo>
                    <a:pt x="509" y="753"/>
                  </a:lnTo>
                  <a:lnTo>
                    <a:pt x="511" y="755"/>
                  </a:lnTo>
                  <a:lnTo>
                    <a:pt x="514" y="757"/>
                  </a:lnTo>
                  <a:lnTo>
                    <a:pt x="518" y="759"/>
                  </a:lnTo>
                  <a:lnTo>
                    <a:pt x="522" y="759"/>
                  </a:lnTo>
                  <a:lnTo>
                    <a:pt x="522" y="764"/>
                  </a:lnTo>
                  <a:lnTo>
                    <a:pt x="523" y="766"/>
                  </a:lnTo>
                  <a:lnTo>
                    <a:pt x="524" y="766"/>
                  </a:lnTo>
                  <a:lnTo>
                    <a:pt x="526" y="766"/>
                  </a:lnTo>
                  <a:lnTo>
                    <a:pt x="527" y="766"/>
                  </a:lnTo>
                  <a:lnTo>
                    <a:pt x="528" y="767"/>
                  </a:lnTo>
                  <a:lnTo>
                    <a:pt x="529" y="769"/>
                  </a:lnTo>
                  <a:lnTo>
                    <a:pt x="529" y="773"/>
                  </a:lnTo>
                  <a:lnTo>
                    <a:pt x="533" y="774"/>
                  </a:lnTo>
                  <a:lnTo>
                    <a:pt x="539" y="775"/>
                  </a:lnTo>
                  <a:lnTo>
                    <a:pt x="543" y="777"/>
                  </a:lnTo>
                  <a:lnTo>
                    <a:pt x="549" y="779"/>
                  </a:lnTo>
                  <a:lnTo>
                    <a:pt x="555" y="783"/>
                  </a:lnTo>
                  <a:lnTo>
                    <a:pt x="559" y="785"/>
                  </a:lnTo>
                  <a:lnTo>
                    <a:pt x="565" y="786"/>
                  </a:lnTo>
                  <a:lnTo>
                    <a:pt x="569" y="787"/>
                  </a:lnTo>
                  <a:lnTo>
                    <a:pt x="576" y="792"/>
                  </a:lnTo>
                  <a:lnTo>
                    <a:pt x="590" y="800"/>
                  </a:lnTo>
                  <a:lnTo>
                    <a:pt x="609" y="809"/>
                  </a:lnTo>
                  <a:lnTo>
                    <a:pt x="632" y="820"/>
                  </a:lnTo>
                  <a:lnTo>
                    <a:pt x="655" y="830"/>
                  </a:lnTo>
                  <a:lnTo>
                    <a:pt x="676" y="839"/>
                  </a:lnTo>
                  <a:lnTo>
                    <a:pt x="693" y="845"/>
                  </a:lnTo>
                  <a:lnTo>
                    <a:pt x="705" y="848"/>
                  </a:lnTo>
                  <a:lnTo>
                    <a:pt x="712" y="854"/>
                  </a:lnTo>
                  <a:lnTo>
                    <a:pt x="713" y="861"/>
                  </a:lnTo>
                  <a:lnTo>
                    <a:pt x="718" y="868"/>
                  </a:lnTo>
                  <a:lnTo>
                    <a:pt x="724" y="877"/>
                  </a:lnTo>
                  <a:lnTo>
                    <a:pt x="732" y="886"/>
                  </a:lnTo>
                  <a:lnTo>
                    <a:pt x="740" y="893"/>
                  </a:lnTo>
                  <a:lnTo>
                    <a:pt x="745" y="902"/>
                  </a:lnTo>
                  <a:lnTo>
                    <a:pt x="751" y="910"/>
                  </a:lnTo>
                  <a:lnTo>
                    <a:pt x="752" y="916"/>
                  </a:lnTo>
                  <a:lnTo>
                    <a:pt x="759" y="922"/>
                  </a:lnTo>
                  <a:lnTo>
                    <a:pt x="769" y="926"/>
                  </a:lnTo>
                  <a:lnTo>
                    <a:pt x="779" y="929"/>
                  </a:lnTo>
                  <a:lnTo>
                    <a:pt x="781" y="932"/>
                  </a:lnTo>
                  <a:lnTo>
                    <a:pt x="787" y="938"/>
                  </a:lnTo>
                  <a:lnTo>
                    <a:pt x="795" y="945"/>
                  </a:lnTo>
                  <a:lnTo>
                    <a:pt x="804" y="952"/>
                  </a:lnTo>
                  <a:lnTo>
                    <a:pt x="814" y="959"/>
                  </a:lnTo>
                  <a:lnTo>
                    <a:pt x="822" y="965"/>
                  </a:lnTo>
                  <a:lnTo>
                    <a:pt x="829" y="968"/>
                  </a:lnTo>
                  <a:lnTo>
                    <a:pt x="834" y="969"/>
                  </a:lnTo>
                  <a:lnTo>
                    <a:pt x="835" y="974"/>
                  </a:lnTo>
                  <a:lnTo>
                    <a:pt x="839" y="978"/>
                  </a:lnTo>
                  <a:lnTo>
                    <a:pt x="845" y="984"/>
                  </a:lnTo>
                  <a:lnTo>
                    <a:pt x="853" y="989"/>
                  </a:lnTo>
                  <a:lnTo>
                    <a:pt x="860" y="995"/>
                  </a:lnTo>
                  <a:lnTo>
                    <a:pt x="868" y="999"/>
                  </a:lnTo>
                  <a:lnTo>
                    <a:pt x="875" y="1003"/>
                  </a:lnTo>
                  <a:lnTo>
                    <a:pt x="882" y="1004"/>
                  </a:lnTo>
                  <a:lnTo>
                    <a:pt x="883" y="1007"/>
                  </a:lnTo>
                  <a:lnTo>
                    <a:pt x="885" y="1011"/>
                  </a:lnTo>
                  <a:lnTo>
                    <a:pt x="891" y="1015"/>
                  </a:lnTo>
                  <a:lnTo>
                    <a:pt x="896" y="1019"/>
                  </a:lnTo>
                  <a:lnTo>
                    <a:pt x="903" y="1024"/>
                  </a:lnTo>
                  <a:lnTo>
                    <a:pt x="910" y="1027"/>
                  </a:lnTo>
                  <a:lnTo>
                    <a:pt x="916" y="1029"/>
                  </a:lnTo>
                  <a:lnTo>
                    <a:pt x="922" y="1031"/>
                  </a:lnTo>
                  <a:lnTo>
                    <a:pt x="923" y="1034"/>
                  </a:lnTo>
                  <a:lnTo>
                    <a:pt x="925" y="1037"/>
                  </a:lnTo>
                  <a:lnTo>
                    <a:pt x="929" y="1041"/>
                  </a:lnTo>
                  <a:lnTo>
                    <a:pt x="933" y="1044"/>
                  </a:lnTo>
                  <a:lnTo>
                    <a:pt x="944" y="1048"/>
                  </a:lnTo>
                  <a:lnTo>
                    <a:pt x="959" y="1052"/>
                  </a:lnTo>
                  <a:lnTo>
                    <a:pt x="973" y="1055"/>
                  </a:lnTo>
                  <a:lnTo>
                    <a:pt x="988" y="1056"/>
                  </a:lnTo>
                  <a:lnTo>
                    <a:pt x="1000" y="1057"/>
                  </a:lnTo>
                  <a:lnTo>
                    <a:pt x="1010" y="1057"/>
                  </a:lnTo>
                  <a:lnTo>
                    <a:pt x="1017" y="1051"/>
                  </a:lnTo>
                  <a:lnTo>
                    <a:pt x="1020" y="1041"/>
                  </a:lnTo>
                  <a:lnTo>
                    <a:pt x="1023" y="1031"/>
                  </a:lnTo>
                  <a:lnTo>
                    <a:pt x="1028" y="1031"/>
                  </a:lnTo>
                  <a:lnTo>
                    <a:pt x="1029" y="1029"/>
                  </a:lnTo>
                  <a:lnTo>
                    <a:pt x="1030" y="1028"/>
                  </a:lnTo>
                  <a:lnTo>
                    <a:pt x="1030" y="1027"/>
                  </a:lnTo>
                  <a:lnTo>
                    <a:pt x="1030" y="1026"/>
                  </a:lnTo>
                  <a:lnTo>
                    <a:pt x="1031" y="1025"/>
                  </a:lnTo>
                  <a:lnTo>
                    <a:pt x="1033" y="1024"/>
                  </a:lnTo>
                  <a:lnTo>
                    <a:pt x="1037" y="1024"/>
                  </a:lnTo>
                  <a:lnTo>
                    <a:pt x="1037" y="1019"/>
                  </a:lnTo>
                  <a:lnTo>
                    <a:pt x="1038" y="1015"/>
                  </a:lnTo>
                  <a:lnTo>
                    <a:pt x="1039" y="1012"/>
                  </a:lnTo>
                  <a:lnTo>
                    <a:pt x="1041" y="1008"/>
                  </a:lnTo>
                  <a:lnTo>
                    <a:pt x="1046" y="1002"/>
                  </a:lnTo>
                  <a:lnTo>
                    <a:pt x="1050" y="997"/>
                  </a:lnTo>
                  <a:lnTo>
                    <a:pt x="1050" y="984"/>
                  </a:lnTo>
                  <a:lnTo>
                    <a:pt x="1057" y="977"/>
                  </a:lnTo>
                  <a:lnTo>
                    <a:pt x="1071" y="977"/>
                  </a:lnTo>
                  <a:lnTo>
                    <a:pt x="1071" y="973"/>
                  </a:lnTo>
                  <a:lnTo>
                    <a:pt x="1073" y="968"/>
                  </a:lnTo>
                  <a:lnTo>
                    <a:pt x="1075" y="966"/>
                  </a:lnTo>
                  <a:lnTo>
                    <a:pt x="1078" y="964"/>
                  </a:lnTo>
                  <a:lnTo>
                    <a:pt x="1080" y="963"/>
                  </a:lnTo>
                  <a:lnTo>
                    <a:pt x="1083" y="960"/>
                  </a:lnTo>
                  <a:lnTo>
                    <a:pt x="1084" y="958"/>
                  </a:lnTo>
                  <a:lnTo>
                    <a:pt x="1085" y="956"/>
                  </a:lnTo>
                  <a:lnTo>
                    <a:pt x="1098" y="956"/>
                  </a:lnTo>
                  <a:lnTo>
                    <a:pt x="1105" y="949"/>
                  </a:lnTo>
                  <a:lnTo>
                    <a:pt x="1104" y="936"/>
                  </a:lnTo>
                  <a:lnTo>
                    <a:pt x="1102" y="920"/>
                  </a:lnTo>
                  <a:lnTo>
                    <a:pt x="1099" y="904"/>
                  </a:lnTo>
                  <a:lnTo>
                    <a:pt x="1098" y="896"/>
                  </a:lnTo>
                  <a:lnTo>
                    <a:pt x="1085" y="896"/>
                  </a:lnTo>
                  <a:lnTo>
                    <a:pt x="1084" y="893"/>
                  </a:lnTo>
                  <a:lnTo>
                    <a:pt x="1084" y="891"/>
                  </a:lnTo>
                  <a:lnTo>
                    <a:pt x="1081" y="890"/>
                  </a:lnTo>
                  <a:lnTo>
                    <a:pt x="1080" y="889"/>
                  </a:lnTo>
                  <a:lnTo>
                    <a:pt x="1076" y="889"/>
                  </a:lnTo>
                  <a:lnTo>
                    <a:pt x="1071" y="889"/>
                  </a:lnTo>
                  <a:lnTo>
                    <a:pt x="1069" y="886"/>
                  </a:lnTo>
                  <a:lnTo>
                    <a:pt x="1066" y="880"/>
                  </a:lnTo>
                  <a:lnTo>
                    <a:pt x="1060" y="874"/>
                  </a:lnTo>
                  <a:lnTo>
                    <a:pt x="1054" y="869"/>
                  </a:lnTo>
                  <a:lnTo>
                    <a:pt x="1046" y="863"/>
                  </a:lnTo>
                  <a:lnTo>
                    <a:pt x="1039" y="859"/>
                  </a:lnTo>
                  <a:lnTo>
                    <a:pt x="1033" y="855"/>
                  </a:lnTo>
                  <a:lnTo>
                    <a:pt x="1030" y="854"/>
                  </a:lnTo>
                  <a:lnTo>
                    <a:pt x="1030" y="839"/>
                  </a:lnTo>
                  <a:lnTo>
                    <a:pt x="1032" y="815"/>
                  </a:lnTo>
                  <a:lnTo>
                    <a:pt x="1033" y="805"/>
                  </a:lnTo>
                  <a:lnTo>
                    <a:pt x="1036" y="795"/>
                  </a:lnTo>
                  <a:lnTo>
                    <a:pt x="1038" y="792"/>
                  </a:lnTo>
                  <a:lnTo>
                    <a:pt x="1039" y="790"/>
                  </a:lnTo>
                  <a:lnTo>
                    <a:pt x="1041" y="787"/>
                  </a:lnTo>
                  <a:lnTo>
                    <a:pt x="1044" y="787"/>
                  </a:lnTo>
                  <a:lnTo>
                    <a:pt x="1044" y="733"/>
                  </a:lnTo>
                  <a:lnTo>
                    <a:pt x="1030" y="726"/>
                  </a:lnTo>
                  <a:lnTo>
                    <a:pt x="1030" y="721"/>
                  </a:lnTo>
                  <a:lnTo>
                    <a:pt x="1029" y="720"/>
                  </a:lnTo>
                  <a:lnTo>
                    <a:pt x="1028" y="719"/>
                  </a:lnTo>
                  <a:lnTo>
                    <a:pt x="1027" y="719"/>
                  </a:lnTo>
                  <a:lnTo>
                    <a:pt x="1026" y="719"/>
                  </a:lnTo>
                  <a:lnTo>
                    <a:pt x="1025" y="718"/>
                  </a:lnTo>
                  <a:lnTo>
                    <a:pt x="1023" y="716"/>
                  </a:lnTo>
                  <a:lnTo>
                    <a:pt x="1023" y="713"/>
                  </a:lnTo>
                  <a:lnTo>
                    <a:pt x="1017" y="710"/>
                  </a:lnTo>
                  <a:lnTo>
                    <a:pt x="1008" y="705"/>
                  </a:lnTo>
                  <a:lnTo>
                    <a:pt x="1003" y="701"/>
                  </a:lnTo>
                  <a:lnTo>
                    <a:pt x="1000" y="698"/>
                  </a:lnTo>
                  <a:lnTo>
                    <a:pt x="997" y="695"/>
                  </a:lnTo>
                  <a:lnTo>
                    <a:pt x="997" y="692"/>
                  </a:lnTo>
                  <a:lnTo>
                    <a:pt x="983" y="685"/>
                  </a:lnTo>
                  <a:lnTo>
                    <a:pt x="974" y="684"/>
                  </a:lnTo>
                  <a:lnTo>
                    <a:pt x="966" y="681"/>
                  </a:lnTo>
                  <a:lnTo>
                    <a:pt x="958" y="677"/>
                  </a:lnTo>
                  <a:lnTo>
                    <a:pt x="949" y="671"/>
                  </a:lnTo>
                  <a:lnTo>
                    <a:pt x="940" y="667"/>
                  </a:lnTo>
                  <a:lnTo>
                    <a:pt x="931" y="662"/>
                  </a:lnTo>
                  <a:lnTo>
                    <a:pt x="923" y="659"/>
                  </a:lnTo>
                  <a:lnTo>
                    <a:pt x="915" y="658"/>
                  </a:lnTo>
                  <a:lnTo>
                    <a:pt x="910" y="653"/>
                  </a:lnTo>
                  <a:lnTo>
                    <a:pt x="905" y="649"/>
                  </a:lnTo>
                  <a:lnTo>
                    <a:pt x="900" y="646"/>
                  </a:lnTo>
                  <a:lnTo>
                    <a:pt x="895" y="644"/>
                  </a:lnTo>
                  <a:lnTo>
                    <a:pt x="894" y="641"/>
                  </a:lnTo>
                  <a:lnTo>
                    <a:pt x="894" y="639"/>
                  </a:lnTo>
                  <a:lnTo>
                    <a:pt x="893" y="638"/>
                  </a:lnTo>
                  <a:lnTo>
                    <a:pt x="892" y="638"/>
                  </a:lnTo>
                  <a:lnTo>
                    <a:pt x="889" y="638"/>
                  </a:lnTo>
                  <a:lnTo>
                    <a:pt x="889" y="637"/>
                  </a:lnTo>
                  <a:lnTo>
                    <a:pt x="888" y="634"/>
                  </a:lnTo>
                  <a:lnTo>
                    <a:pt x="888" y="631"/>
                  </a:lnTo>
                  <a:lnTo>
                    <a:pt x="883" y="630"/>
                  </a:lnTo>
                  <a:lnTo>
                    <a:pt x="878" y="627"/>
                  </a:lnTo>
                  <a:lnTo>
                    <a:pt x="875" y="622"/>
                  </a:lnTo>
                  <a:lnTo>
                    <a:pt x="874" y="618"/>
                  </a:lnTo>
                  <a:lnTo>
                    <a:pt x="872" y="617"/>
                  </a:lnTo>
                  <a:lnTo>
                    <a:pt x="869" y="615"/>
                  </a:lnTo>
                  <a:lnTo>
                    <a:pt x="868" y="613"/>
                  </a:lnTo>
                  <a:lnTo>
                    <a:pt x="866" y="610"/>
                  </a:lnTo>
                  <a:lnTo>
                    <a:pt x="863" y="602"/>
                  </a:lnTo>
                  <a:lnTo>
                    <a:pt x="860" y="593"/>
                  </a:lnTo>
                  <a:lnTo>
                    <a:pt x="856" y="585"/>
                  </a:lnTo>
                  <a:lnTo>
                    <a:pt x="853" y="577"/>
                  </a:lnTo>
                  <a:lnTo>
                    <a:pt x="850" y="574"/>
                  </a:lnTo>
                  <a:lnTo>
                    <a:pt x="847" y="572"/>
                  </a:lnTo>
                  <a:lnTo>
                    <a:pt x="844" y="571"/>
                  </a:lnTo>
                  <a:lnTo>
                    <a:pt x="840" y="570"/>
                  </a:lnTo>
                  <a:lnTo>
                    <a:pt x="834" y="563"/>
                  </a:lnTo>
                  <a:lnTo>
                    <a:pt x="834" y="560"/>
                  </a:lnTo>
                  <a:lnTo>
                    <a:pt x="833" y="557"/>
                  </a:lnTo>
                  <a:lnTo>
                    <a:pt x="831" y="556"/>
                  </a:lnTo>
                  <a:lnTo>
                    <a:pt x="830" y="556"/>
                  </a:lnTo>
                  <a:lnTo>
                    <a:pt x="829" y="556"/>
                  </a:lnTo>
                  <a:lnTo>
                    <a:pt x="828" y="555"/>
                  </a:lnTo>
                  <a:lnTo>
                    <a:pt x="827" y="554"/>
                  </a:lnTo>
                  <a:lnTo>
                    <a:pt x="827" y="550"/>
                  </a:lnTo>
                  <a:lnTo>
                    <a:pt x="814" y="550"/>
                  </a:lnTo>
                  <a:lnTo>
                    <a:pt x="812" y="547"/>
                  </a:lnTo>
                  <a:lnTo>
                    <a:pt x="811" y="546"/>
                  </a:lnTo>
                  <a:lnTo>
                    <a:pt x="809" y="544"/>
                  </a:lnTo>
                  <a:lnTo>
                    <a:pt x="806" y="544"/>
                  </a:lnTo>
                  <a:lnTo>
                    <a:pt x="799" y="543"/>
                  </a:lnTo>
                  <a:lnTo>
                    <a:pt x="793" y="543"/>
                  </a:lnTo>
                  <a:lnTo>
                    <a:pt x="790" y="540"/>
                  </a:lnTo>
                  <a:lnTo>
                    <a:pt x="782" y="536"/>
                  </a:lnTo>
                  <a:lnTo>
                    <a:pt x="771" y="532"/>
                  </a:lnTo>
                  <a:lnTo>
                    <a:pt x="758" y="527"/>
                  </a:lnTo>
                  <a:lnTo>
                    <a:pt x="730" y="519"/>
                  </a:lnTo>
                  <a:lnTo>
                    <a:pt x="712" y="516"/>
                  </a:lnTo>
                  <a:lnTo>
                    <a:pt x="712" y="503"/>
                  </a:lnTo>
                  <a:lnTo>
                    <a:pt x="706" y="500"/>
                  </a:lnTo>
                  <a:lnTo>
                    <a:pt x="702" y="498"/>
                  </a:lnTo>
                  <a:lnTo>
                    <a:pt x="700" y="494"/>
                  </a:lnTo>
                  <a:lnTo>
                    <a:pt x="699" y="488"/>
                  </a:lnTo>
                  <a:lnTo>
                    <a:pt x="684" y="475"/>
                  </a:lnTo>
                  <a:lnTo>
                    <a:pt x="671" y="461"/>
                  </a:lnTo>
                  <a:lnTo>
                    <a:pt x="671" y="367"/>
                  </a:lnTo>
                  <a:lnTo>
                    <a:pt x="668" y="365"/>
                  </a:lnTo>
                  <a:lnTo>
                    <a:pt x="666" y="363"/>
                  </a:lnTo>
                  <a:lnTo>
                    <a:pt x="664" y="360"/>
                  </a:lnTo>
                  <a:lnTo>
                    <a:pt x="662" y="355"/>
                  </a:lnTo>
                  <a:lnTo>
                    <a:pt x="658" y="346"/>
                  </a:lnTo>
                  <a:lnTo>
                    <a:pt x="657" y="340"/>
                  </a:lnTo>
                  <a:lnTo>
                    <a:pt x="655" y="339"/>
                  </a:lnTo>
                  <a:lnTo>
                    <a:pt x="653" y="336"/>
                  </a:lnTo>
                  <a:lnTo>
                    <a:pt x="651" y="333"/>
                  </a:lnTo>
                  <a:lnTo>
                    <a:pt x="648" y="329"/>
                  </a:lnTo>
                  <a:lnTo>
                    <a:pt x="645" y="320"/>
                  </a:lnTo>
                  <a:lnTo>
                    <a:pt x="644" y="313"/>
                  </a:lnTo>
                  <a:lnTo>
                    <a:pt x="639" y="312"/>
                  </a:lnTo>
                  <a:lnTo>
                    <a:pt x="638" y="312"/>
                  </a:lnTo>
                  <a:lnTo>
                    <a:pt x="637" y="311"/>
                  </a:lnTo>
                  <a:lnTo>
                    <a:pt x="637" y="309"/>
                  </a:lnTo>
                  <a:lnTo>
                    <a:pt x="637" y="307"/>
                  </a:lnTo>
                  <a:lnTo>
                    <a:pt x="636" y="306"/>
                  </a:lnTo>
                  <a:lnTo>
                    <a:pt x="634" y="306"/>
                  </a:lnTo>
                  <a:lnTo>
                    <a:pt x="630" y="305"/>
                  </a:lnTo>
                  <a:lnTo>
                    <a:pt x="630" y="28"/>
                  </a:lnTo>
                  <a:lnTo>
                    <a:pt x="617" y="28"/>
                  </a:lnTo>
                  <a:lnTo>
                    <a:pt x="617" y="14"/>
                  </a:lnTo>
                  <a:lnTo>
                    <a:pt x="607" y="14"/>
                  </a:lnTo>
                  <a:lnTo>
                    <a:pt x="597" y="14"/>
                  </a:lnTo>
                  <a:lnTo>
                    <a:pt x="596" y="12"/>
                  </a:lnTo>
                  <a:lnTo>
                    <a:pt x="594" y="11"/>
                  </a:lnTo>
                  <a:lnTo>
                    <a:pt x="589" y="9"/>
                  </a:lnTo>
                  <a:lnTo>
                    <a:pt x="586" y="8"/>
                  </a:lnTo>
                  <a:lnTo>
                    <a:pt x="577" y="7"/>
                  </a:lnTo>
                  <a:lnTo>
                    <a:pt x="569" y="7"/>
                  </a:lnTo>
                  <a:lnTo>
                    <a:pt x="53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5" name="Freeform 28">
              <a:extLst>
                <a:ext uri="{FF2B5EF4-FFF2-40B4-BE49-F238E27FC236}">
                  <a16:creationId xmlns:a16="http://schemas.microsoft.com/office/drawing/2014/main" id="{DDFC1FD5-AE12-4DBE-AB2B-BA993664086F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859588" y="3873500"/>
              <a:ext cx="47625" cy="74547"/>
            </a:xfrm>
            <a:custGeom>
              <a:avLst/>
              <a:gdLst/>
              <a:ahLst/>
              <a:cxnLst>
                <a:cxn ang="0">
                  <a:pos x="12" y="42"/>
                </a:cxn>
                <a:cxn ang="0">
                  <a:pos x="0" y="65"/>
                </a:cxn>
                <a:cxn ang="0">
                  <a:pos x="0" y="93"/>
                </a:cxn>
                <a:cxn ang="0">
                  <a:pos x="13" y="122"/>
                </a:cxn>
                <a:cxn ang="0">
                  <a:pos x="20" y="133"/>
                </a:cxn>
                <a:cxn ang="0">
                  <a:pos x="27" y="166"/>
                </a:cxn>
                <a:cxn ang="0">
                  <a:pos x="27" y="211"/>
                </a:cxn>
                <a:cxn ang="0">
                  <a:pos x="44" y="254"/>
                </a:cxn>
                <a:cxn ang="0">
                  <a:pos x="54" y="276"/>
                </a:cxn>
                <a:cxn ang="0">
                  <a:pos x="75" y="309"/>
                </a:cxn>
                <a:cxn ang="0">
                  <a:pos x="81" y="313"/>
                </a:cxn>
                <a:cxn ang="0">
                  <a:pos x="88" y="316"/>
                </a:cxn>
                <a:cxn ang="0">
                  <a:pos x="122" y="356"/>
                </a:cxn>
                <a:cxn ang="0">
                  <a:pos x="137" y="383"/>
                </a:cxn>
                <a:cxn ang="0">
                  <a:pos x="148" y="397"/>
                </a:cxn>
                <a:cxn ang="0">
                  <a:pos x="173" y="420"/>
                </a:cxn>
                <a:cxn ang="0">
                  <a:pos x="185" y="429"/>
                </a:cxn>
                <a:cxn ang="0">
                  <a:pos x="194" y="436"/>
                </a:cxn>
                <a:cxn ang="0">
                  <a:pos x="213" y="448"/>
                </a:cxn>
                <a:cxn ang="0">
                  <a:pos x="230" y="459"/>
                </a:cxn>
                <a:cxn ang="0">
                  <a:pos x="278" y="444"/>
                </a:cxn>
                <a:cxn ang="0">
                  <a:pos x="278" y="421"/>
                </a:cxn>
                <a:cxn ang="0">
                  <a:pos x="278" y="404"/>
                </a:cxn>
                <a:cxn ang="0">
                  <a:pos x="278" y="384"/>
                </a:cxn>
                <a:cxn ang="0">
                  <a:pos x="278" y="367"/>
                </a:cxn>
                <a:cxn ang="0">
                  <a:pos x="278" y="349"/>
                </a:cxn>
                <a:cxn ang="0">
                  <a:pos x="278" y="302"/>
                </a:cxn>
                <a:cxn ang="0">
                  <a:pos x="278" y="261"/>
                </a:cxn>
                <a:cxn ang="0">
                  <a:pos x="278" y="234"/>
                </a:cxn>
                <a:cxn ang="0">
                  <a:pos x="269" y="206"/>
                </a:cxn>
                <a:cxn ang="0">
                  <a:pos x="265" y="193"/>
                </a:cxn>
                <a:cxn ang="0">
                  <a:pos x="258" y="185"/>
                </a:cxn>
                <a:cxn ang="0">
                  <a:pos x="254" y="181"/>
                </a:cxn>
                <a:cxn ang="0">
                  <a:pos x="241" y="156"/>
                </a:cxn>
                <a:cxn ang="0">
                  <a:pos x="228" y="142"/>
                </a:cxn>
                <a:cxn ang="0">
                  <a:pos x="218" y="132"/>
                </a:cxn>
                <a:cxn ang="0">
                  <a:pos x="215" y="127"/>
                </a:cxn>
                <a:cxn ang="0">
                  <a:pos x="205" y="113"/>
                </a:cxn>
                <a:cxn ang="0">
                  <a:pos x="203" y="108"/>
                </a:cxn>
                <a:cxn ang="0">
                  <a:pos x="196" y="96"/>
                </a:cxn>
                <a:cxn ang="0">
                  <a:pos x="175" y="77"/>
                </a:cxn>
                <a:cxn ang="0">
                  <a:pos x="166" y="69"/>
                </a:cxn>
                <a:cxn ang="0">
                  <a:pos x="155" y="51"/>
                </a:cxn>
                <a:cxn ang="0">
                  <a:pos x="122" y="45"/>
                </a:cxn>
                <a:cxn ang="0">
                  <a:pos x="118" y="38"/>
                </a:cxn>
                <a:cxn ang="0">
                  <a:pos x="115" y="31"/>
                </a:cxn>
                <a:cxn ang="0">
                  <a:pos x="99" y="25"/>
                </a:cxn>
                <a:cxn ang="0">
                  <a:pos x="95" y="21"/>
                </a:cxn>
                <a:cxn ang="0">
                  <a:pos x="78" y="10"/>
                </a:cxn>
                <a:cxn ang="0">
                  <a:pos x="40" y="0"/>
                </a:cxn>
              </a:cxnLst>
              <a:rect l="0" t="0" r="r" b="b"/>
              <a:pathLst>
                <a:path w="278" h="459">
                  <a:moveTo>
                    <a:pt x="40" y="0"/>
                  </a:moveTo>
                  <a:lnTo>
                    <a:pt x="30" y="13"/>
                  </a:lnTo>
                  <a:lnTo>
                    <a:pt x="21" y="29"/>
                  </a:lnTo>
                  <a:lnTo>
                    <a:pt x="12" y="42"/>
                  </a:lnTo>
                  <a:lnTo>
                    <a:pt x="7" y="51"/>
                  </a:lnTo>
                  <a:lnTo>
                    <a:pt x="7" y="65"/>
                  </a:lnTo>
                  <a:lnTo>
                    <a:pt x="3" y="65"/>
                  </a:lnTo>
                  <a:lnTo>
                    <a:pt x="0" y="65"/>
                  </a:lnTo>
                  <a:lnTo>
                    <a:pt x="0" y="71"/>
                  </a:lnTo>
                  <a:lnTo>
                    <a:pt x="0" y="75"/>
                  </a:lnTo>
                  <a:lnTo>
                    <a:pt x="0" y="79"/>
                  </a:lnTo>
                  <a:lnTo>
                    <a:pt x="0" y="93"/>
                  </a:lnTo>
                  <a:lnTo>
                    <a:pt x="0" y="106"/>
                  </a:lnTo>
                  <a:lnTo>
                    <a:pt x="7" y="106"/>
                  </a:lnTo>
                  <a:lnTo>
                    <a:pt x="10" y="113"/>
                  </a:lnTo>
                  <a:lnTo>
                    <a:pt x="13" y="122"/>
                  </a:lnTo>
                  <a:lnTo>
                    <a:pt x="14" y="126"/>
                  </a:lnTo>
                  <a:lnTo>
                    <a:pt x="16" y="129"/>
                  </a:lnTo>
                  <a:lnTo>
                    <a:pt x="18" y="132"/>
                  </a:lnTo>
                  <a:lnTo>
                    <a:pt x="20" y="133"/>
                  </a:lnTo>
                  <a:lnTo>
                    <a:pt x="20" y="146"/>
                  </a:lnTo>
                  <a:lnTo>
                    <a:pt x="20" y="160"/>
                  </a:lnTo>
                  <a:lnTo>
                    <a:pt x="27" y="160"/>
                  </a:lnTo>
                  <a:lnTo>
                    <a:pt x="27" y="166"/>
                  </a:lnTo>
                  <a:lnTo>
                    <a:pt x="27" y="174"/>
                  </a:lnTo>
                  <a:lnTo>
                    <a:pt x="27" y="188"/>
                  </a:lnTo>
                  <a:lnTo>
                    <a:pt x="27" y="201"/>
                  </a:lnTo>
                  <a:lnTo>
                    <a:pt x="27" y="211"/>
                  </a:lnTo>
                  <a:lnTo>
                    <a:pt x="27" y="221"/>
                  </a:lnTo>
                  <a:lnTo>
                    <a:pt x="33" y="234"/>
                  </a:lnTo>
                  <a:lnTo>
                    <a:pt x="40" y="248"/>
                  </a:lnTo>
                  <a:lnTo>
                    <a:pt x="44" y="254"/>
                  </a:lnTo>
                  <a:lnTo>
                    <a:pt x="47" y="261"/>
                  </a:lnTo>
                  <a:lnTo>
                    <a:pt x="47" y="269"/>
                  </a:lnTo>
                  <a:lnTo>
                    <a:pt x="50" y="272"/>
                  </a:lnTo>
                  <a:lnTo>
                    <a:pt x="54" y="276"/>
                  </a:lnTo>
                  <a:lnTo>
                    <a:pt x="60" y="282"/>
                  </a:lnTo>
                  <a:lnTo>
                    <a:pt x="67" y="289"/>
                  </a:lnTo>
                  <a:lnTo>
                    <a:pt x="70" y="299"/>
                  </a:lnTo>
                  <a:lnTo>
                    <a:pt x="75" y="309"/>
                  </a:lnTo>
                  <a:lnTo>
                    <a:pt x="78" y="309"/>
                  </a:lnTo>
                  <a:lnTo>
                    <a:pt x="80" y="310"/>
                  </a:lnTo>
                  <a:lnTo>
                    <a:pt x="80" y="311"/>
                  </a:lnTo>
                  <a:lnTo>
                    <a:pt x="81" y="313"/>
                  </a:lnTo>
                  <a:lnTo>
                    <a:pt x="81" y="314"/>
                  </a:lnTo>
                  <a:lnTo>
                    <a:pt x="81" y="315"/>
                  </a:lnTo>
                  <a:lnTo>
                    <a:pt x="84" y="316"/>
                  </a:lnTo>
                  <a:lnTo>
                    <a:pt x="88" y="316"/>
                  </a:lnTo>
                  <a:lnTo>
                    <a:pt x="95" y="329"/>
                  </a:lnTo>
                  <a:lnTo>
                    <a:pt x="102" y="343"/>
                  </a:lnTo>
                  <a:lnTo>
                    <a:pt x="115" y="349"/>
                  </a:lnTo>
                  <a:lnTo>
                    <a:pt x="122" y="356"/>
                  </a:lnTo>
                  <a:lnTo>
                    <a:pt x="122" y="371"/>
                  </a:lnTo>
                  <a:lnTo>
                    <a:pt x="127" y="375"/>
                  </a:lnTo>
                  <a:lnTo>
                    <a:pt x="132" y="379"/>
                  </a:lnTo>
                  <a:lnTo>
                    <a:pt x="137" y="383"/>
                  </a:lnTo>
                  <a:lnTo>
                    <a:pt x="142" y="384"/>
                  </a:lnTo>
                  <a:lnTo>
                    <a:pt x="142" y="391"/>
                  </a:lnTo>
                  <a:lnTo>
                    <a:pt x="145" y="394"/>
                  </a:lnTo>
                  <a:lnTo>
                    <a:pt x="148" y="397"/>
                  </a:lnTo>
                  <a:lnTo>
                    <a:pt x="155" y="404"/>
                  </a:lnTo>
                  <a:lnTo>
                    <a:pt x="162" y="411"/>
                  </a:lnTo>
                  <a:lnTo>
                    <a:pt x="167" y="415"/>
                  </a:lnTo>
                  <a:lnTo>
                    <a:pt x="173" y="420"/>
                  </a:lnTo>
                  <a:lnTo>
                    <a:pt x="177" y="423"/>
                  </a:lnTo>
                  <a:lnTo>
                    <a:pt x="183" y="424"/>
                  </a:lnTo>
                  <a:lnTo>
                    <a:pt x="183" y="426"/>
                  </a:lnTo>
                  <a:lnTo>
                    <a:pt x="185" y="429"/>
                  </a:lnTo>
                  <a:lnTo>
                    <a:pt x="186" y="430"/>
                  </a:lnTo>
                  <a:lnTo>
                    <a:pt x="190" y="432"/>
                  </a:lnTo>
                  <a:lnTo>
                    <a:pt x="192" y="434"/>
                  </a:lnTo>
                  <a:lnTo>
                    <a:pt x="194" y="436"/>
                  </a:lnTo>
                  <a:lnTo>
                    <a:pt x="195" y="440"/>
                  </a:lnTo>
                  <a:lnTo>
                    <a:pt x="196" y="444"/>
                  </a:lnTo>
                  <a:lnTo>
                    <a:pt x="210" y="444"/>
                  </a:lnTo>
                  <a:lnTo>
                    <a:pt x="213" y="448"/>
                  </a:lnTo>
                  <a:lnTo>
                    <a:pt x="217" y="451"/>
                  </a:lnTo>
                  <a:lnTo>
                    <a:pt x="223" y="459"/>
                  </a:lnTo>
                  <a:lnTo>
                    <a:pt x="227" y="459"/>
                  </a:lnTo>
                  <a:lnTo>
                    <a:pt x="230" y="459"/>
                  </a:lnTo>
                  <a:lnTo>
                    <a:pt x="237" y="459"/>
                  </a:lnTo>
                  <a:lnTo>
                    <a:pt x="250" y="459"/>
                  </a:lnTo>
                  <a:lnTo>
                    <a:pt x="265" y="459"/>
                  </a:lnTo>
                  <a:lnTo>
                    <a:pt x="278" y="444"/>
                  </a:lnTo>
                  <a:lnTo>
                    <a:pt x="278" y="438"/>
                  </a:lnTo>
                  <a:lnTo>
                    <a:pt x="278" y="431"/>
                  </a:lnTo>
                  <a:lnTo>
                    <a:pt x="278" y="424"/>
                  </a:lnTo>
                  <a:lnTo>
                    <a:pt x="278" y="421"/>
                  </a:lnTo>
                  <a:lnTo>
                    <a:pt x="278" y="417"/>
                  </a:lnTo>
                  <a:lnTo>
                    <a:pt x="278" y="411"/>
                  </a:lnTo>
                  <a:lnTo>
                    <a:pt x="278" y="407"/>
                  </a:lnTo>
                  <a:lnTo>
                    <a:pt x="278" y="404"/>
                  </a:lnTo>
                  <a:lnTo>
                    <a:pt x="278" y="397"/>
                  </a:lnTo>
                  <a:lnTo>
                    <a:pt x="278" y="394"/>
                  </a:lnTo>
                  <a:lnTo>
                    <a:pt x="278" y="391"/>
                  </a:lnTo>
                  <a:lnTo>
                    <a:pt x="278" y="384"/>
                  </a:lnTo>
                  <a:lnTo>
                    <a:pt x="278" y="381"/>
                  </a:lnTo>
                  <a:lnTo>
                    <a:pt x="278" y="377"/>
                  </a:lnTo>
                  <a:lnTo>
                    <a:pt x="278" y="371"/>
                  </a:lnTo>
                  <a:lnTo>
                    <a:pt x="278" y="367"/>
                  </a:lnTo>
                  <a:lnTo>
                    <a:pt x="278" y="364"/>
                  </a:lnTo>
                  <a:lnTo>
                    <a:pt x="278" y="356"/>
                  </a:lnTo>
                  <a:lnTo>
                    <a:pt x="278" y="353"/>
                  </a:lnTo>
                  <a:lnTo>
                    <a:pt x="278" y="349"/>
                  </a:lnTo>
                  <a:lnTo>
                    <a:pt x="278" y="336"/>
                  </a:lnTo>
                  <a:lnTo>
                    <a:pt x="278" y="323"/>
                  </a:lnTo>
                  <a:lnTo>
                    <a:pt x="278" y="313"/>
                  </a:lnTo>
                  <a:lnTo>
                    <a:pt x="278" y="302"/>
                  </a:lnTo>
                  <a:lnTo>
                    <a:pt x="278" y="289"/>
                  </a:lnTo>
                  <a:lnTo>
                    <a:pt x="278" y="276"/>
                  </a:lnTo>
                  <a:lnTo>
                    <a:pt x="278" y="269"/>
                  </a:lnTo>
                  <a:lnTo>
                    <a:pt x="278" y="261"/>
                  </a:lnTo>
                  <a:lnTo>
                    <a:pt x="278" y="248"/>
                  </a:lnTo>
                  <a:lnTo>
                    <a:pt x="278" y="244"/>
                  </a:lnTo>
                  <a:lnTo>
                    <a:pt x="278" y="241"/>
                  </a:lnTo>
                  <a:lnTo>
                    <a:pt x="278" y="234"/>
                  </a:lnTo>
                  <a:lnTo>
                    <a:pt x="278" y="228"/>
                  </a:lnTo>
                  <a:lnTo>
                    <a:pt x="275" y="218"/>
                  </a:lnTo>
                  <a:lnTo>
                    <a:pt x="271" y="208"/>
                  </a:lnTo>
                  <a:lnTo>
                    <a:pt x="269" y="206"/>
                  </a:lnTo>
                  <a:lnTo>
                    <a:pt x="267" y="205"/>
                  </a:lnTo>
                  <a:lnTo>
                    <a:pt x="266" y="203"/>
                  </a:lnTo>
                  <a:lnTo>
                    <a:pt x="265" y="200"/>
                  </a:lnTo>
                  <a:lnTo>
                    <a:pt x="265" y="193"/>
                  </a:lnTo>
                  <a:lnTo>
                    <a:pt x="265" y="188"/>
                  </a:lnTo>
                  <a:lnTo>
                    <a:pt x="260" y="186"/>
                  </a:lnTo>
                  <a:lnTo>
                    <a:pt x="258" y="186"/>
                  </a:lnTo>
                  <a:lnTo>
                    <a:pt x="258" y="185"/>
                  </a:lnTo>
                  <a:lnTo>
                    <a:pt x="257" y="184"/>
                  </a:lnTo>
                  <a:lnTo>
                    <a:pt x="257" y="183"/>
                  </a:lnTo>
                  <a:lnTo>
                    <a:pt x="257" y="182"/>
                  </a:lnTo>
                  <a:lnTo>
                    <a:pt x="254" y="181"/>
                  </a:lnTo>
                  <a:lnTo>
                    <a:pt x="250" y="181"/>
                  </a:lnTo>
                  <a:lnTo>
                    <a:pt x="250" y="160"/>
                  </a:lnTo>
                  <a:lnTo>
                    <a:pt x="246" y="158"/>
                  </a:lnTo>
                  <a:lnTo>
                    <a:pt x="241" y="156"/>
                  </a:lnTo>
                  <a:lnTo>
                    <a:pt x="238" y="152"/>
                  </a:lnTo>
                  <a:lnTo>
                    <a:pt x="237" y="146"/>
                  </a:lnTo>
                  <a:lnTo>
                    <a:pt x="232" y="145"/>
                  </a:lnTo>
                  <a:lnTo>
                    <a:pt x="228" y="142"/>
                  </a:lnTo>
                  <a:lnTo>
                    <a:pt x="224" y="138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8" y="132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7" y="128"/>
                  </a:lnTo>
                  <a:lnTo>
                    <a:pt x="215" y="127"/>
                  </a:lnTo>
                  <a:lnTo>
                    <a:pt x="213" y="126"/>
                  </a:lnTo>
                  <a:lnTo>
                    <a:pt x="210" y="126"/>
                  </a:lnTo>
                  <a:lnTo>
                    <a:pt x="210" y="113"/>
                  </a:lnTo>
                  <a:lnTo>
                    <a:pt x="205" y="113"/>
                  </a:lnTo>
                  <a:lnTo>
                    <a:pt x="204" y="112"/>
                  </a:lnTo>
                  <a:lnTo>
                    <a:pt x="203" y="111"/>
                  </a:lnTo>
                  <a:lnTo>
                    <a:pt x="203" y="109"/>
                  </a:lnTo>
                  <a:lnTo>
                    <a:pt x="203" y="108"/>
                  </a:lnTo>
                  <a:lnTo>
                    <a:pt x="202" y="107"/>
                  </a:lnTo>
                  <a:lnTo>
                    <a:pt x="200" y="106"/>
                  </a:lnTo>
                  <a:lnTo>
                    <a:pt x="196" y="106"/>
                  </a:lnTo>
                  <a:lnTo>
                    <a:pt x="196" y="96"/>
                  </a:lnTo>
                  <a:lnTo>
                    <a:pt x="196" y="86"/>
                  </a:lnTo>
                  <a:lnTo>
                    <a:pt x="186" y="83"/>
                  </a:lnTo>
                  <a:lnTo>
                    <a:pt x="176" y="79"/>
                  </a:lnTo>
                  <a:lnTo>
                    <a:pt x="175" y="77"/>
                  </a:lnTo>
                  <a:lnTo>
                    <a:pt x="174" y="75"/>
                  </a:lnTo>
                  <a:lnTo>
                    <a:pt x="172" y="73"/>
                  </a:lnTo>
                  <a:lnTo>
                    <a:pt x="169" y="71"/>
                  </a:lnTo>
                  <a:lnTo>
                    <a:pt x="166" y="69"/>
                  </a:lnTo>
                  <a:lnTo>
                    <a:pt x="164" y="66"/>
                  </a:lnTo>
                  <a:lnTo>
                    <a:pt x="163" y="63"/>
                  </a:lnTo>
                  <a:lnTo>
                    <a:pt x="162" y="58"/>
                  </a:lnTo>
                  <a:lnTo>
                    <a:pt x="155" y="51"/>
                  </a:lnTo>
                  <a:lnTo>
                    <a:pt x="148" y="51"/>
                  </a:lnTo>
                  <a:lnTo>
                    <a:pt x="142" y="51"/>
                  </a:lnTo>
                  <a:lnTo>
                    <a:pt x="132" y="48"/>
                  </a:lnTo>
                  <a:lnTo>
                    <a:pt x="122" y="45"/>
                  </a:lnTo>
                  <a:lnTo>
                    <a:pt x="122" y="41"/>
                  </a:lnTo>
                  <a:lnTo>
                    <a:pt x="121" y="39"/>
                  </a:lnTo>
                  <a:lnTo>
                    <a:pt x="119" y="38"/>
                  </a:lnTo>
                  <a:lnTo>
                    <a:pt x="118" y="38"/>
                  </a:lnTo>
                  <a:lnTo>
                    <a:pt x="117" y="38"/>
                  </a:lnTo>
                  <a:lnTo>
                    <a:pt x="116" y="37"/>
                  </a:lnTo>
                  <a:lnTo>
                    <a:pt x="115" y="36"/>
                  </a:lnTo>
                  <a:lnTo>
                    <a:pt x="115" y="31"/>
                  </a:lnTo>
                  <a:lnTo>
                    <a:pt x="102" y="31"/>
                  </a:lnTo>
                  <a:lnTo>
                    <a:pt x="102" y="28"/>
                  </a:lnTo>
                  <a:lnTo>
                    <a:pt x="100" y="26"/>
                  </a:lnTo>
                  <a:lnTo>
                    <a:pt x="99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6" y="23"/>
                  </a:lnTo>
                  <a:lnTo>
                    <a:pt x="95" y="21"/>
                  </a:lnTo>
                  <a:lnTo>
                    <a:pt x="95" y="18"/>
                  </a:lnTo>
                  <a:lnTo>
                    <a:pt x="81" y="18"/>
                  </a:lnTo>
                  <a:lnTo>
                    <a:pt x="80" y="13"/>
                  </a:lnTo>
                  <a:lnTo>
                    <a:pt x="78" y="10"/>
                  </a:lnTo>
                  <a:lnTo>
                    <a:pt x="75" y="8"/>
                  </a:lnTo>
                  <a:lnTo>
                    <a:pt x="70" y="7"/>
                  </a:lnTo>
                  <a:lnTo>
                    <a:pt x="58" y="4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6" name="Freeform 29">
              <a:extLst>
                <a:ext uri="{FF2B5EF4-FFF2-40B4-BE49-F238E27FC236}">
                  <a16:creationId xmlns:a16="http://schemas.microsoft.com/office/drawing/2014/main" id="{AF11A111-8249-4171-9D1B-6B3C00C697D9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827838" y="4087813"/>
              <a:ext cx="117794" cy="107950"/>
            </a:xfrm>
            <a:custGeom>
              <a:avLst/>
              <a:gdLst/>
              <a:ahLst/>
              <a:cxnLst>
                <a:cxn ang="0">
                  <a:pos x="129" y="13"/>
                </a:cxn>
                <a:cxn ang="0">
                  <a:pos x="105" y="51"/>
                </a:cxn>
                <a:cxn ang="0">
                  <a:pos x="83" y="67"/>
                </a:cxn>
                <a:cxn ang="0">
                  <a:pos x="54" y="87"/>
                </a:cxn>
                <a:cxn ang="0">
                  <a:pos x="20" y="108"/>
                </a:cxn>
                <a:cxn ang="0">
                  <a:pos x="0" y="155"/>
                </a:cxn>
                <a:cxn ang="0">
                  <a:pos x="9" y="183"/>
                </a:cxn>
                <a:cxn ang="0">
                  <a:pos x="29" y="201"/>
                </a:cxn>
                <a:cxn ang="0">
                  <a:pos x="58" y="210"/>
                </a:cxn>
                <a:cxn ang="0">
                  <a:pos x="83" y="256"/>
                </a:cxn>
                <a:cxn ang="0">
                  <a:pos x="118" y="388"/>
                </a:cxn>
                <a:cxn ang="0">
                  <a:pos x="128" y="415"/>
                </a:cxn>
                <a:cxn ang="0">
                  <a:pos x="135" y="428"/>
                </a:cxn>
                <a:cxn ang="0">
                  <a:pos x="149" y="444"/>
                </a:cxn>
                <a:cxn ang="0">
                  <a:pos x="161" y="456"/>
                </a:cxn>
                <a:cxn ang="0">
                  <a:pos x="196" y="487"/>
                </a:cxn>
                <a:cxn ang="0">
                  <a:pos x="203" y="505"/>
                </a:cxn>
                <a:cxn ang="0">
                  <a:pos x="213" y="523"/>
                </a:cxn>
                <a:cxn ang="0">
                  <a:pos x="234" y="549"/>
                </a:cxn>
                <a:cxn ang="0">
                  <a:pos x="250" y="571"/>
                </a:cxn>
                <a:cxn ang="0">
                  <a:pos x="257" y="582"/>
                </a:cxn>
                <a:cxn ang="0">
                  <a:pos x="269" y="619"/>
                </a:cxn>
                <a:cxn ang="0">
                  <a:pos x="301" y="654"/>
                </a:cxn>
                <a:cxn ang="0">
                  <a:pos x="321" y="676"/>
                </a:cxn>
                <a:cxn ang="0">
                  <a:pos x="347" y="683"/>
                </a:cxn>
                <a:cxn ang="0">
                  <a:pos x="409" y="654"/>
                </a:cxn>
                <a:cxn ang="0">
                  <a:pos x="434" y="628"/>
                </a:cxn>
                <a:cxn ang="0">
                  <a:pos x="443" y="608"/>
                </a:cxn>
                <a:cxn ang="0">
                  <a:pos x="461" y="549"/>
                </a:cxn>
                <a:cxn ang="0">
                  <a:pos x="496" y="518"/>
                </a:cxn>
                <a:cxn ang="0">
                  <a:pos x="522" y="474"/>
                </a:cxn>
                <a:cxn ang="0">
                  <a:pos x="529" y="452"/>
                </a:cxn>
                <a:cxn ang="0">
                  <a:pos x="551" y="435"/>
                </a:cxn>
                <a:cxn ang="0">
                  <a:pos x="570" y="420"/>
                </a:cxn>
                <a:cxn ang="0">
                  <a:pos x="576" y="413"/>
                </a:cxn>
                <a:cxn ang="0">
                  <a:pos x="606" y="393"/>
                </a:cxn>
                <a:cxn ang="0">
                  <a:pos x="630" y="379"/>
                </a:cxn>
                <a:cxn ang="0">
                  <a:pos x="627" y="324"/>
                </a:cxn>
                <a:cxn ang="0">
                  <a:pos x="600" y="308"/>
                </a:cxn>
                <a:cxn ang="0">
                  <a:pos x="549" y="284"/>
                </a:cxn>
                <a:cxn ang="0">
                  <a:pos x="511" y="265"/>
                </a:cxn>
                <a:cxn ang="0">
                  <a:pos x="487" y="196"/>
                </a:cxn>
                <a:cxn ang="0">
                  <a:pos x="472" y="144"/>
                </a:cxn>
                <a:cxn ang="0">
                  <a:pos x="441" y="121"/>
                </a:cxn>
                <a:cxn ang="0">
                  <a:pos x="413" y="115"/>
                </a:cxn>
                <a:cxn ang="0">
                  <a:pos x="372" y="74"/>
                </a:cxn>
                <a:cxn ang="0">
                  <a:pos x="360" y="59"/>
                </a:cxn>
                <a:cxn ang="0">
                  <a:pos x="352" y="30"/>
                </a:cxn>
                <a:cxn ang="0">
                  <a:pos x="334" y="13"/>
                </a:cxn>
                <a:cxn ang="0">
                  <a:pos x="295" y="20"/>
                </a:cxn>
                <a:cxn ang="0">
                  <a:pos x="279" y="26"/>
                </a:cxn>
                <a:cxn ang="0">
                  <a:pos x="235" y="20"/>
                </a:cxn>
                <a:cxn ang="0">
                  <a:pos x="224" y="12"/>
                </a:cxn>
                <a:cxn ang="0">
                  <a:pos x="203" y="0"/>
                </a:cxn>
              </a:cxnLst>
              <a:rect l="0" t="0" r="r" b="b"/>
              <a:pathLst>
                <a:path w="644" h="684">
                  <a:moveTo>
                    <a:pt x="163" y="0"/>
                  </a:moveTo>
                  <a:lnTo>
                    <a:pt x="151" y="0"/>
                  </a:lnTo>
                  <a:lnTo>
                    <a:pt x="140" y="2"/>
                  </a:lnTo>
                  <a:lnTo>
                    <a:pt x="136" y="4"/>
                  </a:lnTo>
                  <a:lnTo>
                    <a:pt x="131" y="9"/>
                  </a:lnTo>
                  <a:lnTo>
                    <a:pt x="129" y="13"/>
                  </a:lnTo>
                  <a:lnTo>
                    <a:pt x="128" y="20"/>
                  </a:lnTo>
                  <a:lnTo>
                    <a:pt x="126" y="22"/>
                  </a:lnTo>
                  <a:lnTo>
                    <a:pt x="121" y="25"/>
                  </a:lnTo>
                  <a:lnTo>
                    <a:pt x="117" y="31"/>
                  </a:lnTo>
                  <a:lnTo>
                    <a:pt x="112" y="38"/>
                  </a:lnTo>
                  <a:lnTo>
                    <a:pt x="105" y="51"/>
                  </a:lnTo>
                  <a:lnTo>
                    <a:pt x="101" y="61"/>
                  </a:lnTo>
                  <a:lnTo>
                    <a:pt x="88" y="61"/>
                  </a:lnTo>
                  <a:lnTo>
                    <a:pt x="88" y="63"/>
                  </a:lnTo>
                  <a:lnTo>
                    <a:pt x="87" y="64"/>
                  </a:lnTo>
                  <a:lnTo>
                    <a:pt x="86" y="66"/>
                  </a:lnTo>
                  <a:lnTo>
                    <a:pt x="83" y="67"/>
                  </a:lnTo>
                  <a:lnTo>
                    <a:pt x="79" y="68"/>
                  </a:lnTo>
                  <a:lnTo>
                    <a:pt x="74" y="68"/>
                  </a:lnTo>
                  <a:lnTo>
                    <a:pt x="74" y="81"/>
                  </a:lnTo>
                  <a:lnTo>
                    <a:pt x="67" y="82"/>
                  </a:lnTo>
                  <a:lnTo>
                    <a:pt x="58" y="86"/>
                  </a:lnTo>
                  <a:lnTo>
                    <a:pt x="54" y="87"/>
                  </a:lnTo>
                  <a:lnTo>
                    <a:pt x="51" y="90"/>
                  </a:lnTo>
                  <a:lnTo>
                    <a:pt x="48" y="92"/>
                  </a:lnTo>
                  <a:lnTo>
                    <a:pt x="48" y="95"/>
                  </a:lnTo>
                  <a:lnTo>
                    <a:pt x="33" y="95"/>
                  </a:lnTo>
                  <a:lnTo>
                    <a:pt x="26" y="101"/>
                  </a:lnTo>
                  <a:lnTo>
                    <a:pt x="20" y="108"/>
                  </a:lnTo>
                  <a:lnTo>
                    <a:pt x="13" y="115"/>
                  </a:lnTo>
                  <a:lnTo>
                    <a:pt x="6" y="121"/>
                  </a:lnTo>
                  <a:lnTo>
                    <a:pt x="0" y="128"/>
                  </a:lnTo>
                  <a:lnTo>
                    <a:pt x="0" y="136"/>
                  </a:lnTo>
                  <a:lnTo>
                    <a:pt x="0" y="146"/>
                  </a:lnTo>
                  <a:lnTo>
                    <a:pt x="0" y="155"/>
                  </a:lnTo>
                  <a:lnTo>
                    <a:pt x="0" y="163"/>
                  </a:lnTo>
                  <a:lnTo>
                    <a:pt x="1" y="167"/>
                  </a:lnTo>
                  <a:lnTo>
                    <a:pt x="2" y="172"/>
                  </a:lnTo>
                  <a:lnTo>
                    <a:pt x="4" y="175"/>
                  </a:lnTo>
                  <a:lnTo>
                    <a:pt x="6" y="179"/>
                  </a:lnTo>
                  <a:lnTo>
                    <a:pt x="9" y="183"/>
                  </a:lnTo>
                  <a:lnTo>
                    <a:pt x="11" y="187"/>
                  </a:lnTo>
                  <a:lnTo>
                    <a:pt x="13" y="192"/>
                  </a:lnTo>
                  <a:lnTo>
                    <a:pt x="13" y="196"/>
                  </a:lnTo>
                  <a:lnTo>
                    <a:pt x="26" y="196"/>
                  </a:lnTo>
                  <a:lnTo>
                    <a:pt x="27" y="198"/>
                  </a:lnTo>
                  <a:lnTo>
                    <a:pt x="29" y="201"/>
                  </a:lnTo>
                  <a:lnTo>
                    <a:pt x="31" y="202"/>
                  </a:lnTo>
                  <a:lnTo>
                    <a:pt x="34" y="202"/>
                  </a:lnTo>
                  <a:lnTo>
                    <a:pt x="41" y="203"/>
                  </a:lnTo>
                  <a:lnTo>
                    <a:pt x="48" y="203"/>
                  </a:lnTo>
                  <a:lnTo>
                    <a:pt x="51" y="205"/>
                  </a:lnTo>
                  <a:lnTo>
                    <a:pt x="58" y="210"/>
                  </a:lnTo>
                  <a:lnTo>
                    <a:pt x="67" y="214"/>
                  </a:lnTo>
                  <a:lnTo>
                    <a:pt x="74" y="216"/>
                  </a:lnTo>
                  <a:lnTo>
                    <a:pt x="74" y="230"/>
                  </a:lnTo>
                  <a:lnTo>
                    <a:pt x="77" y="234"/>
                  </a:lnTo>
                  <a:lnTo>
                    <a:pt x="80" y="243"/>
                  </a:lnTo>
                  <a:lnTo>
                    <a:pt x="83" y="256"/>
                  </a:lnTo>
                  <a:lnTo>
                    <a:pt x="87" y="272"/>
                  </a:lnTo>
                  <a:lnTo>
                    <a:pt x="92" y="301"/>
                  </a:lnTo>
                  <a:lnTo>
                    <a:pt x="94" y="318"/>
                  </a:lnTo>
                  <a:lnTo>
                    <a:pt x="99" y="333"/>
                  </a:lnTo>
                  <a:lnTo>
                    <a:pt x="108" y="360"/>
                  </a:lnTo>
                  <a:lnTo>
                    <a:pt x="118" y="388"/>
                  </a:lnTo>
                  <a:lnTo>
                    <a:pt x="121" y="406"/>
                  </a:lnTo>
                  <a:lnTo>
                    <a:pt x="123" y="407"/>
                  </a:lnTo>
                  <a:lnTo>
                    <a:pt x="126" y="407"/>
                  </a:lnTo>
                  <a:lnTo>
                    <a:pt x="127" y="409"/>
                  </a:lnTo>
                  <a:lnTo>
                    <a:pt x="128" y="410"/>
                  </a:lnTo>
                  <a:lnTo>
                    <a:pt x="128" y="415"/>
                  </a:lnTo>
                  <a:lnTo>
                    <a:pt x="128" y="419"/>
                  </a:lnTo>
                  <a:lnTo>
                    <a:pt x="130" y="420"/>
                  </a:lnTo>
                  <a:lnTo>
                    <a:pt x="132" y="420"/>
                  </a:lnTo>
                  <a:lnTo>
                    <a:pt x="134" y="423"/>
                  </a:lnTo>
                  <a:lnTo>
                    <a:pt x="135" y="424"/>
                  </a:lnTo>
                  <a:lnTo>
                    <a:pt x="135" y="428"/>
                  </a:lnTo>
                  <a:lnTo>
                    <a:pt x="136" y="434"/>
                  </a:lnTo>
                  <a:lnTo>
                    <a:pt x="142" y="441"/>
                  </a:lnTo>
                  <a:lnTo>
                    <a:pt x="146" y="441"/>
                  </a:lnTo>
                  <a:lnTo>
                    <a:pt x="148" y="442"/>
                  </a:lnTo>
                  <a:lnTo>
                    <a:pt x="149" y="443"/>
                  </a:lnTo>
                  <a:lnTo>
                    <a:pt x="149" y="444"/>
                  </a:lnTo>
                  <a:lnTo>
                    <a:pt x="149" y="445"/>
                  </a:lnTo>
                  <a:lnTo>
                    <a:pt x="149" y="446"/>
                  </a:lnTo>
                  <a:lnTo>
                    <a:pt x="151" y="446"/>
                  </a:lnTo>
                  <a:lnTo>
                    <a:pt x="156" y="447"/>
                  </a:lnTo>
                  <a:lnTo>
                    <a:pt x="157" y="451"/>
                  </a:lnTo>
                  <a:lnTo>
                    <a:pt x="161" y="456"/>
                  </a:lnTo>
                  <a:lnTo>
                    <a:pt x="167" y="463"/>
                  </a:lnTo>
                  <a:lnTo>
                    <a:pt x="174" y="470"/>
                  </a:lnTo>
                  <a:lnTo>
                    <a:pt x="180" y="476"/>
                  </a:lnTo>
                  <a:lnTo>
                    <a:pt x="187" y="482"/>
                  </a:lnTo>
                  <a:lnTo>
                    <a:pt x="193" y="486"/>
                  </a:lnTo>
                  <a:lnTo>
                    <a:pt x="196" y="487"/>
                  </a:lnTo>
                  <a:lnTo>
                    <a:pt x="196" y="501"/>
                  </a:lnTo>
                  <a:lnTo>
                    <a:pt x="201" y="502"/>
                  </a:lnTo>
                  <a:lnTo>
                    <a:pt x="202" y="502"/>
                  </a:lnTo>
                  <a:lnTo>
                    <a:pt x="203" y="503"/>
                  </a:lnTo>
                  <a:lnTo>
                    <a:pt x="203" y="504"/>
                  </a:lnTo>
                  <a:lnTo>
                    <a:pt x="203" y="505"/>
                  </a:lnTo>
                  <a:lnTo>
                    <a:pt x="204" y="506"/>
                  </a:lnTo>
                  <a:lnTo>
                    <a:pt x="206" y="507"/>
                  </a:lnTo>
                  <a:lnTo>
                    <a:pt x="209" y="507"/>
                  </a:lnTo>
                  <a:lnTo>
                    <a:pt x="209" y="514"/>
                  </a:lnTo>
                  <a:lnTo>
                    <a:pt x="212" y="521"/>
                  </a:lnTo>
                  <a:lnTo>
                    <a:pt x="213" y="523"/>
                  </a:lnTo>
                  <a:lnTo>
                    <a:pt x="215" y="526"/>
                  </a:lnTo>
                  <a:lnTo>
                    <a:pt x="218" y="528"/>
                  </a:lnTo>
                  <a:lnTo>
                    <a:pt x="223" y="529"/>
                  </a:lnTo>
                  <a:lnTo>
                    <a:pt x="225" y="535"/>
                  </a:lnTo>
                  <a:lnTo>
                    <a:pt x="231" y="544"/>
                  </a:lnTo>
                  <a:lnTo>
                    <a:pt x="234" y="549"/>
                  </a:lnTo>
                  <a:lnTo>
                    <a:pt x="237" y="552"/>
                  </a:lnTo>
                  <a:lnTo>
                    <a:pt x="241" y="554"/>
                  </a:lnTo>
                  <a:lnTo>
                    <a:pt x="244" y="555"/>
                  </a:lnTo>
                  <a:lnTo>
                    <a:pt x="244" y="569"/>
                  </a:lnTo>
                  <a:lnTo>
                    <a:pt x="247" y="570"/>
                  </a:lnTo>
                  <a:lnTo>
                    <a:pt x="250" y="571"/>
                  </a:lnTo>
                  <a:lnTo>
                    <a:pt x="251" y="573"/>
                  </a:lnTo>
                  <a:lnTo>
                    <a:pt x="251" y="576"/>
                  </a:lnTo>
                  <a:lnTo>
                    <a:pt x="251" y="578"/>
                  </a:lnTo>
                  <a:lnTo>
                    <a:pt x="251" y="580"/>
                  </a:lnTo>
                  <a:lnTo>
                    <a:pt x="253" y="582"/>
                  </a:lnTo>
                  <a:lnTo>
                    <a:pt x="257" y="582"/>
                  </a:lnTo>
                  <a:lnTo>
                    <a:pt x="257" y="588"/>
                  </a:lnTo>
                  <a:lnTo>
                    <a:pt x="259" y="595"/>
                  </a:lnTo>
                  <a:lnTo>
                    <a:pt x="260" y="601"/>
                  </a:lnTo>
                  <a:lnTo>
                    <a:pt x="262" y="608"/>
                  </a:lnTo>
                  <a:lnTo>
                    <a:pt x="265" y="614"/>
                  </a:lnTo>
                  <a:lnTo>
                    <a:pt x="269" y="619"/>
                  </a:lnTo>
                  <a:lnTo>
                    <a:pt x="273" y="621"/>
                  </a:lnTo>
                  <a:lnTo>
                    <a:pt x="278" y="624"/>
                  </a:lnTo>
                  <a:lnTo>
                    <a:pt x="284" y="630"/>
                  </a:lnTo>
                  <a:lnTo>
                    <a:pt x="288" y="637"/>
                  </a:lnTo>
                  <a:lnTo>
                    <a:pt x="294" y="646"/>
                  </a:lnTo>
                  <a:lnTo>
                    <a:pt x="301" y="654"/>
                  </a:lnTo>
                  <a:lnTo>
                    <a:pt x="304" y="657"/>
                  </a:lnTo>
                  <a:lnTo>
                    <a:pt x="304" y="670"/>
                  </a:lnTo>
                  <a:lnTo>
                    <a:pt x="318" y="670"/>
                  </a:lnTo>
                  <a:lnTo>
                    <a:pt x="319" y="673"/>
                  </a:lnTo>
                  <a:lnTo>
                    <a:pt x="319" y="675"/>
                  </a:lnTo>
                  <a:lnTo>
                    <a:pt x="321" y="676"/>
                  </a:lnTo>
                  <a:lnTo>
                    <a:pt x="322" y="676"/>
                  </a:lnTo>
                  <a:lnTo>
                    <a:pt x="327" y="677"/>
                  </a:lnTo>
                  <a:lnTo>
                    <a:pt x="332" y="677"/>
                  </a:lnTo>
                  <a:lnTo>
                    <a:pt x="333" y="679"/>
                  </a:lnTo>
                  <a:lnTo>
                    <a:pt x="339" y="682"/>
                  </a:lnTo>
                  <a:lnTo>
                    <a:pt x="347" y="683"/>
                  </a:lnTo>
                  <a:lnTo>
                    <a:pt x="357" y="683"/>
                  </a:lnTo>
                  <a:lnTo>
                    <a:pt x="375" y="684"/>
                  </a:lnTo>
                  <a:lnTo>
                    <a:pt x="386" y="684"/>
                  </a:lnTo>
                  <a:lnTo>
                    <a:pt x="396" y="670"/>
                  </a:lnTo>
                  <a:lnTo>
                    <a:pt x="406" y="657"/>
                  </a:lnTo>
                  <a:lnTo>
                    <a:pt x="409" y="654"/>
                  </a:lnTo>
                  <a:lnTo>
                    <a:pt x="416" y="646"/>
                  </a:lnTo>
                  <a:lnTo>
                    <a:pt x="424" y="637"/>
                  </a:lnTo>
                  <a:lnTo>
                    <a:pt x="427" y="630"/>
                  </a:lnTo>
                  <a:lnTo>
                    <a:pt x="430" y="629"/>
                  </a:lnTo>
                  <a:lnTo>
                    <a:pt x="433" y="629"/>
                  </a:lnTo>
                  <a:lnTo>
                    <a:pt x="434" y="628"/>
                  </a:lnTo>
                  <a:lnTo>
                    <a:pt x="434" y="627"/>
                  </a:lnTo>
                  <a:lnTo>
                    <a:pt x="434" y="625"/>
                  </a:lnTo>
                  <a:lnTo>
                    <a:pt x="434" y="625"/>
                  </a:lnTo>
                  <a:lnTo>
                    <a:pt x="436" y="624"/>
                  </a:lnTo>
                  <a:lnTo>
                    <a:pt x="441" y="624"/>
                  </a:lnTo>
                  <a:lnTo>
                    <a:pt x="443" y="608"/>
                  </a:lnTo>
                  <a:lnTo>
                    <a:pt x="448" y="588"/>
                  </a:lnTo>
                  <a:lnTo>
                    <a:pt x="451" y="578"/>
                  </a:lnTo>
                  <a:lnTo>
                    <a:pt x="455" y="570"/>
                  </a:lnTo>
                  <a:lnTo>
                    <a:pt x="457" y="564"/>
                  </a:lnTo>
                  <a:lnTo>
                    <a:pt x="461" y="562"/>
                  </a:lnTo>
                  <a:lnTo>
                    <a:pt x="461" y="549"/>
                  </a:lnTo>
                  <a:lnTo>
                    <a:pt x="467" y="542"/>
                  </a:lnTo>
                  <a:lnTo>
                    <a:pt x="474" y="535"/>
                  </a:lnTo>
                  <a:lnTo>
                    <a:pt x="487" y="535"/>
                  </a:lnTo>
                  <a:lnTo>
                    <a:pt x="489" y="531"/>
                  </a:lnTo>
                  <a:lnTo>
                    <a:pt x="492" y="524"/>
                  </a:lnTo>
                  <a:lnTo>
                    <a:pt x="496" y="518"/>
                  </a:lnTo>
                  <a:lnTo>
                    <a:pt x="502" y="509"/>
                  </a:lnTo>
                  <a:lnTo>
                    <a:pt x="507" y="501"/>
                  </a:lnTo>
                  <a:lnTo>
                    <a:pt x="513" y="494"/>
                  </a:lnTo>
                  <a:lnTo>
                    <a:pt x="519" y="490"/>
                  </a:lnTo>
                  <a:lnTo>
                    <a:pt x="522" y="487"/>
                  </a:lnTo>
                  <a:lnTo>
                    <a:pt x="522" y="474"/>
                  </a:lnTo>
                  <a:lnTo>
                    <a:pt x="522" y="461"/>
                  </a:lnTo>
                  <a:lnTo>
                    <a:pt x="524" y="461"/>
                  </a:lnTo>
                  <a:lnTo>
                    <a:pt x="525" y="459"/>
                  </a:lnTo>
                  <a:lnTo>
                    <a:pt x="526" y="458"/>
                  </a:lnTo>
                  <a:lnTo>
                    <a:pt x="528" y="456"/>
                  </a:lnTo>
                  <a:lnTo>
                    <a:pt x="529" y="452"/>
                  </a:lnTo>
                  <a:lnTo>
                    <a:pt x="529" y="447"/>
                  </a:lnTo>
                  <a:lnTo>
                    <a:pt x="535" y="441"/>
                  </a:lnTo>
                  <a:lnTo>
                    <a:pt x="549" y="441"/>
                  </a:lnTo>
                  <a:lnTo>
                    <a:pt x="549" y="438"/>
                  </a:lnTo>
                  <a:lnTo>
                    <a:pt x="550" y="436"/>
                  </a:lnTo>
                  <a:lnTo>
                    <a:pt x="551" y="435"/>
                  </a:lnTo>
                  <a:lnTo>
                    <a:pt x="553" y="434"/>
                  </a:lnTo>
                  <a:lnTo>
                    <a:pt x="558" y="434"/>
                  </a:lnTo>
                  <a:lnTo>
                    <a:pt x="562" y="434"/>
                  </a:lnTo>
                  <a:lnTo>
                    <a:pt x="569" y="426"/>
                  </a:lnTo>
                  <a:lnTo>
                    <a:pt x="569" y="423"/>
                  </a:lnTo>
                  <a:lnTo>
                    <a:pt x="570" y="420"/>
                  </a:lnTo>
                  <a:lnTo>
                    <a:pt x="571" y="419"/>
                  </a:lnTo>
                  <a:lnTo>
                    <a:pt x="572" y="419"/>
                  </a:lnTo>
                  <a:lnTo>
                    <a:pt x="573" y="419"/>
                  </a:lnTo>
                  <a:lnTo>
                    <a:pt x="574" y="419"/>
                  </a:lnTo>
                  <a:lnTo>
                    <a:pt x="576" y="417"/>
                  </a:lnTo>
                  <a:lnTo>
                    <a:pt x="576" y="413"/>
                  </a:lnTo>
                  <a:lnTo>
                    <a:pt x="589" y="406"/>
                  </a:lnTo>
                  <a:lnTo>
                    <a:pt x="602" y="399"/>
                  </a:lnTo>
                  <a:lnTo>
                    <a:pt x="603" y="396"/>
                  </a:lnTo>
                  <a:lnTo>
                    <a:pt x="603" y="394"/>
                  </a:lnTo>
                  <a:lnTo>
                    <a:pt x="605" y="393"/>
                  </a:lnTo>
                  <a:lnTo>
                    <a:pt x="606" y="393"/>
                  </a:lnTo>
                  <a:lnTo>
                    <a:pt x="608" y="393"/>
                  </a:lnTo>
                  <a:lnTo>
                    <a:pt x="609" y="391"/>
                  </a:lnTo>
                  <a:lnTo>
                    <a:pt x="609" y="390"/>
                  </a:lnTo>
                  <a:lnTo>
                    <a:pt x="610" y="386"/>
                  </a:lnTo>
                  <a:lnTo>
                    <a:pt x="620" y="382"/>
                  </a:lnTo>
                  <a:lnTo>
                    <a:pt x="630" y="379"/>
                  </a:lnTo>
                  <a:lnTo>
                    <a:pt x="633" y="368"/>
                  </a:lnTo>
                  <a:lnTo>
                    <a:pt x="637" y="356"/>
                  </a:lnTo>
                  <a:lnTo>
                    <a:pt x="641" y="343"/>
                  </a:lnTo>
                  <a:lnTo>
                    <a:pt x="644" y="331"/>
                  </a:lnTo>
                  <a:lnTo>
                    <a:pt x="636" y="329"/>
                  </a:lnTo>
                  <a:lnTo>
                    <a:pt x="627" y="324"/>
                  </a:lnTo>
                  <a:lnTo>
                    <a:pt x="624" y="321"/>
                  </a:lnTo>
                  <a:lnTo>
                    <a:pt x="620" y="318"/>
                  </a:lnTo>
                  <a:lnTo>
                    <a:pt x="617" y="314"/>
                  </a:lnTo>
                  <a:lnTo>
                    <a:pt x="617" y="311"/>
                  </a:lnTo>
                  <a:lnTo>
                    <a:pt x="609" y="310"/>
                  </a:lnTo>
                  <a:lnTo>
                    <a:pt x="600" y="308"/>
                  </a:lnTo>
                  <a:lnTo>
                    <a:pt x="589" y="304"/>
                  </a:lnTo>
                  <a:lnTo>
                    <a:pt x="578" y="300"/>
                  </a:lnTo>
                  <a:lnTo>
                    <a:pt x="567" y="295"/>
                  </a:lnTo>
                  <a:lnTo>
                    <a:pt x="558" y="291"/>
                  </a:lnTo>
                  <a:lnTo>
                    <a:pt x="551" y="288"/>
                  </a:lnTo>
                  <a:lnTo>
                    <a:pt x="549" y="284"/>
                  </a:lnTo>
                  <a:lnTo>
                    <a:pt x="535" y="284"/>
                  </a:lnTo>
                  <a:lnTo>
                    <a:pt x="522" y="278"/>
                  </a:lnTo>
                  <a:lnTo>
                    <a:pt x="521" y="274"/>
                  </a:lnTo>
                  <a:lnTo>
                    <a:pt x="519" y="272"/>
                  </a:lnTo>
                  <a:lnTo>
                    <a:pt x="514" y="268"/>
                  </a:lnTo>
                  <a:lnTo>
                    <a:pt x="511" y="265"/>
                  </a:lnTo>
                  <a:lnTo>
                    <a:pt x="502" y="260"/>
                  </a:lnTo>
                  <a:lnTo>
                    <a:pt x="494" y="257"/>
                  </a:lnTo>
                  <a:lnTo>
                    <a:pt x="493" y="245"/>
                  </a:lnTo>
                  <a:lnTo>
                    <a:pt x="491" y="230"/>
                  </a:lnTo>
                  <a:lnTo>
                    <a:pt x="489" y="213"/>
                  </a:lnTo>
                  <a:lnTo>
                    <a:pt x="487" y="196"/>
                  </a:lnTo>
                  <a:lnTo>
                    <a:pt x="486" y="182"/>
                  </a:lnTo>
                  <a:lnTo>
                    <a:pt x="483" y="164"/>
                  </a:lnTo>
                  <a:lnTo>
                    <a:pt x="480" y="156"/>
                  </a:lnTo>
                  <a:lnTo>
                    <a:pt x="476" y="148"/>
                  </a:lnTo>
                  <a:lnTo>
                    <a:pt x="474" y="146"/>
                  </a:lnTo>
                  <a:lnTo>
                    <a:pt x="472" y="144"/>
                  </a:lnTo>
                  <a:lnTo>
                    <a:pt x="470" y="143"/>
                  </a:lnTo>
                  <a:lnTo>
                    <a:pt x="467" y="141"/>
                  </a:lnTo>
                  <a:lnTo>
                    <a:pt x="467" y="128"/>
                  </a:lnTo>
                  <a:lnTo>
                    <a:pt x="461" y="121"/>
                  </a:lnTo>
                  <a:lnTo>
                    <a:pt x="451" y="121"/>
                  </a:lnTo>
                  <a:lnTo>
                    <a:pt x="441" y="121"/>
                  </a:lnTo>
                  <a:lnTo>
                    <a:pt x="439" y="119"/>
                  </a:lnTo>
                  <a:lnTo>
                    <a:pt x="437" y="118"/>
                  </a:lnTo>
                  <a:lnTo>
                    <a:pt x="434" y="117"/>
                  </a:lnTo>
                  <a:lnTo>
                    <a:pt x="429" y="116"/>
                  </a:lnTo>
                  <a:lnTo>
                    <a:pt x="420" y="115"/>
                  </a:lnTo>
                  <a:lnTo>
                    <a:pt x="413" y="115"/>
                  </a:lnTo>
                  <a:lnTo>
                    <a:pt x="409" y="111"/>
                  </a:lnTo>
                  <a:lnTo>
                    <a:pt x="399" y="105"/>
                  </a:lnTo>
                  <a:lnTo>
                    <a:pt x="387" y="98"/>
                  </a:lnTo>
                  <a:lnTo>
                    <a:pt x="379" y="95"/>
                  </a:lnTo>
                  <a:lnTo>
                    <a:pt x="372" y="88"/>
                  </a:lnTo>
                  <a:lnTo>
                    <a:pt x="372" y="74"/>
                  </a:lnTo>
                  <a:lnTo>
                    <a:pt x="370" y="73"/>
                  </a:lnTo>
                  <a:lnTo>
                    <a:pt x="368" y="73"/>
                  </a:lnTo>
                  <a:lnTo>
                    <a:pt x="366" y="71"/>
                  </a:lnTo>
                  <a:lnTo>
                    <a:pt x="365" y="70"/>
                  </a:lnTo>
                  <a:lnTo>
                    <a:pt x="362" y="64"/>
                  </a:lnTo>
                  <a:lnTo>
                    <a:pt x="360" y="59"/>
                  </a:lnTo>
                  <a:lnTo>
                    <a:pt x="359" y="45"/>
                  </a:lnTo>
                  <a:lnTo>
                    <a:pt x="359" y="33"/>
                  </a:lnTo>
                  <a:lnTo>
                    <a:pt x="355" y="33"/>
                  </a:lnTo>
                  <a:lnTo>
                    <a:pt x="353" y="32"/>
                  </a:lnTo>
                  <a:lnTo>
                    <a:pt x="352" y="31"/>
                  </a:lnTo>
                  <a:lnTo>
                    <a:pt x="352" y="30"/>
                  </a:lnTo>
                  <a:lnTo>
                    <a:pt x="352" y="29"/>
                  </a:lnTo>
                  <a:lnTo>
                    <a:pt x="351" y="28"/>
                  </a:lnTo>
                  <a:lnTo>
                    <a:pt x="349" y="28"/>
                  </a:lnTo>
                  <a:lnTo>
                    <a:pt x="346" y="26"/>
                  </a:lnTo>
                  <a:lnTo>
                    <a:pt x="346" y="13"/>
                  </a:lnTo>
                  <a:lnTo>
                    <a:pt x="334" y="13"/>
                  </a:lnTo>
                  <a:lnTo>
                    <a:pt x="321" y="13"/>
                  </a:lnTo>
                  <a:lnTo>
                    <a:pt x="309" y="13"/>
                  </a:lnTo>
                  <a:lnTo>
                    <a:pt x="298" y="13"/>
                  </a:lnTo>
                  <a:lnTo>
                    <a:pt x="298" y="18"/>
                  </a:lnTo>
                  <a:lnTo>
                    <a:pt x="297" y="19"/>
                  </a:lnTo>
                  <a:lnTo>
                    <a:pt x="295" y="20"/>
                  </a:lnTo>
                  <a:lnTo>
                    <a:pt x="294" y="20"/>
                  </a:lnTo>
                  <a:lnTo>
                    <a:pt x="293" y="20"/>
                  </a:lnTo>
                  <a:lnTo>
                    <a:pt x="292" y="21"/>
                  </a:lnTo>
                  <a:lnTo>
                    <a:pt x="291" y="23"/>
                  </a:lnTo>
                  <a:lnTo>
                    <a:pt x="291" y="26"/>
                  </a:lnTo>
                  <a:lnTo>
                    <a:pt x="279" y="26"/>
                  </a:lnTo>
                  <a:lnTo>
                    <a:pt x="264" y="26"/>
                  </a:lnTo>
                  <a:lnTo>
                    <a:pt x="250" y="26"/>
                  </a:lnTo>
                  <a:lnTo>
                    <a:pt x="237" y="26"/>
                  </a:lnTo>
                  <a:lnTo>
                    <a:pt x="236" y="23"/>
                  </a:lnTo>
                  <a:lnTo>
                    <a:pt x="236" y="21"/>
                  </a:lnTo>
                  <a:lnTo>
                    <a:pt x="235" y="20"/>
                  </a:lnTo>
                  <a:lnTo>
                    <a:pt x="234" y="20"/>
                  </a:lnTo>
                  <a:lnTo>
                    <a:pt x="232" y="20"/>
                  </a:lnTo>
                  <a:lnTo>
                    <a:pt x="231" y="19"/>
                  </a:lnTo>
                  <a:lnTo>
                    <a:pt x="231" y="18"/>
                  </a:lnTo>
                  <a:lnTo>
                    <a:pt x="231" y="13"/>
                  </a:lnTo>
                  <a:lnTo>
                    <a:pt x="224" y="12"/>
                  </a:lnTo>
                  <a:lnTo>
                    <a:pt x="217" y="9"/>
                  </a:lnTo>
                  <a:lnTo>
                    <a:pt x="214" y="7"/>
                  </a:lnTo>
                  <a:lnTo>
                    <a:pt x="212" y="4"/>
                  </a:lnTo>
                  <a:lnTo>
                    <a:pt x="211" y="2"/>
                  </a:lnTo>
                  <a:lnTo>
                    <a:pt x="209" y="0"/>
                  </a:lnTo>
                  <a:lnTo>
                    <a:pt x="203" y="0"/>
                  </a:lnTo>
                  <a:lnTo>
                    <a:pt x="192" y="0"/>
                  </a:lnTo>
                  <a:lnTo>
                    <a:pt x="177" y="0"/>
                  </a:lnTo>
                  <a:lnTo>
                    <a:pt x="16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7" name="Freeform 30">
              <a:extLst>
                <a:ext uri="{FF2B5EF4-FFF2-40B4-BE49-F238E27FC236}">
                  <a16:creationId xmlns:a16="http://schemas.microsoft.com/office/drawing/2014/main" id="{5CB68205-370D-483D-8951-925ADE3A476B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835775" y="3627438"/>
              <a:ext cx="68364" cy="107950"/>
            </a:xfrm>
            <a:custGeom>
              <a:avLst/>
              <a:gdLst/>
              <a:ahLst/>
              <a:cxnLst>
                <a:cxn ang="0">
                  <a:pos x="173" y="9"/>
                </a:cxn>
                <a:cxn ang="0">
                  <a:pos x="162" y="36"/>
                </a:cxn>
                <a:cxn ang="0">
                  <a:pos x="160" y="45"/>
                </a:cxn>
                <a:cxn ang="0">
                  <a:pos x="157" y="51"/>
                </a:cxn>
                <a:cxn ang="0">
                  <a:pos x="148" y="73"/>
                </a:cxn>
                <a:cxn ang="0">
                  <a:pos x="128" y="107"/>
                </a:cxn>
                <a:cxn ang="0">
                  <a:pos x="119" y="114"/>
                </a:cxn>
                <a:cxn ang="0">
                  <a:pos x="95" y="134"/>
                </a:cxn>
                <a:cxn ang="0">
                  <a:pos x="80" y="145"/>
                </a:cxn>
                <a:cxn ang="0">
                  <a:pos x="62" y="161"/>
                </a:cxn>
                <a:cxn ang="0">
                  <a:pos x="54" y="177"/>
                </a:cxn>
                <a:cxn ang="0">
                  <a:pos x="48" y="208"/>
                </a:cxn>
                <a:cxn ang="0">
                  <a:pos x="45" y="215"/>
                </a:cxn>
                <a:cxn ang="0">
                  <a:pos x="43" y="244"/>
                </a:cxn>
                <a:cxn ang="0">
                  <a:pos x="35" y="261"/>
                </a:cxn>
                <a:cxn ang="0">
                  <a:pos x="28" y="291"/>
                </a:cxn>
                <a:cxn ang="0">
                  <a:pos x="23" y="320"/>
                </a:cxn>
                <a:cxn ang="0">
                  <a:pos x="14" y="345"/>
                </a:cxn>
                <a:cxn ang="0">
                  <a:pos x="5" y="373"/>
                </a:cxn>
                <a:cxn ang="0">
                  <a:pos x="1" y="403"/>
                </a:cxn>
                <a:cxn ang="0">
                  <a:pos x="0" y="471"/>
                </a:cxn>
                <a:cxn ang="0">
                  <a:pos x="6" y="515"/>
                </a:cxn>
                <a:cxn ang="0">
                  <a:pos x="16" y="545"/>
                </a:cxn>
                <a:cxn ang="0">
                  <a:pos x="23" y="563"/>
                </a:cxn>
                <a:cxn ang="0">
                  <a:pos x="36" y="578"/>
                </a:cxn>
                <a:cxn ang="0">
                  <a:pos x="46" y="590"/>
                </a:cxn>
                <a:cxn ang="0">
                  <a:pos x="62" y="603"/>
                </a:cxn>
                <a:cxn ang="0">
                  <a:pos x="88" y="606"/>
                </a:cxn>
                <a:cxn ang="0">
                  <a:pos x="145" y="637"/>
                </a:cxn>
                <a:cxn ang="0">
                  <a:pos x="155" y="651"/>
                </a:cxn>
                <a:cxn ang="0">
                  <a:pos x="188" y="665"/>
                </a:cxn>
                <a:cxn ang="0">
                  <a:pos x="219" y="666"/>
                </a:cxn>
                <a:cxn ang="0">
                  <a:pos x="253" y="657"/>
                </a:cxn>
                <a:cxn ang="0">
                  <a:pos x="276" y="631"/>
                </a:cxn>
                <a:cxn ang="0">
                  <a:pos x="284" y="587"/>
                </a:cxn>
                <a:cxn ang="0">
                  <a:pos x="288" y="557"/>
                </a:cxn>
                <a:cxn ang="0">
                  <a:pos x="293" y="540"/>
                </a:cxn>
                <a:cxn ang="0">
                  <a:pos x="327" y="494"/>
                </a:cxn>
                <a:cxn ang="0">
                  <a:pos x="349" y="453"/>
                </a:cxn>
                <a:cxn ang="0">
                  <a:pos x="360" y="431"/>
                </a:cxn>
                <a:cxn ang="0">
                  <a:pos x="370" y="394"/>
                </a:cxn>
                <a:cxn ang="0">
                  <a:pos x="368" y="356"/>
                </a:cxn>
                <a:cxn ang="0">
                  <a:pos x="351" y="328"/>
                </a:cxn>
                <a:cxn ang="0">
                  <a:pos x="342" y="311"/>
                </a:cxn>
                <a:cxn ang="0">
                  <a:pos x="335" y="285"/>
                </a:cxn>
                <a:cxn ang="0">
                  <a:pos x="330" y="167"/>
                </a:cxn>
                <a:cxn ang="0">
                  <a:pos x="323" y="154"/>
                </a:cxn>
                <a:cxn ang="0">
                  <a:pos x="305" y="135"/>
                </a:cxn>
                <a:cxn ang="0">
                  <a:pos x="284" y="115"/>
                </a:cxn>
                <a:cxn ang="0">
                  <a:pos x="268" y="98"/>
                </a:cxn>
                <a:cxn ang="0">
                  <a:pos x="253" y="88"/>
                </a:cxn>
                <a:cxn ang="0">
                  <a:pos x="244" y="79"/>
                </a:cxn>
                <a:cxn ang="0">
                  <a:pos x="236" y="58"/>
                </a:cxn>
                <a:cxn ang="0">
                  <a:pos x="230" y="31"/>
                </a:cxn>
                <a:cxn ang="0">
                  <a:pos x="227" y="26"/>
                </a:cxn>
                <a:cxn ang="0">
                  <a:pos x="217" y="9"/>
                </a:cxn>
                <a:cxn ang="0">
                  <a:pos x="190" y="0"/>
                </a:cxn>
              </a:cxnLst>
              <a:rect l="0" t="0" r="r" b="b"/>
              <a:pathLst>
                <a:path w="372" h="669">
                  <a:moveTo>
                    <a:pt x="190" y="0"/>
                  </a:moveTo>
                  <a:lnTo>
                    <a:pt x="186" y="1"/>
                  </a:lnTo>
                  <a:lnTo>
                    <a:pt x="179" y="4"/>
                  </a:lnTo>
                  <a:lnTo>
                    <a:pt x="173" y="9"/>
                  </a:lnTo>
                  <a:lnTo>
                    <a:pt x="169" y="13"/>
                  </a:lnTo>
                  <a:lnTo>
                    <a:pt x="167" y="22"/>
                  </a:lnTo>
                  <a:lnTo>
                    <a:pt x="164" y="36"/>
                  </a:lnTo>
                  <a:lnTo>
                    <a:pt x="162" y="36"/>
                  </a:lnTo>
                  <a:lnTo>
                    <a:pt x="161" y="37"/>
                  </a:lnTo>
                  <a:lnTo>
                    <a:pt x="161" y="38"/>
                  </a:lnTo>
                  <a:lnTo>
                    <a:pt x="160" y="40"/>
                  </a:lnTo>
                  <a:lnTo>
                    <a:pt x="160" y="45"/>
                  </a:lnTo>
                  <a:lnTo>
                    <a:pt x="160" y="48"/>
                  </a:lnTo>
                  <a:lnTo>
                    <a:pt x="158" y="49"/>
                  </a:lnTo>
                  <a:lnTo>
                    <a:pt x="157" y="50"/>
                  </a:lnTo>
                  <a:lnTo>
                    <a:pt x="157" y="51"/>
                  </a:lnTo>
                  <a:lnTo>
                    <a:pt x="155" y="54"/>
                  </a:lnTo>
                  <a:lnTo>
                    <a:pt x="155" y="58"/>
                  </a:lnTo>
                  <a:lnTo>
                    <a:pt x="155" y="61"/>
                  </a:lnTo>
                  <a:lnTo>
                    <a:pt x="148" y="73"/>
                  </a:lnTo>
                  <a:lnTo>
                    <a:pt x="139" y="89"/>
                  </a:lnTo>
                  <a:lnTo>
                    <a:pt x="134" y="97"/>
                  </a:lnTo>
                  <a:lnTo>
                    <a:pt x="130" y="104"/>
                  </a:lnTo>
                  <a:lnTo>
                    <a:pt x="128" y="107"/>
                  </a:lnTo>
                  <a:lnTo>
                    <a:pt x="124" y="108"/>
                  </a:lnTo>
                  <a:lnTo>
                    <a:pt x="122" y="111"/>
                  </a:lnTo>
                  <a:lnTo>
                    <a:pt x="120" y="111"/>
                  </a:lnTo>
                  <a:lnTo>
                    <a:pt x="119" y="114"/>
                  </a:lnTo>
                  <a:lnTo>
                    <a:pt x="115" y="118"/>
                  </a:lnTo>
                  <a:lnTo>
                    <a:pt x="111" y="123"/>
                  </a:lnTo>
                  <a:lnTo>
                    <a:pt x="105" y="127"/>
                  </a:lnTo>
                  <a:lnTo>
                    <a:pt x="95" y="134"/>
                  </a:lnTo>
                  <a:lnTo>
                    <a:pt x="88" y="137"/>
                  </a:lnTo>
                  <a:lnTo>
                    <a:pt x="87" y="141"/>
                  </a:lnTo>
                  <a:lnTo>
                    <a:pt x="84" y="143"/>
                  </a:lnTo>
                  <a:lnTo>
                    <a:pt x="80" y="145"/>
                  </a:lnTo>
                  <a:lnTo>
                    <a:pt x="75" y="146"/>
                  </a:lnTo>
                  <a:lnTo>
                    <a:pt x="72" y="152"/>
                  </a:lnTo>
                  <a:lnTo>
                    <a:pt x="66" y="156"/>
                  </a:lnTo>
                  <a:lnTo>
                    <a:pt x="62" y="161"/>
                  </a:lnTo>
                  <a:lnTo>
                    <a:pt x="57" y="164"/>
                  </a:lnTo>
                  <a:lnTo>
                    <a:pt x="57" y="172"/>
                  </a:lnTo>
                  <a:lnTo>
                    <a:pt x="56" y="174"/>
                  </a:lnTo>
                  <a:lnTo>
                    <a:pt x="54" y="177"/>
                  </a:lnTo>
                  <a:lnTo>
                    <a:pt x="53" y="183"/>
                  </a:lnTo>
                  <a:lnTo>
                    <a:pt x="52" y="189"/>
                  </a:lnTo>
                  <a:lnTo>
                    <a:pt x="49" y="201"/>
                  </a:lnTo>
                  <a:lnTo>
                    <a:pt x="48" y="208"/>
                  </a:lnTo>
                  <a:lnTo>
                    <a:pt x="47" y="209"/>
                  </a:lnTo>
                  <a:lnTo>
                    <a:pt x="46" y="210"/>
                  </a:lnTo>
                  <a:lnTo>
                    <a:pt x="45" y="212"/>
                  </a:lnTo>
                  <a:lnTo>
                    <a:pt x="45" y="215"/>
                  </a:lnTo>
                  <a:lnTo>
                    <a:pt x="44" y="221"/>
                  </a:lnTo>
                  <a:lnTo>
                    <a:pt x="44" y="225"/>
                  </a:lnTo>
                  <a:lnTo>
                    <a:pt x="44" y="236"/>
                  </a:lnTo>
                  <a:lnTo>
                    <a:pt x="43" y="244"/>
                  </a:lnTo>
                  <a:lnTo>
                    <a:pt x="42" y="249"/>
                  </a:lnTo>
                  <a:lnTo>
                    <a:pt x="40" y="253"/>
                  </a:lnTo>
                  <a:lnTo>
                    <a:pt x="38" y="258"/>
                  </a:lnTo>
                  <a:lnTo>
                    <a:pt x="35" y="261"/>
                  </a:lnTo>
                  <a:lnTo>
                    <a:pt x="35" y="279"/>
                  </a:lnTo>
                  <a:lnTo>
                    <a:pt x="33" y="282"/>
                  </a:lnTo>
                  <a:lnTo>
                    <a:pt x="30" y="287"/>
                  </a:lnTo>
                  <a:lnTo>
                    <a:pt x="28" y="291"/>
                  </a:lnTo>
                  <a:lnTo>
                    <a:pt x="28" y="297"/>
                  </a:lnTo>
                  <a:lnTo>
                    <a:pt x="27" y="308"/>
                  </a:lnTo>
                  <a:lnTo>
                    <a:pt x="27" y="318"/>
                  </a:lnTo>
                  <a:lnTo>
                    <a:pt x="23" y="320"/>
                  </a:lnTo>
                  <a:lnTo>
                    <a:pt x="18" y="323"/>
                  </a:lnTo>
                  <a:lnTo>
                    <a:pt x="17" y="330"/>
                  </a:lnTo>
                  <a:lnTo>
                    <a:pt x="16" y="338"/>
                  </a:lnTo>
                  <a:lnTo>
                    <a:pt x="14" y="345"/>
                  </a:lnTo>
                  <a:lnTo>
                    <a:pt x="11" y="352"/>
                  </a:lnTo>
                  <a:lnTo>
                    <a:pt x="8" y="358"/>
                  </a:lnTo>
                  <a:lnTo>
                    <a:pt x="7" y="365"/>
                  </a:lnTo>
                  <a:lnTo>
                    <a:pt x="5" y="373"/>
                  </a:lnTo>
                  <a:lnTo>
                    <a:pt x="5" y="381"/>
                  </a:lnTo>
                  <a:lnTo>
                    <a:pt x="2" y="384"/>
                  </a:lnTo>
                  <a:lnTo>
                    <a:pt x="1" y="392"/>
                  </a:lnTo>
                  <a:lnTo>
                    <a:pt x="1" y="403"/>
                  </a:lnTo>
                  <a:lnTo>
                    <a:pt x="0" y="417"/>
                  </a:lnTo>
                  <a:lnTo>
                    <a:pt x="0" y="444"/>
                  </a:lnTo>
                  <a:lnTo>
                    <a:pt x="0" y="460"/>
                  </a:lnTo>
                  <a:lnTo>
                    <a:pt x="0" y="471"/>
                  </a:lnTo>
                  <a:lnTo>
                    <a:pt x="2" y="482"/>
                  </a:lnTo>
                  <a:lnTo>
                    <a:pt x="4" y="493"/>
                  </a:lnTo>
                  <a:lnTo>
                    <a:pt x="5" y="504"/>
                  </a:lnTo>
                  <a:lnTo>
                    <a:pt x="6" y="515"/>
                  </a:lnTo>
                  <a:lnTo>
                    <a:pt x="9" y="525"/>
                  </a:lnTo>
                  <a:lnTo>
                    <a:pt x="11" y="535"/>
                  </a:lnTo>
                  <a:lnTo>
                    <a:pt x="14" y="545"/>
                  </a:lnTo>
                  <a:lnTo>
                    <a:pt x="16" y="545"/>
                  </a:lnTo>
                  <a:lnTo>
                    <a:pt x="17" y="547"/>
                  </a:lnTo>
                  <a:lnTo>
                    <a:pt x="18" y="550"/>
                  </a:lnTo>
                  <a:lnTo>
                    <a:pt x="18" y="554"/>
                  </a:lnTo>
                  <a:lnTo>
                    <a:pt x="23" y="563"/>
                  </a:lnTo>
                  <a:lnTo>
                    <a:pt x="27" y="565"/>
                  </a:lnTo>
                  <a:lnTo>
                    <a:pt x="31" y="567"/>
                  </a:lnTo>
                  <a:lnTo>
                    <a:pt x="35" y="575"/>
                  </a:lnTo>
                  <a:lnTo>
                    <a:pt x="36" y="578"/>
                  </a:lnTo>
                  <a:lnTo>
                    <a:pt x="38" y="581"/>
                  </a:lnTo>
                  <a:lnTo>
                    <a:pt x="40" y="584"/>
                  </a:lnTo>
                  <a:lnTo>
                    <a:pt x="44" y="584"/>
                  </a:lnTo>
                  <a:lnTo>
                    <a:pt x="46" y="590"/>
                  </a:lnTo>
                  <a:lnTo>
                    <a:pt x="48" y="597"/>
                  </a:lnTo>
                  <a:lnTo>
                    <a:pt x="57" y="597"/>
                  </a:lnTo>
                  <a:lnTo>
                    <a:pt x="58" y="600"/>
                  </a:lnTo>
                  <a:lnTo>
                    <a:pt x="62" y="603"/>
                  </a:lnTo>
                  <a:lnTo>
                    <a:pt x="65" y="604"/>
                  </a:lnTo>
                  <a:lnTo>
                    <a:pt x="69" y="605"/>
                  </a:lnTo>
                  <a:lnTo>
                    <a:pt x="80" y="606"/>
                  </a:lnTo>
                  <a:lnTo>
                    <a:pt x="88" y="606"/>
                  </a:lnTo>
                  <a:lnTo>
                    <a:pt x="103" y="615"/>
                  </a:lnTo>
                  <a:lnTo>
                    <a:pt x="125" y="625"/>
                  </a:lnTo>
                  <a:lnTo>
                    <a:pt x="136" y="632"/>
                  </a:lnTo>
                  <a:lnTo>
                    <a:pt x="145" y="637"/>
                  </a:lnTo>
                  <a:lnTo>
                    <a:pt x="150" y="641"/>
                  </a:lnTo>
                  <a:lnTo>
                    <a:pt x="152" y="644"/>
                  </a:lnTo>
                  <a:lnTo>
                    <a:pt x="154" y="647"/>
                  </a:lnTo>
                  <a:lnTo>
                    <a:pt x="155" y="651"/>
                  </a:lnTo>
                  <a:lnTo>
                    <a:pt x="163" y="653"/>
                  </a:lnTo>
                  <a:lnTo>
                    <a:pt x="176" y="660"/>
                  </a:lnTo>
                  <a:lnTo>
                    <a:pt x="182" y="663"/>
                  </a:lnTo>
                  <a:lnTo>
                    <a:pt x="188" y="665"/>
                  </a:lnTo>
                  <a:lnTo>
                    <a:pt x="193" y="667"/>
                  </a:lnTo>
                  <a:lnTo>
                    <a:pt x="199" y="669"/>
                  </a:lnTo>
                  <a:lnTo>
                    <a:pt x="209" y="667"/>
                  </a:lnTo>
                  <a:lnTo>
                    <a:pt x="219" y="666"/>
                  </a:lnTo>
                  <a:lnTo>
                    <a:pt x="227" y="664"/>
                  </a:lnTo>
                  <a:lnTo>
                    <a:pt x="235" y="664"/>
                  </a:lnTo>
                  <a:lnTo>
                    <a:pt x="242" y="662"/>
                  </a:lnTo>
                  <a:lnTo>
                    <a:pt x="253" y="657"/>
                  </a:lnTo>
                  <a:lnTo>
                    <a:pt x="263" y="653"/>
                  </a:lnTo>
                  <a:lnTo>
                    <a:pt x="270" y="651"/>
                  </a:lnTo>
                  <a:lnTo>
                    <a:pt x="275" y="642"/>
                  </a:lnTo>
                  <a:lnTo>
                    <a:pt x="276" y="631"/>
                  </a:lnTo>
                  <a:lnTo>
                    <a:pt x="279" y="619"/>
                  </a:lnTo>
                  <a:lnTo>
                    <a:pt x="282" y="608"/>
                  </a:lnTo>
                  <a:lnTo>
                    <a:pt x="284" y="597"/>
                  </a:lnTo>
                  <a:lnTo>
                    <a:pt x="284" y="587"/>
                  </a:lnTo>
                  <a:lnTo>
                    <a:pt x="285" y="573"/>
                  </a:lnTo>
                  <a:lnTo>
                    <a:pt x="286" y="565"/>
                  </a:lnTo>
                  <a:lnTo>
                    <a:pt x="287" y="559"/>
                  </a:lnTo>
                  <a:lnTo>
                    <a:pt x="288" y="557"/>
                  </a:lnTo>
                  <a:lnTo>
                    <a:pt x="289" y="555"/>
                  </a:lnTo>
                  <a:lnTo>
                    <a:pt x="290" y="554"/>
                  </a:lnTo>
                  <a:lnTo>
                    <a:pt x="293" y="554"/>
                  </a:lnTo>
                  <a:lnTo>
                    <a:pt x="293" y="540"/>
                  </a:lnTo>
                  <a:lnTo>
                    <a:pt x="299" y="531"/>
                  </a:lnTo>
                  <a:lnTo>
                    <a:pt x="308" y="521"/>
                  </a:lnTo>
                  <a:lnTo>
                    <a:pt x="318" y="508"/>
                  </a:lnTo>
                  <a:lnTo>
                    <a:pt x="327" y="494"/>
                  </a:lnTo>
                  <a:lnTo>
                    <a:pt x="336" y="480"/>
                  </a:lnTo>
                  <a:lnTo>
                    <a:pt x="343" y="467"/>
                  </a:lnTo>
                  <a:lnTo>
                    <a:pt x="346" y="460"/>
                  </a:lnTo>
                  <a:lnTo>
                    <a:pt x="349" y="453"/>
                  </a:lnTo>
                  <a:lnTo>
                    <a:pt x="350" y="448"/>
                  </a:lnTo>
                  <a:lnTo>
                    <a:pt x="350" y="442"/>
                  </a:lnTo>
                  <a:lnTo>
                    <a:pt x="359" y="439"/>
                  </a:lnTo>
                  <a:lnTo>
                    <a:pt x="360" y="431"/>
                  </a:lnTo>
                  <a:lnTo>
                    <a:pt x="361" y="424"/>
                  </a:lnTo>
                  <a:lnTo>
                    <a:pt x="363" y="416"/>
                  </a:lnTo>
                  <a:lnTo>
                    <a:pt x="365" y="410"/>
                  </a:lnTo>
                  <a:lnTo>
                    <a:pt x="370" y="394"/>
                  </a:lnTo>
                  <a:lnTo>
                    <a:pt x="372" y="381"/>
                  </a:lnTo>
                  <a:lnTo>
                    <a:pt x="371" y="373"/>
                  </a:lnTo>
                  <a:lnTo>
                    <a:pt x="370" y="364"/>
                  </a:lnTo>
                  <a:lnTo>
                    <a:pt x="368" y="356"/>
                  </a:lnTo>
                  <a:lnTo>
                    <a:pt x="364" y="348"/>
                  </a:lnTo>
                  <a:lnTo>
                    <a:pt x="360" y="342"/>
                  </a:lnTo>
                  <a:lnTo>
                    <a:pt x="355" y="335"/>
                  </a:lnTo>
                  <a:lnTo>
                    <a:pt x="351" y="328"/>
                  </a:lnTo>
                  <a:lnTo>
                    <a:pt x="345" y="323"/>
                  </a:lnTo>
                  <a:lnTo>
                    <a:pt x="345" y="314"/>
                  </a:lnTo>
                  <a:lnTo>
                    <a:pt x="344" y="314"/>
                  </a:lnTo>
                  <a:lnTo>
                    <a:pt x="342" y="311"/>
                  </a:lnTo>
                  <a:lnTo>
                    <a:pt x="341" y="309"/>
                  </a:lnTo>
                  <a:lnTo>
                    <a:pt x="340" y="305"/>
                  </a:lnTo>
                  <a:lnTo>
                    <a:pt x="337" y="296"/>
                  </a:lnTo>
                  <a:lnTo>
                    <a:pt x="335" y="285"/>
                  </a:lnTo>
                  <a:lnTo>
                    <a:pt x="333" y="262"/>
                  </a:lnTo>
                  <a:lnTo>
                    <a:pt x="332" y="248"/>
                  </a:lnTo>
                  <a:lnTo>
                    <a:pt x="332" y="169"/>
                  </a:lnTo>
                  <a:lnTo>
                    <a:pt x="330" y="167"/>
                  </a:lnTo>
                  <a:lnTo>
                    <a:pt x="328" y="165"/>
                  </a:lnTo>
                  <a:lnTo>
                    <a:pt x="327" y="163"/>
                  </a:lnTo>
                  <a:lnTo>
                    <a:pt x="327" y="160"/>
                  </a:lnTo>
                  <a:lnTo>
                    <a:pt x="323" y="154"/>
                  </a:lnTo>
                  <a:lnTo>
                    <a:pt x="317" y="148"/>
                  </a:lnTo>
                  <a:lnTo>
                    <a:pt x="312" y="142"/>
                  </a:lnTo>
                  <a:lnTo>
                    <a:pt x="309" y="137"/>
                  </a:lnTo>
                  <a:lnTo>
                    <a:pt x="305" y="135"/>
                  </a:lnTo>
                  <a:lnTo>
                    <a:pt x="299" y="129"/>
                  </a:lnTo>
                  <a:lnTo>
                    <a:pt x="294" y="124"/>
                  </a:lnTo>
                  <a:lnTo>
                    <a:pt x="293" y="119"/>
                  </a:lnTo>
                  <a:lnTo>
                    <a:pt x="284" y="115"/>
                  </a:lnTo>
                  <a:lnTo>
                    <a:pt x="279" y="111"/>
                  </a:lnTo>
                  <a:lnTo>
                    <a:pt x="279" y="102"/>
                  </a:lnTo>
                  <a:lnTo>
                    <a:pt x="270" y="102"/>
                  </a:lnTo>
                  <a:lnTo>
                    <a:pt x="268" y="98"/>
                  </a:lnTo>
                  <a:lnTo>
                    <a:pt x="265" y="96"/>
                  </a:lnTo>
                  <a:lnTo>
                    <a:pt x="260" y="94"/>
                  </a:lnTo>
                  <a:lnTo>
                    <a:pt x="257" y="93"/>
                  </a:lnTo>
                  <a:lnTo>
                    <a:pt x="253" y="88"/>
                  </a:lnTo>
                  <a:lnTo>
                    <a:pt x="251" y="85"/>
                  </a:lnTo>
                  <a:lnTo>
                    <a:pt x="249" y="83"/>
                  </a:lnTo>
                  <a:lnTo>
                    <a:pt x="247" y="80"/>
                  </a:lnTo>
                  <a:lnTo>
                    <a:pt x="244" y="79"/>
                  </a:lnTo>
                  <a:lnTo>
                    <a:pt x="241" y="70"/>
                  </a:lnTo>
                  <a:lnTo>
                    <a:pt x="239" y="61"/>
                  </a:lnTo>
                  <a:lnTo>
                    <a:pt x="237" y="60"/>
                  </a:lnTo>
                  <a:lnTo>
                    <a:pt x="236" y="58"/>
                  </a:lnTo>
                  <a:lnTo>
                    <a:pt x="235" y="55"/>
                  </a:lnTo>
                  <a:lnTo>
                    <a:pt x="234" y="49"/>
                  </a:lnTo>
                  <a:lnTo>
                    <a:pt x="231" y="39"/>
                  </a:lnTo>
                  <a:lnTo>
                    <a:pt x="230" y="31"/>
                  </a:lnTo>
                  <a:lnTo>
                    <a:pt x="229" y="30"/>
                  </a:lnTo>
                  <a:lnTo>
                    <a:pt x="228" y="29"/>
                  </a:lnTo>
                  <a:lnTo>
                    <a:pt x="227" y="28"/>
                  </a:lnTo>
                  <a:lnTo>
                    <a:pt x="227" y="26"/>
                  </a:lnTo>
                  <a:lnTo>
                    <a:pt x="226" y="21"/>
                  </a:lnTo>
                  <a:lnTo>
                    <a:pt x="226" y="18"/>
                  </a:lnTo>
                  <a:lnTo>
                    <a:pt x="221" y="13"/>
                  </a:lnTo>
                  <a:lnTo>
                    <a:pt x="217" y="9"/>
                  </a:lnTo>
                  <a:lnTo>
                    <a:pt x="213" y="9"/>
                  </a:lnTo>
                  <a:lnTo>
                    <a:pt x="209" y="8"/>
                  </a:lnTo>
                  <a:lnTo>
                    <a:pt x="201" y="4"/>
                  </a:lnTo>
                  <a:lnTo>
                    <a:pt x="19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8" name="Freeform 31">
              <a:extLst>
                <a:ext uri="{FF2B5EF4-FFF2-40B4-BE49-F238E27FC236}">
                  <a16:creationId xmlns:a16="http://schemas.microsoft.com/office/drawing/2014/main" id="{1E0E4806-3D2F-431D-B93F-3061AA29612B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572250" y="3217863"/>
              <a:ext cx="200827" cy="212725"/>
            </a:xfrm>
            <a:custGeom>
              <a:avLst/>
              <a:gdLst/>
              <a:ahLst/>
              <a:cxnLst>
                <a:cxn ang="0">
                  <a:pos x="412" y="24"/>
                </a:cxn>
                <a:cxn ang="0">
                  <a:pos x="356" y="85"/>
                </a:cxn>
                <a:cxn ang="0">
                  <a:pos x="295" y="114"/>
                </a:cxn>
                <a:cxn ang="0">
                  <a:pos x="195" y="100"/>
                </a:cxn>
                <a:cxn ang="0">
                  <a:pos x="116" y="92"/>
                </a:cxn>
                <a:cxn ang="0">
                  <a:pos x="84" y="115"/>
                </a:cxn>
                <a:cxn ang="0">
                  <a:pos x="56" y="149"/>
                </a:cxn>
                <a:cxn ang="0">
                  <a:pos x="55" y="216"/>
                </a:cxn>
                <a:cxn ang="0">
                  <a:pos x="0" y="386"/>
                </a:cxn>
                <a:cxn ang="0">
                  <a:pos x="38" y="414"/>
                </a:cxn>
                <a:cxn ang="0">
                  <a:pos x="93" y="479"/>
                </a:cxn>
                <a:cxn ang="0">
                  <a:pos x="24" y="540"/>
                </a:cxn>
                <a:cxn ang="0">
                  <a:pos x="39" y="579"/>
                </a:cxn>
                <a:cxn ang="0">
                  <a:pos x="70" y="560"/>
                </a:cxn>
                <a:cxn ang="0">
                  <a:pos x="124" y="538"/>
                </a:cxn>
                <a:cxn ang="0">
                  <a:pos x="193" y="537"/>
                </a:cxn>
                <a:cxn ang="0">
                  <a:pos x="303" y="606"/>
                </a:cxn>
                <a:cxn ang="0">
                  <a:pos x="342" y="638"/>
                </a:cxn>
                <a:cxn ang="0">
                  <a:pos x="366" y="648"/>
                </a:cxn>
                <a:cxn ang="0">
                  <a:pos x="399" y="678"/>
                </a:cxn>
                <a:cxn ang="0">
                  <a:pos x="413" y="735"/>
                </a:cxn>
                <a:cxn ang="0">
                  <a:pos x="437" y="963"/>
                </a:cxn>
                <a:cxn ang="0">
                  <a:pos x="437" y="1028"/>
                </a:cxn>
                <a:cxn ang="0">
                  <a:pos x="390" y="1088"/>
                </a:cxn>
                <a:cxn ang="0">
                  <a:pos x="372" y="1100"/>
                </a:cxn>
                <a:cxn ang="0">
                  <a:pos x="349" y="1136"/>
                </a:cxn>
                <a:cxn ang="0">
                  <a:pos x="382" y="1178"/>
                </a:cxn>
                <a:cxn ang="0">
                  <a:pos x="419" y="1189"/>
                </a:cxn>
                <a:cxn ang="0">
                  <a:pos x="449" y="1136"/>
                </a:cxn>
                <a:cxn ang="0">
                  <a:pos x="470" y="1124"/>
                </a:cxn>
                <a:cxn ang="0">
                  <a:pos x="565" y="1158"/>
                </a:cxn>
                <a:cxn ang="0">
                  <a:pos x="581" y="1189"/>
                </a:cxn>
                <a:cxn ang="0">
                  <a:pos x="606" y="1229"/>
                </a:cxn>
                <a:cxn ang="0">
                  <a:pos x="642" y="1274"/>
                </a:cxn>
                <a:cxn ang="0">
                  <a:pos x="714" y="1290"/>
                </a:cxn>
                <a:cxn ang="0">
                  <a:pos x="835" y="1288"/>
                </a:cxn>
                <a:cxn ang="0">
                  <a:pos x="1091" y="1313"/>
                </a:cxn>
                <a:cxn ang="0">
                  <a:pos x="1013" y="1244"/>
                </a:cxn>
                <a:cxn ang="0">
                  <a:pos x="983" y="1229"/>
                </a:cxn>
                <a:cxn ang="0">
                  <a:pos x="951" y="1150"/>
                </a:cxn>
                <a:cxn ang="0">
                  <a:pos x="934" y="1095"/>
                </a:cxn>
                <a:cxn ang="0">
                  <a:pos x="916" y="1033"/>
                </a:cxn>
                <a:cxn ang="0">
                  <a:pos x="906" y="1003"/>
                </a:cxn>
                <a:cxn ang="0">
                  <a:pos x="867" y="927"/>
                </a:cxn>
                <a:cxn ang="0">
                  <a:pos x="793" y="894"/>
                </a:cxn>
                <a:cxn ang="0">
                  <a:pos x="758" y="873"/>
                </a:cxn>
                <a:cxn ang="0">
                  <a:pos x="721" y="802"/>
                </a:cxn>
                <a:cxn ang="0">
                  <a:pos x="739" y="721"/>
                </a:cxn>
                <a:cxn ang="0">
                  <a:pos x="748" y="647"/>
                </a:cxn>
                <a:cxn ang="0">
                  <a:pos x="736" y="539"/>
                </a:cxn>
                <a:cxn ang="0">
                  <a:pos x="673" y="525"/>
                </a:cxn>
                <a:cxn ang="0">
                  <a:pos x="619" y="502"/>
                </a:cxn>
                <a:cxn ang="0">
                  <a:pos x="593" y="489"/>
                </a:cxn>
                <a:cxn ang="0">
                  <a:pos x="574" y="477"/>
                </a:cxn>
                <a:cxn ang="0">
                  <a:pos x="522" y="408"/>
                </a:cxn>
                <a:cxn ang="0">
                  <a:pos x="550" y="376"/>
                </a:cxn>
                <a:cxn ang="0">
                  <a:pos x="563" y="352"/>
                </a:cxn>
                <a:cxn ang="0">
                  <a:pos x="574" y="333"/>
                </a:cxn>
                <a:cxn ang="0">
                  <a:pos x="587" y="258"/>
                </a:cxn>
                <a:cxn ang="0">
                  <a:pos x="577" y="192"/>
                </a:cxn>
                <a:cxn ang="0">
                  <a:pos x="560" y="175"/>
                </a:cxn>
                <a:cxn ang="0">
                  <a:pos x="534" y="134"/>
                </a:cxn>
                <a:cxn ang="0">
                  <a:pos x="548" y="41"/>
                </a:cxn>
              </a:cxnLst>
              <a:rect l="0" t="0" r="r" b="b"/>
              <a:pathLst>
                <a:path w="1091" h="1313">
                  <a:moveTo>
                    <a:pt x="457" y="0"/>
                  </a:moveTo>
                  <a:lnTo>
                    <a:pt x="452" y="0"/>
                  </a:lnTo>
                  <a:lnTo>
                    <a:pt x="446" y="2"/>
                  </a:lnTo>
                  <a:lnTo>
                    <a:pt x="439" y="5"/>
                  </a:lnTo>
                  <a:lnTo>
                    <a:pt x="430" y="9"/>
                  </a:lnTo>
                  <a:lnTo>
                    <a:pt x="423" y="14"/>
                  </a:lnTo>
                  <a:lnTo>
                    <a:pt x="417" y="19"/>
                  </a:lnTo>
                  <a:lnTo>
                    <a:pt x="413" y="22"/>
                  </a:lnTo>
                  <a:lnTo>
                    <a:pt x="412" y="24"/>
                  </a:lnTo>
                  <a:lnTo>
                    <a:pt x="411" y="28"/>
                  </a:lnTo>
                  <a:lnTo>
                    <a:pt x="410" y="30"/>
                  </a:lnTo>
                  <a:lnTo>
                    <a:pt x="399" y="34"/>
                  </a:lnTo>
                  <a:lnTo>
                    <a:pt x="387" y="38"/>
                  </a:lnTo>
                  <a:lnTo>
                    <a:pt x="380" y="46"/>
                  </a:lnTo>
                  <a:lnTo>
                    <a:pt x="372" y="53"/>
                  </a:lnTo>
                  <a:lnTo>
                    <a:pt x="372" y="69"/>
                  </a:lnTo>
                  <a:lnTo>
                    <a:pt x="356" y="69"/>
                  </a:lnTo>
                  <a:lnTo>
                    <a:pt x="356" y="85"/>
                  </a:lnTo>
                  <a:lnTo>
                    <a:pt x="349" y="92"/>
                  </a:lnTo>
                  <a:lnTo>
                    <a:pt x="341" y="100"/>
                  </a:lnTo>
                  <a:lnTo>
                    <a:pt x="333" y="108"/>
                  </a:lnTo>
                  <a:lnTo>
                    <a:pt x="322" y="108"/>
                  </a:lnTo>
                  <a:lnTo>
                    <a:pt x="310" y="108"/>
                  </a:lnTo>
                  <a:lnTo>
                    <a:pt x="308" y="110"/>
                  </a:lnTo>
                  <a:lnTo>
                    <a:pt x="306" y="112"/>
                  </a:lnTo>
                  <a:lnTo>
                    <a:pt x="302" y="114"/>
                  </a:lnTo>
                  <a:lnTo>
                    <a:pt x="295" y="114"/>
                  </a:lnTo>
                  <a:lnTo>
                    <a:pt x="281" y="115"/>
                  </a:lnTo>
                  <a:lnTo>
                    <a:pt x="264" y="114"/>
                  </a:lnTo>
                  <a:lnTo>
                    <a:pt x="231" y="110"/>
                  </a:lnTo>
                  <a:lnTo>
                    <a:pt x="217" y="108"/>
                  </a:lnTo>
                  <a:lnTo>
                    <a:pt x="216" y="105"/>
                  </a:lnTo>
                  <a:lnTo>
                    <a:pt x="214" y="104"/>
                  </a:lnTo>
                  <a:lnTo>
                    <a:pt x="209" y="101"/>
                  </a:lnTo>
                  <a:lnTo>
                    <a:pt x="205" y="101"/>
                  </a:lnTo>
                  <a:lnTo>
                    <a:pt x="195" y="100"/>
                  </a:lnTo>
                  <a:lnTo>
                    <a:pt x="186" y="100"/>
                  </a:lnTo>
                  <a:lnTo>
                    <a:pt x="186" y="98"/>
                  </a:lnTo>
                  <a:lnTo>
                    <a:pt x="183" y="97"/>
                  </a:lnTo>
                  <a:lnTo>
                    <a:pt x="180" y="96"/>
                  </a:lnTo>
                  <a:lnTo>
                    <a:pt x="177" y="96"/>
                  </a:lnTo>
                  <a:lnTo>
                    <a:pt x="167" y="94"/>
                  </a:lnTo>
                  <a:lnTo>
                    <a:pt x="154" y="94"/>
                  </a:lnTo>
                  <a:lnTo>
                    <a:pt x="131" y="92"/>
                  </a:lnTo>
                  <a:lnTo>
                    <a:pt x="116" y="92"/>
                  </a:lnTo>
                  <a:lnTo>
                    <a:pt x="115" y="95"/>
                  </a:lnTo>
                  <a:lnTo>
                    <a:pt x="114" y="97"/>
                  </a:lnTo>
                  <a:lnTo>
                    <a:pt x="111" y="98"/>
                  </a:lnTo>
                  <a:lnTo>
                    <a:pt x="107" y="99"/>
                  </a:lnTo>
                  <a:lnTo>
                    <a:pt x="100" y="100"/>
                  </a:lnTo>
                  <a:lnTo>
                    <a:pt x="93" y="100"/>
                  </a:lnTo>
                  <a:lnTo>
                    <a:pt x="85" y="108"/>
                  </a:lnTo>
                  <a:lnTo>
                    <a:pt x="85" y="112"/>
                  </a:lnTo>
                  <a:lnTo>
                    <a:pt x="84" y="115"/>
                  </a:lnTo>
                  <a:lnTo>
                    <a:pt x="83" y="115"/>
                  </a:lnTo>
                  <a:lnTo>
                    <a:pt x="82" y="116"/>
                  </a:lnTo>
                  <a:lnTo>
                    <a:pt x="81" y="116"/>
                  </a:lnTo>
                  <a:lnTo>
                    <a:pt x="80" y="116"/>
                  </a:lnTo>
                  <a:lnTo>
                    <a:pt x="78" y="118"/>
                  </a:lnTo>
                  <a:lnTo>
                    <a:pt x="78" y="123"/>
                  </a:lnTo>
                  <a:lnTo>
                    <a:pt x="63" y="123"/>
                  </a:lnTo>
                  <a:lnTo>
                    <a:pt x="55" y="130"/>
                  </a:lnTo>
                  <a:lnTo>
                    <a:pt x="56" y="149"/>
                  </a:lnTo>
                  <a:lnTo>
                    <a:pt x="58" y="168"/>
                  </a:lnTo>
                  <a:lnTo>
                    <a:pt x="62" y="186"/>
                  </a:lnTo>
                  <a:lnTo>
                    <a:pt x="63" y="201"/>
                  </a:lnTo>
                  <a:lnTo>
                    <a:pt x="59" y="201"/>
                  </a:lnTo>
                  <a:lnTo>
                    <a:pt x="58" y="202"/>
                  </a:lnTo>
                  <a:lnTo>
                    <a:pt x="56" y="203"/>
                  </a:lnTo>
                  <a:lnTo>
                    <a:pt x="56" y="205"/>
                  </a:lnTo>
                  <a:lnTo>
                    <a:pt x="55" y="210"/>
                  </a:lnTo>
                  <a:lnTo>
                    <a:pt x="55" y="216"/>
                  </a:lnTo>
                  <a:lnTo>
                    <a:pt x="32" y="216"/>
                  </a:lnTo>
                  <a:lnTo>
                    <a:pt x="24" y="223"/>
                  </a:lnTo>
                  <a:lnTo>
                    <a:pt x="16" y="231"/>
                  </a:lnTo>
                  <a:lnTo>
                    <a:pt x="8" y="239"/>
                  </a:lnTo>
                  <a:lnTo>
                    <a:pt x="0" y="246"/>
                  </a:lnTo>
                  <a:lnTo>
                    <a:pt x="0" y="279"/>
                  </a:lnTo>
                  <a:lnTo>
                    <a:pt x="0" y="317"/>
                  </a:lnTo>
                  <a:lnTo>
                    <a:pt x="0" y="354"/>
                  </a:lnTo>
                  <a:lnTo>
                    <a:pt x="0" y="386"/>
                  </a:lnTo>
                  <a:lnTo>
                    <a:pt x="8" y="394"/>
                  </a:lnTo>
                  <a:lnTo>
                    <a:pt x="24" y="394"/>
                  </a:lnTo>
                  <a:lnTo>
                    <a:pt x="25" y="398"/>
                  </a:lnTo>
                  <a:lnTo>
                    <a:pt x="26" y="403"/>
                  </a:lnTo>
                  <a:lnTo>
                    <a:pt x="28" y="406"/>
                  </a:lnTo>
                  <a:lnTo>
                    <a:pt x="32" y="408"/>
                  </a:lnTo>
                  <a:lnTo>
                    <a:pt x="34" y="410"/>
                  </a:lnTo>
                  <a:lnTo>
                    <a:pt x="37" y="412"/>
                  </a:lnTo>
                  <a:lnTo>
                    <a:pt x="38" y="414"/>
                  </a:lnTo>
                  <a:lnTo>
                    <a:pt x="39" y="417"/>
                  </a:lnTo>
                  <a:lnTo>
                    <a:pt x="55" y="421"/>
                  </a:lnTo>
                  <a:lnTo>
                    <a:pt x="71" y="425"/>
                  </a:lnTo>
                  <a:lnTo>
                    <a:pt x="71" y="440"/>
                  </a:lnTo>
                  <a:lnTo>
                    <a:pt x="85" y="440"/>
                  </a:lnTo>
                  <a:lnTo>
                    <a:pt x="93" y="447"/>
                  </a:lnTo>
                  <a:lnTo>
                    <a:pt x="93" y="456"/>
                  </a:lnTo>
                  <a:lnTo>
                    <a:pt x="93" y="467"/>
                  </a:lnTo>
                  <a:lnTo>
                    <a:pt x="93" y="479"/>
                  </a:lnTo>
                  <a:lnTo>
                    <a:pt x="93" y="486"/>
                  </a:lnTo>
                  <a:lnTo>
                    <a:pt x="85" y="494"/>
                  </a:lnTo>
                  <a:lnTo>
                    <a:pt x="78" y="502"/>
                  </a:lnTo>
                  <a:lnTo>
                    <a:pt x="71" y="510"/>
                  </a:lnTo>
                  <a:lnTo>
                    <a:pt x="63" y="518"/>
                  </a:lnTo>
                  <a:lnTo>
                    <a:pt x="55" y="525"/>
                  </a:lnTo>
                  <a:lnTo>
                    <a:pt x="39" y="525"/>
                  </a:lnTo>
                  <a:lnTo>
                    <a:pt x="32" y="532"/>
                  </a:lnTo>
                  <a:lnTo>
                    <a:pt x="24" y="540"/>
                  </a:lnTo>
                  <a:lnTo>
                    <a:pt x="24" y="556"/>
                  </a:lnTo>
                  <a:lnTo>
                    <a:pt x="22" y="557"/>
                  </a:lnTo>
                  <a:lnTo>
                    <a:pt x="19" y="557"/>
                  </a:lnTo>
                  <a:lnTo>
                    <a:pt x="18" y="559"/>
                  </a:lnTo>
                  <a:lnTo>
                    <a:pt x="17" y="561"/>
                  </a:lnTo>
                  <a:lnTo>
                    <a:pt x="16" y="566"/>
                  </a:lnTo>
                  <a:lnTo>
                    <a:pt x="16" y="571"/>
                  </a:lnTo>
                  <a:lnTo>
                    <a:pt x="24" y="579"/>
                  </a:lnTo>
                  <a:lnTo>
                    <a:pt x="39" y="579"/>
                  </a:lnTo>
                  <a:lnTo>
                    <a:pt x="55" y="579"/>
                  </a:lnTo>
                  <a:lnTo>
                    <a:pt x="63" y="571"/>
                  </a:lnTo>
                  <a:lnTo>
                    <a:pt x="63" y="567"/>
                  </a:lnTo>
                  <a:lnTo>
                    <a:pt x="64" y="565"/>
                  </a:lnTo>
                  <a:lnTo>
                    <a:pt x="65" y="563"/>
                  </a:lnTo>
                  <a:lnTo>
                    <a:pt x="66" y="563"/>
                  </a:lnTo>
                  <a:lnTo>
                    <a:pt x="67" y="563"/>
                  </a:lnTo>
                  <a:lnTo>
                    <a:pt x="68" y="562"/>
                  </a:lnTo>
                  <a:lnTo>
                    <a:pt x="70" y="560"/>
                  </a:lnTo>
                  <a:lnTo>
                    <a:pt x="71" y="556"/>
                  </a:lnTo>
                  <a:lnTo>
                    <a:pt x="85" y="556"/>
                  </a:lnTo>
                  <a:lnTo>
                    <a:pt x="87" y="553"/>
                  </a:lnTo>
                  <a:lnTo>
                    <a:pt x="91" y="550"/>
                  </a:lnTo>
                  <a:lnTo>
                    <a:pt x="96" y="548"/>
                  </a:lnTo>
                  <a:lnTo>
                    <a:pt x="102" y="546"/>
                  </a:lnTo>
                  <a:lnTo>
                    <a:pt x="115" y="542"/>
                  </a:lnTo>
                  <a:lnTo>
                    <a:pt x="124" y="540"/>
                  </a:lnTo>
                  <a:lnTo>
                    <a:pt x="124" y="538"/>
                  </a:lnTo>
                  <a:lnTo>
                    <a:pt x="125" y="535"/>
                  </a:lnTo>
                  <a:lnTo>
                    <a:pt x="128" y="533"/>
                  </a:lnTo>
                  <a:lnTo>
                    <a:pt x="130" y="532"/>
                  </a:lnTo>
                  <a:lnTo>
                    <a:pt x="138" y="530"/>
                  </a:lnTo>
                  <a:lnTo>
                    <a:pt x="147" y="530"/>
                  </a:lnTo>
                  <a:lnTo>
                    <a:pt x="157" y="530"/>
                  </a:lnTo>
                  <a:lnTo>
                    <a:pt x="168" y="532"/>
                  </a:lnTo>
                  <a:lnTo>
                    <a:pt x="181" y="534"/>
                  </a:lnTo>
                  <a:lnTo>
                    <a:pt x="193" y="537"/>
                  </a:lnTo>
                  <a:lnTo>
                    <a:pt x="241" y="549"/>
                  </a:lnTo>
                  <a:lnTo>
                    <a:pt x="264" y="556"/>
                  </a:lnTo>
                  <a:lnTo>
                    <a:pt x="264" y="571"/>
                  </a:lnTo>
                  <a:lnTo>
                    <a:pt x="279" y="571"/>
                  </a:lnTo>
                  <a:lnTo>
                    <a:pt x="286" y="579"/>
                  </a:lnTo>
                  <a:lnTo>
                    <a:pt x="294" y="587"/>
                  </a:lnTo>
                  <a:lnTo>
                    <a:pt x="294" y="602"/>
                  </a:lnTo>
                  <a:lnTo>
                    <a:pt x="298" y="604"/>
                  </a:lnTo>
                  <a:lnTo>
                    <a:pt x="303" y="606"/>
                  </a:lnTo>
                  <a:lnTo>
                    <a:pt x="307" y="610"/>
                  </a:lnTo>
                  <a:lnTo>
                    <a:pt x="313" y="615"/>
                  </a:lnTo>
                  <a:lnTo>
                    <a:pt x="317" y="620"/>
                  </a:lnTo>
                  <a:lnTo>
                    <a:pt x="322" y="625"/>
                  </a:lnTo>
                  <a:lnTo>
                    <a:pt x="324" y="629"/>
                  </a:lnTo>
                  <a:lnTo>
                    <a:pt x="325" y="633"/>
                  </a:lnTo>
                  <a:lnTo>
                    <a:pt x="341" y="633"/>
                  </a:lnTo>
                  <a:lnTo>
                    <a:pt x="341" y="636"/>
                  </a:lnTo>
                  <a:lnTo>
                    <a:pt x="342" y="638"/>
                  </a:lnTo>
                  <a:lnTo>
                    <a:pt x="343" y="639"/>
                  </a:lnTo>
                  <a:lnTo>
                    <a:pt x="345" y="640"/>
                  </a:lnTo>
                  <a:lnTo>
                    <a:pt x="351" y="640"/>
                  </a:lnTo>
                  <a:lnTo>
                    <a:pt x="356" y="640"/>
                  </a:lnTo>
                  <a:lnTo>
                    <a:pt x="356" y="644"/>
                  </a:lnTo>
                  <a:lnTo>
                    <a:pt x="358" y="645"/>
                  </a:lnTo>
                  <a:lnTo>
                    <a:pt x="359" y="647"/>
                  </a:lnTo>
                  <a:lnTo>
                    <a:pt x="361" y="647"/>
                  </a:lnTo>
                  <a:lnTo>
                    <a:pt x="366" y="648"/>
                  </a:lnTo>
                  <a:lnTo>
                    <a:pt x="372" y="648"/>
                  </a:lnTo>
                  <a:lnTo>
                    <a:pt x="380" y="656"/>
                  </a:lnTo>
                  <a:lnTo>
                    <a:pt x="380" y="659"/>
                  </a:lnTo>
                  <a:lnTo>
                    <a:pt x="382" y="663"/>
                  </a:lnTo>
                  <a:lnTo>
                    <a:pt x="384" y="667"/>
                  </a:lnTo>
                  <a:lnTo>
                    <a:pt x="388" y="671"/>
                  </a:lnTo>
                  <a:lnTo>
                    <a:pt x="392" y="674"/>
                  </a:lnTo>
                  <a:lnTo>
                    <a:pt x="395" y="677"/>
                  </a:lnTo>
                  <a:lnTo>
                    <a:pt x="399" y="678"/>
                  </a:lnTo>
                  <a:lnTo>
                    <a:pt x="402" y="679"/>
                  </a:lnTo>
                  <a:lnTo>
                    <a:pt x="402" y="695"/>
                  </a:lnTo>
                  <a:lnTo>
                    <a:pt x="406" y="696"/>
                  </a:lnTo>
                  <a:lnTo>
                    <a:pt x="407" y="700"/>
                  </a:lnTo>
                  <a:lnTo>
                    <a:pt x="409" y="705"/>
                  </a:lnTo>
                  <a:lnTo>
                    <a:pt x="409" y="712"/>
                  </a:lnTo>
                  <a:lnTo>
                    <a:pt x="410" y="724"/>
                  </a:lnTo>
                  <a:lnTo>
                    <a:pt x="410" y="734"/>
                  </a:lnTo>
                  <a:lnTo>
                    <a:pt x="413" y="735"/>
                  </a:lnTo>
                  <a:lnTo>
                    <a:pt x="414" y="740"/>
                  </a:lnTo>
                  <a:lnTo>
                    <a:pt x="416" y="746"/>
                  </a:lnTo>
                  <a:lnTo>
                    <a:pt x="417" y="754"/>
                  </a:lnTo>
                  <a:lnTo>
                    <a:pt x="418" y="770"/>
                  </a:lnTo>
                  <a:lnTo>
                    <a:pt x="418" y="780"/>
                  </a:lnTo>
                  <a:lnTo>
                    <a:pt x="433" y="957"/>
                  </a:lnTo>
                  <a:lnTo>
                    <a:pt x="435" y="958"/>
                  </a:lnTo>
                  <a:lnTo>
                    <a:pt x="436" y="960"/>
                  </a:lnTo>
                  <a:lnTo>
                    <a:pt x="437" y="963"/>
                  </a:lnTo>
                  <a:lnTo>
                    <a:pt x="438" y="966"/>
                  </a:lnTo>
                  <a:lnTo>
                    <a:pt x="439" y="975"/>
                  </a:lnTo>
                  <a:lnTo>
                    <a:pt x="440" y="985"/>
                  </a:lnTo>
                  <a:lnTo>
                    <a:pt x="441" y="1006"/>
                  </a:lnTo>
                  <a:lnTo>
                    <a:pt x="441" y="1020"/>
                  </a:lnTo>
                  <a:lnTo>
                    <a:pt x="440" y="1020"/>
                  </a:lnTo>
                  <a:lnTo>
                    <a:pt x="439" y="1022"/>
                  </a:lnTo>
                  <a:lnTo>
                    <a:pt x="438" y="1024"/>
                  </a:lnTo>
                  <a:lnTo>
                    <a:pt x="437" y="1028"/>
                  </a:lnTo>
                  <a:lnTo>
                    <a:pt x="436" y="1037"/>
                  </a:lnTo>
                  <a:lnTo>
                    <a:pt x="435" y="1048"/>
                  </a:lnTo>
                  <a:lnTo>
                    <a:pt x="433" y="1069"/>
                  </a:lnTo>
                  <a:lnTo>
                    <a:pt x="433" y="1081"/>
                  </a:lnTo>
                  <a:lnTo>
                    <a:pt x="394" y="1081"/>
                  </a:lnTo>
                  <a:lnTo>
                    <a:pt x="394" y="1083"/>
                  </a:lnTo>
                  <a:lnTo>
                    <a:pt x="393" y="1086"/>
                  </a:lnTo>
                  <a:lnTo>
                    <a:pt x="392" y="1087"/>
                  </a:lnTo>
                  <a:lnTo>
                    <a:pt x="390" y="1088"/>
                  </a:lnTo>
                  <a:lnTo>
                    <a:pt x="385" y="1089"/>
                  </a:lnTo>
                  <a:lnTo>
                    <a:pt x="380" y="1089"/>
                  </a:lnTo>
                  <a:lnTo>
                    <a:pt x="379" y="1094"/>
                  </a:lnTo>
                  <a:lnTo>
                    <a:pt x="378" y="1096"/>
                  </a:lnTo>
                  <a:lnTo>
                    <a:pt x="377" y="1097"/>
                  </a:lnTo>
                  <a:lnTo>
                    <a:pt x="375" y="1097"/>
                  </a:lnTo>
                  <a:lnTo>
                    <a:pt x="374" y="1097"/>
                  </a:lnTo>
                  <a:lnTo>
                    <a:pt x="373" y="1098"/>
                  </a:lnTo>
                  <a:lnTo>
                    <a:pt x="372" y="1100"/>
                  </a:lnTo>
                  <a:lnTo>
                    <a:pt x="372" y="1105"/>
                  </a:lnTo>
                  <a:lnTo>
                    <a:pt x="356" y="1105"/>
                  </a:lnTo>
                  <a:lnTo>
                    <a:pt x="356" y="1120"/>
                  </a:lnTo>
                  <a:lnTo>
                    <a:pt x="353" y="1120"/>
                  </a:lnTo>
                  <a:lnTo>
                    <a:pt x="352" y="1121"/>
                  </a:lnTo>
                  <a:lnTo>
                    <a:pt x="351" y="1123"/>
                  </a:lnTo>
                  <a:lnTo>
                    <a:pt x="350" y="1125"/>
                  </a:lnTo>
                  <a:lnTo>
                    <a:pt x="349" y="1130"/>
                  </a:lnTo>
                  <a:lnTo>
                    <a:pt x="349" y="1136"/>
                  </a:lnTo>
                  <a:lnTo>
                    <a:pt x="346" y="1137"/>
                  </a:lnTo>
                  <a:lnTo>
                    <a:pt x="344" y="1140"/>
                  </a:lnTo>
                  <a:lnTo>
                    <a:pt x="343" y="1146"/>
                  </a:lnTo>
                  <a:lnTo>
                    <a:pt x="342" y="1152"/>
                  </a:lnTo>
                  <a:lnTo>
                    <a:pt x="341" y="1165"/>
                  </a:lnTo>
                  <a:lnTo>
                    <a:pt x="341" y="1174"/>
                  </a:lnTo>
                  <a:lnTo>
                    <a:pt x="380" y="1174"/>
                  </a:lnTo>
                  <a:lnTo>
                    <a:pt x="380" y="1177"/>
                  </a:lnTo>
                  <a:lnTo>
                    <a:pt x="382" y="1178"/>
                  </a:lnTo>
                  <a:lnTo>
                    <a:pt x="384" y="1179"/>
                  </a:lnTo>
                  <a:lnTo>
                    <a:pt x="388" y="1181"/>
                  </a:lnTo>
                  <a:lnTo>
                    <a:pt x="395" y="1182"/>
                  </a:lnTo>
                  <a:lnTo>
                    <a:pt x="402" y="1182"/>
                  </a:lnTo>
                  <a:lnTo>
                    <a:pt x="403" y="1184"/>
                  </a:lnTo>
                  <a:lnTo>
                    <a:pt x="406" y="1186"/>
                  </a:lnTo>
                  <a:lnTo>
                    <a:pt x="408" y="1187"/>
                  </a:lnTo>
                  <a:lnTo>
                    <a:pt x="411" y="1188"/>
                  </a:lnTo>
                  <a:lnTo>
                    <a:pt x="419" y="1189"/>
                  </a:lnTo>
                  <a:lnTo>
                    <a:pt x="426" y="1189"/>
                  </a:lnTo>
                  <a:lnTo>
                    <a:pt x="426" y="1166"/>
                  </a:lnTo>
                  <a:lnTo>
                    <a:pt x="428" y="1165"/>
                  </a:lnTo>
                  <a:lnTo>
                    <a:pt x="430" y="1163"/>
                  </a:lnTo>
                  <a:lnTo>
                    <a:pt x="431" y="1158"/>
                  </a:lnTo>
                  <a:lnTo>
                    <a:pt x="432" y="1154"/>
                  </a:lnTo>
                  <a:lnTo>
                    <a:pt x="433" y="1144"/>
                  </a:lnTo>
                  <a:lnTo>
                    <a:pt x="433" y="1136"/>
                  </a:lnTo>
                  <a:lnTo>
                    <a:pt x="449" y="1136"/>
                  </a:lnTo>
                  <a:lnTo>
                    <a:pt x="449" y="1133"/>
                  </a:lnTo>
                  <a:lnTo>
                    <a:pt x="450" y="1131"/>
                  </a:lnTo>
                  <a:lnTo>
                    <a:pt x="451" y="1129"/>
                  </a:lnTo>
                  <a:lnTo>
                    <a:pt x="454" y="1129"/>
                  </a:lnTo>
                  <a:lnTo>
                    <a:pt x="459" y="1128"/>
                  </a:lnTo>
                  <a:lnTo>
                    <a:pt x="465" y="1128"/>
                  </a:lnTo>
                  <a:lnTo>
                    <a:pt x="465" y="1126"/>
                  </a:lnTo>
                  <a:lnTo>
                    <a:pt x="467" y="1125"/>
                  </a:lnTo>
                  <a:lnTo>
                    <a:pt x="470" y="1124"/>
                  </a:lnTo>
                  <a:lnTo>
                    <a:pt x="476" y="1124"/>
                  </a:lnTo>
                  <a:lnTo>
                    <a:pt x="487" y="1121"/>
                  </a:lnTo>
                  <a:lnTo>
                    <a:pt x="500" y="1121"/>
                  </a:lnTo>
                  <a:lnTo>
                    <a:pt x="526" y="1120"/>
                  </a:lnTo>
                  <a:lnTo>
                    <a:pt x="542" y="1120"/>
                  </a:lnTo>
                  <a:lnTo>
                    <a:pt x="550" y="1128"/>
                  </a:lnTo>
                  <a:lnTo>
                    <a:pt x="557" y="1136"/>
                  </a:lnTo>
                  <a:lnTo>
                    <a:pt x="565" y="1144"/>
                  </a:lnTo>
                  <a:lnTo>
                    <a:pt x="565" y="1158"/>
                  </a:lnTo>
                  <a:lnTo>
                    <a:pt x="570" y="1159"/>
                  </a:lnTo>
                  <a:lnTo>
                    <a:pt x="572" y="1159"/>
                  </a:lnTo>
                  <a:lnTo>
                    <a:pt x="573" y="1162"/>
                  </a:lnTo>
                  <a:lnTo>
                    <a:pt x="573" y="1163"/>
                  </a:lnTo>
                  <a:lnTo>
                    <a:pt x="573" y="1164"/>
                  </a:lnTo>
                  <a:lnTo>
                    <a:pt x="574" y="1165"/>
                  </a:lnTo>
                  <a:lnTo>
                    <a:pt x="576" y="1166"/>
                  </a:lnTo>
                  <a:lnTo>
                    <a:pt x="581" y="1166"/>
                  </a:lnTo>
                  <a:lnTo>
                    <a:pt x="581" y="1189"/>
                  </a:lnTo>
                  <a:lnTo>
                    <a:pt x="595" y="1197"/>
                  </a:lnTo>
                  <a:lnTo>
                    <a:pt x="595" y="1213"/>
                  </a:lnTo>
                  <a:lnTo>
                    <a:pt x="599" y="1213"/>
                  </a:lnTo>
                  <a:lnTo>
                    <a:pt x="600" y="1214"/>
                  </a:lnTo>
                  <a:lnTo>
                    <a:pt x="602" y="1215"/>
                  </a:lnTo>
                  <a:lnTo>
                    <a:pt x="603" y="1217"/>
                  </a:lnTo>
                  <a:lnTo>
                    <a:pt x="603" y="1223"/>
                  </a:lnTo>
                  <a:lnTo>
                    <a:pt x="603" y="1229"/>
                  </a:lnTo>
                  <a:lnTo>
                    <a:pt x="606" y="1229"/>
                  </a:lnTo>
                  <a:lnTo>
                    <a:pt x="608" y="1230"/>
                  </a:lnTo>
                  <a:lnTo>
                    <a:pt x="610" y="1231"/>
                  </a:lnTo>
                  <a:lnTo>
                    <a:pt x="610" y="1233"/>
                  </a:lnTo>
                  <a:lnTo>
                    <a:pt x="611" y="1237"/>
                  </a:lnTo>
                  <a:lnTo>
                    <a:pt x="611" y="1244"/>
                  </a:lnTo>
                  <a:lnTo>
                    <a:pt x="627" y="1244"/>
                  </a:lnTo>
                  <a:lnTo>
                    <a:pt x="631" y="1255"/>
                  </a:lnTo>
                  <a:lnTo>
                    <a:pt x="634" y="1267"/>
                  </a:lnTo>
                  <a:lnTo>
                    <a:pt x="642" y="1274"/>
                  </a:lnTo>
                  <a:lnTo>
                    <a:pt x="658" y="1274"/>
                  </a:lnTo>
                  <a:lnTo>
                    <a:pt x="658" y="1278"/>
                  </a:lnTo>
                  <a:lnTo>
                    <a:pt x="660" y="1281"/>
                  </a:lnTo>
                  <a:lnTo>
                    <a:pt x="662" y="1283"/>
                  </a:lnTo>
                  <a:lnTo>
                    <a:pt x="666" y="1285"/>
                  </a:lnTo>
                  <a:lnTo>
                    <a:pt x="675" y="1289"/>
                  </a:lnTo>
                  <a:lnTo>
                    <a:pt x="686" y="1290"/>
                  </a:lnTo>
                  <a:lnTo>
                    <a:pt x="699" y="1291"/>
                  </a:lnTo>
                  <a:lnTo>
                    <a:pt x="714" y="1290"/>
                  </a:lnTo>
                  <a:lnTo>
                    <a:pt x="730" y="1290"/>
                  </a:lnTo>
                  <a:lnTo>
                    <a:pt x="746" y="1288"/>
                  </a:lnTo>
                  <a:lnTo>
                    <a:pt x="779" y="1285"/>
                  </a:lnTo>
                  <a:lnTo>
                    <a:pt x="807" y="1283"/>
                  </a:lnTo>
                  <a:lnTo>
                    <a:pt x="819" y="1283"/>
                  </a:lnTo>
                  <a:lnTo>
                    <a:pt x="827" y="1284"/>
                  </a:lnTo>
                  <a:lnTo>
                    <a:pt x="831" y="1285"/>
                  </a:lnTo>
                  <a:lnTo>
                    <a:pt x="833" y="1287"/>
                  </a:lnTo>
                  <a:lnTo>
                    <a:pt x="835" y="1288"/>
                  </a:lnTo>
                  <a:lnTo>
                    <a:pt x="835" y="1290"/>
                  </a:lnTo>
                  <a:lnTo>
                    <a:pt x="865" y="1291"/>
                  </a:lnTo>
                  <a:lnTo>
                    <a:pt x="896" y="1293"/>
                  </a:lnTo>
                  <a:lnTo>
                    <a:pt x="928" y="1298"/>
                  </a:lnTo>
                  <a:lnTo>
                    <a:pt x="960" y="1301"/>
                  </a:lnTo>
                  <a:lnTo>
                    <a:pt x="993" y="1306"/>
                  </a:lnTo>
                  <a:lnTo>
                    <a:pt x="1026" y="1310"/>
                  </a:lnTo>
                  <a:lnTo>
                    <a:pt x="1059" y="1312"/>
                  </a:lnTo>
                  <a:lnTo>
                    <a:pt x="1091" y="1313"/>
                  </a:lnTo>
                  <a:lnTo>
                    <a:pt x="1091" y="1298"/>
                  </a:lnTo>
                  <a:lnTo>
                    <a:pt x="1084" y="1293"/>
                  </a:lnTo>
                  <a:lnTo>
                    <a:pt x="1070" y="1282"/>
                  </a:lnTo>
                  <a:lnTo>
                    <a:pt x="1061" y="1277"/>
                  </a:lnTo>
                  <a:lnTo>
                    <a:pt x="1052" y="1272"/>
                  </a:lnTo>
                  <a:lnTo>
                    <a:pt x="1043" y="1269"/>
                  </a:lnTo>
                  <a:lnTo>
                    <a:pt x="1036" y="1267"/>
                  </a:lnTo>
                  <a:lnTo>
                    <a:pt x="1025" y="1255"/>
                  </a:lnTo>
                  <a:lnTo>
                    <a:pt x="1013" y="1244"/>
                  </a:lnTo>
                  <a:lnTo>
                    <a:pt x="998" y="1244"/>
                  </a:lnTo>
                  <a:lnTo>
                    <a:pt x="997" y="1241"/>
                  </a:lnTo>
                  <a:lnTo>
                    <a:pt x="996" y="1237"/>
                  </a:lnTo>
                  <a:lnTo>
                    <a:pt x="995" y="1235"/>
                  </a:lnTo>
                  <a:lnTo>
                    <a:pt x="993" y="1233"/>
                  </a:lnTo>
                  <a:lnTo>
                    <a:pt x="990" y="1231"/>
                  </a:lnTo>
                  <a:lnTo>
                    <a:pt x="988" y="1230"/>
                  </a:lnTo>
                  <a:lnTo>
                    <a:pt x="985" y="1229"/>
                  </a:lnTo>
                  <a:lnTo>
                    <a:pt x="983" y="1229"/>
                  </a:lnTo>
                  <a:lnTo>
                    <a:pt x="975" y="1221"/>
                  </a:lnTo>
                  <a:lnTo>
                    <a:pt x="974" y="1212"/>
                  </a:lnTo>
                  <a:lnTo>
                    <a:pt x="970" y="1203"/>
                  </a:lnTo>
                  <a:lnTo>
                    <a:pt x="967" y="1194"/>
                  </a:lnTo>
                  <a:lnTo>
                    <a:pt x="963" y="1186"/>
                  </a:lnTo>
                  <a:lnTo>
                    <a:pt x="959" y="1177"/>
                  </a:lnTo>
                  <a:lnTo>
                    <a:pt x="955" y="1168"/>
                  </a:lnTo>
                  <a:lnTo>
                    <a:pt x="953" y="1159"/>
                  </a:lnTo>
                  <a:lnTo>
                    <a:pt x="951" y="1150"/>
                  </a:lnTo>
                  <a:lnTo>
                    <a:pt x="947" y="1150"/>
                  </a:lnTo>
                  <a:lnTo>
                    <a:pt x="945" y="1148"/>
                  </a:lnTo>
                  <a:lnTo>
                    <a:pt x="942" y="1145"/>
                  </a:lnTo>
                  <a:lnTo>
                    <a:pt x="940" y="1142"/>
                  </a:lnTo>
                  <a:lnTo>
                    <a:pt x="938" y="1131"/>
                  </a:lnTo>
                  <a:lnTo>
                    <a:pt x="937" y="1120"/>
                  </a:lnTo>
                  <a:lnTo>
                    <a:pt x="936" y="1109"/>
                  </a:lnTo>
                  <a:lnTo>
                    <a:pt x="935" y="1099"/>
                  </a:lnTo>
                  <a:lnTo>
                    <a:pt x="934" y="1095"/>
                  </a:lnTo>
                  <a:lnTo>
                    <a:pt x="932" y="1091"/>
                  </a:lnTo>
                  <a:lnTo>
                    <a:pt x="930" y="1090"/>
                  </a:lnTo>
                  <a:lnTo>
                    <a:pt x="928" y="1089"/>
                  </a:lnTo>
                  <a:lnTo>
                    <a:pt x="927" y="1077"/>
                  </a:lnTo>
                  <a:lnTo>
                    <a:pt x="925" y="1062"/>
                  </a:lnTo>
                  <a:lnTo>
                    <a:pt x="921" y="1048"/>
                  </a:lnTo>
                  <a:lnTo>
                    <a:pt x="920" y="1035"/>
                  </a:lnTo>
                  <a:lnTo>
                    <a:pt x="918" y="1034"/>
                  </a:lnTo>
                  <a:lnTo>
                    <a:pt x="916" y="1033"/>
                  </a:lnTo>
                  <a:lnTo>
                    <a:pt x="915" y="1032"/>
                  </a:lnTo>
                  <a:lnTo>
                    <a:pt x="913" y="1030"/>
                  </a:lnTo>
                  <a:lnTo>
                    <a:pt x="912" y="1025"/>
                  </a:lnTo>
                  <a:lnTo>
                    <a:pt x="912" y="1020"/>
                  </a:lnTo>
                  <a:lnTo>
                    <a:pt x="910" y="1019"/>
                  </a:lnTo>
                  <a:lnTo>
                    <a:pt x="908" y="1017"/>
                  </a:lnTo>
                  <a:lnTo>
                    <a:pt x="907" y="1014"/>
                  </a:lnTo>
                  <a:lnTo>
                    <a:pt x="906" y="1011"/>
                  </a:lnTo>
                  <a:lnTo>
                    <a:pt x="906" y="1003"/>
                  </a:lnTo>
                  <a:lnTo>
                    <a:pt x="905" y="996"/>
                  </a:lnTo>
                  <a:lnTo>
                    <a:pt x="902" y="994"/>
                  </a:lnTo>
                  <a:lnTo>
                    <a:pt x="898" y="989"/>
                  </a:lnTo>
                  <a:lnTo>
                    <a:pt x="894" y="981"/>
                  </a:lnTo>
                  <a:lnTo>
                    <a:pt x="890" y="972"/>
                  </a:lnTo>
                  <a:lnTo>
                    <a:pt x="884" y="954"/>
                  </a:lnTo>
                  <a:lnTo>
                    <a:pt x="882" y="942"/>
                  </a:lnTo>
                  <a:lnTo>
                    <a:pt x="874" y="935"/>
                  </a:lnTo>
                  <a:lnTo>
                    <a:pt x="867" y="927"/>
                  </a:lnTo>
                  <a:lnTo>
                    <a:pt x="859" y="919"/>
                  </a:lnTo>
                  <a:lnTo>
                    <a:pt x="850" y="917"/>
                  </a:lnTo>
                  <a:lnTo>
                    <a:pt x="836" y="912"/>
                  </a:lnTo>
                  <a:lnTo>
                    <a:pt x="825" y="906"/>
                  </a:lnTo>
                  <a:lnTo>
                    <a:pt x="820" y="904"/>
                  </a:lnTo>
                  <a:lnTo>
                    <a:pt x="796" y="904"/>
                  </a:lnTo>
                  <a:lnTo>
                    <a:pt x="796" y="899"/>
                  </a:lnTo>
                  <a:lnTo>
                    <a:pt x="795" y="896"/>
                  </a:lnTo>
                  <a:lnTo>
                    <a:pt x="793" y="894"/>
                  </a:lnTo>
                  <a:lnTo>
                    <a:pt x="791" y="892"/>
                  </a:lnTo>
                  <a:lnTo>
                    <a:pt x="785" y="888"/>
                  </a:lnTo>
                  <a:lnTo>
                    <a:pt x="777" y="885"/>
                  </a:lnTo>
                  <a:lnTo>
                    <a:pt x="771" y="884"/>
                  </a:lnTo>
                  <a:lnTo>
                    <a:pt x="764" y="880"/>
                  </a:lnTo>
                  <a:lnTo>
                    <a:pt x="762" y="879"/>
                  </a:lnTo>
                  <a:lnTo>
                    <a:pt x="759" y="877"/>
                  </a:lnTo>
                  <a:lnTo>
                    <a:pt x="758" y="876"/>
                  </a:lnTo>
                  <a:lnTo>
                    <a:pt x="758" y="873"/>
                  </a:lnTo>
                  <a:lnTo>
                    <a:pt x="743" y="873"/>
                  </a:lnTo>
                  <a:lnTo>
                    <a:pt x="735" y="865"/>
                  </a:lnTo>
                  <a:lnTo>
                    <a:pt x="735" y="849"/>
                  </a:lnTo>
                  <a:lnTo>
                    <a:pt x="719" y="841"/>
                  </a:lnTo>
                  <a:lnTo>
                    <a:pt x="719" y="833"/>
                  </a:lnTo>
                  <a:lnTo>
                    <a:pt x="719" y="822"/>
                  </a:lnTo>
                  <a:lnTo>
                    <a:pt x="719" y="811"/>
                  </a:lnTo>
                  <a:lnTo>
                    <a:pt x="719" y="803"/>
                  </a:lnTo>
                  <a:lnTo>
                    <a:pt x="721" y="802"/>
                  </a:lnTo>
                  <a:lnTo>
                    <a:pt x="723" y="800"/>
                  </a:lnTo>
                  <a:lnTo>
                    <a:pt x="724" y="797"/>
                  </a:lnTo>
                  <a:lnTo>
                    <a:pt x="725" y="792"/>
                  </a:lnTo>
                  <a:lnTo>
                    <a:pt x="728" y="781"/>
                  </a:lnTo>
                  <a:lnTo>
                    <a:pt x="730" y="768"/>
                  </a:lnTo>
                  <a:lnTo>
                    <a:pt x="734" y="741"/>
                  </a:lnTo>
                  <a:lnTo>
                    <a:pt x="735" y="726"/>
                  </a:lnTo>
                  <a:lnTo>
                    <a:pt x="737" y="724"/>
                  </a:lnTo>
                  <a:lnTo>
                    <a:pt x="739" y="721"/>
                  </a:lnTo>
                  <a:lnTo>
                    <a:pt x="740" y="715"/>
                  </a:lnTo>
                  <a:lnTo>
                    <a:pt x="742" y="710"/>
                  </a:lnTo>
                  <a:lnTo>
                    <a:pt x="743" y="696"/>
                  </a:lnTo>
                  <a:lnTo>
                    <a:pt x="743" y="687"/>
                  </a:lnTo>
                  <a:lnTo>
                    <a:pt x="744" y="686"/>
                  </a:lnTo>
                  <a:lnTo>
                    <a:pt x="745" y="682"/>
                  </a:lnTo>
                  <a:lnTo>
                    <a:pt x="746" y="676"/>
                  </a:lnTo>
                  <a:lnTo>
                    <a:pt x="747" y="667"/>
                  </a:lnTo>
                  <a:lnTo>
                    <a:pt x="748" y="647"/>
                  </a:lnTo>
                  <a:lnTo>
                    <a:pt x="749" y="624"/>
                  </a:lnTo>
                  <a:lnTo>
                    <a:pt x="750" y="577"/>
                  </a:lnTo>
                  <a:lnTo>
                    <a:pt x="750" y="548"/>
                  </a:lnTo>
                  <a:lnTo>
                    <a:pt x="747" y="548"/>
                  </a:lnTo>
                  <a:lnTo>
                    <a:pt x="745" y="547"/>
                  </a:lnTo>
                  <a:lnTo>
                    <a:pt x="742" y="546"/>
                  </a:lnTo>
                  <a:lnTo>
                    <a:pt x="739" y="543"/>
                  </a:lnTo>
                  <a:lnTo>
                    <a:pt x="738" y="541"/>
                  </a:lnTo>
                  <a:lnTo>
                    <a:pt x="736" y="539"/>
                  </a:lnTo>
                  <a:lnTo>
                    <a:pt x="735" y="535"/>
                  </a:lnTo>
                  <a:lnTo>
                    <a:pt x="735" y="532"/>
                  </a:lnTo>
                  <a:lnTo>
                    <a:pt x="711" y="532"/>
                  </a:lnTo>
                  <a:lnTo>
                    <a:pt x="710" y="530"/>
                  </a:lnTo>
                  <a:lnTo>
                    <a:pt x="707" y="528"/>
                  </a:lnTo>
                  <a:lnTo>
                    <a:pt x="701" y="527"/>
                  </a:lnTo>
                  <a:lnTo>
                    <a:pt x="696" y="525"/>
                  </a:lnTo>
                  <a:lnTo>
                    <a:pt x="682" y="525"/>
                  </a:lnTo>
                  <a:lnTo>
                    <a:pt x="673" y="525"/>
                  </a:lnTo>
                  <a:lnTo>
                    <a:pt x="672" y="522"/>
                  </a:lnTo>
                  <a:lnTo>
                    <a:pt x="670" y="521"/>
                  </a:lnTo>
                  <a:lnTo>
                    <a:pt x="668" y="519"/>
                  </a:lnTo>
                  <a:lnTo>
                    <a:pt x="665" y="518"/>
                  </a:lnTo>
                  <a:lnTo>
                    <a:pt x="657" y="518"/>
                  </a:lnTo>
                  <a:lnTo>
                    <a:pt x="650" y="518"/>
                  </a:lnTo>
                  <a:lnTo>
                    <a:pt x="642" y="502"/>
                  </a:lnTo>
                  <a:lnTo>
                    <a:pt x="631" y="502"/>
                  </a:lnTo>
                  <a:lnTo>
                    <a:pt x="619" y="502"/>
                  </a:lnTo>
                  <a:lnTo>
                    <a:pt x="619" y="500"/>
                  </a:lnTo>
                  <a:lnTo>
                    <a:pt x="617" y="498"/>
                  </a:lnTo>
                  <a:lnTo>
                    <a:pt x="613" y="496"/>
                  </a:lnTo>
                  <a:lnTo>
                    <a:pt x="610" y="495"/>
                  </a:lnTo>
                  <a:lnTo>
                    <a:pt x="603" y="494"/>
                  </a:lnTo>
                  <a:lnTo>
                    <a:pt x="595" y="494"/>
                  </a:lnTo>
                  <a:lnTo>
                    <a:pt x="595" y="492"/>
                  </a:lnTo>
                  <a:lnTo>
                    <a:pt x="594" y="490"/>
                  </a:lnTo>
                  <a:lnTo>
                    <a:pt x="593" y="489"/>
                  </a:lnTo>
                  <a:lnTo>
                    <a:pt x="591" y="487"/>
                  </a:lnTo>
                  <a:lnTo>
                    <a:pt x="586" y="486"/>
                  </a:lnTo>
                  <a:lnTo>
                    <a:pt x="581" y="486"/>
                  </a:lnTo>
                  <a:lnTo>
                    <a:pt x="580" y="482"/>
                  </a:lnTo>
                  <a:lnTo>
                    <a:pt x="580" y="480"/>
                  </a:lnTo>
                  <a:lnTo>
                    <a:pt x="577" y="479"/>
                  </a:lnTo>
                  <a:lnTo>
                    <a:pt x="576" y="479"/>
                  </a:lnTo>
                  <a:lnTo>
                    <a:pt x="575" y="479"/>
                  </a:lnTo>
                  <a:lnTo>
                    <a:pt x="574" y="477"/>
                  </a:lnTo>
                  <a:lnTo>
                    <a:pt x="573" y="475"/>
                  </a:lnTo>
                  <a:lnTo>
                    <a:pt x="573" y="471"/>
                  </a:lnTo>
                  <a:lnTo>
                    <a:pt x="550" y="471"/>
                  </a:lnTo>
                  <a:lnTo>
                    <a:pt x="546" y="469"/>
                  </a:lnTo>
                  <a:lnTo>
                    <a:pt x="537" y="463"/>
                  </a:lnTo>
                  <a:lnTo>
                    <a:pt x="526" y="457"/>
                  </a:lnTo>
                  <a:lnTo>
                    <a:pt x="518" y="455"/>
                  </a:lnTo>
                  <a:lnTo>
                    <a:pt x="518" y="409"/>
                  </a:lnTo>
                  <a:lnTo>
                    <a:pt x="522" y="408"/>
                  </a:lnTo>
                  <a:lnTo>
                    <a:pt x="524" y="406"/>
                  </a:lnTo>
                  <a:lnTo>
                    <a:pt x="527" y="404"/>
                  </a:lnTo>
                  <a:lnTo>
                    <a:pt x="529" y="400"/>
                  </a:lnTo>
                  <a:lnTo>
                    <a:pt x="533" y="393"/>
                  </a:lnTo>
                  <a:lnTo>
                    <a:pt x="534" y="386"/>
                  </a:lnTo>
                  <a:lnTo>
                    <a:pt x="542" y="378"/>
                  </a:lnTo>
                  <a:lnTo>
                    <a:pt x="546" y="378"/>
                  </a:lnTo>
                  <a:lnTo>
                    <a:pt x="548" y="377"/>
                  </a:lnTo>
                  <a:lnTo>
                    <a:pt x="550" y="376"/>
                  </a:lnTo>
                  <a:lnTo>
                    <a:pt x="550" y="375"/>
                  </a:lnTo>
                  <a:lnTo>
                    <a:pt x="550" y="373"/>
                  </a:lnTo>
                  <a:lnTo>
                    <a:pt x="551" y="371"/>
                  </a:lnTo>
                  <a:lnTo>
                    <a:pt x="553" y="370"/>
                  </a:lnTo>
                  <a:lnTo>
                    <a:pt x="557" y="370"/>
                  </a:lnTo>
                  <a:lnTo>
                    <a:pt x="557" y="355"/>
                  </a:lnTo>
                  <a:lnTo>
                    <a:pt x="560" y="355"/>
                  </a:lnTo>
                  <a:lnTo>
                    <a:pt x="562" y="354"/>
                  </a:lnTo>
                  <a:lnTo>
                    <a:pt x="563" y="352"/>
                  </a:lnTo>
                  <a:lnTo>
                    <a:pt x="564" y="350"/>
                  </a:lnTo>
                  <a:lnTo>
                    <a:pt x="565" y="345"/>
                  </a:lnTo>
                  <a:lnTo>
                    <a:pt x="565" y="339"/>
                  </a:lnTo>
                  <a:lnTo>
                    <a:pt x="570" y="339"/>
                  </a:lnTo>
                  <a:lnTo>
                    <a:pt x="572" y="338"/>
                  </a:lnTo>
                  <a:lnTo>
                    <a:pt x="573" y="337"/>
                  </a:lnTo>
                  <a:lnTo>
                    <a:pt x="573" y="336"/>
                  </a:lnTo>
                  <a:lnTo>
                    <a:pt x="573" y="335"/>
                  </a:lnTo>
                  <a:lnTo>
                    <a:pt x="574" y="333"/>
                  </a:lnTo>
                  <a:lnTo>
                    <a:pt x="576" y="332"/>
                  </a:lnTo>
                  <a:lnTo>
                    <a:pt x="581" y="331"/>
                  </a:lnTo>
                  <a:lnTo>
                    <a:pt x="581" y="285"/>
                  </a:lnTo>
                  <a:lnTo>
                    <a:pt x="582" y="284"/>
                  </a:lnTo>
                  <a:lnTo>
                    <a:pt x="583" y="283"/>
                  </a:lnTo>
                  <a:lnTo>
                    <a:pt x="584" y="280"/>
                  </a:lnTo>
                  <a:lnTo>
                    <a:pt x="585" y="277"/>
                  </a:lnTo>
                  <a:lnTo>
                    <a:pt x="586" y="268"/>
                  </a:lnTo>
                  <a:lnTo>
                    <a:pt x="587" y="258"/>
                  </a:lnTo>
                  <a:lnTo>
                    <a:pt x="587" y="236"/>
                  </a:lnTo>
                  <a:lnTo>
                    <a:pt x="589" y="223"/>
                  </a:lnTo>
                  <a:lnTo>
                    <a:pt x="585" y="223"/>
                  </a:lnTo>
                  <a:lnTo>
                    <a:pt x="584" y="220"/>
                  </a:lnTo>
                  <a:lnTo>
                    <a:pt x="582" y="216"/>
                  </a:lnTo>
                  <a:lnTo>
                    <a:pt x="581" y="211"/>
                  </a:lnTo>
                  <a:lnTo>
                    <a:pt x="581" y="201"/>
                  </a:lnTo>
                  <a:lnTo>
                    <a:pt x="581" y="193"/>
                  </a:lnTo>
                  <a:lnTo>
                    <a:pt x="577" y="192"/>
                  </a:lnTo>
                  <a:lnTo>
                    <a:pt x="574" y="192"/>
                  </a:lnTo>
                  <a:lnTo>
                    <a:pt x="572" y="190"/>
                  </a:lnTo>
                  <a:lnTo>
                    <a:pt x="570" y="187"/>
                  </a:lnTo>
                  <a:lnTo>
                    <a:pt x="567" y="185"/>
                  </a:lnTo>
                  <a:lnTo>
                    <a:pt x="566" y="183"/>
                  </a:lnTo>
                  <a:lnTo>
                    <a:pt x="565" y="181"/>
                  </a:lnTo>
                  <a:lnTo>
                    <a:pt x="565" y="177"/>
                  </a:lnTo>
                  <a:lnTo>
                    <a:pt x="562" y="176"/>
                  </a:lnTo>
                  <a:lnTo>
                    <a:pt x="560" y="175"/>
                  </a:lnTo>
                  <a:lnTo>
                    <a:pt x="556" y="172"/>
                  </a:lnTo>
                  <a:lnTo>
                    <a:pt x="554" y="168"/>
                  </a:lnTo>
                  <a:lnTo>
                    <a:pt x="551" y="160"/>
                  </a:lnTo>
                  <a:lnTo>
                    <a:pt x="550" y="154"/>
                  </a:lnTo>
                  <a:lnTo>
                    <a:pt x="544" y="153"/>
                  </a:lnTo>
                  <a:lnTo>
                    <a:pt x="541" y="150"/>
                  </a:lnTo>
                  <a:lnTo>
                    <a:pt x="537" y="146"/>
                  </a:lnTo>
                  <a:lnTo>
                    <a:pt x="535" y="140"/>
                  </a:lnTo>
                  <a:lnTo>
                    <a:pt x="534" y="134"/>
                  </a:lnTo>
                  <a:lnTo>
                    <a:pt x="534" y="127"/>
                  </a:lnTo>
                  <a:lnTo>
                    <a:pt x="534" y="119"/>
                  </a:lnTo>
                  <a:lnTo>
                    <a:pt x="534" y="110"/>
                  </a:lnTo>
                  <a:lnTo>
                    <a:pt x="538" y="79"/>
                  </a:lnTo>
                  <a:lnTo>
                    <a:pt x="542" y="61"/>
                  </a:lnTo>
                  <a:lnTo>
                    <a:pt x="544" y="60"/>
                  </a:lnTo>
                  <a:lnTo>
                    <a:pt x="546" y="56"/>
                  </a:lnTo>
                  <a:lnTo>
                    <a:pt x="547" y="49"/>
                  </a:lnTo>
                  <a:lnTo>
                    <a:pt x="548" y="41"/>
                  </a:lnTo>
                  <a:lnTo>
                    <a:pt x="550" y="25"/>
                  </a:lnTo>
                  <a:lnTo>
                    <a:pt x="550" y="15"/>
                  </a:lnTo>
                  <a:lnTo>
                    <a:pt x="537" y="12"/>
                  </a:lnTo>
                  <a:lnTo>
                    <a:pt x="515" y="8"/>
                  </a:lnTo>
                  <a:lnTo>
                    <a:pt x="500" y="4"/>
                  </a:lnTo>
                  <a:lnTo>
                    <a:pt x="486" y="2"/>
                  </a:lnTo>
                  <a:lnTo>
                    <a:pt x="471" y="0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79" name="Freeform 32">
              <a:extLst>
                <a:ext uri="{FF2B5EF4-FFF2-40B4-BE49-F238E27FC236}">
                  <a16:creationId xmlns:a16="http://schemas.microsoft.com/office/drawing/2014/main" id="{7B2B495D-865A-4C57-B54C-426D3A746A3A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946900" y="3417888"/>
              <a:ext cx="238125" cy="210995"/>
            </a:xfrm>
            <a:custGeom>
              <a:avLst/>
              <a:gdLst/>
              <a:ahLst/>
              <a:cxnLst>
                <a:cxn ang="0">
                  <a:pos x="796" y="29"/>
                </a:cxn>
                <a:cxn ang="0">
                  <a:pos x="746" y="104"/>
                </a:cxn>
                <a:cxn ang="0">
                  <a:pos x="629" y="114"/>
                </a:cxn>
                <a:cxn ang="0">
                  <a:pos x="611" y="125"/>
                </a:cxn>
                <a:cxn ang="0">
                  <a:pos x="585" y="139"/>
                </a:cxn>
                <a:cxn ang="0">
                  <a:pos x="560" y="169"/>
                </a:cxn>
                <a:cxn ang="0">
                  <a:pos x="529" y="279"/>
                </a:cxn>
                <a:cxn ang="0">
                  <a:pos x="515" y="291"/>
                </a:cxn>
                <a:cxn ang="0">
                  <a:pos x="487" y="340"/>
                </a:cxn>
                <a:cxn ang="0">
                  <a:pos x="509" y="356"/>
                </a:cxn>
                <a:cxn ang="0">
                  <a:pos x="516" y="407"/>
                </a:cxn>
                <a:cxn ang="0">
                  <a:pos x="476" y="541"/>
                </a:cxn>
                <a:cxn ang="0">
                  <a:pos x="464" y="559"/>
                </a:cxn>
                <a:cxn ang="0">
                  <a:pos x="425" y="610"/>
                </a:cxn>
                <a:cxn ang="0">
                  <a:pos x="410" y="704"/>
                </a:cxn>
                <a:cxn ang="0">
                  <a:pos x="387" y="742"/>
                </a:cxn>
                <a:cxn ang="0">
                  <a:pos x="345" y="765"/>
                </a:cxn>
                <a:cxn ang="0">
                  <a:pos x="327" y="780"/>
                </a:cxn>
                <a:cxn ang="0">
                  <a:pos x="316" y="792"/>
                </a:cxn>
                <a:cxn ang="0">
                  <a:pos x="294" y="804"/>
                </a:cxn>
                <a:cxn ang="0">
                  <a:pos x="257" y="834"/>
                </a:cxn>
                <a:cxn ang="0">
                  <a:pos x="224" y="935"/>
                </a:cxn>
                <a:cxn ang="0">
                  <a:pos x="208" y="943"/>
                </a:cxn>
                <a:cxn ang="0">
                  <a:pos x="84" y="1019"/>
                </a:cxn>
                <a:cxn ang="0">
                  <a:pos x="30" y="1082"/>
                </a:cxn>
                <a:cxn ang="0">
                  <a:pos x="0" y="1195"/>
                </a:cxn>
                <a:cxn ang="0">
                  <a:pos x="137" y="1209"/>
                </a:cxn>
                <a:cxn ang="0">
                  <a:pos x="289" y="1185"/>
                </a:cxn>
                <a:cxn ang="0">
                  <a:pos x="404" y="1207"/>
                </a:cxn>
                <a:cxn ang="0">
                  <a:pos x="580" y="1225"/>
                </a:cxn>
                <a:cxn ang="0">
                  <a:pos x="647" y="1237"/>
                </a:cxn>
                <a:cxn ang="0">
                  <a:pos x="680" y="1291"/>
                </a:cxn>
                <a:cxn ang="0">
                  <a:pos x="717" y="1242"/>
                </a:cxn>
                <a:cxn ang="0">
                  <a:pos x="721" y="1127"/>
                </a:cxn>
                <a:cxn ang="0">
                  <a:pos x="834" y="1073"/>
                </a:cxn>
                <a:cxn ang="0">
                  <a:pos x="1015" y="1083"/>
                </a:cxn>
                <a:cxn ang="0">
                  <a:pos x="1108" y="1048"/>
                </a:cxn>
                <a:cxn ang="0">
                  <a:pos x="1207" y="906"/>
                </a:cxn>
                <a:cxn ang="0">
                  <a:pos x="1249" y="802"/>
                </a:cxn>
                <a:cxn ang="0">
                  <a:pos x="1303" y="702"/>
                </a:cxn>
                <a:cxn ang="0">
                  <a:pos x="1311" y="678"/>
                </a:cxn>
                <a:cxn ang="0">
                  <a:pos x="1286" y="596"/>
                </a:cxn>
                <a:cxn ang="0">
                  <a:pos x="1257" y="574"/>
                </a:cxn>
                <a:cxn ang="0">
                  <a:pos x="1226" y="543"/>
                </a:cxn>
                <a:cxn ang="0">
                  <a:pos x="1213" y="513"/>
                </a:cxn>
                <a:cxn ang="0">
                  <a:pos x="1198" y="467"/>
                </a:cxn>
                <a:cxn ang="0">
                  <a:pos x="1157" y="443"/>
                </a:cxn>
                <a:cxn ang="0">
                  <a:pos x="1137" y="431"/>
                </a:cxn>
                <a:cxn ang="0">
                  <a:pos x="1086" y="386"/>
                </a:cxn>
                <a:cxn ang="0">
                  <a:pos x="1059" y="356"/>
                </a:cxn>
                <a:cxn ang="0">
                  <a:pos x="1028" y="321"/>
                </a:cxn>
                <a:cxn ang="0">
                  <a:pos x="1005" y="290"/>
                </a:cxn>
                <a:cxn ang="0">
                  <a:pos x="949" y="262"/>
                </a:cxn>
                <a:cxn ang="0">
                  <a:pos x="915" y="232"/>
                </a:cxn>
                <a:cxn ang="0">
                  <a:pos x="889" y="199"/>
                </a:cxn>
                <a:cxn ang="0">
                  <a:pos x="879" y="169"/>
                </a:cxn>
                <a:cxn ang="0">
                  <a:pos x="874" y="84"/>
                </a:cxn>
                <a:cxn ang="0">
                  <a:pos x="873" y="0"/>
                </a:cxn>
              </a:cxnLst>
              <a:rect l="0" t="0" r="r" b="b"/>
              <a:pathLst>
                <a:path w="1313" h="1314">
                  <a:moveTo>
                    <a:pt x="858" y="15"/>
                  </a:moveTo>
                  <a:lnTo>
                    <a:pt x="851" y="14"/>
                  </a:lnTo>
                  <a:lnTo>
                    <a:pt x="842" y="11"/>
                  </a:lnTo>
                  <a:lnTo>
                    <a:pt x="833" y="6"/>
                  </a:lnTo>
                  <a:lnTo>
                    <a:pt x="826" y="0"/>
                  </a:lnTo>
                  <a:lnTo>
                    <a:pt x="803" y="0"/>
                  </a:lnTo>
                  <a:lnTo>
                    <a:pt x="796" y="7"/>
                  </a:lnTo>
                  <a:lnTo>
                    <a:pt x="796" y="29"/>
                  </a:lnTo>
                  <a:lnTo>
                    <a:pt x="796" y="54"/>
                  </a:lnTo>
                  <a:lnTo>
                    <a:pt x="796" y="80"/>
                  </a:lnTo>
                  <a:lnTo>
                    <a:pt x="796" y="100"/>
                  </a:lnTo>
                  <a:lnTo>
                    <a:pt x="765" y="100"/>
                  </a:lnTo>
                  <a:lnTo>
                    <a:pt x="764" y="102"/>
                  </a:lnTo>
                  <a:lnTo>
                    <a:pt x="759" y="103"/>
                  </a:lnTo>
                  <a:lnTo>
                    <a:pt x="754" y="104"/>
                  </a:lnTo>
                  <a:lnTo>
                    <a:pt x="746" y="104"/>
                  </a:lnTo>
                  <a:lnTo>
                    <a:pt x="727" y="107"/>
                  </a:lnTo>
                  <a:lnTo>
                    <a:pt x="705" y="107"/>
                  </a:lnTo>
                  <a:lnTo>
                    <a:pt x="660" y="108"/>
                  </a:lnTo>
                  <a:lnTo>
                    <a:pt x="633" y="108"/>
                  </a:lnTo>
                  <a:lnTo>
                    <a:pt x="633" y="111"/>
                  </a:lnTo>
                  <a:lnTo>
                    <a:pt x="632" y="112"/>
                  </a:lnTo>
                  <a:lnTo>
                    <a:pt x="631" y="114"/>
                  </a:lnTo>
                  <a:lnTo>
                    <a:pt x="629" y="114"/>
                  </a:lnTo>
                  <a:lnTo>
                    <a:pt x="623" y="116"/>
                  </a:lnTo>
                  <a:lnTo>
                    <a:pt x="618" y="116"/>
                  </a:lnTo>
                  <a:lnTo>
                    <a:pt x="618" y="120"/>
                  </a:lnTo>
                  <a:lnTo>
                    <a:pt x="617" y="122"/>
                  </a:lnTo>
                  <a:lnTo>
                    <a:pt x="615" y="123"/>
                  </a:lnTo>
                  <a:lnTo>
                    <a:pt x="614" y="123"/>
                  </a:lnTo>
                  <a:lnTo>
                    <a:pt x="612" y="123"/>
                  </a:lnTo>
                  <a:lnTo>
                    <a:pt x="611" y="125"/>
                  </a:lnTo>
                  <a:lnTo>
                    <a:pt x="611" y="127"/>
                  </a:lnTo>
                  <a:lnTo>
                    <a:pt x="610" y="131"/>
                  </a:lnTo>
                  <a:lnTo>
                    <a:pt x="594" y="131"/>
                  </a:lnTo>
                  <a:lnTo>
                    <a:pt x="594" y="133"/>
                  </a:lnTo>
                  <a:lnTo>
                    <a:pt x="593" y="136"/>
                  </a:lnTo>
                  <a:lnTo>
                    <a:pt x="592" y="137"/>
                  </a:lnTo>
                  <a:lnTo>
                    <a:pt x="590" y="138"/>
                  </a:lnTo>
                  <a:lnTo>
                    <a:pt x="585" y="139"/>
                  </a:lnTo>
                  <a:lnTo>
                    <a:pt x="580" y="139"/>
                  </a:lnTo>
                  <a:lnTo>
                    <a:pt x="579" y="142"/>
                  </a:lnTo>
                  <a:lnTo>
                    <a:pt x="576" y="147"/>
                  </a:lnTo>
                  <a:lnTo>
                    <a:pt x="574" y="152"/>
                  </a:lnTo>
                  <a:lnTo>
                    <a:pt x="571" y="157"/>
                  </a:lnTo>
                  <a:lnTo>
                    <a:pt x="566" y="162"/>
                  </a:lnTo>
                  <a:lnTo>
                    <a:pt x="563" y="166"/>
                  </a:lnTo>
                  <a:lnTo>
                    <a:pt x="560" y="169"/>
                  </a:lnTo>
                  <a:lnTo>
                    <a:pt x="556" y="170"/>
                  </a:lnTo>
                  <a:lnTo>
                    <a:pt x="556" y="263"/>
                  </a:lnTo>
                  <a:lnTo>
                    <a:pt x="548" y="271"/>
                  </a:lnTo>
                  <a:lnTo>
                    <a:pt x="533" y="271"/>
                  </a:lnTo>
                  <a:lnTo>
                    <a:pt x="533" y="275"/>
                  </a:lnTo>
                  <a:lnTo>
                    <a:pt x="532" y="277"/>
                  </a:lnTo>
                  <a:lnTo>
                    <a:pt x="531" y="279"/>
                  </a:lnTo>
                  <a:lnTo>
                    <a:pt x="529" y="279"/>
                  </a:lnTo>
                  <a:lnTo>
                    <a:pt x="527" y="279"/>
                  </a:lnTo>
                  <a:lnTo>
                    <a:pt x="526" y="280"/>
                  </a:lnTo>
                  <a:lnTo>
                    <a:pt x="525" y="282"/>
                  </a:lnTo>
                  <a:lnTo>
                    <a:pt x="525" y="286"/>
                  </a:lnTo>
                  <a:lnTo>
                    <a:pt x="523" y="286"/>
                  </a:lnTo>
                  <a:lnTo>
                    <a:pt x="519" y="287"/>
                  </a:lnTo>
                  <a:lnTo>
                    <a:pt x="517" y="289"/>
                  </a:lnTo>
                  <a:lnTo>
                    <a:pt x="515" y="291"/>
                  </a:lnTo>
                  <a:lnTo>
                    <a:pt x="513" y="293"/>
                  </a:lnTo>
                  <a:lnTo>
                    <a:pt x="510" y="295"/>
                  </a:lnTo>
                  <a:lnTo>
                    <a:pt x="510" y="299"/>
                  </a:lnTo>
                  <a:lnTo>
                    <a:pt x="509" y="301"/>
                  </a:lnTo>
                  <a:lnTo>
                    <a:pt x="502" y="309"/>
                  </a:lnTo>
                  <a:lnTo>
                    <a:pt x="487" y="317"/>
                  </a:lnTo>
                  <a:lnTo>
                    <a:pt x="487" y="329"/>
                  </a:lnTo>
                  <a:lnTo>
                    <a:pt x="487" y="340"/>
                  </a:lnTo>
                  <a:lnTo>
                    <a:pt x="492" y="341"/>
                  </a:lnTo>
                  <a:lnTo>
                    <a:pt x="496" y="342"/>
                  </a:lnTo>
                  <a:lnTo>
                    <a:pt x="498" y="344"/>
                  </a:lnTo>
                  <a:lnTo>
                    <a:pt x="502" y="348"/>
                  </a:lnTo>
                  <a:lnTo>
                    <a:pt x="503" y="351"/>
                  </a:lnTo>
                  <a:lnTo>
                    <a:pt x="505" y="353"/>
                  </a:lnTo>
                  <a:lnTo>
                    <a:pt x="507" y="354"/>
                  </a:lnTo>
                  <a:lnTo>
                    <a:pt x="509" y="356"/>
                  </a:lnTo>
                  <a:lnTo>
                    <a:pt x="509" y="371"/>
                  </a:lnTo>
                  <a:lnTo>
                    <a:pt x="513" y="371"/>
                  </a:lnTo>
                  <a:lnTo>
                    <a:pt x="515" y="372"/>
                  </a:lnTo>
                  <a:lnTo>
                    <a:pt x="516" y="375"/>
                  </a:lnTo>
                  <a:lnTo>
                    <a:pt x="517" y="378"/>
                  </a:lnTo>
                  <a:lnTo>
                    <a:pt x="518" y="386"/>
                  </a:lnTo>
                  <a:lnTo>
                    <a:pt x="518" y="396"/>
                  </a:lnTo>
                  <a:lnTo>
                    <a:pt x="516" y="407"/>
                  </a:lnTo>
                  <a:lnTo>
                    <a:pt x="514" y="420"/>
                  </a:lnTo>
                  <a:lnTo>
                    <a:pt x="510" y="435"/>
                  </a:lnTo>
                  <a:lnTo>
                    <a:pt x="506" y="450"/>
                  </a:lnTo>
                  <a:lnTo>
                    <a:pt x="497" y="481"/>
                  </a:lnTo>
                  <a:lnTo>
                    <a:pt x="488" y="507"/>
                  </a:lnTo>
                  <a:lnTo>
                    <a:pt x="481" y="530"/>
                  </a:lnTo>
                  <a:lnTo>
                    <a:pt x="479" y="541"/>
                  </a:lnTo>
                  <a:lnTo>
                    <a:pt x="476" y="541"/>
                  </a:lnTo>
                  <a:lnTo>
                    <a:pt x="475" y="542"/>
                  </a:lnTo>
                  <a:lnTo>
                    <a:pt x="473" y="544"/>
                  </a:lnTo>
                  <a:lnTo>
                    <a:pt x="473" y="545"/>
                  </a:lnTo>
                  <a:lnTo>
                    <a:pt x="471" y="551"/>
                  </a:lnTo>
                  <a:lnTo>
                    <a:pt x="471" y="556"/>
                  </a:lnTo>
                  <a:lnTo>
                    <a:pt x="467" y="556"/>
                  </a:lnTo>
                  <a:lnTo>
                    <a:pt x="465" y="558"/>
                  </a:lnTo>
                  <a:lnTo>
                    <a:pt x="464" y="559"/>
                  </a:lnTo>
                  <a:lnTo>
                    <a:pt x="464" y="560"/>
                  </a:lnTo>
                  <a:lnTo>
                    <a:pt x="464" y="562"/>
                  </a:lnTo>
                  <a:lnTo>
                    <a:pt x="462" y="563"/>
                  </a:lnTo>
                  <a:lnTo>
                    <a:pt x="460" y="564"/>
                  </a:lnTo>
                  <a:lnTo>
                    <a:pt x="456" y="564"/>
                  </a:lnTo>
                  <a:lnTo>
                    <a:pt x="456" y="580"/>
                  </a:lnTo>
                  <a:lnTo>
                    <a:pt x="440" y="596"/>
                  </a:lnTo>
                  <a:lnTo>
                    <a:pt x="425" y="610"/>
                  </a:lnTo>
                  <a:lnTo>
                    <a:pt x="423" y="627"/>
                  </a:lnTo>
                  <a:lnTo>
                    <a:pt x="421" y="650"/>
                  </a:lnTo>
                  <a:lnTo>
                    <a:pt x="418" y="675"/>
                  </a:lnTo>
                  <a:lnTo>
                    <a:pt x="417" y="696"/>
                  </a:lnTo>
                  <a:lnTo>
                    <a:pt x="414" y="696"/>
                  </a:lnTo>
                  <a:lnTo>
                    <a:pt x="412" y="698"/>
                  </a:lnTo>
                  <a:lnTo>
                    <a:pt x="411" y="700"/>
                  </a:lnTo>
                  <a:lnTo>
                    <a:pt x="410" y="704"/>
                  </a:lnTo>
                  <a:lnTo>
                    <a:pt x="409" y="712"/>
                  </a:lnTo>
                  <a:lnTo>
                    <a:pt x="409" y="718"/>
                  </a:lnTo>
                  <a:lnTo>
                    <a:pt x="402" y="725"/>
                  </a:lnTo>
                  <a:lnTo>
                    <a:pt x="394" y="731"/>
                  </a:lnTo>
                  <a:lnTo>
                    <a:pt x="391" y="733"/>
                  </a:lnTo>
                  <a:lnTo>
                    <a:pt x="389" y="736"/>
                  </a:lnTo>
                  <a:lnTo>
                    <a:pt x="387" y="739"/>
                  </a:lnTo>
                  <a:lnTo>
                    <a:pt x="387" y="742"/>
                  </a:lnTo>
                  <a:lnTo>
                    <a:pt x="371" y="742"/>
                  </a:lnTo>
                  <a:lnTo>
                    <a:pt x="371" y="757"/>
                  </a:lnTo>
                  <a:lnTo>
                    <a:pt x="355" y="757"/>
                  </a:lnTo>
                  <a:lnTo>
                    <a:pt x="354" y="760"/>
                  </a:lnTo>
                  <a:lnTo>
                    <a:pt x="354" y="762"/>
                  </a:lnTo>
                  <a:lnTo>
                    <a:pt x="352" y="763"/>
                  </a:lnTo>
                  <a:lnTo>
                    <a:pt x="350" y="764"/>
                  </a:lnTo>
                  <a:lnTo>
                    <a:pt x="345" y="765"/>
                  </a:lnTo>
                  <a:lnTo>
                    <a:pt x="340" y="765"/>
                  </a:lnTo>
                  <a:lnTo>
                    <a:pt x="340" y="769"/>
                  </a:lnTo>
                  <a:lnTo>
                    <a:pt x="339" y="771"/>
                  </a:lnTo>
                  <a:lnTo>
                    <a:pt x="336" y="773"/>
                  </a:lnTo>
                  <a:lnTo>
                    <a:pt x="335" y="775"/>
                  </a:lnTo>
                  <a:lnTo>
                    <a:pt x="333" y="777"/>
                  </a:lnTo>
                  <a:lnTo>
                    <a:pt x="330" y="780"/>
                  </a:lnTo>
                  <a:lnTo>
                    <a:pt x="327" y="780"/>
                  </a:lnTo>
                  <a:lnTo>
                    <a:pt x="324" y="781"/>
                  </a:lnTo>
                  <a:lnTo>
                    <a:pt x="324" y="785"/>
                  </a:lnTo>
                  <a:lnTo>
                    <a:pt x="323" y="787"/>
                  </a:lnTo>
                  <a:lnTo>
                    <a:pt x="322" y="789"/>
                  </a:lnTo>
                  <a:lnTo>
                    <a:pt x="321" y="789"/>
                  </a:lnTo>
                  <a:lnTo>
                    <a:pt x="318" y="789"/>
                  </a:lnTo>
                  <a:lnTo>
                    <a:pt x="317" y="790"/>
                  </a:lnTo>
                  <a:lnTo>
                    <a:pt x="316" y="792"/>
                  </a:lnTo>
                  <a:lnTo>
                    <a:pt x="316" y="796"/>
                  </a:lnTo>
                  <a:lnTo>
                    <a:pt x="301" y="796"/>
                  </a:lnTo>
                  <a:lnTo>
                    <a:pt x="301" y="801"/>
                  </a:lnTo>
                  <a:lnTo>
                    <a:pt x="299" y="803"/>
                  </a:lnTo>
                  <a:lnTo>
                    <a:pt x="298" y="803"/>
                  </a:lnTo>
                  <a:lnTo>
                    <a:pt x="297" y="804"/>
                  </a:lnTo>
                  <a:lnTo>
                    <a:pt x="296" y="804"/>
                  </a:lnTo>
                  <a:lnTo>
                    <a:pt x="294" y="804"/>
                  </a:lnTo>
                  <a:lnTo>
                    <a:pt x="294" y="808"/>
                  </a:lnTo>
                  <a:lnTo>
                    <a:pt x="293" y="811"/>
                  </a:lnTo>
                  <a:lnTo>
                    <a:pt x="278" y="811"/>
                  </a:lnTo>
                  <a:lnTo>
                    <a:pt x="272" y="819"/>
                  </a:lnTo>
                  <a:lnTo>
                    <a:pt x="266" y="825"/>
                  </a:lnTo>
                  <a:lnTo>
                    <a:pt x="264" y="830"/>
                  </a:lnTo>
                  <a:lnTo>
                    <a:pt x="260" y="832"/>
                  </a:lnTo>
                  <a:lnTo>
                    <a:pt x="257" y="834"/>
                  </a:lnTo>
                  <a:lnTo>
                    <a:pt x="255" y="834"/>
                  </a:lnTo>
                  <a:lnTo>
                    <a:pt x="255" y="858"/>
                  </a:lnTo>
                  <a:lnTo>
                    <a:pt x="239" y="866"/>
                  </a:lnTo>
                  <a:lnTo>
                    <a:pt x="238" y="882"/>
                  </a:lnTo>
                  <a:lnTo>
                    <a:pt x="235" y="899"/>
                  </a:lnTo>
                  <a:lnTo>
                    <a:pt x="233" y="915"/>
                  </a:lnTo>
                  <a:lnTo>
                    <a:pt x="231" y="927"/>
                  </a:lnTo>
                  <a:lnTo>
                    <a:pt x="224" y="935"/>
                  </a:lnTo>
                  <a:lnTo>
                    <a:pt x="219" y="936"/>
                  </a:lnTo>
                  <a:lnTo>
                    <a:pt x="217" y="936"/>
                  </a:lnTo>
                  <a:lnTo>
                    <a:pt x="216" y="938"/>
                  </a:lnTo>
                  <a:lnTo>
                    <a:pt x="216" y="939"/>
                  </a:lnTo>
                  <a:lnTo>
                    <a:pt x="216" y="940"/>
                  </a:lnTo>
                  <a:lnTo>
                    <a:pt x="215" y="941"/>
                  </a:lnTo>
                  <a:lnTo>
                    <a:pt x="212" y="943"/>
                  </a:lnTo>
                  <a:lnTo>
                    <a:pt x="208" y="943"/>
                  </a:lnTo>
                  <a:lnTo>
                    <a:pt x="208" y="958"/>
                  </a:lnTo>
                  <a:lnTo>
                    <a:pt x="199" y="967"/>
                  </a:lnTo>
                  <a:lnTo>
                    <a:pt x="178" y="985"/>
                  </a:lnTo>
                  <a:lnTo>
                    <a:pt x="157" y="1004"/>
                  </a:lnTo>
                  <a:lnTo>
                    <a:pt x="147" y="1013"/>
                  </a:lnTo>
                  <a:lnTo>
                    <a:pt x="128" y="1014"/>
                  </a:lnTo>
                  <a:lnTo>
                    <a:pt x="106" y="1016"/>
                  </a:lnTo>
                  <a:lnTo>
                    <a:pt x="84" y="1019"/>
                  </a:lnTo>
                  <a:lnTo>
                    <a:pt x="62" y="1020"/>
                  </a:lnTo>
                  <a:lnTo>
                    <a:pt x="54" y="1027"/>
                  </a:lnTo>
                  <a:lnTo>
                    <a:pt x="51" y="1040"/>
                  </a:lnTo>
                  <a:lnTo>
                    <a:pt x="45" y="1058"/>
                  </a:lnTo>
                  <a:lnTo>
                    <a:pt x="42" y="1066"/>
                  </a:lnTo>
                  <a:lnTo>
                    <a:pt x="37" y="1074"/>
                  </a:lnTo>
                  <a:lnTo>
                    <a:pt x="34" y="1080"/>
                  </a:lnTo>
                  <a:lnTo>
                    <a:pt x="30" y="1082"/>
                  </a:lnTo>
                  <a:lnTo>
                    <a:pt x="29" y="1091"/>
                  </a:lnTo>
                  <a:lnTo>
                    <a:pt x="26" y="1104"/>
                  </a:lnTo>
                  <a:lnTo>
                    <a:pt x="24" y="1110"/>
                  </a:lnTo>
                  <a:lnTo>
                    <a:pt x="20" y="1116"/>
                  </a:lnTo>
                  <a:lnTo>
                    <a:pt x="18" y="1119"/>
                  </a:lnTo>
                  <a:lnTo>
                    <a:pt x="15" y="1120"/>
                  </a:lnTo>
                  <a:lnTo>
                    <a:pt x="4" y="1195"/>
                  </a:lnTo>
                  <a:lnTo>
                    <a:pt x="0" y="1195"/>
                  </a:lnTo>
                  <a:lnTo>
                    <a:pt x="13" y="1194"/>
                  </a:lnTo>
                  <a:lnTo>
                    <a:pt x="37" y="1194"/>
                  </a:lnTo>
                  <a:lnTo>
                    <a:pt x="71" y="1196"/>
                  </a:lnTo>
                  <a:lnTo>
                    <a:pt x="89" y="1198"/>
                  </a:lnTo>
                  <a:lnTo>
                    <a:pt x="107" y="1204"/>
                  </a:lnTo>
                  <a:lnTo>
                    <a:pt x="118" y="1206"/>
                  </a:lnTo>
                  <a:lnTo>
                    <a:pt x="126" y="1208"/>
                  </a:lnTo>
                  <a:lnTo>
                    <a:pt x="137" y="1209"/>
                  </a:lnTo>
                  <a:lnTo>
                    <a:pt x="145" y="1210"/>
                  </a:lnTo>
                  <a:lnTo>
                    <a:pt x="173" y="1208"/>
                  </a:lnTo>
                  <a:lnTo>
                    <a:pt x="201" y="1205"/>
                  </a:lnTo>
                  <a:lnTo>
                    <a:pt x="227" y="1199"/>
                  </a:lnTo>
                  <a:lnTo>
                    <a:pt x="249" y="1195"/>
                  </a:lnTo>
                  <a:lnTo>
                    <a:pt x="269" y="1189"/>
                  </a:lnTo>
                  <a:lnTo>
                    <a:pt x="284" y="1186"/>
                  </a:lnTo>
                  <a:lnTo>
                    <a:pt x="289" y="1185"/>
                  </a:lnTo>
                  <a:lnTo>
                    <a:pt x="294" y="1184"/>
                  </a:lnTo>
                  <a:lnTo>
                    <a:pt x="296" y="1185"/>
                  </a:lnTo>
                  <a:lnTo>
                    <a:pt x="297" y="1185"/>
                  </a:lnTo>
                  <a:lnTo>
                    <a:pt x="307" y="1186"/>
                  </a:lnTo>
                  <a:lnTo>
                    <a:pt x="321" y="1188"/>
                  </a:lnTo>
                  <a:lnTo>
                    <a:pt x="337" y="1191"/>
                  </a:lnTo>
                  <a:lnTo>
                    <a:pt x="358" y="1196"/>
                  </a:lnTo>
                  <a:lnTo>
                    <a:pt x="404" y="1207"/>
                  </a:lnTo>
                  <a:lnTo>
                    <a:pt x="457" y="1221"/>
                  </a:lnTo>
                  <a:lnTo>
                    <a:pt x="468" y="1223"/>
                  </a:lnTo>
                  <a:lnTo>
                    <a:pt x="479" y="1224"/>
                  </a:lnTo>
                  <a:lnTo>
                    <a:pt x="492" y="1226"/>
                  </a:lnTo>
                  <a:lnTo>
                    <a:pt x="504" y="1226"/>
                  </a:lnTo>
                  <a:lnTo>
                    <a:pt x="529" y="1226"/>
                  </a:lnTo>
                  <a:lnTo>
                    <a:pt x="555" y="1226"/>
                  </a:lnTo>
                  <a:lnTo>
                    <a:pt x="580" y="1225"/>
                  </a:lnTo>
                  <a:lnTo>
                    <a:pt x="602" y="1225"/>
                  </a:lnTo>
                  <a:lnTo>
                    <a:pt x="612" y="1226"/>
                  </a:lnTo>
                  <a:lnTo>
                    <a:pt x="622" y="1226"/>
                  </a:lnTo>
                  <a:lnTo>
                    <a:pt x="631" y="1228"/>
                  </a:lnTo>
                  <a:lnTo>
                    <a:pt x="638" y="1231"/>
                  </a:lnTo>
                  <a:lnTo>
                    <a:pt x="642" y="1232"/>
                  </a:lnTo>
                  <a:lnTo>
                    <a:pt x="644" y="1234"/>
                  </a:lnTo>
                  <a:lnTo>
                    <a:pt x="647" y="1237"/>
                  </a:lnTo>
                  <a:lnTo>
                    <a:pt x="649" y="1241"/>
                  </a:lnTo>
                  <a:lnTo>
                    <a:pt x="651" y="1250"/>
                  </a:lnTo>
                  <a:lnTo>
                    <a:pt x="651" y="1258"/>
                  </a:lnTo>
                  <a:lnTo>
                    <a:pt x="650" y="1274"/>
                  </a:lnTo>
                  <a:lnTo>
                    <a:pt x="649" y="1283"/>
                  </a:lnTo>
                  <a:lnTo>
                    <a:pt x="657" y="1284"/>
                  </a:lnTo>
                  <a:lnTo>
                    <a:pt x="668" y="1286"/>
                  </a:lnTo>
                  <a:lnTo>
                    <a:pt x="680" y="1291"/>
                  </a:lnTo>
                  <a:lnTo>
                    <a:pt x="694" y="1295"/>
                  </a:lnTo>
                  <a:lnTo>
                    <a:pt x="706" y="1301"/>
                  </a:lnTo>
                  <a:lnTo>
                    <a:pt x="716" y="1305"/>
                  </a:lnTo>
                  <a:lnTo>
                    <a:pt x="724" y="1310"/>
                  </a:lnTo>
                  <a:lnTo>
                    <a:pt x="726" y="1314"/>
                  </a:lnTo>
                  <a:lnTo>
                    <a:pt x="728" y="1314"/>
                  </a:lnTo>
                  <a:lnTo>
                    <a:pt x="723" y="1277"/>
                  </a:lnTo>
                  <a:lnTo>
                    <a:pt x="717" y="1242"/>
                  </a:lnTo>
                  <a:lnTo>
                    <a:pt x="715" y="1225"/>
                  </a:lnTo>
                  <a:lnTo>
                    <a:pt x="714" y="1208"/>
                  </a:lnTo>
                  <a:lnTo>
                    <a:pt x="713" y="1193"/>
                  </a:lnTo>
                  <a:lnTo>
                    <a:pt x="713" y="1178"/>
                  </a:lnTo>
                  <a:lnTo>
                    <a:pt x="714" y="1164"/>
                  </a:lnTo>
                  <a:lnTo>
                    <a:pt x="715" y="1150"/>
                  </a:lnTo>
                  <a:lnTo>
                    <a:pt x="718" y="1138"/>
                  </a:lnTo>
                  <a:lnTo>
                    <a:pt x="721" y="1127"/>
                  </a:lnTo>
                  <a:lnTo>
                    <a:pt x="727" y="1118"/>
                  </a:lnTo>
                  <a:lnTo>
                    <a:pt x="734" y="1109"/>
                  </a:lnTo>
                  <a:lnTo>
                    <a:pt x="742" y="1102"/>
                  </a:lnTo>
                  <a:lnTo>
                    <a:pt x="750" y="1097"/>
                  </a:lnTo>
                  <a:lnTo>
                    <a:pt x="772" y="1088"/>
                  </a:lnTo>
                  <a:lnTo>
                    <a:pt x="793" y="1081"/>
                  </a:lnTo>
                  <a:lnTo>
                    <a:pt x="814" y="1077"/>
                  </a:lnTo>
                  <a:lnTo>
                    <a:pt x="834" y="1073"/>
                  </a:lnTo>
                  <a:lnTo>
                    <a:pt x="854" y="1072"/>
                  </a:lnTo>
                  <a:lnTo>
                    <a:pt x="873" y="1072"/>
                  </a:lnTo>
                  <a:lnTo>
                    <a:pt x="892" y="1072"/>
                  </a:lnTo>
                  <a:lnTo>
                    <a:pt x="911" y="1074"/>
                  </a:lnTo>
                  <a:lnTo>
                    <a:pt x="947" y="1078"/>
                  </a:lnTo>
                  <a:lnTo>
                    <a:pt x="982" y="1082"/>
                  </a:lnTo>
                  <a:lnTo>
                    <a:pt x="998" y="1083"/>
                  </a:lnTo>
                  <a:lnTo>
                    <a:pt x="1015" y="1083"/>
                  </a:lnTo>
                  <a:lnTo>
                    <a:pt x="1032" y="1082"/>
                  </a:lnTo>
                  <a:lnTo>
                    <a:pt x="1047" y="1080"/>
                  </a:lnTo>
                  <a:lnTo>
                    <a:pt x="1057" y="1077"/>
                  </a:lnTo>
                  <a:lnTo>
                    <a:pt x="1068" y="1073"/>
                  </a:lnTo>
                  <a:lnTo>
                    <a:pt x="1079" y="1069"/>
                  </a:lnTo>
                  <a:lnTo>
                    <a:pt x="1088" y="1062"/>
                  </a:lnTo>
                  <a:lnTo>
                    <a:pt x="1098" y="1055"/>
                  </a:lnTo>
                  <a:lnTo>
                    <a:pt x="1108" y="1048"/>
                  </a:lnTo>
                  <a:lnTo>
                    <a:pt x="1118" y="1039"/>
                  </a:lnTo>
                  <a:lnTo>
                    <a:pt x="1127" y="1029"/>
                  </a:lnTo>
                  <a:lnTo>
                    <a:pt x="1137" y="1017"/>
                  </a:lnTo>
                  <a:lnTo>
                    <a:pt x="1147" y="1004"/>
                  </a:lnTo>
                  <a:lnTo>
                    <a:pt x="1156" y="991"/>
                  </a:lnTo>
                  <a:lnTo>
                    <a:pt x="1166" y="976"/>
                  </a:lnTo>
                  <a:lnTo>
                    <a:pt x="1186" y="944"/>
                  </a:lnTo>
                  <a:lnTo>
                    <a:pt x="1207" y="906"/>
                  </a:lnTo>
                  <a:lnTo>
                    <a:pt x="1208" y="907"/>
                  </a:lnTo>
                  <a:lnTo>
                    <a:pt x="1212" y="906"/>
                  </a:lnTo>
                  <a:lnTo>
                    <a:pt x="1214" y="902"/>
                  </a:lnTo>
                  <a:lnTo>
                    <a:pt x="1216" y="898"/>
                  </a:lnTo>
                  <a:lnTo>
                    <a:pt x="1222" y="885"/>
                  </a:lnTo>
                  <a:lnTo>
                    <a:pt x="1227" y="868"/>
                  </a:lnTo>
                  <a:lnTo>
                    <a:pt x="1238" y="831"/>
                  </a:lnTo>
                  <a:lnTo>
                    <a:pt x="1249" y="802"/>
                  </a:lnTo>
                  <a:lnTo>
                    <a:pt x="1268" y="769"/>
                  </a:lnTo>
                  <a:lnTo>
                    <a:pt x="1284" y="742"/>
                  </a:lnTo>
                  <a:lnTo>
                    <a:pt x="1290" y="732"/>
                  </a:lnTo>
                  <a:lnTo>
                    <a:pt x="1294" y="722"/>
                  </a:lnTo>
                  <a:lnTo>
                    <a:pt x="1297" y="713"/>
                  </a:lnTo>
                  <a:lnTo>
                    <a:pt x="1299" y="704"/>
                  </a:lnTo>
                  <a:lnTo>
                    <a:pt x="1301" y="703"/>
                  </a:lnTo>
                  <a:lnTo>
                    <a:pt x="1303" y="702"/>
                  </a:lnTo>
                  <a:lnTo>
                    <a:pt x="1304" y="700"/>
                  </a:lnTo>
                  <a:lnTo>
                    <a:pt x="1305" y="698"/>
                  </a:lnTo>
                  <a:lnTo>
                    <a:pt x="1305" y="694"/>
                  </a:lnTo>
                  <a:lnTo>
                    <a:pt x="1306" y="688"/>
                  </a:lnTo>
                  <a:lnTo>
                    <a:pt x="1308" y="687"/>
                  </a:lnTo>
                  <a:lnTo>
                    <a:pt x="1309" y="685"/>
                  </a:lnTo>
                  <a:lnTo>
                    <a:pt x="1310" y="683"/>
                  </a:lnTo>
                  <a:lnTo>
                    <a:pt x="1311" y="678"/>
                  </a:lnTo>
                  <a:lnTo>
                    <a:pt x="1312" y="668"/>
                  </a:lnTo>
                  <a:lnTo>
                    <a:pt x="1313" y="656"/>
                  </a:lnTo>
                  <a:lnTo>
                    <a:pt x="1313" y="632"/>
                  </a:lnTo>
                  <a:lnTo>
                    <a:pt x="1313" y="618"/>
                  </a:lnTo>
                  <a:lnTo>
                    <a:pt x="1299" y="610"/>
                  </a:lnTo>
                  <a:lnTo>
                    <a:pt x="1291" y="603"/>
                  </a:lnTo>
                  <a:lnTo>
                    <a:pt x="1290" y="600"/>
                  </a:lnTo>
                  <a:lnTo>
                    <a:pt x="1286" y="596"/>
                  </a:lnTo>
                  <a:lnTo>
                    <a:pt x="1283" y="592"/>
                  </a:lnTo>
                  <a:lnTo>
                    <a:pt x="1277" y="589"/>
                  </a:lnTo>
                  <a:lnTo>
                    <a:pt x="1273" y="585"/>
                  </a:lnTo>
                  <a:lnTo>
                    <a:pt x="1267" y="582"/>
                  </a:lnTo>
                  <a:lnTo>
                    <a:pt x="1263" y="580"/>
                  </a:lnTo>
                  <a:lnTo>
                    <a:pt x="1260" y="580"/>
                  </a:lnTo>
                  <a:lnTo>
                    <a:pt x="1258" y="577"/>
                  </a:lnTo>
                  <a:lnTo>
                    <a:pt x="1257" y="574"/>
                  </a:lnTo>
                  <a:lnTo>
                    <a:pt x="1254" y="571"/>
                  </a:lnTo>
                  <a:lnTo>
                    <a:pt x="1251" y="569"/>
                  </a:lnTo>
                  <a:lnTo>
                    <a:pt x="1243" y="565"/>
                  </a:lnTo>
                  <a:lnTo>
                    <a:pt x="1236" y="564"/>
                  </a:lnTo>
                  <a:lnTo>
                    <a:pt x="1235" y="558"/>
                  </a:lnTo>
                  <a:lnTo>
                    <a:pt x="1232" y="550"/>
                  </a:lnTo>
                  <a:lnTo>
                    <a:pt x="1229" y="546"/>
                  </a:lnTo>
                  <a:lnTo>
                    <a:pt x="1226" y="543"/>
                  </a:lnTo>
                  <a:lnTo>
                    <a:pt x="1224" y="542"/>
                  </a:lnTo>
                  <a:lnTo>
                    <a:pt x="1220" y="541"/>
                  </a:lnTo>
                  <a:lnTo>
                    <a:pt x="1220" y="517"/>
                  </a:lnTo>
                  <a:lnTo>
                    <a:pt x="1216" y="517"/>
                  </a:lnTo>
                  <a:lnTo>
                    <a:pt x="1214" y="516"/>
                  </a:lnTo>
                  <a:lnTo>
                    <a:pt x="1214" y="515"/>
                  </a:lnTo>
                  <a:lnTo>
                    <a:pt x="1213" y="514"/>
                  </a:lnTo>
                  <a:lnTo>
                    <a:pt x="1213" y="513"/>
                  </a:lnTo>
                  <a:lnTo>
                    <a:pt x="1213" y="512"/>
                  </a:lnTo>
                  <a:lnTo>
                    <a:pt x="1210" y="511"/>
                  </a:lnTo>
                  <a:lnTo>
                    <a:pt x="1206" y="510"/>
                  </a:lnTo>
                  <a:lnTo>
                    <a:pt x="1206" y="472"/>
                  </a:lnTo>
                  <a:lnTo>
                    <a:pt x="1203" y="472"/>
                  </a:lnTo>
                  <a:lnTo>
                    <a:pt x="1201" y="471"/>
                  </a:lnTo>
                  <a:lnTo>
                    <a:pt x="1199" y="468"/>
                  </a:lnTo>
                  <a:lnTo>
                    <a:pt x="1198" y="467"/>
                  </a:lnTo>
                  <a:lnTo>
                    <a:pt x="1198" y="462"/>
                  </a:lnTo>
                  <a:lnTo>
                    <a:pt x="1198" y="456"/>
                  </a:lnTo>
                  <a:lnTo>
                    <a:pt x="1191" y="455"/>
                  </a:lnTo>
                  <a:lnTo>
                    <a:pt x="1185" y="454"/>
                  </a:lnTo>
                  <a:lnTo>
                    <a:pt x="1178" y="452"/>
                  </a:lnTo>
                  <a:lnTo>
                    <a:pt x="1170" y="448"/>
                  </a:lnTo>
                  <a:lnTo>
                    <a:pt x="1164" y="446"/>
                  </a:lnTo>
                  <a:lnTo>
                    <a:pt x="1157" y="443"/>
                  </a:lnTo>
                  <a:lnTo>
                    <a:pt x="1150" y="442"/>
                  </a:lnTo>
                  <a:lnTo>
                    <a:pt x="1143" y="440"/>
                  </a:lnTo>
                  <a:lnTo>
                    <a:pt x="1143" y="436"/>
                  </a:lnTo>
                  <a:lnTo>
                    <a:pt x="1142" y="434"/>
                  </a:lnTo>
                  <a:lnTo>
                    <a:pt x="1141" y="433"/>
                  </a:lnTo>
                  <a:lnTo>
                    <a:pt x="1140" y="433"/>
                  </a:lnTo>
                  <a:lnTo>
                    <a:pt x="1138" y="433"/>
                  </a:lnTo>
                  <a:lnTo>
                    <a:pt x="1137" y="431"/>
                  </a:lnTo>
                  <a:lnTo>
                    <a:pt x="1136" y="429"/>
                  </a:lnTo>
                  <a:lnTo>
                    <a:pt x="1136" y="425"/>
                  </a:lnTo>
                  <a:lnTo>
                    <a:pt x="1120" y="421"/>
                  </a:lnTo>
                  <a:lnTo>
                    <a:pt x="1105" y="417"/>
                  </a:lnTo>
                  <a:lnTo>
                    <a:pt x="1098" y="409"/>
                  </a:lnTo>
                  <a:lnTo>
                    <a:pt x="1098" y="395"/>
                  </a:lnTo>
                  <a:lnTo>
                    <a:pt x="1090" y="387"/>
                  </a:lnTo>
                  <a:lnTo>
                    <a:pt x="1086" y="386"/>
                  </a:lnTo>
                  <a:lnTo>
                    <a:pt x="1082" y="383"/>
                  </a:lnTo>
                  <a:lnTo>
                    <a:pt x="1079" y="381"/>
                  </a:lnTo>
                  <a:lnTo>
                    <a:pt x="1075" y="378"/>
                  </a:lnTo>
                  <a:lnTo>
                    <a:pt x="1072" y="375"/>
                  </a:lnTo>
                  <a:lnTo>
                    <a:pt x="1069" y="370"/>
                  </a:lnTo>
                  <a:lnTo>
                    <a:pt x="1066" y="367"/>
                  </a:lnTo>
                  <a:lnTo>
                    <a:pt x="1066" y="363"/>
                  </a:lnTo>
                  <a:lnTo>
                    <a:pt x="1059" y="356"/>
                  </a:lnTo>
                  <a:lnTo>
                    <a:pt x="1051" y="348"/>
                  </a:lnTo>
                  <a:lnTo>
                    <a:pt x="1047" y="347"/>
                  </a:lnTo>
                  <a:lnTo>
                    <a:pt x="1044" y="344"/>
                  </a:lnTo>
                  <a:lnTo>
                    <a:pt x="1040" y="340"/>
                  </a:lnTo>
                  <a:lnTo>
                    <a:pt x="1036" y="335"/>
                  </a:lnTo>
                  <a:lnTo>
                    <a:pt x="1033" y="330"/>
                  </a:lnTo>
                  <a:lnTo>
                    <a:pt x="1031" y="325"/>
                  </a:lnTo>
                  <a:lnTo>
                    <a:pt x="1028" y="321"/>
                  </a:lnTo>
                  <a:lnTo>
                    <a:pt x="1027" y="317"/>
                  </a:lnTo>
                  <a:lnTo>
                    <a:pt x="1024" y="315"/>
                  </a:lnTo>
                  <a:lnTo>
                    <a:pt x="1021" y="313"/>
                  </a:lnTo>
                  <a:lnTo>
                    <a:pt x="1017" y="309"/>
                  </a:lnTo>
                  <a:lnTo>
                    <a:pt x="1013" y="304"/>
                  </a:lnTo>
                  <a:lnTo>
                    <a:pt x="1009" y="299"/>
                  </a:lnTo>
                  <a:lnTo>
                    <a:pt x="1007" y="294"/>
                  </a:lnTo>
                  <a:lnTo>
                    <a:pt x="1005" y="290"/>
                  </a:lnTo>
                  <a:lnTo>
                    <a:pt x="1004" y="286"/>
                  </a:lnTo>
                  <a:lnTo>
                    <a:pt x="997" y="279"/>
                  </a:lnTo>
                  <a:lnTo>
                    <a:pt x="982" y="279"/>
                  </a:lnTo>
                  <a:lnTo>
                    <a:pt x="979" y="275"/>
                  </a:lnTo>
                  <a:lnTo>
                    <a:pt x="974" y="272"/>
                  </a:lnTo>
                  <a:lnTo>
                    <a:pt x="967" y="270"/>
                  </a:lnTo>
                  <a:lnTo>
                    <a:pt x="958" y="265"/>
                  </a:lnTo>
                  <a:lnTo>
                    <a:pt x="949" y="262"/>
                  </a:lnTo>
                  <a:lnTo>
                    <a:pt x="942" y="257"/>
                  </a:lnTo>
                  <a:lnTo>
                    <a:pt x="939" y="255"/>
                  </a:lnTo>
                  <a:lnTo>
                    <a:pt x="937" y="253"/>
                  </a:lnTo>
                  <a:lnTo>
                    <a:pt x="936" y="251"/>
                  </a:lnTo>
                  <a:lnTo>
                    <a:pt x="935" y="247"/>
                  </a:lnTo>
                  <a:lnTo>
                    <a:pt x="919" y="247"/>
                  </a:lnTo>
                  <a:lnTo>
                    <a:pt x="919" y="232"/>
                  </a:lnTo>
                  <a:lnTo>
                    <a:pt x="915" y="232"/>
                  </a:lnTo>
                  <a:lnTo>
                    <a:pt x="910" y="229"/>
                  </a:lnTo>
                  <a:lnTo>
                    <a:pt x="908" y="226"/>
                  </a:lnTo>
                  <a:lnTo>
                    <a:pt x="906" y="223"/>
                  </a:lnTo>
                  <a:lnTo>
                    <a:pt x="905" y="216"/>
                  </a:lnTo>
                  <a:lnTo>
                    <a:pt x="903" y="208"/>
                  </a:lnTo>
                  <a:lnTo>
                    <a:pt x="897" y="200"/>
                  </a:lnTo>
                  <a:lnTo>
                    <a:pt x="892" y="200"/>
                  </a:lnTo>
                  <a:lnTo>
                    <a:pt x="889" y="199"/>
                  </a:lnTo>
                  <a:lnTo>
                    <a:pt x="889" y="198"/>
                  </a:lnTo>
                  <a:lnTo>
                    <a:pt x="889" y="197"/>
                  </a:lnTo>
                  <a:lnTo>
                    <a:pt x="889" y="196"/>
                  </a:lnTo>
                  <a:lnTo>
                    <a:pt x="888" y="195"/>
                  </a:lnTo>
                  <a:lnTo>
                    <a:pt x="886" y="194"/>
                  </a:lnTo>
                  <a:lnTo>
                    <a:pt x="881" y="194"/>
                  </a:lnTo>
                  <a:lnTo>
                    <a:pt x="881" y="170"/>
                  </a:lnTo>
                  <a:lnTo>
                    <a:pt x="879" y="169"/>
                  </a:lnTo>
                  <a:lnTo>
                    <a:pt x="878" y="167"/>
                  </a:lnTo>
                  <a:lnTo>
                    <a:pt x="877" y="164"/>
                  </a:lnTo>
                  <a:lnTo>
                    <a:pt x="877" y="159"/>
                  </a:lnTo>
                  <a:lnTo>
                    <a:pt x="874" y="147"/>
                  </a:lnTo>
                  <a:lnTo>
                    <a:pt x="874" y="133"/>
                  </a:lnTo>
                  <a:lnTo>
                    <a:pt x="873" y="104"/>
                  </a:lnTo>
                  <a:lnTo>
                    <a:pt x="873" y="85"/>
                  </a:lnTo>
                  <a:lnTo>
                    <a:pt x="874" y="84"/>
                  </a:lnTo>
                  <a:lnTo>
                    <a:pt x="876" y="82"/>
                  </a:lnTo>
                  <a:lnTo>
                    <a:pt x="877" y="79"/>
                  </a:lnTo>
                  <a:lnTo>
                    <a:pt x="878" y="74"/>
                  </a:lnTo>
                  <a:lnTo>
                    <a:pt x="879" y="63"/>
                  </a:lnTo>
                  <a:lnTo>
                    <a:pt x="880" y="50"/>
                  </a:lnTo>
                  <a:lnTo>
                    <a:pt x="881" y="23"/>
                  </a:lnTo>
                  <a:lnTo>
                    <a:pt x="881" y="7"/>
                  </a:lnTo>
                  <a:lnTo>
                    <a:pt x="873" y="0"/>
                  </a:lnTo>
                  <a:lnTo>
                    <a:pt x="858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0" name="Freeform 33">
              <a:extLst>
                <a:ext uri="{FF2B5EF4-FFF2-40B4-BE49-F238E27FC236}">
                  <a16:creationId xmlns:a16="http://schemas.microsoft.com/office/drawing/2014/main" id="{34A751F8-B2D9-44F5-B5F1-BB33F453871A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150100" y="3567113"/>
              <a:ext cx="268833" cy="220663"/>
            </a:xfrm>
            <a:custGeom>
              <a:avLst/>
              <a:gdLst/>
              <a:ahLst/>
              <a:cxnLst>
                <a:cxn ang="0">
                  <a:pos x="103" y="132"/>
                </a:cxn>
                <a:cxn ang="0">
                  <a:pos x="167" y="93"/>
                </a:cxn>
                <a:cxn ang="0">
                  <a:pos x="205" y="80"/>
                </a:cxn>
                <a:cxn ang="0">
                  <a:pos x="405" y="74"/>
                </a:cxn>
                <a:cxn ang="0">
                  <a:pos x="454" y="51"/>
                </a:cxn>
                <a:cxn ang="0">
                  <a:pos x="504" y="30"/>
                </a:cxn>
                <a:cxn ang="0">
                  <a:pos x="582" y="28"/>
                </a:cxn>
                <a:cxn ang="0">
                  <a:pos x="617" y="37"/>
                </a:cxn>
                <a:cxn ang="0">
                  <a:pos x="676" y="25"/>
                </a:cxn>
                <a:cxn ang="0">
                  <a:pos x="688" y="13"/>
                </a:cxn>
                <a:cxn ang="0">
                  <a:pos x="774" y="32"/>
                </a:cxn>
                <a:cxn ang="0">
                  <a:pos x="790" y="54"/>
                </a:cxn>
                <a:cxn ang="0">
                  <a:pos x="826" y="85"/>
                </a:cxn>
                <a:cxn ang="0">
                  <a:pos x="883" y="101"/>
                </a:cxn>
                <a:cxn ang="0">
                  <a:pos x="915" y="114"/>
                </a:cxn>
                <a:cxn ang="0">
                  <a:pos x="962" y="144"/>
                </a:cxn>
                <a:cxn ang="0">
                  <a:pos x="1071" y="177"/>
                </a:cxn>
                <a:cxn ang="0">
                  <a:pos x="1104" y="211"/>
                </a:cxn>
                <a:cxn ang="0">
                  <a:pos x="1129" y="244"/>
                </a:cxn>
                <a:cxn ang="0">
                  <a:pos x="1157" y="276"/>
                </a:cxn>
                <a:cxn ang="0">
                  <a:pos x="1211" y="331"/>
                </a:cxn>
                <a:cxn ang="0">
                  <a:pos x="1287" y="383"/>
                </a:cxn>
                <a:cxn ang="0">
                  <a:pos x="1339" y="417"/>
                </a:cxn>
                <a:cxn ang="0">
                  <a:pos x="1363" y="431"/>
                </a:cxn>
                <a:cxn ang="0">
                  <a:pos x="1424" y="479"/>
                </a:cxn>
                <a:cxn ang="0">
                  <a:pos x="1378" y="513"/>
                </a:cxn>
                <a:cxn ang="0">
                  <a:pos x="1347" y="528"/>
                </a:cxn>
                <a:cxn ang="0">
                  <a:pos x="1315" y="538"/>
                </a:cxn>
                <a:cxn ang="0">
                  <a:pos x="1110" y="561"/>
                </a:cxn>
                <a:cxn ang="0">
                  <a:pos x="947" y="583"/>
                </a:cxn>
                <a:cxn ang="0">
                  <a:pos x="922" y="722"/>
                </a:cxn>
                <a:cxn ang="0">
                  <a:pos x="935" y="760"/>
                </a:cxn>
                <a:cxn ang="0">
                  <a:pos x="952" y="844"/>
                </a:cxn>
                <a:cxn ang="0">
                  <a:pos x="1020" y="882"/>
                </a:cxn>
                <a:cxn ang="0">
                  <a:pos x="1057" y="987"/>
                </a:cxn>
                <a:cxn ang="0">
                  <a:pos x="1095" y="1094"/>
                </a:cxn>
                <a:cxn ang="0">
                  <a:pos x="1117" y="1132"/>
                </a:cxn>
                <a:cxn ang="0">
                  <a:pos x="1137" y="1168"/>
                </a:cxn>
                <a:cxn ang="0">
                  <a:pos x="1148" y="1257"/>
                </a:cxn>
                <a:cxn ang="0">
                  <a:pos x="1031" y="1289"/>
                </a:cxn>
                <a:cxn ang="0">
                  <a:pos x="887" y="1308"/>
                </a:cxn>
                <a:cxn ang="0">
                  <a:pos x="811" y="1364"/>
                </a:cxn>
                <a:cxn ang="0">
                  <a:pos x="677" y="1365"/>
                </a:cxn>
                <a:cxn ang="0">
                  <a:pos x="469" y="1278"/>
                </a:cxn>
                <a:cxn ang="0">
                  <a:pos x="397" y="1246"/>
                </a:cxn>
                <a:cxn ang="0">
                  <a:pos x="370" y="1133"/>
                </a:cxn>
                <a:cxn ang="0">
                  <a:pos x="399" y="1012"/>
                </a:cxn>
                <a:cxn ang="0">
                  <a:pos x="497" y="962"/>
                </a:cxn>
                <a:cxn ang="0">
                  <a:pos x="533" y="940"/>
                </a:cxn>
                <a:cxn ang="0">
                  <a:pos x="456" y="868"/>
                </a:cxn>
                <a:cxn ang="0">
                  <a:pos x="372" y="842"/>
                </a:cxn>
                <a:cxn ang="0">
                  <a:pos x="204" y="684"/>
                </a:cxn>
                <a:cxn ang="0">
                  <a:pos x="50" y="519"/>
                </a:cxn>
                <a:cxn ang="0">
                  <a:pos x="69" y="468"/>
                </a:cxn>
                <a:cxn ang="0">
                  <a:pos x="85" y="408"/>
                </a:cxn>
                <a:cxn ang="0">
                  <a:pos x="64" y="327"/>
                </a:cxn>
                <a:cxn ang="0">
                  <a:pos x="20" y="205"/>
                </a:cxn>
              </a:cxnLst>
              <a:rect l="0" t="0" r="r" b="b"/>
              <a:pathLst>
                <a:path w="1464" h="1373">
                  <a:moveTo>
                    <a:pt x="0" y="154"/>
                  </a:moveTo>
                  <a:lnTo>
                    <a:pt x="1" y="147"/>
                  </a:lnTo>
                  <a:lnTo>
                    <a:pt x="1" y="140"/>
                  </a:lnTo>
                  <a:lnTo>
                    <a:pt x="94" y="140"/>
                  </a:lnTo>
                  <a:lnTo>
                    <a:pt x="94" y="137"/>
                  </a:lnTo>
                  <a:lnTo>
                    <a:pt x="96" y="135"/>
                  </a:lnTo>
                  <a:lnTo>
                    <a:pt x="97" y="133"/>
                  </a:lnTo>
                  <a:lnTo>
                    <a:pt x="99" y="133"/>
                  </a:lnTo>
                  <a:lnTo>
                    <a:pt x="103" y="132"/>
                  </a:lnTo>
                  <a:lnTo>
                    <a:pt x="109" y="132"/>
                  </a:lnTo>
                  <a:lnTo>
                    <a:pt x="121" y="120"/>
                  </a:lnTo>
                  <a:lnTo>
                    <a:pt x="132" y="109"/>
                  </a:lnTo>
                  <a:lnTo>
                    <a:pt x="148" y="105"/>
                  </a:lnTo>
                  <a:lnTo>
                    <a:pt x="164" y="101"/>
                  </a:lnTo>
                  <a:lnTo>
                    <a:pt x="164" y="96"/>
                  </a:lnTo>
                  <a:lnTo>
                    <a:pt x="165" y="94"/>
                  </a:lnTo>
                  <a:lnTo>
                    <a:pt x="166" y="93"/>
                  </a:lnTo>
                  <a:lnTo>
                    <a:pt x="167" y="93"/>
                  </a:lnTo>
                  <a:lnTo>
                    <a:pt x="169" y="93"/>
                  </a:lnTo>
                  <a:lnTo>
                    <a:pt x="170" y="92"/>
                  </a:lnTo>
                  <a:lnTo>
                    <a:pt x="170" y="90"/>
                  </a:lnTo>
                  <a:lnTo>
                    <a:pt x="171" y="85"/>
                  </a:lnTo>
                  <a:lnTo>
                    <a:pt x="195" y="85"/>
                  </a:lnTo>
                  <a:lnTo>
                    <a:pt x="195" y="83"/>
                  </a:lnTo>
                  <a:lnTo>
                    <a:pt x="197" y="82"/>
                  </a:lnTo>
                  <a:lnTo>
                    <a:pt x="200" y="81"/>
                  </a:lnTo>
                  <a:lnTo>
                    <a:pt x="205" y="80"/>
                  </a:lnTo>
                  <a:lnTo>
                    <a:pt x="216" y="78"/>
                  </a:lnTo>
                  <a:lnTo>
                    <a:pt x="232" y="77"/>
                  </a:lnTo>
                  <a:lnTo>
                    <a:pt x="270" y="77"/>
                  </a:lnTo>
                  <a:lnTo>
                    <a:pt x="314" y="78"/>
                  </a:lnTo>
                  <a:lnTo>
                    <a:pt x="337" y="78"/>
                  </a:lnTo>
                  <a:lnTo>
                    <a:pt x="358" y="78"/>
                  </a:lnTo>
                  <a:lnTo>
                    <a:pt x="378" y="77"/>
                  </a:lnTo>
                  <a:lnTo>
                    <a:pt x="397" y="75"/>
                  </a:lnTo>
                  <a:lnTo>
                    <a:pt x="405" y="74"/>
                  </a:lnTo>
                  <a:lnTo>
                    <a:pt x="411" y="73"/>
                  </a:lnTo>
                  <a:lnTo>
                    <a:pt x="418" y="71"/>
                  </a:lnTo>
                  <a:lnTo>
                    <a:pt x="424" y="68"/>
                  </a:lnTo>
                  <a:lnTo>
                    <a:pt x="428" y="65"/>
                  </a:lnTo>
                  <a:lnTo>
                    <a:pt x="432" y="62"/>
                  </a:lnTo>
                  <a:lnTo>
                    <a:pt x="434" y="58"/>
                  </a:lnTo>
                  <a:lnTo>
                    <a:pt x="434" y="54"/>
                  </a:lnTo>
                  <a:lnTo>
                    <a:pt x="445" y="53"/>
                  </a:lnTo>
                  <a:lnTo>
                    <a:pt x="454" y="51"/>
                  </a:lnTo>
                  <a:lnTo>
                    <a:pt x="463" y="48"/>
                  </a:lnTo>
                  <a:lnTo>
                    <a:pt x="473" y="47"/>
                  </a:lnTo>
                  <a:lnTo>
                    <a:pt x="474" y="44"/>
                  </a:lnTo>
                  <a:lnTo>
                    <a:pt x="476" y="42"/>
                  </a:lnTo>
                  <a:lnTo>
                    <a:pt x="481" y="38"/>
                  </a:lnTo>
                  <a:lnTo>
                    <a:pt x="485" y="36"/>
                  </a:lnTo>
                  <a:lnTo>
                    <a:pt x="495" y="33"/>
                  </a:lnTo>
                  <a:lnTo>
                    <a:pt x="504" y="32"/>
                  </a:lnTo>
                  <a:lnTo>
                    <a:pt x="504" y="30"/>
                  </a:lnTo>
                  <a:lnTo>
                    <a:pt x="506" y="28"/>
                  </a:lnTo>
                  <a:lnTo>
                    <a:pt x="510" y="28"/>
                  </a:lnTo>
                  <a:lnTo>
                    <a:pt x="514" y="27"/>
                  </a:lnTo>
                  <a:lnTo>
                    <a:pt x="526" y="26"/>
                  </a:lnTo>
                  <a:lnTo>
                    <a:pt x="540" y="25"/>
                  </a:lnTo>
                  <a:lnTo>
                    <a:pt x="565" y="24"/>
                  </a:lnTo>
                  <a:lnTo>
                    <a:pt x="581" y="24"/>
                  </a:lnTo>
                  <a:lnTo>
                    <a:pt x="581" y="26"/>
                  </a:lnTo>
                  <a:lnTo>
                    <a:pt x="582" y="28"/>
                  </a:lnTo>
                  <a:lnTo>
                    <a:pt x="583" y="29"/>
                  </a:lnTo>
                  <a:lnTo>
                    <a:pt x="586" y="30"/>
                  </a:lnTo>
                  <a:lnTo>
                    <a:pt x="591" y="32"/>
                  </a:lnTo>
                  <a:lnTo>
                    <a:pt x="597" y="32"/>
                  </a:lnTo>
                  <a:lnTo>
                    <a:pt x="597" y="33"/>
                  </a:lnTo>
                  <a:lnTo>
                    <a:pt x="599" y="34"/>
                  </a:lnTo>
                  <a:lnTo>
                    <a:pt x="602" y="35"/>
                  </a:lnTo>
                  <a:lnTo>
                    <a:pt x="606" y="36"/>
                  </a:lnTo>
                  <a:lnTo>
                    <a:pt x="617" y="37"/>
                  </a:lnTo>
                  <a:lnTo>
                    <a:pt x="628" y="38"/>
                  </a:lnTo>
                  <a:lnTo>
                    <a:pt x="651" y="39"/>
                  </a:lnTo>
                  <a:lnTo>
                    <a:pt x="666" y="39"/>
                  </a:lnTo>
                  <a:lnTo>
                    <a:pt x="666" y="36"/>
                  </a:lnTo>
                  <a:lnTo>
                    <a:pt x="667" y="34"/>
                  </a:lnTo>
                  <a:lnTo>
                    <a:pt x="668" y="30"/>
                  </a:lnTo>
                  <a:lnTo>
                    <a:pt x="670" y="28"/>
                  </a:lnTo>
                  <a:lnTo>
                    <a:pt x="673" y="26"/>
                  </a:lnTo>
                  <a:lnTo>
                    <a:pt x="676" y="25"/>
                  </a:lnTo>
                  <a:lnTo>
                    <a:pt x="678" y="24"/>
                  </a:lnTo>
                  <a:lnTo>
                    <a:pt x="682" y="24"/>
                  </a:lnTo>
                  <a:lnTo>
                    <a:pt x="682" y="19"/>
                  </a:lnTo>
                  <a:lnTo>
                    <a:pt x="683" y="17"/>
                  </a:lnTo>
                  <a:lnTo>
                    <a:pt x="684" y="16"/>
                  </a:lnTo>
                  <a:lnTo>
                    <a:pt x="685" y="16"/>
                  </a:lnTo>
                  <a:lnTo>
                    <a:pt x="687" y="16"/>
                  </a:lnTo>
                  <a:lnTo>
                    <a:pt x="688" y="15"/>
                  </a:lnTo>
                  <a:lnTo>
                    <a:pt x="688" y="13"/>
                  </a:lnTo>
                  <a:lnTo>
                    <a:pt x="689" y="8"/>
                  </a:lnTo>
                  <a:lnTo>
                    <a:pt x="698" y="7"/>
                  </a:lnTo>
                  <a:lnTo>
                    <a:pt x="713" y="4"/>
                  </a:lnTo>
                  <a:lnTo>
                    <a:pt x="730" y="1"/>
                  </a:lnTo>
                  <a:lnTo>
                    <a:pt x="743" y="0"/>
                  </a:lnTo>
                  <a:lnTo>
                    <a:pt x="751" y="8"/>
                  </a:lnTo>
                  <a:lnTo>
                    <a:pt x="759" y="16"/>
                  </a:lnTo>
                  <a:lnTo>
                    <a:pt x="766" y="24"/>
                  </a:lnTo>
                  <a:lnTo>
                    <a:pt x="774" y="32"/>
                  </a:lnTo>
                  <a:lnTo>
                    <a:pt x="774" y="47"/>
                  </a:lnTo>
                  <a:lnTo>
                    <a:pt x="779" y="47"/>
                  </a:lnTo>
                  <a:lnTo>
                    <a:pt x="781" y="48"/>
                  </a:lnTo>
                  <a:lnTo>
                    <a:pt x="782" y="49"/>
                  </a:lnTo>
                  <a:lnTo>
                    <a:pt x="782" y="51"/>
                  </a:lnTo>
                  <a:lnTo>
                    <a:pt x="782" y="52"/>
                  </a:lnTo>
                  <a:lnTo>
                    <a:pt x="783" y="53"/>
                  </a:lnTo>
                  <a:lnTo>
                    <a:pt x="785" y="54"/>
                  </a:lnTo>
                  <a:lnTo>
                    <a:pt x="790" y="54"/>
                  </a:lnTo>
                  <a:lnTo>
                    <a:pt x="790" y="70"/>
                  </a:lnTo>
                  <a:lnTo>
                    <a:pt x="801" y="70"/>
                  </a:lnTo>
                  <a:lnTo>
                    <a:pt x="813" y="70"/>
                  </a:lnTo>
                  <a:lnTo>
                    <a:pt x="820" y="77"/>
                  </a:lnTo>
                  <a:lnTo>
                    <a:pt x="821" y="82"/>
                  </a:lnTo>
                  <a:lnTo>
                    <a:pt x="822" y="84"/>
                  </a:lnTo>
                  <a:lnTo>
                    <a:pt x="823" y="85"/>
                  </a:lnTo>
                  <a:lnTo>
                    <a:pt x="824" y="85"/>
                  </a:lnTo>
                  <a:lnTo>
                    <a:pt x="826" y="85"/>
                  </a:lnTo>
                  <a:lnTo>
                    <a:pt x="827" y="86"/>
                  </a:lnTo>
                  <a:lnTo>
                    <a:pt x="828" y="89"/>
                  </a:lnTo>
                  <a:lnTo>
                    <a:pt x="828" y="93"/>
                  </a:lnTo>
                  <a:lnTo>
                    <a:pt x="859" y="93"/>
                  </a:lnTo>
                  <a:lnTo>
                    <a:pt x="860" y="95"/>
                  </a:lnTo>
                  <a:lnTo>
                    <a:pt x="862" y="97"/>
                  </a:lnTo>
                  <a:lnTo>
                    <a:pt x="867" y="99"/>
                  </a:lnTo>
                  <a:lnTo>
                    <a:pt x="871" y="100"/>
                  </a:lnTo>
                  <a:lnTo>
                    <a:pt x="883" y="101"/>
                  </a:lnTo>
                  <a:lnTo>
                    <a:pt x="890" y="101"/>
                  </a:lnTo>
                  <a:lnTo>
                    <a:pt x="890" y="103"/>
                  </a:lnTo>
                  <a:lnTo>
                    <a:pt x="893" y="105"/>
                  </a:lnTo>
                  <a:lnTo>
                    <a:pt x="895" y="106"/>
                  </a:lnTo>
                  <a:lnTo>
                    <a:pt x="899" y="107"/>
                  </a:lnTo>
                  <a:lnTo>
                    <a:pt x="906" y="109"/>
                  </a:lnTo>
                  <a:lnTo>
                    <a:pt x="914" y="109"/>
                  </a:lnTo>
                  <a:lnTo>
                    <a:pt x="914" y="112"/>
                  </a:lnTo>
                  <a:lnTo>
                    <a:pt x="915" y="114"/>
                  </a:lnTo>
                  <a:lnTo>
                    <a:pt x="916" y="116"/>
                  </a:lnTo>
                  <a:lnTo>
                    <a:pt x="918" y="120"/>
                  </a:lnTo>
                  <a:lnTo>
                    <a:pt x="920" y="121"/>
                  </a:lnTo>
                  <a:lnTo>
                    <a:pt x="923" y="123"/>
                  </a:lnTo>
                  <a:lnTo>
                    <a:pt x="926" y="124"/>
                  </a:lnTo>
                  <a:lnTo>
                    <a:pt x="928" y="124"/>
                  </a:lnTo>
                  <a:lnTo>
                    <a:pt x="936" y="140"/>
                  </a:lnTo>
                  <a:lnTo>
                    <a:pt x="947" y="141"/>
                  </a:lnTo>
                  <a:lnTo>
                    <a:pt x="962" y="144"/>
                  </a:lnTo>
                  <a:lnTo>
                    <a:pt x="979" y="149"/>
                  </a:lnTo>
                  <a:lnTo>
                    <a:pt x="996" y="155"/>
                  </a:lnTo>
                  <a:lnTo>
                    <a:pt x="1015" y="161"/>
                  </a:lnTo>
                  <a:lnTo>
                    <a:pt x="1034" y="166"/>
                  </a:lnTo>
                  <a:lnTo>
                    <a:pt x="1052" y="169"/>
                  </a:lnTo>
                  <a:lnTo>
                    <a:pt x="1068" y="170"/>
                  </a:lnTo>
                  <a:lnTo>
                    <a:pt x="1068" y="173"/>
                  </a:lnTo>
                  <a:lnTo>
                    <a:pt x="1069" y="174"/>
                  </a:lnTo>
                  <a:lnTo>
                    <a:pt x="1071" y="177"/>
                  </a:lnTo>
                  <a:lnTo>
                    <a:pt x="1072" y="177"/>
                  </a:lnTo>
                  <a:lnTo>
                    <a:pt x="1078" y="178"/>
                  </a:lnTo>
                  <a:lnTo>
                    <a:pt x="1083" y="178"/>
                  </a:lnTo>
                  <a:lnTo>
                    <a:pt x="1091" y="186"/>
                  </a:lnTo>
                  <a:lnTo>
                    <a:pt x="1091" y="191"/>
                  </a:lnTo>
                  <a:lnTo>
                    <a:pt x="1094" y="197"/>
                  </a:lnTo>
                  <a:lnTo>
                    <a:pt x="1097" y="202"/>
                  </a:lnTo>
                  <a:lnTo>
                    <a:pt x="1100" y="207"/>
                  </a:lnTo>
                  <a:lnTo>
                    <a:pt x="1104" y="211"/>
                  </a:lnTo>
                  <a:lnTo>
                    <a:pt x="1107" y="215"/>
                  </a:lnTo>
                  <a:lnTo>
                    <a:pt x="1111" y="216"/>
                  </a:lnTo>
                  <a:lnTo>
                    <a:pt x="1115" y="217"/>
                  </a:lnTo>
                  <a:lnTo>
                    <a:pt x="1115" y="232"/>
                  </a:lnTo>
                  <a:lnTo>
                    <a:pt x="1123" y="240"/>
                  </a:lnTo>
                  <a:lnTo>
                    <a:pt x="1126" y="240"/>
                  </a:lnTo>
                  <a:lnTo>
                    <a:pt x="1129" y="241"/>
                  </a:lnTo>
                  <a:lnTo>
                    <a:pt x="1129" y="243"/>
                  </a:lnTo>
                  <a:lnTo>
                    <a:pt x="1129" y="244"/>
                  </a:lnTo>
                  <a:lnTo>
                    <a:pt x="1130" y="245"/>
                  </a:lnTo>
                  <a:lnTo>
                    <a:pt x="1130" y="247"/>
                  </a:lnTo>
                  <a:lnTo>
                    <a:pt x="1133" y="247"/>
                  </a:lnTo>
                  <a:lnTo>
                    <a:pt x="1137" y="248"/>
                  </a:lnTo>
                  <a:lnTo>
                    <a:pt x="1138" y="253"/>
                  </a:lnTo>
                  <a:lnTo>
                    <a:pt x="1140" y="257"/>
                  </a:lnTo>
                  <a:lnTo>
                    <a:pt x="1143" y="262"/>
                  </a:lnTo>
                  <a:lnTo>
                    <a:pt x="1147" y="266"/>
                  </a:lnTo>
                  <a:lnTo>
                    <a:pt x="1157" y="276"/>
                  </a:lnTo>
                  <a:lnTo>
                    <a:pt x="1168" y="286"/>
                  </a:lnTo>
                  <a:lnTo>
                    <a:pt x="1179" y="296"/>
                  </a:lnTo>
                  <a:lnTo>
                    <a:pt x="1190" y="306"/>
                  </a:lnTo>
                  <a:lnTo>
                    <a:pt x="1194" y="312"/>
                  </a:lnTo>
                  <a:lnTo>
                    <a:pt x="1196" y="316"/>
                  </a:lnTo>
                  <a:lnTo>
                    <a:pt x="1198" y="321"/>
                  </a:lnTo>
                  <a:lnTo>
                    <a:pt x="1200" y="325"/>
                  </a:lnTo>
                  <a:lnTo>
                    <a:pt x="1204" y="326"/>
                  </a:lnTo>
                  <a:lnTo>
                    <a:pt x="1211" y="331"/>
                  </a:lnTo>
                  <a:lnTo>
                    <a:pt x="1220" y="337"/>
                  </a:lnTo>
                  <a:lnTo>
                    <a:pt x="1230" y="344"/>
                  </a:lnTo>
                  <a:lnTo>
                    <a:pt x="1240" y="352"/>
                  </a:lnTo>
                  <a:lnTo>
                    <a:pt x="1250" y="357"/>
                  </a:lnTo>
                  <a:lnTo>
                    <a:pt x="1256" y="362"/>
                  </a:lnTo>
                  <a:lnTo>
                    <a:pt x="1261" y="363"/>
                  </a:lnTo>
                  <a:lnTo>
                    <a:pt x="1269" y="379"/>
                  </a:lnTo>
                  <a:lnTo>
                    <a:pt x="1278" y="380"/>
                  </a:lnTo>
                  <a:lnTo>
                    <a:pt x="1287" y="383"/>
                  </a:lnTo>
                  <a:lnTo>
                    <a:pt x="1294" y="387"/>
                  </a:lnTo>
                  <a:lnTo>
                    <a:pt x="1302" y="391"/>
                  </a:lnTo>
                  <a:lnTo>
                    <a:pt x="1310" y="395"/>
                  </a:lnTo>
                  <a:lnTo>
                    <a:pt x="1318" y="399"/>
                  </a:lnTo>
                  <a:lnTo>
                    <a:pt x="1325" y="401"/>
                  </a:lnTo>
                  <a:lnTo>
                    <a:pt x="1330" y="402"/>
                  </a:lnTo>
                  <a:lnTo>
                    <a:pt x="1338" y="410"/>
                  </a:lnTo>
                  <a:lnTo>
                    <a:pt x="1339" y="414"/>
                  </a:lnTo>
                  <a:lnTo>
                    <a:pt x="1339" y="417"/>
                  </a:lnTo>
                  <a:lnTo>
                    <a:pt x="1341" y="418"/>
                  </a:lnTo>
                  <a:lnTo>
                    <a:pt x="1342" y="418"/>
                  </a:lnTo>
                  <a:lnTo>
                    <a:pt x="1344" y="418"/>
                  </a:lnTo>
                  <a:lnTo>
                    <a:pt x="1345" y="419"/>
                  </a:lnTo>
                  <a:lnTo>
                    <a:pt x="1346" y="421"/>
                  </a:lnTo>
                  <a:lnTo>
                    <a:pt x="1346" y="426"/>
                  </a:lnTo>
                  <a:lnTo>
                    <a:pt x="1361" y="426"/>
                  </a:lnTo>
                  <a:lnTo>
                    <a:pt x="1361" y="428"/>
                  </a:lnTo>
                  <a:lnTo>
                    <a:pt x="1363" y="431"/>
                  </a:lnTo>
                  <a:lnTo>
                    <a:pt x="1365" y="433"/>
                  </a:lnTo>
                  <a:lnTo>
                    <a:pt x="1366" y="436"/>
                  </a:lnTo>
                  <a:lnTo>
                    <a:pt x="1369" y="438"/>
                  </a:lnTo>
                  <a:lnTo>
                    <a:pt x="1371" y="440"/>
                  </a:lnTo>
                  <a:lnTo>
                    <a:pt x="1374" y="440"/>
                  </a:lnTo>
                  <a:lnTo>
                    <a:pt x="1377" y="441"/>
                  </a:lnTo>
                  <a:lnTo>
                    <a:pt x="1393" y="457"/>
                  </a:lnTo>
                  <a:lnTo>
                    <a:pt x="1408" y="471"/>
                  </a:lnTo>
                  <a:lnTo>
                    <a:pt x="1424" y="479"/>
                  </a:lnTo>
                  <a:lnTo>
                    <a:pt x="1438" y="487"/>
                  </a:lnTo>
                  <a:lnTo>
                    <a:pt x="1454" y="495"/>
                  </a:lnTo>
                  <a:lnTo>
                    <a:pt x="1459" y="501"/>
                  </a:lnTo>
                  <a:lnTo>
                    <a:pt x="1464" y="508"/>
                  </a:lnTo>
                  <a:lnTo>
                    <a:pt x="1442" y="509"/>
                  </a:lnTo>
                  <a:lnTo>
                    <a:pt x="1421" y="510"/>
                  </a:lnTo>
                  <a:lnTo>
                    <a:pt x="1399" y="512"/>
                  </a:lnTo>
                  <a:lnTo>
                    <a:pt x="1379" y="512"/>
                  </a:lnTo>
                  <a:lnTo>
                    <a:pt x="1378" y="513"/>
                  </a:lnTo>
                  <a:lnTo>
                    <a:pt x="1377" y="515"/>
                  </a:lnTo>
                  <a:lnTo>
                    <a:pt x="1376" y="515"/>
                  </a:lnTo>
                  <a:lnTo>
                    <a:pt x="1373" y="516"/>
                  </a:lnTo>
                  <a:lnTo>
                    <a:pt x="1367" y="517"/>
                  </a:lnTo>
                  <a:lnTo>
                    <a:pt x="1363" y="517"/>
                  </a:lnTo>
                  <a:lnTo>
                    <a:pt x="1360" y="523"/>
                  </a:lnTo>
                  <a:lnTo>
                    <a:pt x="1357" y="528"/>
                  </a:lnTo>
                  <a:lnTo>
                    <a:pt x="1352" y="528"/>
                  </a:lnTo>
                  <a:lnTo>
                    <a:pt x="1347" y="528"/>
                  </a:lnTo>
                  <a:lnTo>
                    <a:pt x="1345" y="529"/>
                  </a:lnTo>
                  <a:lnTo>
                    <a:pt x="1342" y="530"/>
                  </a:lnTo>
                  <a:lnTo>
                    <a:pt x="1341" y="532"/>
                  </a:lnTo>
                  <a:lnTo>
                    <a:pt x="1340" y="534"/>
                  </a:lnTo>
                  <a:lnTo>
                    <a:pt x="1323" y="534"/>
                  </a:lnTo>
                  <a:lnTo>
                    <a:pt x="1323" y="535"/>
                  </a:lnTo>
                  <a:lnTo>
                    <a:pt x="1321" y="536"/>
                  </a:lnTo>
                  <a:lnTo>
                    <a:pt x="1318" y="537"/>
                  </a:lnTo>
                  <a:lnTo>
                    <a:pt x="1315" y="538"/>
                  </a:lnTo>
                  <a:lnTo>
                    <a:pt x="1308" y="538"/>
                  </a:lnTo>
                  <a:lnTo>
                    <a:pt x="1301" y="539"/>
                  </a:lnTo>
                  <a:lnTo>
                    <a:pt x="1293" y="542"/>
                  </a:lnTo>
                  <a:lnTo>
                    <a:pt x="1272" y="545"/>
                  </a:lnTo>
                  <a:lnTo>
                    <a:pt x="1241" y="548"/>
                  </a:lnTo>
                  <a:lnTo>
                    <a:pt x="1205" y="552"/>
                  </a:lnTo>
                  <a:lnTo>
                    <a:pt x="1168" y="555"/>
                  </a:lnTo>
                  <a:lnTo>
                    <a:pt x="1136" y="558"/>
                  </a:lnTo>
                  <a:lnTo>
                    <a:pt x="1110" y="561"/>
                  </a:lnTo>
                  <a:lnTo>
                    <a:pt x="1097" y="561"/>
                  </a:lnTo>
                  <a:lnTo>
                    <a:pt x="1091" y="563"/>
                  </a:lnTo>
                  <a:lnTo>
                    <a:pt x="1077" y="565"/>
                  </a:lnTo>
                  <a:lnTo>
                    <a:pt x="1057" y="567"/>
                  </a:lnTo>
                  <a:lnTo>
                    <a:pt x="1033" y="568"/>
                  </a:lnTo>
                  <a:lnTo>
                    <a:pt x="984" y="571"/>
                  </a:lnTo>
                  <a:lnTo>
                    <a:pt x="953" y="572"/>
                  </a:lnTo>
                  <a:lnTo>
                    <a:pt x="950" y="577"/>
                  </a:lnTo>
                  <a:lnTo>
                    <a:pt x="947" y="583"/>
                  </a:lnTo>
                  <a:lnTo>
                    <a:pt x="936" y="583"/>
                  </a:lnTo>
                  <a:lnTo>
                    <a:pt x="934" y="587"/>
                  </a:lnTo>
                  <a:lnTo>
                    <a:pt x="927" y="597"/>
                  </a:lnTo>
                  <a:lnTo>
                    <a:pt x="924" y="602"/>
                  </a:lnTo>
                  <a:lnTo>
                    <a:pt x="919" y="606"/>
                  </a:lnTo>
                  <a:lnTo>
                    <a:pt x="916" y="610"/>
                  </a:lnTo>
                  <a:lnTo>
                    <a:pt x="914" y="611"/>
                  </a:lnTo>
                  <a:lnTo>
                    <a:pt x="919" y="721"/>
                  </a:lnTo>
                  <a:lnTo>
                    <a:pt x="922" y="722"/>
                  </a:lnTo>
                  <a:lnTo>
                    <a:pt x="923" y="725"/>
                  </a:lnTo>
                  <a:lnTo>
                    <a:pt x="924" y="729"/>
                  </a:lnTo>
                  <a:lnTo>
                    <a:pt x="924" y="734"/>
                  </a:lnTo>
                  <a:lnTo>
                    <a:pt x="925" y="743"/>
                  </a:lnTo>
                  <a:lnTo>
                    <a:pt x="925" y="749"/>
                  </a:lnTo>
                  <a:lnTo>
                    <a:pt x="928" y="750"/>
                  </a:lnTo>
                  <a:lnTo>
                    <a:pt x="931" y="753"/>
                  </a:lnTo>
                  <a:lnTo>
                    <a:pt x="933" y="756"/>
                  </a:lnTo>
                  <a:lnTo>
                    <a:pt x="935" y="760"/>
                  </a:lnTo>
                  <a:lnTo>
                    <a:pt x="937" y="772"/>
                  </a:lnTo>
                  <a:lnTo>
                    <a:pt x="939" y="785"/>
                  </a:lnTo>
                  <a:lnTo>
                    <a:pt x="942" y="813"/>
                  </a:lnTo>
                  <a:lnTo>
                    <a:pt x="942" y="833"/>
                  </a:lnTo>
                  <a:lnTo>
                    <a:pt x="944" y="833"/>
                  </a:lnTo>
                  <a:lnTo>
                    <a:pt x="946" y="834"/>
                  </a:lnTo>
                  <a:lnTo>
                    <a:pt x="947" y="836"/>
                  </a:lnTo>
                  <a:lnTo>
                    <a:pt x="950" y="839"/>
                  </a:lnTo>
                  <a:lnTo>
                    <a:pt x="952" y="844"/>
                  </a:lnTo>
                  <a:lnTo>
                    <a:pt x="953" y="849"/>
                  </a:lnTo>
                  <a:lnTo>
                    <a:pt x="967" y="852"/>
                  </a:lnTo>
                  <a:lnTo>
                    <a:pt x="986" y="854"/>
                  </a:lnTo>
                  <a:lnTo>
                    <a:pt x="998" y="860"/>
                  </a:lnTo>
                  <a:lnTo>
                    <a:pt x="1013" y="865"/>
                  </a:lnTo>
                  <a:lnTo>
                    <a:pt x="1013" y="876"/>
                  </a:lnTo>
                  <a:lnTo>
                    <a:pt x="1015" y="878"/>
                  </a:lnTo>
                  <a:lnTo>
                    <a:pt x="1018" y="880"/>
                  </a:lnTo>
                  <a:lnTo>
                    <a:pt x="1020" y="882"/>
                  </a:lnTo>
                  <a:lnTo>
                    <a:pt x="1021" y="885"/>
                  </a:lnTo>
                  <a:lnTo>
                    <a:pt x="1023" y="893"/>
                  </a:lnTo>
                  <a:lnTo>
                    <a:pt x="1024" y="899"/>
                  </a:lnTo>
                  <a:lnTo>
                    <a:pt x="1035" y="904"/>
                  </a:lnTo>
                  <a:lnTo>
                    <a:pt x="1035" y="916"/>
                  </a:lnTo>
                  <a:lnTo>
                    <a:pt x="1039" y="922"/>
                  </a:lnTo>
                  <a:lnTo>
                    <a:pt x="1044" y="938"/>
                  </a:lnTo>
                  <a:lnTo>
                    <a:pt x="1050" y="961"/>
                  </a:lnTo>
                  <a:lnTo>
                    <a:pt x="1057" y="987"/>
                  </a:lnTo>
                  <a:lnTo>
                    <a:pt x="1069" y="1037"/>
                  </a:lnTo>
                  <a:lnTo>
                    <a:pt x="1075" y="1059"/>
                  </a:lnTo>
                  <a:lnTo>
                    <a:pt x="1077" y="1062"/>
                  </a:lnTo>
                  <a:lnTo>
                    <a:pt x="1081" y="1067"/>
                  </a:lnTo>
                  <a:lnTo>
                    <a:pt x="1086" y="1074"/>
                  </a:lnTo>
                  <a:lnTo>
                    <a:pt x="1091" y="1076"/>
                  </a:lnTo>
                  <a:lnTo>
                    <a:pt x="1091" y="1093"/>
                  </a:lnTo>
                  <a:lnTo>
                    <a:pt x="1092" y="1093"/>
                  </a:lnTo>
                  <a:lnTo>
                    <a:pt x="1095" y="1094"/>
                  </a:lnTo>
                  <a:lnTo>
                    <a:pt x="1096" y="1096"/>
                  </a:lnTo>
                  <a:lnTo>
                    <a:pt x="1096" y="1099"/>
                  </a:lnTo>
                  <a:lnTo>
                    <a:pt x="1097" y="1104"/>
                  </a:lnTo>
                  <a:lnTo>
                    <a:pt x="1097" y="1110"/>
                  </a:lnTo>
                  <a:lnTo>
                    <a:pt x="1102" y="1115"/>
                  </a:lnTo>
                  <a:lnTo>
                    <a:pt x="1108" y="1118"/>
                  </a:lnTo>
                  <a:lnTo>
                    <a:pt x="1114" y="1121"/>
                  </a:lnTo>
                  <a:lnTo>
                    <a:pt x="1114" y="1132"/>
                  </a:lnTo>
                  <a:lnTo>
                    <a:pt x="1117" y="1132"/>
                  </a:lnTo>
                  <a:lnTo>
                    <a:pt x="1120" y="1135"/>
                  </a:lnTo>
                  <a:lnTo>
                    <a:pt x="1124" y="1139"/>
                  </a:lnTo>
                  <a:lnTo>
                    <a:pt x="1126" y="1143"/>
                  </a:lnTo>
                  <a:lnTo>
                    <a:pt x="1129" y="1152"/>
                  </a:lnTo>
                  <a:lnTo>
                    <a:pt x="1130" y="1159"/>
                  </a:lnTo>
                  <a:lnTo>
                    <a:pt x="1131" y="1160"/>
                  </a:lnTo>
                  <a:lnTo>
                    <a:pt x="1134" y="1161"/>
                  </a:lnTo>
                  <a:lnTo>
                    <a:pt x="1136" y="1164"/>
                  </a:lnTo>
                  <a:lnTo>
                    <a:pt x="1137" y="1168"/>
                  </a:lnTo>
                  <a:lnTo>
                    <a:pt x="1140" y="1177"/>
                  </a:lnTo>
                  <a:lnTo>
                    <a:pt x="1143" y="1188"/>
                  </a:lnTo>
                  <a:lnTo>
                    <a:pt x="1148" y="1208"/>
                  </a:lnTo>
                  <a:lnTo>
                    <a:pt x="1152" y="1220"/>
                  </a:lnTo>
                  <a:lnTo>
                    <a:pt x="1152" y="1237"/>
                  </a:lnTo>
                  <a:lnTo>
                    <a:pt x="1164" y="1236"/>
                  </a:lnTo>
                  <a:lnTo>
                    <a:pt x="1185" y="1235"/>
                  </a:lnTo>
                  <a:lnTo>
                    <a:pt x="1166" y="1247"/>
                  </a:lnTo>
                  <a:lnTo>
                    <a:pt x="1148" y="1257"/>
                  </a:lnTo>
                  <a:lnTo>
                    <a:pt x="1138" y="1263"/>
                  </a:lnTo>
                  <a:lnTo>
                    <a:pt x="1128" y="1267"/>
                  </a:lnTo>
                  <a:lnTo>
                    <a:pt x="1118" y="1272"/>
                  </a:lnTo>
                  <a:lnTo>
                    <a:pt x="1107" y="1276"/>
                  </a:lnTo>
                  <a:lnTo>
                    <a:pt x="1095" y="1279"/>
                  </a:lnTo>
                  <a:lnTo>
                    <a:pt x="1081" y="1283"/>
                  </a:lnTo>
                  <a:lnTo>
                    <a:pt x="1066" y="1285"/>
                  </a:lnTo>
                  <a:lnTo>
                    <a:pt x="1049" y="1287"/>
                  </a:lnTo>
                  <a:lnTo>
                    <a:pt x="1031" y="1289"/>
                  </a:lnTo>
                  <a:lnTo>
                    <a:pt x="1011" y="1291"/>
                  </a:lnTo>
                  <a:lnTo>
                    <a:pt x="989" y="1292"/>
                  </a:lnTo>
                  <a:lnTo>
                    <a:pt x="963" y="1292"/>
                  </a:lnTo>
                  <a:lnTo>
                    <a:pt x="943" y="1292"/>
                  </a:lnTo>
                  <a:lnTo>
                    <a:pt x="926" y="1294"/>
                  </a:lnTo>
                  <a:lnTo>
                    <a:pt x="913" y="1296"/>
                  </a:lnTo>
                  <a:lnTo>
                    <a:pt x="901" y="1299"/>
                  </a:lnTo>
                  <a:lnTo>
                    <a:pt x="894" y="1304"/>
                  </a:lnTo>
                  <a:lnTo>
                    <a:pt x="887" y="1308"/>
                  </a:lnTo>
                  <a:lnTo>
                    <a:pt x="881" y="1314"/>
                  </a:lnTo>
                  <a:lnTo>
                    <a:pt x="877" y="1318"/>
                  </a:lnTo>
                  <a:lnTo>
                    <a:pt x="869" y="1331"/>
                  </a:lnTo>
                  <a:lnTo>
                    <a:pt x="861" y="1342"/>
                  </a:lnTo>
                  <a:lnTo>
                    <a:pt x="856" y="1346"/>
                  </a:lnTo>
                  <a:lnTo>
                    <a:pt x="849" y="1351"/>
                  </a:lnTo>
                  <a:lnTo>
                    <a:pt x="840" y="1355"/>
                  </a:lnTo>
                  <a:lnTo>
                    <a:pt x="828" y="1359"/>
                  </a:lnTo>
                  <a:lnTo>
                    <a:pt x="811" y="1364"/>
                  </a:lnTo>
                  <a:lnTo>
                    <a:pt x="794" y="1368"/>
                  </a:lnTo>
                  <a:lnTo>
                    <a:pt x="779" y="1371"/>
                  </a:lnTo>
                  <a:lnTo>
                    <a:pt x="763" y="1372"/>
                  </a:lnTo>
                  <a:lnTo>
                    <a:pt x="747" y="1373"/>
                  </a:lnTo>
                  <a:lnTo>
                    <a:pt x="732" y="1373"/>
                  </a:lnTo>
                  <a:lnTo>
                    <a:pt x="717" y="1372"/>
                  </a:lnTo>
                  <a:lnTo>
                    <a:pt x="704" y="1371"/>
                  </a:lnTo>
                  <a:lnTo>
                    <a:pt x="691" y="1369"/>
                  </a:lnTo>
                  <a:lnTo>
                    <a:pt x="677" y="1365"/>
                  </a:lnTo>
                  <a:lnTo>
                    <a:pt x="664" y="1362"/>
                  </a:lnTo>
                  <a:lnTo>
                    <a:pt x="650" y="1359"/>
                  </a:lnTo>
                  <a:lnTo>
                    <a:pt x="626" y="1350"/>
                  </a:lnTo>
                  <a:lnTo>
                    <a:pt x="602" y="1339"/>
                  </a:lnTo>
                  <a:lnTo>
                    <a:pt x="559" y="1317"/>
                  </a:lnTo>
                  <a:lnTo>
                    <a:pt x="517" y="1296"/>
                  </a:lnTo>
                  <a:lnTo>
                    <a:pt x="499" y="1287"/>
                  </a:lnTo>
                  <a:lnTo>
                    <a:pt x="478" y="1280"/>
                  </a:lnTo>
                  <a:lnTo>
                    <a:pt x="469" y="1278"/>
                  </a:lnTo>
                  <a:lnTo>
                    <a:pt x="459" y="1276"/>
                  </a:lnTo>
                  <a:lnTo>
                    <a:pt x="451" y="1275"/>
                  </a:lnTo>
                  <a:lnTo>
                    <a:pt x="440" y="1275"/>
                  </a:lnTo>
                  <a:lnTo>
                    <a:pt x="433" y="1274"/>
                  </a:lnTo>
                  <a:lnTo>
                    <a:pt x="424" y="1272"/>
                  </a:lnTo>
                  <a:lnTo>
                    <a:pt x="417" y="1267"/>
                  </a:lnTo>
                  <a:lnTo>
                    <a:pt x="409" y="1261"/>
                  </a:lnTo>
                  <a:lnTo>
                    <a:pt x="403" y="1255"/>
                  </a:lnTo>
                  <a:lnTo>
                    <a:pt x="397" y="1246"/>
                  </a:lnTo>
                  <a:lnTo>
                    <a:pt x="391" y="1237"/>
                  </a:lnTo>
                  <a:lnTo>
                    <a:pt x="387" y="1226"/>
                  </a:lnTo>
                  <a:lnTo>
                    <a:pt x="382" y="1215"/>
                  </a:lnTo>
                  <a:lnTo>
                    <a:pt x="379" y="1202"/>
                  </a:lnTo>
                  <a:lnTo>
                    <a:pt x="376" y="1190"/>
                  </a:lnTo>
                  <a:lnTo>
                    <a:pt x="373" y="1176"/>
                  </a:lnTo>
                  <a:lnTo>
                    <a:pt x="371" y="1162"/>
                  </a:lnTo>
                  <a:lnTo>
                    <a:pt x="370" y="1148"/>
                  </a:lnTo>
                  <a:lnTo>
                    <a:pt x="370" y="1133"/>
                  </a:lnTo>
                  <a:lnTo>
                    <a:pt x="370" y="1119"/>
                  </a:lnTo>
                  <a:lnTo>
                    <a:pt x="371" y="1104"/>
                  </a:lnTo>
                  <a:lnTo>
                    <a:pt x="372" y="1090"/>
                  </a:lnTo>
                  <a:lnTo>
                    <a:pt x="375" y="1075"/>
                  </a:lnTo>
                  <a:lnTo>
                    <a:pt x="378" y="1062"/>
                  </a:lnTo>
                  <a:lnTo>
                    <a:pt x="382" y="1048"/>
                  </a:lnTo>
                  <a:lnTo>
                    <a:pt x="387" y="1035"/>
                  </a:lnTo>
                  <a:lnTo>
                    <a:pt x="392" y="1023"/>
                  </a:lnTo>
                  <a:lnTo>
                    <a:pt x="399" y="1012"/>
                  </a:lnTo>
                  <a:lnTo>
                    <a:pt x="407" y="1001"/>
                  </a:lnTo>
                  <a:lnTo>
                    <a:pt x="415" y="991"/>
                  </a:lnTo>
                  <a:lnTo>
                    <a:pt x="424" y="984"/>
                  </a:lnTo>
                  <a:lnTo>
                    <a:pt x="434" y="976"/>
                  </a:lnTo>
                  <a:lnTo>
                    <a:pt x="445" y="970"/>
                  </a:lnTo>
                  <a:lnTo>
                    <a:pt x="456" y="967"/>
                  </a:lnTo>
                  <a:lnTo>
                    <a:pt x="469" y="964"/>
                  </a:lnTo>
                  <a:lnTo>
                    <a:pt x="483" y="962"/>
                  </a:lnTo>
                  <a:lnTo>
                    <a:pt x="497" y="962"/>
                  </a:lnTo>
                  <a:lnTo>
                    <a:pt x="510" y="961"/>
                  </a:lnTo>
                  <a:lnTo>
                    <a:pt x="519" y="960"/>
                  </a:lnTo>
                  <a:lnTo>
                    <a:pt x="526" y="959"/>
                  </a:lnTo>
                  <a:lnTo>
                    <a:pt x="532" y="957"/>
                  </a:lnTo>
                  <a:lnTo>
                    <a:pt x="535" y="953"/>
                  </a:lnTo>
                  <a:lnTo>
                    <a:pt x="536" y="950"/>
                  </a:lnTo>
                  <a:lnTo>
                    <a:pt x="536" y="947"/>
                  </a:lnTo>
                  <a:lnTo>
                    <a:pt x="535" y="943"/>
                  </a:lnTo>
                  <a:lnTo>
                    <a:pt x="533" y="940"/>
                  </a:lnTo>
                  <a:lnTo>
                    <a:pt x="529" y="936"/>
                  </a:lnTo>
                  <a:lnTo>
                    <a:pt x="524" y="931"/>
                  </a:lnTo>
                  <a:lnTo>
                    <a:pt x="512" y="922"/>
                  </a:lnTo>
                  <a:lnTo>
                    <a:pt x="499" y="913"/>
                  </a:lnTo>
                  <a:lnTo>
                    <a:pt x="490" y="907"/>
                  </a:lnTo>
                  <a:lnTo>
                    <a:pt x="481" y="898"/>
                  </a:lnTo>
                  <a:lnTo>
                    <a:pt x="473" y="888"/>
                  </a:lnTo>
                  <a:lnTo>
                    <a:pt x="465" y="876"/>
                  </a:lnTo>
                  <a:lnTo>
                    <a:pt x="456" y="868"/>
                  </a:lnTo>
                  <a:lnTo>
                    <a:pt x="448" y="860"/>
                  </a:lnTo>
                  <a:lnTo>
                    <a:pt x="445" y="856"/>
                  </a:lnTo>
                  <a:lnTo>
                    <a:pt x="440" y="854"/>
                  </a:lnTo>
                  <a:lnTo>
                    <a:pt x="436" y="852"/>
                  </a:lnTo>
                  <a:lnTo>
                    <a:pt x="433" y="852"/>
                  </a:lnTo>
                  <a:lnTo>
                    <a:pt x="416" y="851"/>
                  </a:lnTo>
                  <a:lnTo>
                    <a:pt x="400" y="850"/>
                  </a:lnTo>
                  <a:lnTo>
                    <a:pt x="386" y="846"/>
                  </a:lnTo>
                  <a:lnTo>
                    <a:pt x="372" y="842"/>
                  </a:lnTo>
                  <a:lnTo>
                    <a:pt x="359" y="837"/>
                  </a:lnTo>
                  <a:lnTo>
                    <a:pt x="348" y="831"/>
                  </a:lnTo>
                  <a:lnTo>
                    <a:pt x="337" y="823"/>
                  </a:lnTo>
                  <a:lnTo>
                    <a:pt x="327" y="813"/>
                  </a:lnTo>
                  <a:lnTo>
                    <a:pt x="302" y="787"/>
                  </a:lnTo>
                  <a:lnTo>
                    <a:pt x="280" y="763"/>
                  </a:lnTo>
                  <a:lnTo>
                    <a:pt x="259" y="740"/>
                  </a:lnTo>
                  <a:lnTo>
                    <a:pt x="237" y="718"/>
                  </a:lnTo>
                  <a:lnTo>
                    <a:pt x="204" y="684"/>
                  </a:lnTo>
                  <a:lnTo>
                    <a:pt x="163" y="642"/>
                  </a:lnTo>
                  <a:lnTo>
                    <a:pt x="120" y="600"/>
                  </a:lnTo>
                  <a:lnTo>
                    <a:pt x="87" y="567"/>
                  </a:lnTo>
                  <a:lnTo>
                    <a:pt x="78" y="557"/>
                  </a:lnTo>
                  <a:lnTo>
                    <a:pt x="69" y="548"/>
                  </a:lnTo>
                  <a:lnTo>
                    <a:pt x="62" y="539"/>
                  </a:lnTo>
                  <a:lnTo>
                    <a:pt x="58" y="533"/>
                  </a:lnTo>
                  <a:lnTo>
                    <a:pt x="53" y="525"/>
                  </a:lnTo>
                  <a:lnTo>
                    <a:pt x="50" y="519"/>
                  </a:lnTo>
                  <a:lnTo>
                    <a:pt x="49" y="514"/>
                  </a:lnTo>
                  <a:lnTo>
                    <a:pt x="48" y="508"/>
                  </a:lnTo>
                  <a:lnTo>
                    <a:pt x="48" y="504"/>
                  </a:lnTo>
                  <a:lnTo>
                    <a:pt x="48" y="498"/>
                  </a:lnTo>
                  <a:lnTo>
                    <a:pt x="49" y="495"/>
                  </a:lnTo>
                  <a:lnTo>
                    <a:pt x="51" y="490"/>
                  </a:lnTo>
                  <a:lnTo>
                    <a:pt x="56" y="482"/>
                  </a:lnTo>
                  <a:lnTo>
                    <a:pt x="62" y="475"/>
                  </a:lnTo>
                  <a:lnTo>
                    <a:pt x="69" y="468"/>
                  </a:lnTo>
                  <a:lnTo>
                    <a:pt x="75" y="459"/>
                  </a:lnTo>
                  <a:lnTo>
                    <a:pt x="79" y="455"/>
                  </a:lnTo>
                  <a:lnTo>
                    <a:pt x="81" y="449"/>
                  </a:lnTo>
                  <a:lnTo>
                    <a:pt x="83" y="443"/>
                  </a:lnTo>
                  <a:lnTo>
                    <a:pt x="85" y="438"/>
                  </a:lnTo>
                  <a:lnTo>
                    <a:pt x="87" y="431"/>
                  </a:lnTo>
                  <a:lnTo>
                    <a:pt x="87" y="424"/>
                  </a:lnTo>
                  <a:lnTo>
                    <a:pt x="87" y="417"/>
                  </a:lnTo>
                  <a:lnTo>
                    <a:pt x="85" y="408"/>
                  </a:lnTo>
                  <a:lnTo>
                    <a:pt x="83" y="398"/>
                  </a:lnTo>
                  <a:lnTo>
                    <a:pt x="80" y="388"/>
                  </a:lnTo>
                  <a:lnTo>
                    <a:pt x="75" y="376"/>
                  </a:lnTo>
                  <a:lnTo>
                    <a:pt x="70" y="364"/>
                  </a:lnTo>
                  <a:lnTo>
                    <a:pt x="66" y="357"/>
                  </a:lnTo>
                  <a:lnTo>
                    <a:pt x="65" y="351"/>
                  </a:lnTo>
                  <a:lnTo>
                    <a:pt x="63" y="345"/>
                  </a:lnTo>
                  <a:lnTo>
                    <a:pt x="63" y="339"/>
                  </a:lnTo>
                  <a:lnTo>
                    <a:pt x="64" y="327"/>
                  </a:lnTo>
                  <a:lnTo>
                    <a:pt x="66" y="317"/>
                  </a:lnTo>
                  <a:lnTo>
                    <a:pt x="74" y="301"/>
                  </a:lnTo>
                  <a:lnTo>
                    <a:pt x="78" y="287"/>
                  </a:lnTo>
                  <a:lnTo>
                    <a:pt x="78" y="276"/>
                  </a:lnTo>
                  <a:lnTo>
                    <a:pt x="77" y="268"/>
                  </a:lnTo>
                  <a:lnTo>
                    <a:pt x="73" y="260"/>
                  </a:lnTo>
                  <a:lnTo>
                    <a:pt x="68" y="254"/>
                  </a:lnTo>
                  <a:lnTo>
                    <a:pt x="50" y="235"/>
                  </a:lnTo>
                  <a:lnTo>
                    <a:pt x="20" y="205"/>
                  </a:lnTo>
                  <a:lnTo>
                    <a:pt x="16" y="200"/>
                  </a:lnTo>
                  <a:lnTo>
                    <a:pt x="14" y="195"/>
                  </a:lnTo>
                  <a:lnTo>
                    <a:pt x="12" y="189"/>
                  </a:lnTo>
                  <a:lnTo>
                    <a:pt x="11" y="182"/>
                  </a:lnTo>
                  <a:lnTo>
                    <a:pt x="10" y="174"/>
                  </a:lnTo>
                  <a:lnTo>
                    <a:pt x="7" y="168"/>
                  </a:lnTo>
                  <a:lnTo>
                    <a:pt x="4" y="161"/>
                  </a:lnTo>
                  <a:lnTo>
                    <a:pt x="0" y="15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1" name="Freeform 34">
              <a:extLst>
                <a:ext uri="{FF2B5EF4-FFF2-40B4-BE49-F238E27FC236}">
                  <a16:creationId xmlns:a16="http://schemas.microsoft.com/office/drawing/2014/main" id="{05399D45-E878-485B-B16C-83CFB5B0A458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165975" y="3452813"/>
              <a:ext cx="337103" cy="201613"/>
            </a:xfrm>
            <a:custGeom>
              <a:avLst/>
              <a:gdLst/>
              <a:ahLst/>
              <a:cxnLst>
                <a:cxn ang="0">
                  <a:pos x="124" y="322"/>
                </a:cxn>
                <a:cxn ang="0">
                  <a:pos x="183" y="354"/>
                </a:cxn>
                <a:cxn ang="0">
                  <a:pos x="294" y="407"/>
                </a:cxn>
                <a:cxn ang="0">
                  <a:pos x="355" y="380"/>
                </a:cxn>
                <a:cxn ang="0">
                  <a:pos x="393" y="331"/>
                </a:cxn>
                <a:cxn ang="0">
                  <a:pos x="502" y="312"/>
                </a:cxn>
                <a:cxn ang="0">
                  <a:pos x="520" y="274"/>
                </a:cxn>
                <a:cxn ang="0">
                  <a:pos x="635" y="235"/>
                </a:cxn>
                <a:cxn ang="0">
                  <a:pos x="757" y="198"/>
                </a:cxn>
                <a:cxn ang="0">
                  <a:pos x="874" y="93"/>
                </a:cxn>
                <a:cxn ang="0">
                  <a:pos x="993" y="75"/>
                </a:cxn>
                <a:cxn ang="0">
                  <a:pos x="1151" y="28"/>
                </a:cxn>
                <a:cxn ang="0">
                  <a:pos x="1508" y="0"/>
                </a:cxn>
                <a:cxn ang="0">
                  <a:pos x="1585" y="34"/>
                </a:cxn>
                <a:cxn ang="0">
                  <a:pos x="1628" y="141"/>
                </a:cxn>
                <a:cxn ang="0">
                  <a:pos x="1738" y="175"/>
                </a:cxn>
                <a:cxn ang="0">
                  <a:pos x="1847" y="233"/>
                </a:cxn>
                <a:cxn ang="0">
                  <a:pos x="1778" y="283"/>
                </a:cxn>
                <a:cxn ang="0">
                  <a:pos x="1741" y="444"/>
                </a:cxn>
                <a:cxn ang="0">
                  <a:pos x="1701" y="720"/>
                </a:cxn>
                <a:cxn ang="0">
                  <a:pos x="1662" y="726"/>
                </a:cxn>
                <a:cxn ang="0">
                  <a:pos x="1634" y="760"/>
                </a:cxn>
                <a:cxn ang="0">
                  <a:pos x="1615" y="825"/>
                </a:cxn>
                <a:cxn ang="0">
                  <a:pos x="1586" y="864"/>
                </a:cxn>
                <a:cxn ang="0">
                  <a:pos x="1548" y="918"/>
                </a:cxn>
                <a:cxn ang="0">
                  <a:pos x="1518" y="1126"/>
                </a:cxn>
                <a:cxn ang="0">
                  <a:pos x="1576" y="1178"/>
                </a:cxn>
                <a:cxn ang="0">
                  <a:pos x="1582" y="1210"/>
                </a:cxn>
                <a:cxn ang="0">
                  <a:pos x="1498" y="1242"/>
                </a:cxn>
                <a:cxn ang="0">
                  <a:pos x="1380" y="1176"/>
                </a:cxn>
                <a:cxn ang="0">
                  <a:pos x="1352" y="1157"/>
                </a:cxn>
                <a:cxn ang="0">
                  <a:pos x="1331" y="1137"/>
                </a:cxn>
                <a:cxn ang="0">
                  <a:pos x="1262" y="1098"/>
                </a:cxn>
                <a:cxn ang="0">
                  <a:pos x="1202" y="1052"/>
                </a:cxn>
                <a:cxn ang="0">
                  <a:pos x="1144" y="989"/>
                </a:cxn>
                <a:cxn ang="0">
                  <a:pos x="1129" y="976"/>
                </a:cxn>
                <a:cxn ang="0">
                  <a:pos x="1097" y="927"/>
                </a:cxn>
                <a:cxn ang="0">
                  <a:pos x="1058" y="905"/>
                </a:cxn>
                <a:cxn ang="0">
                  <a:pos x="932" y="860"/>
                </a:cxn>
                <a:cxn ang="0">
                  <a:pos x="905" y="843"/>
                </a:cxn>
                <a:cxn ang="0">
                  <a:pos x="866" y="831"/>
                </a:cxn>
                <a:cxn ang="0">
                  <a:pos x="827" y="818"/>
                </a:cxn>
                <a:cxn ang="0">
                  <a:pos x="788" y="787"/>
                </a:cxn>
                <a:cxn ang="0">
                  <a:pos x="749" y="736"/>
                </a:cxn>
                <a:cxn ang="0">
                  <a:pos x="690" y="752"/>
                </a:cxn>
                <a:cxn ang="0">
                  <a:pos x="673" y="770"/>
                </a:cxn>
                <a:cxn ang="0">
                  <a:pos x="603" y="769"/>
                </a:cxn>
                <a:cxn ang="0">
                  <a:pos x="546" y="761"/>
                </a:cxn>
                <a:cxn ang="0">
                  <a:pos x="487" y="774"/>
                </a:cxn>
                <a:cxn ang="0">
                  <a:pos x="438" y="798"/>
                </a:cxn>
                <a:cxn ang="0">
                  <a:pos x="343" y="814"/>
                </a:cxn>
                <a:cxn ang="0">
                  <a:pos x="201" y="821"/>
                </a:cxn>
                <a:cxn ang="0">
                  <a:pos x="170" y="837"/>
                </a:cxn>
                <a:cxn ang="0">
                  <a:pos x="100" y="873"/>
                </a:cxn>
                <a:cxn ang="0">
                  <a:pos x="84" y="711"/>
                </a:cxn>
                <a:cxn ang="0">
                  <a:pos x="100" y="667"/>
                </a:cxn>
                <a:cxn ang="0">
                  <a:pos x="93" y="589"/>
                </a:cxn>
                <a:cxn ang="0">
                  <a:pos x="54" y="559"/>
                </a:cxn>
                <a:cxn ang="0">
                  <a:pos x="23" y="525"/>
                </a:cxn>
                <a:cxn ang="0">
                  <a:pos x="7" y="492"/>
                </a:cxn>
              </a:cxnLst>
              <a:rect l="0" t="0" r="r" b="b"/>
              <a:pathLst>
                <a:path w="1854" h="1242">
                  <a:moveTo>
                    <a:pt x="0" y="457"/>
                  </a:moveTo>
                  <a:lnTo>
                    <a:pt x="21" y="435"/>
                  </a:lnTo>
                  <a:lnTo>
                    <a:pt x="41" y="412"/>
                  </a:lnTo>
                  <a:lnTo>
                    <a:pt x="59" y="388"/>
                  </a:lnTo>
                  <a:lnTo>
                    <a:pt x="77" y="367"/>
                  </a:lnTo>
                  <a:lnTo>
                    <a:pt x="94" y="348"/>
                  </a:lnTo>
                  <a:lnTo>
                    <a:pt x="109" y="332"/>
                  </a:lnTo>
                  <a:lnTo>
                    <a:pt x="117" y="327"/>
                  </a:lnTo>
                  <a:lnTo>
                    <a:pt x="124" y="322"/>
                  </a:lnTo>
                  <a:lnTo>
                    <a:pt x="132" y="320"/>
                  </a:lnTo>
                  <a:lnTo>
                    <a:pt x="138" y="319"/>
                  </a:lnTo>
                  <a:lnTo>
                    <a:pt x="151" y="320"/>
                  </a:lnTo>
                  <a:lnTo>
                    <a:pt x="160" y="322"/>
                  </a:lnTo>
                  <a:lnTo>
                    <a:pt x="167" y="327"/>
                  </a:lnTo>
                  <a:lnTo>
                    <a:pt x="173" y="332"/>
                  </a:lnTo>
                  <a:lnTo>
                    <a:pt x="177" y="339"/>
                  </a:lnTo>
                  <a:lnTo>
                    <a:pt x="181" y="346"/>
                  </a:lnTo>
                  <a:lnTo>
                    <a:pt x="183" y="354"/>
                  </a:lnTo>
                  <a:lnTo>
                    <a:pt x="184" y="361"/>
                  </a:lnTo>
                  <a:lnTo>
                    <a:pt x="185" y="377"/>
                  </a:lnTo>
                  <a:lnTo>
                    <a:pt x="187" y="390"/>
                  </a:lnTo>
                  <a:lnTo>
                    <a:pt x="189" y="396"/>
                  </a:lnTo>
                  <a:lnTo>
                    <a:pt x="192" y="400"/>
                  </a:lnTo>
                  <a:lnTo>
                    <a:pt x="195" y="403"/>
                  </a:lnTo>
                  <a:lnTo>
                    <a:pt x="201" y="404"/>
                  </a:lnTo>
                  <a:lnTo>
                    <a:pt x="262" y="404"/>
                  </a:lnTo>
                  <a:lnTo>
                    <a:pt x="294" y="407"/>
                  </a:lnTo>
                  <a:lnTo>
                    <a:pt x="323" y="409"/>
                  </a:lnTo>
                  <a:lnTo>
                    <a:pt x="329" y="409"/>
                  </a:lnTo>
                  <a:lnTo>
                    <a:pt x="336" y="408"/>
                  </a:lnTo>
                  <a:lnTo>
                    <a:pt x="342" y="407"/>
                  </a:lnTo>
                  <a:lnTo>
                    <a:pt x="346" y="404"/>
                  </a:lnTo>
                  <a:lnTo>
                    <a:pt x="349" y="400"/>
                  </a:lnTo>
                  <a:lnTo>
                    <a:pt x="353" y="395"/>
                  </a:lnTo>
                  <a:lnTo>
                    <a:pt x="354" y="389"/>
                  </a:lnTo>
                  <a:lnTo>
                    <a:pt x="355" y="380"/>
                  </a:lnTo>
                  <a:lnTo>
                    <a:pt x="355" y="373"/>
                  </a:lnTo>
                  <a:lnTo>
                    <a:pt x="357" y="365"/>
                  </a:lnTo>
                  <a:lnTo>
                    <a:pt x="359" y="359"/>
                  </a:lnTo>
                  <a:lnTo>
                    <a:pt x="362" y="352"/>
                  </a:lnTo>
                  <a:lnTo>
                    <a:pt x="366" y="348"/>
                  </a:lnTo>
                  <a:lnTo>
                    <a:pt x="369" y="343"/>
                  </a:lnTo>
                  <a:lnTo>
                    <a:pt x="375" y="339"/>
                  </a:lnTo>
                  <a:lnTo>
                    <a:pt x="381" y="336"/>
                  </a:lnTo>
                  <a:lnTo>
                    <a:pt x="393" y="331"/>
                  </a:lnTo>
                  <a:lnTo>
                    <a:pt x="406" y="327"/>
                  </a:lnTo>
                  <a:lnTo>
                    <a:pt x="421" y="325"/>
                  </a:lnTo>
                  <a:lnTo>
                    <a:pt x="436" y="323"/>
                  </a:lnTo>
                  <a:lnTo>
                    <a:pt x="451" y="321"/>
                  </a:lnTo>
                  <a:lnTo>
                    <a:pt x="465" y="320"/>
                  </a:lnTo>
                  <a:lnTo>
                    <a:pt x="480" y="318"/>
                  </a:lnTo>
                  <a:lnTo>
                    <a:pt x="492" y="316"/>
                  </a:lnTo>
                  <a:lnTo>
                    <a:pt x="498" y="313"/>
                  </a:lnTo>
                  <a:lnTo>
                    <a:pt x="502" y="312"/>
                  </a:lnTo>
                  <a:lnTo>
                    <a:pt x="507" y="309"/>
                  </a:lnTo>
                  <a:lnTo>
                    <a:pt x="510" y="306"/>
                  </a:lnTo>
                  <a:lnTo>
                    <a:pt x="513" y="302"/>
                  </a:lnTo>
                  <a:lnTo>
                    <a:pt x="516" y="299"/>
                  </a:lnTo>
                  <a:lnTo>
                    <a:pt x="517" y="293"/>
                  </a:lnTo>
                  <a:lnTo>
                    <a:pt x="517" y="288"/>
                  </a:lnTo>
                  <a:lnTo>
                    <a:pt x="518" y="283"/>
                  </a:lnTo>
                  <a:lnTo>
                    <a:pt x="519" y="279"/>
                  </a:lnTo>
                  <a:lnTo>
                    <a:pt x="520" y="274"/>
                  </a:lnTo>
                  <a:lnTo>
                    <a:pt x="522" y="270"/>
                  </a:lnTo>
                  <a:lnTo>
                    <a:pt x="528" y="263"/>
                  </a:lnTo>
                  <a:lnTo>
                    <a:pt x="535" y="256"/>
                  </a:lnTo>
                  <a:lnTo>
                    <a:pt x="545" y="252"/>
                  </a:lnTo>
                  <a:lnTo>
                    <a:pt x="555" y="248"/>
                  </a:lnTo>
                  <a:lnTo>
                    <a:pt x="567" y="244"/>
                  </a:lnTo>
                  <a:lnTo>
                    <a:pt x="579" y="241"/>
                  </a:lnTo>
                  <a:lnTo>
                    <a:pt x="606" y="236"/>
                  </a:lnTo>
                  <a:lnTo>
                    <a:pt x="635" y="235"/>
                  </a:lnTo>
                  <a:lnTo>
                    <a:pt x="662" y="234"/>
                  </a:lnTo>
                  <a:lnTo>
                    <a:pt x="688" y="234"/>
                  </a:lnTo>
                  <a:lnTo>
                    <a:pt x="694" y="234"/>
                  </a:lnTo>
                  <a:lnTo>
                    <a:pt x="702" y="232"/>
                  </a:lnTo>
                  <a:lnTo>
                    <a:pt x="709" y="231"/>
                  </a:lnTo>
                  <a:lnTo>
                    <a:pt x="715" y="227"/>
                  </a:lnTo>
                  <a:lnTo>
                    <a:pt x="730" y="220"/>
                  </a:lnTo>
                  <a:lnTo>
                    <a:pt x="743" y="210"/>
                  </a:lnTo>
                  <a:lnTo>
                    <a:pt x="757" y="198"/>
                  </a:lnTo>
                  <a:lnTo>
                    <a:pt x="770" y="185"/>
                  </a:lnTo>
                  <a:lnTo>
                    <a:pt x="785" y="172"/>
                  </a:lnTo>
                  <a:lnTo>
                    <a:pt x="798" y="157"/>
                  </a:lnTo>
                  <a:lnTo>
                    <a:pt x="813" y="143"/>
                  </a:lnTo>
                  <a:lnTo>
                    <a:pt x="827" y="128"/>
                  </a:lnTo>
                  <a:lnTo>
                    <a:pt x="843" y="116"/>
                  </a:lnTo>
                  <a:lnTo>
                    <a:pt x="858" y="104"/>
                  </a:lnTo>
                  <a:lnTo>
                    <a:pt x="866" y="98"/>
                  </a:lnTo>
                  <a:lnTo>
                    <a:pt x="874" y="93"/>
                  </a:lnTo>
                  <a:lnTo>
                    <a:pt x="883" y="90"/>
                  </a:lnTo>
                  <a:lnTo>
                    <a:pt x="891" y="86"/>
                  </a:lnTo>
                  <a:lnTo>
                    <a:pt x="900" y="83"/>
                  </a:lnTo>
                  <a:lnTo>
                    <a:pt x="909" y="81"/>
                  </a:lnTo>
                  <a:lnTo>
                    <a:pt x="918" y="80"/>
                  </a:lnTo>
                  <a:lnTo>
                    <a:pt x="926" y="79"/>
                  </a:lnTo>
                  <a:lnTo>
                    <a:pt x="952" y="79"/>
                  </a:lnTo>
                  <a:lnTo>
                    <a:pt x="973" y="77"/>
                  </a:lnTo>
                  <a:lnTo>
                    <a:pt x="993" y="75"/>
                  </a:lnTo>
                  <a:lnTo>
                    <a:pt x="1010" y="71"/>
                  </a:lnTo>
                  <a:lnTo>
                    <a:pt x="1026" y="67"/>
                  </a:lnTo>
                  <a:lnTo>
                    <a:pt x="1040" y="62"/>
                  </a:lnTo>
                  <a:lnTo>
                    <a:pt x="1054" y="58"/>
                  </a:lnTo>
                  <a:lnTo>
                    <a:pt x="1067" y="52"/>
                  </a:lnTo>
                  <a:lnTo>
                    <a:pt x="1093" y="42"/>
                  </a:lnTo>
                  <a:lnTo>
                    <a:pt x="1120" y="34"/>
                  </a:lnTo>
                  <a:lnTo>
                    <a:pt x="1134" y="30"/>
                  </a:lnTo>
                  <a:lnTo>
                    <a:pt x="1151" y="28"/>
                  </a:lnTo>
                  <a:lnTo>
                    <a:pt x="1169" y="27"/>
                  </a:lnTo>
                  <a:lnTo>
                    <a:pt x="1190" y="25"/>
                  </a:lnTo>
                  <a:lnTo>
                    <a:pt x="1229" y="23"/>
                  </a:lnTo>
                  <a:lnTo>
                    <a:pt x="1284" y="19"/>
                  </a:lnTo>
                  <a:lnTo>
                    <a:pt x="1348" y="12"/>
                  </a:lnTo>
                  <a:lnTo>
                    <a:pt x="1415" y="6"/>
                  </a:lnTo>
                  <a:lnTo>
                    <a:pt x="1449" y="3"/>
                  </a:lnTo>
                  <a:lnTo>
                    <a:pt x="1480" y="1"/>
                  </a:lnTo>
                  <a:lnTo>
                    <a:pt x="1508" y="0"/>
                  </a:lnTo>
                  <a:lnTo>
                    <a:pt x="1534" y="0"/>
                  </a:lnTo>
                  <a:lnTo>
                    <a:pt x="1554" y="0"/>
                  </a:lnTo>
                  <a:lnTo>
                    <a:pt x="1571" y="2"/>
                  </a:lnTo>
                  <a:lnTo>
                    <a:pt x="1576" y="3"/>
                  </a:lnTo>
                  <a:lnTo>
                    <a:pt x="1581" y="5"/>
                  </a:lnTo>
                  <a:lnTo>
                    <a:pt x="1583" y="8"/>
                  </a:lnTo>
                  <a:lnTo>
                    <a:pt x="1584" y="10"/>
                  </a:lnTo>
                  <a:lnTo>
                    <a:pt x="1584" y="22"/>
                  </a:lnTo>
                  <a:lnTo>
                    <a:pt x="1585" y="34"/>
                  </a:lnTo>
                  <a:lnTo>
                    <a:pt x="1587" y="47"/>
                  </a:lnTo>
                  <a:lnTo>
                    <a:pt x="1590" y="60"/>
                  </a:lnTo>
                  <a:lnTo>
                    <a:pt x="1593" y="73"/>
                  </a:lnTo>
                  <a:lnTo>
                    <a:pt x="1597" y="86"/>
                  </a:lnTo>
                  <a:lnTo>
                    <a:pt x="1602" y="98"/>
                  </a:lnTo>
                  <a:lnTo>
                    <a:pt x="1607" y="110"/>
                  </a:lnTo>
                  <a:lnTo>
                    <a:pt x="1613" y="121"/>
                  </a:lnTo>
                  <a:lnTo>
                    <a:pt x="1621" y="131"/>
                  </a:lnTo>
                  <a:lnTo>
                    <a:pt x="1628" y="141"/>
                  </a:lnTo>
                  <a:lnTo>
                    <a:pt x="1636" y="149"/>
                  </a:lnTo>
                  <a:lnTo>
                    <a:pt x="1645" y="156"/>
                  </a:lnTo>
                  <a:lnTo>
                    <a:pt x="1655" y="160"/>
                  </a:lnTo>
                  <a:lnTo>
                    <a:pt x="1665" y="164"/>
                  </a:lnTo>
                  <a:lnTo>
                    <a:pt x="1677" y="165"/>
                  </a:lnTo>
                  <a:lnTo>
                    <a:pt x="1693" y="165"/>
                  </a:lnTo>
                  <a:lnTo>
                    <a:pt x="1709" y="167"/>
                  </a:lnTo>
                  <a:lnTo>
                    <a:pt x="1725" y="171"/>
                  </a:lnTo>
                  <a:lnTo>
                    <a:pt x="1738" y="175"/>
                  </a:lnTo>
                  <a:lnTo>
                    <a:pt x="1751" y="181"/>
                  </a:lnTo>
                  <a:lnTo>
                    <a:pt x="1764" y="186"/>
                  </a:lnTo>
                  <a:lnTo>
                    <a:pt x="1775" y="193"/>
                  </a:lnTo>
                  <a:lnTo>
                    <a:pt x="1786" y="200"/>
                  </a:lnTo>
                  <a:lnTo>
                    <a:pt x="1806" y="212"/>
                  </a:lnTo>
                  <a:lnTo>
                    <a:pt x="1824" y="223"/>
                  </a:lnTo>
                  <a:lnTo>
                    <a:pt x="1832" y="227"/>
                  </a:lnTo>
                  <a:lnTo>
                    <a:pt x="1840" y="231"/>
                  </a:lnTo>
                  <a:lnTo>
                    <a:pt x="1847" y="233"/>
                  </a:lnTo>
                  <a:lnTo>
                    <a:pt x="1854" y="234"/>
                  </a:lnTo>
                  <a:lnTo>
                    <a:pt x="1842" y="235"/>
                  </a:lnTo>
                  <a:lnTo>
                    <a:pt x="1831" y="237"/>
                  </a:lnTo>
                  <a:lnTo>
                    <a:pt x="1821" y="242"/>
                  </a:lnTo>
                  <a:lnTo>
                    <a:pt x="1811" y="248"/>
                  </a:lnTo>
                  <a:lnTo>
                    <a:pt x="1802" y="254"/>
                  </a:lnTo>
                  <a:lnTo>
                    <a:pt x="1793" y="263"/>
                  </a:lnTo>
                  <a:lnTo>
                    <a:pt x="1785" y="272"/>
                  </a:lnTo>
                  <a:lnTo>
                    <a:pt x="1778" y="283"/>
                  </a:lnTo>
                  <a:lnTo>
                    <a:pt x="1773" y="296"/>
                  </a:lnTo>
                  <a:lnTo>
                    <a:pt x="1767" y="309"/>
                  </a:lnTo>
                  <a:lnTo>
                    <a:pt x="1761" y="323"/>
                  </a:lnTo>
                  <a:lnTo>
                    <a:pt x="1757" y="338"/>
                  </a:lnTo>
                  <a:lnTo>
                    <a:pt x="1754" y="354"/>
                  </a:lnTo>
                  <a:lnTo>
                    <a:pt x="1750" y="370"/>
                  </a:lnTo>
                  <a:lnTo>
                    <a:pt x="1747" y="388"/>
                  </a:lnTo>
                  <a:lnTo>
                    <a:pt x="1745" y="406"/>
                  </a:lnTo>
                  <a:lnTo>
                    <a:pt x="1741" y="444"/>
                  </a:lnTo>
                  <a:lnTo>
                    <a:pt x="1739" y="483"/>
                  </a:lnTo>
                  <a:lnTo>
                    <a:pt x="1738" y="523"/>
                  </a:lnTo>
                  <a:lnTo>
                    <a:pt x="1738" y="563"/>
                  </a:lnTo>
                  <a:lnTo>
                    <a:pt x="1740" y="643"/>
                  </a:lnTo>
                  <a:lnTo>
                    <a:pt x="1744" y="715"/>
                  </a:lnTo>
                  <a:lnTo>
                    <a:pt x="1707" y="715"/>
                  </a:lnTo>
                  <a:lnTo>
                    <a:pt x="1706" y="717"/>
                  </a:lnTo>
                  <a:lnTo>
                    <a:pt x="1703" y="718"/>
                  </a:lnTo>
                  <a:lnTo>
                    <a:pt x="1701" y="720"/>
                  </a:lnTo>
                  <a:lnTo>
                    <a:pt x="1698" y="721"/>
                  </a:lnTo>
                  <a:lnTo>
                    <a:pt x="1690" y="721"/>
                  </a:lnTo>
                  <a:lnTo>
                    <a:pt x="1684" y="721"/>
                  </a:lnTo>
                  <a:lnTo>
                    <a:pt x="1683" y="723"/>
                  </a:lnTo>
                  <a:lnTo>
                    <a:pt x="1681" y="724"/>
                  </a:lnTo>
                  <a:lnTo>
                    <a:pt x="1679" y="725"/>
                  </a:lnTo>
                  <a:lnTo>
                    <a:pt x="1676" y="726"/>
                  </a:lnTo>
                  <a:lnTo>
                    <a:pt x="1668" y="726"/>
                  </a:lnTo>
                  <a:lnTo>
                    <a:pt x="1662" y="726"/>
                  </a:lnTo>
                  <a:lnTo>
                    <a:pt x="1661" y="730"/>
                  </a:lnTo>
                  <a:lnTo>
                    <a:pt x="1659" y="732"/>
                  </a:lnTo>
                  <a:lnTo>
                    <a:pt x="1655" y="732"/>
                  </a:lnTo>
                  <a:lnTo>
                    <a:pt x="1651" y="732"/>
                  </a:lnTo>
                  <a:lnTo>
                    <a:pt x="1649" y="737"/>
                  </a:lnTo>
                  <a:lnTo>
                    <a:pt x="1645" y="743"/>
                  </a:lnTo>
                  <a:lnTo>
                    <a:pt x="1640" y="746"/>
                  </a:lnTo>
                  <a:lnTo>
                    <a:pt x="1634" y="749"/>
                  </a:lnTo>
                  <a:lnTo>
                    <a:pt x="1634" y="760"/>
                  </a:lnTo>
                  <a:lnTo>
                    <a:pt x="1633" y="766"/>
                  </a:lnTo>
                  <a:lnTo>
                    <a:pt x="1629" y="782"/>
                  </a:lnTo>
                  <a:lnTo>
                    <a:pt x="1625" y="800"/>
                  </a:lnTo>
                  <a:lnTo>
                    <a:pt x="1623" y="810"/>
                  </a:lnTo>
                  <a:lnTo>
                    <a:pt x="1622" y="811"/>
                  </a:lnTo>
                  <a:lnTo>
                    <a:pt x="1620" y="813"/>
                  </a:lnTo>
                  <a:lnTo>
                    <a:pt x="1619" y="817"/>
                  </a:lnTo>
                  <a:lnTo>
                    <a:pt x="1617" y="821"/>
                  </a:lnTo>
                  <a:lnTo>
                    <a:pt x="1615" y="825"/>
                  </a:lnTo>
                  <a:lnTo>
                    <a:pt x="1613" y="828"/>
                  </a:lnTo>
                  <a:lnTo>
                    <a:pt x="1611" y="831"/>
                  </a:lnTo>
                  <a:lnTo>
                    <a:pt x="1606" y="832"/>
                  </a:lnTo>
                  <a:lnTo>
                    <a:pt x="1606" y="842"/>
                  </a:lnTo>
                  <a:lnTo>
                    <a:pt x="1603" y="843"/>
                  </a:lnTo>
                  <a:lnTo>
                    <a:pt x="1598" y="847"/>
                  </a:lnTo>
                  <a:lnTo>
                    <a:pt x="1595" y="850"/>
                  </a:lnTo>
                  <a:lnTo>
                    <a:pt x="1592" y="855"/>
                  </a:lnTo>
                  <a:lnTo>
                    <a:pt x="1586" y="864"/>
                  </a:lnTo>
                  <a:lnTo>
                    <a:pt x="1585" y="870"/>
                  </a:lnTo>
                  <a:lnTo>
                    <a:pt x="1574" y="876"/>
                  </a:lnTo>
                  <a:lnTo>
                    <a:pt x="1574" y="887"/>
                  </a:lnTo>
                  <a:lnTo>
                    <a:pt x="1568" y="893"/>
                  </a:lnTo>
                  <a:lnTo>
                    <a:pt x="1563" y="898"/>
                  </a:lnTo>
                  <a:lnTo>
                    <a:pt x="1557" y="902"/>
                  </a:lnTo>
                  <a:lnTo>
                    <a:pt x="1552" y="904"/>
                  </a:lnTo>
                  <a:lnTo>
                    <a:pt x="1552" y="915"/>
                  </a:lnTo>
                  <a:lnTo>
                    <a:pt x="1548" y="918"/>
                  </a:lnTo>
                  <a:lnTo>
                    <a:pt x="1546" y="929"/>
                  </a:lnTo>
                  <a:lnTo>
                    <a:pt x="1542" y="944"/>
                  </a:lnTo>
                  <a:lnTo>
                    <a:pt x="1538" y="962"/>
                  </a:lnTo>
                  <a:lnTo>
                    <a:pt x="1532" y="996"/>
                  </a:lnTo>
                  <a:lnTo>
                    <a:pt x="1529" y="1020"/>
                  </a:lnTo>
                  <a:lnTo>
                    <a:pt x="1527" y="1045"/>
                  </a:lnTo>
                  <a:lnTo>
                    <a:pt x="1524" y="1072"/>
                  </a:lnTo>
                  <a:lnTo>
                    <a:pt x="1520" y="1099"/>
                  </a:lnTo>
                  <a:lnTo>
                    <a:pt x="1518" y="1126"/>
                  </a:lnTo>
                  <a:lnTo>
                    <a:pt x="1525" y="1131"/>
                  </a:lnTo>
                  <a:lnTo>
                    <a:pt x="1534" y="1139"/>
                  </a:lnTo>
                  <a:lnTo>
                    <a:pt x="1543" y="1147"/>
                  </a:lnTo>
                  <a:lnTo>
                    <a:pt x="1546" y="1153"/>
                  </a:lnTo>
                  <a:lnTo>
                    <a:pt x="1552" y="1158"/>
                  </a:lnTo>
                  <a:lnTo>
                    <a:pt x="1563" y="1158"/>
                  </a:lnTo>
                  <a:lnTo>
                    <a:pt x="1565" y="1165"/>
                  </a:lnTo>
                  <a:lnTo>
                    <a:pt x="1571" y="1172"/>
                  </a:lnTo>
                  <a:lnTo>
                    <a:pt x="1576" y="1178"/>
                  </a:lnTo>
                  <a:lnTo>
                    <a:pt x="1580" y="1181"/>
                  </a:lnTo>
                  <a:lnTo>
                    <a:pt x="1580" y="1192"/>
                  </a:lnTo>
                  <a:lnTo>
                    <a:pt x="1581" y="1193"/>
                  </a:lnTo>
                  <a:lnTo>
                    <a:pt x="1582" y="1194"/>
                  </a:lnTo>
                  <a:lnTo>
                    <a:pt x="1583" y="1195"/>
                  </a:lnTo>
                  <a:lnTo>
                    <a:pt x="1584" y="1198"/>
                  </a:lnTo>
                  <a:lnTo>
                    <a:pt x="1584" y="1204"/>
                  </a:lnTo>
                  <a:lnTo>
                    <a:pt x="1585" y="1208"/>
                  </a:lnTo>
                  <a:lnTo>
                    <a:pt x="1582" y="1210"/>
                  </a:lnTo>
                  <a:lnTo>
                    <a:pt x="1580" y="1212"/>
                  </a:lnTo>
                  <a:lnTo>
                    <a:pt x="1577" y="1216"/>
                  </a:lnTo>
                  <a:lnTo>
                    <a:pt x="1574" y="1221"/>
                  </a:lnTo>
                  <a:lnTo>
                    <a:pt x="1569" y="1230"/>
                  </a:lnTo>
                  <a:lnTo>
                    <a:pt x="1568" y="1236"/>
                  </a:lnTo>
                  <a:lnTo>
                    <a:pt x="1563" y="1242"/>
                  </a:lnTo>
                  <a:lnTo>
                    <a:pt x="1548" y="1242"/>
                  </a:lnTo>
                  <a:lnTo>
                    <a:pt x="1526" y="1242"/>
                  </a:lnTo>
                  <a:lnTo>
                    <a:pt x="1498" y="1242"/>
                  </a:lnTo>
                  <a:lnTo>
                    <a:pt x="1467" y="1242"/>
                  </a:lnTo>
                  <a:lnTo>
                    <a:pt x="1463" y="1236"/>
                  </a:lnTo>
                  <a:lnTo>
                    <a:pt x="1460" y="1231"/>
                  </a:lnTo>
                  <a:lnTo>
                    <a:pt x="1444" y="1223"/>
                  </a:lnTo>
                  <a:lnTo>
                    <a:pt x="1430" y="1215"/>
                  </a:lnTo>
                  <a:lnTo>
                    <a:pt x="1414" y="1207"/>
                  </a:lnTo>
                  <a:lnTo>
                    <a:pt x="1399" y="1193"/>
                  </a:lnTo>
                  <a:lnTo>
                    <a:pt x="1383" y="1177"/>
                  </a:lnTo>
                  <a:lnTo>
                    <a:pt x="1380" y="1176"/>
                  </a:lnTo>
                  <a:lnTo>
                    <a:pt x="1377" y="1176"/>
                  </a:lnTo>
                  <a:lnTo>
                    <a:pt x="1375" y="1174"/>
                  </a:lnTo>
                  <a:lnTo>
                    <a:pt x="1372" y="1172"/>
                  </a:lnTo>
                  <a:lnTo>
                    <a:pt x="1371" y="1169"/>
                  </a:lnTo>
                  <a:lnTo>
                    <a:pt x="1369" y="1167"/>
                  </a:lnTo>
                  <a:lnTo>
                    <a:pt x="1367" y="1164"/>
                  </a:lnTo>
                  <a:lnTo>
                    <a:pt x="1367" y="1162"/>
                  </a:lnTo>
                  <a:lnTo>
                    <a:pt x="1352" y="1162"/>
                  </a:lnTo>
                  <a:lnTo>
                    <a:pt x="1352" y="1157"/>
                  </a:lnTo>
                  <a:lnTo>
                    <a:pt x="1351" y="1155"/>
                  </a:lnTo>
                  <a:lnTo>
                    <a:pt x="1350" y="1154"/>
                  </a:lnTo>
                  <a:lnTo>
                    <a:pt x="1348" y="1154"/>
                  </a:lnTo>
                  <a:lnTo>
                    <a:pt x="1347" y="1154"/>
                  </a:lnTo>
                  <a:lnTo>
                    <a:pt x="1345" y="1153"/>
                  </a:lnTo>
                  <a:lnTo>
                    <a:pt x="1345" y="1150"/>
                  </a:lnTo>
                  <a:lnTo>
                    <a:pt x="1344" y="1146"/>
                  </a:lnTo>
                  <a:lnTo>
                    <a:pt x="1336" y="1138"/>
                  </a:lnTo>
                  <a:lnTo>
                    <a:pt x="1331" y="1137"/>
                  </a:lnTo>
                  <a:lnTo>
                    <a:pt x="1324" y="1135"/>
                  </a:lnTo>
                  <a:lnTo>
                    <a:pt x="1316" y="1131"/>
                  </a:lnTo>
                  <a:lnTo>
                    <a:pt x="1308" y="1127"/>
                  </a:lnTo>
                  <a:lnTo>
                    <a:pt x="1300" y="1123"/>
                  </a:lnTo>
                  <a:lnTo>
                    <a:pt x="1293" y="1119"/>
                  </a:lnTo>
                  <a:lnTo>
                    <a:pt x="1284" y="1116"/>
                  </a:lnTo>
                  <a:lnTo>
                    <a:pt x="1275" y="1115"/>
                  </a:lnTo>
                  <a:lnTo>
                    <a:pt x="1267" y="1099"/>
                  </a:lnTo>
                  <a:lnTo>
                    <a:pt x="1262" y="1098"/>
                  </a:lnTo>
                  <a:lnTo>
                    <a:pt x="1256" y="1093"/>
                  </a:lnTo>
                  <a:lnTo>
                    <a:pt x="1246" y="1088"/>
                  </a:lnTo>
                  <a:lnTo>
                    <a:pt x="1236" y="1080"/>
                  </a:lnTo>
                  <a:lnTo>
                    <a:pt x="1226" y="1073"/>
                  </a:lnTo>
                  <a:lnTo>
                    <a:pt x="1217" y="1067"/>
                  </a:lnTo>
                  <a:lnTo>
                    <a:pt x="1210" y="1062"/>
                  </a:lnTo>
                  <a:lnTo>
                    <a:pt x="1206" y="1061"/>
                  </a:lnTo>
                  <a:lnTo>
                    <a:pt x="1204" y="1057"/>
                  </a:lnTo>
                  <a:lnTo>
                    <a:pt x="1202" y="1052"/>
                  </a:lnTo>
                  <a:lnTo>
                    <a:pt x="1200" y="1048"/>
                  </a:lnTo>
                  <a:lnTo>
                    <a:pt x="1196" y="1042"/>
                  </a:lnTo>
                  <a:lnTo>
                    <a:pt x="1185" y="1032"/>
                  </a:lnTo>
                  <a:lnTo>
                    <a:pt x="1174" y="1022"/>
                  </a:lnTo>
                  <a:lnTo>
                    <a:pt x="1163" y="1012"/>
                  </a:lnTo>
                  <a:lnTo>
                    <a:pt x="1153" y="1002"/>
                  </a:lnTo>
                  <a:lnTo>
                    <a:pt x="1149" y="998"/>
                  </a:lnTo>
                  <a:lnTo>
                    <a:pt x="1146" y="993"/>
                  </a:lnTo>
                  <a:lnTo>
                    <a:pt x="1144" y="989"/>
                  </a:lnTo>
                  <a:lnTo>
                    <a:pt x="1143" y="984"/>
                  </a:lnTo>
                  <a:lnTo>
                    <a:pt x="1139" y="983"/>
                  </a:lnTo>
                  <a:lnTo>
                    <a:pt x="1136" y="983"/>
                  </a:lnTo>
                  <a:lnTo>
                    <a:pt x="1136" y="981"/>
                  </a:lnTo>
                  <a:lnTo>
                    <a:pt x="1135" y="980"/>
                  </a:lnTo>
                  <a:lnTo>
                    <a:pt x="1135" y="979"/>
                  </a:lnTo>
                  <a:lnTo>
                    <a:pt x="1135" y="977"/>
                  </a:lnTo>
                  <a:lnTo>
                    <a:pt x="1132" y="976"/>
                  </a:lnTo>
                  <a:lnTo>
                    <a:pt x="1129" y="976"/>
                  </a:lnTo>
                  <a:lnTo>
                    <a:pt x="1121" y="968"/>
                  </a:lnTo>
                  <a:lnTo>
                    <a:pt x="1121" y="953"/>
                  </a:lnTo>
                  <a:lnTo>
                    <a:pt x="1117" y="952"/>
                  </a:lnTo>
                  <a:lnTo>
                    <a:pt x="1113" y="951"/>
                  </a:lnTo>
                  <a:lnTo>
                    <a:pt x="1110" y="947"/>
                  </a:lnTo>
                  <a:lnTo>
                    <a:pt x="1106" y="943"/>
                  </a:lnTo>
                  <a:lnTo>
                    <a:pt x="1103" y="938"/>
                  </a:lnTo>
                  <a:lnTo>
                    <a:pt x="1100" y="933"/>
                  </a:lnTo>
                  <a:lnTo>
                    <a:pt x="1097" y="927"/>
                  </a:lnTo>
                  <a:lnTo>
                    <a:pt x="1097" y="922"/>
                  </a:lnTo>
                  <a:lnTo>
                    <a:pt x="1089" y="914"/>
                  </a:lnTo>
                  <a:lnTo>
                    <a:pt x="1084" y="914"/>
                  </a:lnTo>
                  <a:lnTo>
                    <a:pt x="1078" y="913"/>
                  </a:lnTo>
                  <a:lnTo>
                    <a:pt x="1077" y="913"/>
                  </a:lnTo>
                  <a:lnTo>
                    <a:pt x="1075" y="910"/>
                  </a:lnTo>
                  <a:lnTo>
                    <a:pt x="1074" y="909"/>
                  </a:lnTo>
                  <a:lnTo>
                    <a:pt x="1074" y="906"/>
                  </a:lnTo>
                  <a:lnTo>
                    <a:pt x="1058" y="905"/>
                  </a:lnTo>
                  <a:lnTo>
                    <a:pt x="1040" y="902"/>
                  </a:lnTo>
                  <a:lnTo>
                    <a:pt x="1021" y="897"/>
                  </a:lnTo>
                  <a:lnTo>
                    <a:pt x="1002" y="891"/>
                  </a:lnTo>
                  <a:lnTo>
                    <a:pt x="985" y="885"/>
                  </a:lnTo>
                  <a:lnTo>
                    <a:pt x="968" y="880"/>
                  </a:lnTo>
                  <a:lnTo>
                    <a:pt x="953" y="877"/>
                  </a:lnTo>
                  <a:lnTo>
                    <a:pt x="942" y="876"/>
                  </a:lnTo>
                  <a:lnTo>
                    <a:pt x="934" y="860"/>
                  </a:lnTo>
                  <a:lnTo>
                    <a:pt x="932" y="860"/>
                  </a:lnTo>
                  <a:lnTo>
                    <a:pt x="929" y="859"/>
                  </a:lnTo>
                  <a:lnTo>
                    <a:pt x="926" y="857"/>
                  </a:lnTo>
                  <a:lnTo>
                    <a:pt x="924" y="856"/>
                  </a:lnTo>
                  <a:lnTo>
                    <a:pt x="922" y="852"/>
                  </a:lnTo>
                  <a:lnTo>
                    <a:pt x="921" y="850"/>
                  </a:lnTo>
                  <a:lnTo>
                    <a:pt x="920" y="848"/>
                  </a:lnTo>
                  <a:lnTo>
                    <a:pt x="920" y="845"/>
                  </a:lnTo>
                  <a:lnTo>
                    <a:pt x="912" y="845"/>
                  </a:lnTo>
                  <a:lnTo>
                    <a:pt x="905" y="843"/>
                  </a:lnTo>
                  <a:lnTo>
                    <a:pt x="901" y="842"/>
                  </a:lnTo>
                  <a:lnTo>
                    <a:pt x="899" y="841"/>
                  </a:lnTo>
                  <a:lnTo>
                    <a:pt x="896" y="839"/>
                  </a:lnTo>
                  <a:lnTo>
                    <a:pt x="896" y="837"/>
                  </a:lnTo>
                  <a:lnTo>
                    <a:pt x="889" y="837"/>
                  </a:lnTo>
                  <a:lnTo>
                    <a:pt x="877" y="836"/>
                  </a:lnTo>
                  <a:lnTo>
                    <a:pt x="873" y="835"/>
                  </a:lnTo>
                  <a:lnTo>
                    <a:pt x="868" y="833"/>
                  </a:lnTo>
                  <a:lnTo>
                    <a:pt x="866" y="831"/>
                  </a:lnTo>
                  <a:lnTo>
                    <a:pt x="865" y="829"/>
                  </a:lnTo>
                  <a:lnTo>
                    <a:pt x="834" y="829"/>
                  </a:lnTo>
                  <a:lnTo>
                    <a:pt x="834" y="825"/>
                  </a:lnTo>
                  <a:lnTo>
                    <a:pt x="833" y="822"/>
                  </a:lnTo>
                  <a:lnTo>
                    <a:pt x="832" y="821"/>
                  </a:lnTo>
                  <a:lnTo>
                    <a:pt x="830" y="821"/>
                  </a:lnTo>
                  <a:lnTo>
                    <a:pt x="829" y="821"/>
                  </a:lnTo>
                  <a:lnTo>
                    <a:pt x="828" y="820"/>
                  </a:lnTo>
                  <a:lnTo>
                    <a:pt x="827" y="818"/>
                  </a:lnTo>
                  <a:lnTo>
                    <a:pt x="826" y="813"/>
                  </a:lnTo>
                  <a:lnTo>
                    <a:pt x="819" y="806"/>
                  </a:lnTo>
                  <a:lnTo>
                    <a:pt x="807" y="806"/>
                  </a:lnTo>
                  <a:lnTo>
                    <a:pt x="796" y="806"/>
                  </a:lnTo>
                  <a:lnTo>
                    <a:pt x="796" y="790"/>
                  </a:lnTo>
                  <a:lnTo>
                    <a:pt x="791" y="790"/>
                  </a:lnTo>
                  <a:lnTo>
                    <a:pt x="789" y="789"/>
                  </a:lnTo>
                  <a:lnTo>
                    <a:pt x="788" y="788"/>
                  </a:lnTo>
                  <a:lnTo>
                    <a:pt x="788" y="787"/>
                  </a:lnTo>
                  <a:lnTo>
                    <a:pt x="788" y="785"/>
                  </a:lnTo>
                  <a:lnTo>
                    <a:pt x="787" y="784"/>
                  </a:lnTo>
                  <a:lnTo>
                    <a:pt x="785" y="783"/>
                  </a:lnTo>
                  <a:lnTo>
                    <a:pt x="780" y="783"/>
                  </a:lnTo>
                  <a:lnTo>
                    <a:pt x="780" y="768"/>
                  </a:lnTo>
                  <a:lnTo>
                    <a:pt x="772" y="760"/>
                  </a:lnTo>
                  <a:lnTo>
                    <a:pt x="765" y="752"/>
                  </a:lnTo>
                  <a:lnTo>
                    <a:pt x="757" y="744"/>
                  </a:lnTo>
                  <a:lnTo>
                    <a:pt x="749" y="736"/>
                  </a:lnTo>
                  <a:lnTo>
                    <a:pt x="736" y="737"/>
                  </a:lnTo>
                  <a:lnTo>
                    <a:pt x="719" y="740"/>
                  </a:lnTo>
                  <a:lnTo>
                    <a:pt x="704" y="743"/>
                  </a:lnTo>
                  <a:lnTo>
                    <a:pt x="695" y="744"/>
                  </a:lnTo>
                  <a:lnTo>
                    <a:pt x="694" y="749"/>
                  </a:lnTo>
                  <a:lnTo>
                    <a:pt x="694" y="751"/>
                  </a:lnTo>
                  <a:lnTo>
                    <a:pt x="693" y="752"/>
                  </a:lnTo>
                  <a:lnTo>
                    <a:pt x="691" y="752"/>
                  </a:lnTo>
                  <a:lnTo>
                    <a:pt x="690" y="752"/>
                  </a:lnTo>
                  <a:lnTo>
                    <a:pt x="689" y="753"/>
                  </a:lnTo>
                  <a:lnTo>
                    <a:pt x="688" y="755"/>
                  </a:lnTo>
                  <a:lnTo>
                    <a:pt x="688" y="760"/>
                  </a:lnTo>
                  <a:lnTo>
                    <a:pt x="684" y="760"/>
                  </a:lnTo>
                  <a:lnTo>
                    <a:pt x="682" y="761"/>
                  </a:lnTo>
                  <a:lnTo>
                    <a:pt x="679" y="762"/>
                  </a:lnTo>
                  <a:lnTo>
                    <a:pt x="676" y="764"/>
                  </a:lnTo>
                  <a:lnTo>
                    <a:pt x="674" y="766"/>
                  </a:lnTo>
                  <a:lnTo>
                    <a:pt x="673" y="770"/>
                  </a:lnTo>
                  <a:lnTo>
                    <a:pt x="672" y="772"/>
                  </a:lnTo>
                  <a:lnTo>
                    <a:pt x="672" y="775"/>
                  </a:lnTo>
                  <a:lnTo>
                    <a:pt x="657" y="775"/>
                  </a:lnTo>
                  <a:lnTo>
                    <a:pt x="634" y="774"/>
                  </a:lnTo>
                  <a:lnTo>
                    <a:pt x="623" y="773"/>
                  </a:lnTo>
                  <a:lnTo>
                    <a:pt x="612" y="772"/>
                  </a:lnTo>
                  <a:lnTo>
                    <a:pt x="608" y="771"/>
                  </a:lnTo>
                  <a:lnTo>
                    <a:pt x="605" y="770"/>
                  </a:lnTo>
                  <a:lnTo>
                    <a:pt x="603" y="769"/>
                  </a:lnTo>
                  <a:lnTo>
                    <a:pt x="603" y="768"/>
                  </a:lnTo>
                  <a:lnTo>
                    <a:pt x="597" y="768"/>
                  </a:lnTo>
                  <a:lnTo>
                    <a:pt x="592" y="766"/>
                  </a:lnTo>
                  <a:lnTo>
                    <a:pt x="589" y="765"/>
                  </a:lnTo>
                  <a:lnTo>
                    <a:pt x="588" y="764"/>
                  </a:lnTo>
                  <a:lnTo>
                    <a:pt x="587" y="762"/>
                  </a:lnTo>
                  <a:lnTo>
                    <a:pt x="587" y="760"/>
                  </a:lnTo>
                  <a:lnTo>
                    <a:pt x="571" y="760"/>
                  </a:lnTo>
                  <a:lnTo>
                    <a:pt x="546" y="761"/>
                  </a:lnTo>
                  <a:lnTo>
                    <a:pt x="532" y="762"/>
                  </a:lnTo>
                  <a:lnTo>
                    <a:pt x="520" y="763"/>
                  </a:lnTo>
                  <a:lnTo>
                    <a:pt x="516" y="764"/>
                  </a:lnTo>
                  <a:lnTo>
                    <a:pt x="512" y="764"/>
                  </a:lnTo>
                  <a:lnTo>
                    <a:pt x="510" y="766"/>
                  </a:lnTo>
                  <a:lnTo>
                    <a:pt x="510" y="768"/>
                  </a:lnTo>
                  <a:lnTo>
                    <a:pt x="501" y="769"/>
                  </a:lnTo>
                  <a:lnTo>
                    <a:pt x="491" y="772"/>
                  </a:lnTo>
                  <a:lnTo>
                    <a:pt x="487" y="774"/>
                  </a:lnTo>
                  <a:lnTo>
                    <a:pt x="482" y="778"/>
                  </a:lnTo>
                  <a:lnTo>
                    <a:pt x="480" y="780"/>
                  </a:lnTo>
                  <a:lnTo>
                    <a:pt x="479" y="783"/>
                  </a:lnTo>
                  <a:lnTo>
                    <a:pt x="469" y="784"/>
                  </a:lnTo>
                  <a:lnTo>
                    <a:pt x="460" y="787"/>
                  </a:lnTo>
                  <a:lnTo>
                    <a:pt x="451" y="789"/>
                  </a:lnTo>
                  <a:lnTo>
                    <a:pt x="440" y="790"/>
                  </a:lnTo>
                  <a:lnTo>
                    <a:pt x="440" y="794"/>
                  </a:lnTo>
                  <a:lnTo>
                    <a:pt x="438" y="798"/>
                  </a:lnTo>
                  <a:lnTo>
                    <a:pt x="434" y="801"/>
                  </a:lnTo>
                  <a:lnTo>
                    <a:pt x="430" y="804"/>
                  </a:lnTo>
                  <a:lnTo>
                    <a:pt x="424" y="807"/>
                  </a:lnTo>
                  <a:lnTo>
                    <a:pt x="417" y="809"/>
                  </a:lnTo>
                  <a:lnTo>
                    <a:pt x="411" y="810"/>
                  </a:lnTo>
                  <a:lnTo>
                    <a:pt x="403" y="811"/>
                  </a:lnTo>
                  <a:lnTo>
                    <a:pt x="384" y="813"/>
                  </a:lnTo>
                  <a:lnTo>
                    <a:pt x="364" y="814"/>
                  </a:lnTo>
                  <a:lnTo>
                    <a:pt x="343" y="814"/>
                  </a:lnTo>
                  <a:lnTo>
                    <a:pt x="320" y="814"/>
                  </a:lnTo>
                  <a:lnTo>
                    <a:pt x="276" y="813"/>
                  </a:lnTo>
                  <a:lnTo>
                    <a:pt x="238" y="813"/>
                  </a:lnTo>
                  <a:lnTo>
                    <a:pt x="222" y="814"/>
                  </a:lnTo>
                  <a:lnTo>
                    <a:pt x="211" y="816"/>
                  </a:lnTo>
                  <a:lnTo>
                    <a:pt x="206" y="817"/>
                  </a:lnTo>
                  <a:lnTo>
                    <a:pt x="203" y="818"/>
                  </a:lnTo>
                  <a:lnTo>
                    <a:pt x="201" y="819"/>
                  </a:lnTo>
                  <a:lnTo>
                    <a:pt x="201" y="821"/>
                  </a:lnTo>
                  <a:lnTo>
                    <a:pt x="177" y="821"/>
                  </a:lnTo>
                  <a:lnTo>
                    <a:pt x="176" y="826"/>
                  </a:lnTo>
                  <a:lnTo>
                    <a:pt x="176" y="828"/>
                  </a:lnTo>
                  <a:lnTo>
                    <a:pt x="175" y="829"/>
                  </a:lnTo>
                  <a:lnTo>
                    <a:pt x="173" y="829"/>
                  </a:lnTo>
                  <a:lnTo>
                    <a:pt x="172" y="829"/>
                  </a:lnTo>
                  <a:lnTo>
                    <a:pt x="171" y="830"/>
                  </a:lnTo>
                  <a:lnTo>
                    <a:pt x="170" y="832"/>
                  </a:lnTo>
                  <a:lnTo>
                    <a:pt x="170" y="837"/>
                  </a:lnTo>
                  <a:lnTo>
                    <a:pt x="154" y="841"/>
                  </a:lnTo>
                  <a:lnTo>
                    <a:pt x="138" y="845"/>
                  </a:lnTo>
                  <a:lnTo>
                    <a:pt x="127" y="856"/>
                  </a:lnTo>
                  <a:lnTo>
                    <a:pt x="115" y="868"/>
                  </a:lnTo>
                  <a:lnTo>
                    <a:pt x="109" y="868"/>
                  </a:lnTo>
                  <a:lnTo>
                    <a:pt x="105" y="869"/>
                  </a:lnTo>
                  <a:lnTo>
                    <a:pt x="103" y="869"/>
                  </a:lnTo>
                  <a:lnTo>
                    <a:pt x="102" y="871"/>
                  </a:lnTo>
                  <a:lnTo>
                    <a:pt x="100" y="873"/>
                  </a:lnTo>
                  <a:lnTo>
                    <a:pt x="100" y="876"/>
                  </a:lnTo>
                  <a:lnTo>
                    <a:pt x="11" y="876"/>
                  </a:lnTo>
                  <a:lnTo>
                    <a:pt x="19" y="855"/>
                  </a:lnTo>
                  <a:lnTo>
                    <a:pt x="27" y="828"/>
                  </a:lnTo>
                  <a:lnTo>
                    <a:pt x="35" y="801"/>
                  </a:lnTo>
                  <a:lnTo>
                    <a:pt x="43" y="781"/>
                  </a:lnTo>
                  <a:lnTo>
                    <a:pt x="62" y="748"/>
                  </a:lnTo>
                  <a:lnTo>
                    <a:pt x="78" y="721"/>
                  </a:lnTo>
                  <a:lnTo>
                    <a:pt x="84" y="711"/>
                  </a:lnTo>
                  <a:lnTo>
                    <a:pt x="88" y="701"/>
                  </a:lnTo>
                  <a:lnTo>
                    <a:pt x="91" y="692"/>
                  </a:lnTo>
                  <a:lnTo>
                    <a:pt x="93" y="683"/>
                  </a:lnTo>
                  <a:lnTo>
                    <a:pt x="95" y="682"/>
                  </a:lnTo>
                  <a:lnTo>
                    <a:pt x="97" y="681"/>
                  </a:lnTo>
                  <a:lnTo>
                    <a:pt x="98" y="679"/>
                  </a:lnTo>
                  <a:lnTo>
                    <a:pt x="99" y="677"/>
                  </a:lnTo>
                  <a:lnTo>
                    <a:pt x="99" y="673"/>
                  </a:lnTo>
                  <a:lnTo>
                    <a:pt x="100" y="667"/>
                  </a:lnTo>
                  <a:lnTo>
                    <a:pt x="102" y="666"/>
                  </a:lnTo>
                  <a:lnTo>
                    <a:pt x="103" y="664"/>
                  </a:lnTo>
                  <a:lnTo>
                    <a:pt x="104" y="662"/>
                  </a:lnTo>
                  <a:lnTo>
                    <a:pt x="105" y="657"/>
                  </a:lnTo>
                  <a:lnTo>
                    <a:pt x="106" y="647"/>
                  </a:lnTo>
                  <a:lnTo>
                    <a:pt x="107" y="635"/>
                  </a:lnTo>
                  <a:lnTo>
                    <a:pt x="107" y="611"/>
                  </a:lnTo>
                  <a:lnTo>
                    <a:pt x="107" y="597"/>
                  </a:lnTo>
                  <a:lnTo>
                    <a:pt x="93" y="589"/>
                  </a:lnTo>
                  <a:lnTo>
                    <a:pt x="85" y="582"/>
                  </a:lnTo>
                  <a:lnTo>
                    <a:pt x="84" y="579"/>
                  </a:lnTo>
                  <a:lnTo>
                    <a:pt x="80" y="575"/>
                  </a:lnTo>
                  <a:lnTo>
                    <a:pt x="77" y="571"/>
                  </a:lnTo>
                  <a:lnTo>
                    <a:pt x="71" y="568"/>
                  </a:lnTo>
                  <a:lnTo>
                    <a:pt x="67" y="564"/>
                  </a:lnTo>
                  <a:lnTo>
                    <a:pt x="61" y="561"/>
                  </a:lnTo>
                  <a:lnTo>
                    <a:pt x="57" y="559"/>
                  </a:lnTo>
                  <a:lnTo>
                    <a:pt x="54" y="559"/>
                  </a:lnTo>
                  <a:lnTo>
                    <a:pt x="52" y="556"/>
                  </a:lnTo>
                  <a:lnTo>
                    <a:pt x="51" y="553"/>
                  </a:lnTo>
                  <a:lnTo>
                    <a:pt x="48" y="550"/>
                  </a:lnTo>
                  <a:lnTo>
                    <a:pt x="45" y="548"/>
                  </a:lnTo>
                  <a:lnTo>
                    <a:pt x="37" y="544"/>
                  </a:lnTo>
                  <a:lnTo>
                    <a:pt x="30" y="543"/>
                  </a:lnTo>
                  <a:lnTo>
                    <a:pt x="29" y="537"/>
                  </a:lnTo>
                  <a:lnTo>
                    <a:pt x="26" y="529"/>
                  </a:lnTo>
                  <a:lnTo>
                    <a:pt x="23" y="525"/>
                  </a:lnTo>
                  <a:lnTo>
                    <a:pt x="20" y="522"/>
                  </a:lnTo>
                  <a:lnTo>
                    <a:pt x="18" y="521"/>
                  </a:lnTo>
                  <a:lnTo>
                    <a:pt x="14" y="520"/>
                  </a:lnTo>
                  <a:lnTo>
                    <a:pt x="14" y="496"/>
                  </a:lnTo>
                  <a:lnTo>
                    <a:pt x="10" y="496"/>
                  </a:lnTo>
                  <a:lnTo>
                    <a:pt x="8" y="495"/>
                  </a:lnTo>
                  <a:lnTo>
                    <a:pt x="8" y="494"/>
                  </a:lnTo>
                  <a:lnTo>
                    <a:pt x="7" y="493"/>
                  </a:lnTo>
                  <a:lnTo>
                    <a:pt x="7" y="492"/>
                  </a:lnTo>
                  <a:lnTo>
                    <a:pt x="7" y="491"/>
                  </a:lnTo>
                  <a:lnTo>
                    <a:pt x="4" y="490"/>
                  </a:lnTo>
                  <a:lnTo>
                    <a:pt x="0" y="489"/>
                  </a:lnTo>
                  <a:lnTo>
                    <a:pt x="0" y="45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2" name="Freeform 35">
              <a:extLst>
                <a:ext uri="{FF2B5EF4-FFF2-40B4-BE49-F238E27FC236}">
                  <a16:creationId xmlns:a16="http://schemas.microsoft.com/office/drawing/2014/main" id="{B35CF09A-7CB3-4419-8A9D-6A2C17526AF8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781800" y="3436938"/>
              <a:ext cx="265793" cy="185738"/>
            </a:xfrm>
            <a:custGeom>
              <a:avLst/>
              <a:gdLst/>
              <a:ahLst/>
              <a:cxnLst>
                <a:cxn ang="0">
                  <a:pos x="1271" y="34"/>
                </a:cxn>
                <a:cxn ang="0">
                  <a:pos x="1242" y="75"/>
                </a:cxn>
                <a:cxn ang="0">
                  <a:pos x="1203" y="113"/>
                </a:cxn>
                <a:cxn ang="0">
                  <a:pos x="1185" y="126"/>
                </a:cxn>
                <a:cxn ang="0">
                  <a:pos x="1164" y="162"/>
                </a:cxn>
                <a:cxn ang="0">
                  <a:pos x="1109" y="162"/>
                </a:cxn>
                <a:cxn ang="0">
                  <a:pos x="957" y="101"/>
                </a:cxn>
                <a:cxn ang="0">
                  <a:pos x="943" y="112"/>
                </a:cxn>
                <a:cxn ang="0">
                  <a:pos x="894" y="112"/>
                </a:cxn>
                <a:cxn ang="0">
                  <a:pos x="879" y="126"/>
                </a:cxn>
                <a:cxn ang="0">
                  <a:pos x="851" y="161"/>
                </a:cxn>
                <a:cxn ang="0">
                  <a:pos x="742" y="185"/>
                </a:cxn>
                <a:cxn ang="0">
                  <a:pos x="630" y="207"/>
                </a:cxn>
                <a:cxn ang="0">
                  <a:pos x="506" y="228"/>
                </a:cxn>
                <a:cxn ang="0">
                  <a:pos x="385" y="250"/>
                </a:cxn>
                <a:cxn ang="0">
                  <a:pos x="374" y="252"/>
                </a:cxn>
                <a:cxn ang="0">
                  <a:pos x="281" y="170"/>
                </a:cxn>
                <a:cxn ang="0">
                  <a:pos x="174" y="129"/>
                </a:cxn>
                <a:cxn ang="0">
                  <a:pos x="14" y="119"/>
                </a:cxn>
                <a:cxn ang="0">
                  <a:pos x="3" y="132"/>
                </a:cxn>
                <a:cxn ang="0">
                  <a:pos x="4" y="227"/>
                </a:cxn>
                <a:cxn ang="0">
                  <a:pos x="159" y="233"/>
                </a:cxn>
                <a:cxn ang="0">
                  <a:pos x="260" y="231"/>
                </a:cxn>
                <a:cxn ang="0">
                  <a:pos x="281" y="250"/>
                </a:cxn>
                <a:cxn ang="0">
                  <a:pos x="323" y="294"/>
                </a:cxn>
                <a:cxn ang="0">
                  <a:pos x="371" y="416"/>
                </a:cxn>
                <a:cxn ang="0">
                  <a:pos x="387" y="464"/>
                </a:cxn>
                <a:cxn ang="0">
                  <a:pos x="461" y="580"/>
                </a:cxn>
                <a:cxn ang="0">
                  <a:pos x="554" y="686"/>
                </a:cxn>
                <a:cxn ang="0">
                  <a:pos x="636" y="818"/>
                </a:cxn>
                <a:cxn ang="0">
                  <a:pos x="657" y="859"/>
                </a:cxn>
                <a:cxn ang="0">
                  <a:pos x="673" y="892"/>
                </a:cxn>
                <a:cxn ang="0">
                  <a:pos x="692" y="950"/>
                </a:cxn>
                <a:cxn ang="0">
                  <a:pos x="721" y="996"/>
                </a:cxn>
                <a:cxn ang="0">
                  <a:pos x="751" y="968"/>
                </a:cxn>
                <a:cxn ang="0">
                  <a:pos x="759" y="931"/>
                </a:cxn>
                <a:cxn ang="0">
                  <a:pos x="799" y="879"/>
                </a:cxn>
                <a:cxn ang="0">
                  <a:pos x="871" y="789"/>
                </a:cxn>
                <a:cxn ang="0">
                  <a:pos x="888" y="747"/>
                </a:cxn>
                <a:cxn ang="0">
                  <a:pos x="935" y="692"/>
                </a:cxn>
                <a:cxn ang="0">
                  <a:pos x="1050" y="640"/>
                </a:cxn>
                <a:cxn ang="0">
                  <a:pos x="1067" y="612"/>
                </a:cxn>
                <a:cxn ang="0">
                  <a:pos x="1084" y="588"/>
                </a:cxn>
                <a:cxn ang="0">
                  <a:pos x="1108" y="507"/>
                </a:cxn>
                <a:cxn ang="0">
                  <a:pos x="1144" y="484"/>
                </a:cxn>
                <a:cxn ang="0">
                  <a:pos x="1150" y="476"/>
                </a:cxn>
                <a:cxn ang="0">
                  <a:pos x="1169" y="462"/>
                </a:cxn>
                <a:cxn ang="0">
                  <a:pos x="1178" y="453"/>
                </a:cxn>
                <a:cxn ang="0">
                  <a:pos x="1191" y="442"/>
                </a:cxn>
                <a:cxn ang="0">
                  <a:pos x="1205" y="433"/>
                </a:cxn>
                <a:cxn ang="0">
                  <a:pos x="1240" y="409"/>
                </a:cxn>
                <a:cxn ang="0">
                  <a:pos x="1261" y="377"/>
                </a:cxn>
                <a:cxn ang="0">
                  <a:pos x="1272" y="323"/>
                </a:cxn>
                <a:cxn ang="0">
                  <a:pos x="1311" y="237"/>
                </a:cxn>
                <a:cxn ang="0">
                  <a:pos x="1318" y="229"/>
                </a:cxn>
                <a:cxn ang="0">
                  <a:pos x="1327" y="214"/>
                </a:cxn>
                <a:cxn ang="0">
                  <a:pos x="1361" y="108"/>
                </a:cxn>
                <a:cxn ang="0">
                  <a:pos x="1367" y="48"/>
                </a:cxn>
                <a:cxn ang="0">
                  <a:pos x="1356" y="26"/>
                </a:cxn>
                <a:cxn ang="0">
                  <a:pos x="1338" y="13"/>
                </a:cxn>
              </a:cxnLst>
              <a:rect l="0" t="0" r="r" b="b"/>
              <a:pathLst>
                <a:path w="1369" h="996">
                  <a:moveTo>
                    <a:pt x="1338" y="0"/>
                  </a:moveTo>
                  <a:lnTo>
                    <a:pt x="1320" y="3"/>
                  </a:lnTo>
                  <a:lnTo>
                    <a:pt x="1306" y="4"/>
                  </a:lnTo>
                  <a:lnTo>
                    <a:pt x="1272" y="13"/>
                  </a:lnTo>
                  <a:lnTo>
                    <a:pt x="1272" y="23"/>
                  </a:lnTo>
                  <a:lnTo>
                    <a:pt x="1271" y="34"/>
                  </a:lnTo>
                  <a:lnTo>
                    <a:pt x="1270" y="44"/>
                  </a:lnTo>
                  <a:lnTo>
                    <a:pt x="1270" y="53"/>
                  </a:lnTo>
                  <a:lnTo>
                    <a:pt x="1262" y="56"/>
                  </a:lnTo>
                  <a:lnTo>
                    <a:pt x="1252" y="67"/>
                  </a:lnTo>
                  <a:lnTo>
                    <a:pt x="1248" y="71"/>
                  </a:lnTo>
                  <a:lnTo>
                    <a:pt x="1242" y="75"/>
                  </a:lnTo>
                  <a:lnTo>
                    <a:pt x="1238" y="79"/>
                  </a:lnTo>
                  <a:lnTo>
                    <a:pt x="1233" y="80"/>
                  </a:lnTo>
                  <a:lnTo>
                    <a:pt x="1229" y="85"/>
                  </a:lnTo>
                  <a:lnTo>
                    <a:pt x="1220" y="96"/>
                  </a:lnTo>
                  <a:lnTo>
                    <a:pt x="1209" y="106"/>
                  </a:lnTo>
                  <a:lnTo>
                    <a:pt x="1203" y="113"/>
                  </a:lnTo>
                  <a:lnTo>
                    <a:pt x="1198" y="113"/>
                  </a:lnTo>
                  <a:lnTo>
                    <a:pt x="1194" y="116"/>
                  </a:lnTo>
                  <a:lnTo>
                    <a:pt x="1192" y="117"/>
                  </a:lnTo>
                  <a:lnTo>
                    <a:pt x="1191" y="119"/>
                  </a:lnTo>
                  <a:lnTo>
                    <a:pt x="1185" y="119"/>
                  </a:lnTo>
                  <a:lnTo>
                    <a:pt x="1185" y="126"/>
                  </a:lnTo>
                  <a:lnTo>
                    <a:pt x="1178" y="135"/>
                  </a:lnTo>
                  <a:lnTo>
                    <a:pt x="1173" y="144"/>
                  </a:lnTo>
                  <a:lnTo>
                    <a:pt x="1172" y="150"/>
                  </a:lnTo>
                  <a:lnTo>
                    <a:pt x="1171" y="155"/>
                  </a:lnTo>
                  <a:lnTo>
                    <a:pt x="1167" y="159"/>
                  </a:lnTo>
                  <a:lnTo>
                    <a:pt x="1164" y="162"/>
                  </a:lnTo>
                  <a:lnTo>
                    <a:pt x="1159" y="165"/>
                  </a:lnTo>
                  <a:lnTo>
                    <a:pt x="1154" y="167"/>
                  </a:lnTo>
                  <a:lnTo>
                    <a:pt x="1148" y="167"/>
                  </a:lnTo>
                  <a:lnTo>
                    <a:pt x="1142" y="168"/>
                  </a:lnTo>
                  <a:lnTo>
                    <a:pt x="1126" y="166"/>
                  </a:lnTo>
                  <a:lnTo>
                    <a:pt x="1109" y="162"/>
                  </a:lnTo>
                  <a:lnTo>
                    <a:pt x="1091" y="157"/>
                  </a:lnTo>
                  <a:lnTo>
                    <a:pt x="1072" y="149"/>
                  </a:lnTo>
                  <a:lnTo>
                    <a:pt x="1033" y="133"/>
                  </a:lnTo>
                  <a:lnTo>
                    <a:pt x="999" y="118"/>
                  </a:lnTo>
                  <a:lnTo>
                    <a:pt x="972" y="106"/>
                  </a:lnTo>
                  <a:lnTo>
                    <a:pt x="957" y="101"/>
                  </a:lnTo>
                  <a:lnTo>
                    <a:pt x="956" y="103"/>
                  </a:lnTo>
                  <a:lnTo>
                    <a:pt x="954" y="107"/>
                  </a:lnTo>
                  <a:lnTo>
                    <a:pt x="950" y="109"/>
                  </a:lnTo>
                  <a:lnTo>
                    <a:pt x="945" y="110"/>
                  </a:lnTo>
                  <a:lnTo>
                    <a:pt x="944" y="111"/>
                  </a:lnTo>
                  <a:lnTo>
                    <a:pt x="943" y="112"/>
                  </a:lnTo>
                  <a:lnTo>
                    <a:pt x="940" y="113"/>
                  </a:lnTo>
                  <a:lnTo>
                    <a:pt x="936" y="113"/>
                  </a:lnTo>
                  <a:lnTo>
                    <a:pt x="926" y="112"/>
                  </a:lnTo>
                  <a:lnTo>
                    <a:pt x="915" y="112"/>
                  </a:lnTo>
                  <a:lnTo>
                    <a:pt x="904" y="111"/>
                  </a:lnTo>
                  <a:lnTo>
                    <a:pt x="894" y="112"/>
                  </a:lnTo>
                  <a:lnTo>
                    <a:pt x="890" y="115"/>
                  </a:lnTo>
                  <a:lnTo>
                    <a:pt x="887" y="116"/>
                  </a:lnTo>
                  <a:lnTo>
                    <a:pt x="885" y="119"/>
                  </a:lnTo>
                  <a:lnTo>
                    <a:pt x="885" y="122"/>
                  </a:lnTo>
                  <a:lnTo>
                    <a:pt x="881" y="123"/>
                  </a:lnTo>
                  <a:lnTo>
                    <a:pt x="879" y="126"/>
                  </a:lnTo>
                  <a:lnTo>
                    <a:pt x="877" y="128"/>
                  </a:lnTo>
                  <a:lnTo>
                    <a:pt x="875" y="132"/>
                  </a:lnTo>
                  <a:lnTo>
                    <a:pt x="871" y="139"/>
                  </a:lnTo>
                  <a:lnTo>
                    <a:pt x="869" y="144"/>
                  </a:lnTo>
                  <a:lnTo>
                    <a:pt x="859" y="152"/>
                  </a:lnTo>
                  <a:lnTo>
                    <a:pt x="851" y="161"/>
                  </a:lnTo>
                  <a:lnTo>
                    <a:pt x="835" y="162"/>
                  </a:lnTo>
                  <a:lnTo>
                    <a:pt x="819" y="164"/>
                  </a:lnTo>
                  <a:lnTo>
                    <a:pt x="806" y="166"/>
                  </a:lnTo>
                  <a:lnTo>
                    <a:pt x="791" y="169"/>
                  </a:lnTo>
                  <a:lnTo>
                    <a:pt x="766" y="176"/>
                  </a:lnTo>
                  <a:lnTo>
                    <a:pt x="742" y="185"/>
                  </a:lnTo>
                  <a:lnTo>
                    <a:pt x="717" y="193"/>
                  </a:lnTo>
                  <a:lnTo>
                    <a:pt x="692" y="200"/>
                  </a:lnTo>
                  <a:lnTo>
                    <a:pt x="677" y="203"/>
                  </a:lnTo>
                  <a:lnTo>
                    <a:pt x="663" y="205"/>
                  </a:lnTo>
                  <a:lnTo>
                    <a:pt x="647" y="207"/>
                  </a:lnTo>
                  <a:lnTo>
                    <a:pt x="630" y="207"/>
                  </a:lnTo>
                  <a:lnTo>
                    <a:pt x="615" y="208"/>
                  </a:lnTo>
                  <a:lnTo>
                    <a:pt x="599" y="209"/>
                  </a:lnTo>
                  <a:lnTo>
                    <a:pt x="583" y="212"/>
                  </a:lnTo>
                  <a:lnTo>
                    <a:pt x="568" y="214"/>
                  </a:lnTo>
                  <a:lnTo>
                    <a:pt x="537" y="221"/>
                  </a:lnTo>
                  <a:lnTo>
                    <a:pt x="506" y="228"/>
                  </a:lnTo>
                  <a:lnTo>
                    <a:pt x="475" y="236"/>
                  </a:lnTo>
                  <a:lnTo>
                    <a:pt x="445" y="243"/>
                  </a:lnTo>
                  <a:lnTo>
                    <a:pt x="429" y="246"/>
                  </a:lnTo>
                  <a:lnTo>
                    <a:pt x="414" y="247"/>
                  </a:lnTo>
                  <a:lnTo>
                    <a:pt x="399" y="250"/>
                  </a:lnTo>
                  <a:lnTo>
                    <a:pt x="385" y="250"/>
                  </a:lnTo>
                  <a:lnTo>
                    <a:pt x="384" y="252"/>
                  </a:lnTo>
                  <a:lnTo>
                    <a:pt x="384" y="253"/>
                  </a:lnTo>
                  <a:lnTo>
                    <a:pt x="382" y="254"/>
                  </a:lnTo>
                  <a:lnTo>
                    <a:pt x="381" y="254"/>
                  </a:lnTo>
                  <a:lnTo>
                    <a:pt x="378" y="254"/>
                  </a:lnTo>
                  <a:lnTo>
                    <a:pt x="374" y="252"/>
                  </a:lnTo>
                  <a:lnTo>
                    <a:pt x="362" y="244"/>
                  </a:lnTo>
                  <a:lnTo>
                    <a:pt x="349" y="233"/>
                  </a:lnTo>
                  <a:lnTo>
                    <a:pt x="324" y="208"/>
                  </a:lnTo>
                  <a:lnTo>
                    <a:pt x="312" y="195"/>
                  </a:lnTo>
                  <a:lnTo>
                    <a:pt x="297" y="181"/>
                  </a:lnTo>
                  <a:lnTo>
                    <a:pt x="281" y="170"/>
                  </a:lnTo>
                  <a:lnTo>
                    <a:pt x="265" y="160"/>
                  </a:lnTo>
                  <a:lnTo>
                    <a:pt x="247" y="151"/>
                  </a:lnTo>
                  <a:lnTo>
                    <a:pt x="230" y="144"/>
                  </a:lnTo>
                  <a:lnTo>
                    <a:pt x="212" y="138"/>
                  </a:lnTo>
                  <a:lnTo>
                    <a:pt x="193" y="132"/>
                  </a:lnTo>
                  <a:lnTo>
                    <a:pt x="174" y="129"/>
                  </a:lnTo>
                  <a:lnTo>
                    <a:pt x="154" y="126"/>
                  </a:lnTo>
                  <a:lnTo>
                    <a:pt x="134" y="123"/>
                  </a:lnTo>
                  <a:lnTo>
                    <a:pt x="113" y="121"/>
                  </a:lnTo>
                  <a:lnTo>
                    <a:pt x="93" y="120"/>
                  </a:lnTo>
                  <a:lnTo>
                    <a:pt x="54" y="119"/>
                  </a:lnTo>
                  <a:lnTo>
                    <a:pt x="14" y="119"/>
                  </a:lnTo>
                  <a:lnTo>
                    <a:pt x="13" y="121"/>
                  </a:lnTo>
                  <a:lnTo>
                    <a:pt x="11" y="123"/>
                  </a:lnTo>
                  <a:lnTo>
                    <a:pt x="9" y="125"/>
                  </a:lnTo>
                  <a:lnTo>
                    <a:pt x="5" y="126"/>
                  </a:lnTo>
                  <a:lnTo>
                    <a:pt x="5" y="131"/>
                  </a:lnTo>
                  <a:lnTo>
                    <a:pt x="3" y="132"/>
                  </a:lnTo>
                  <a:lnTo>
                    <a:pt x="2" y="136"/>
                  </a:lnTo>
                  <a:lnTo>
                    <a:pt x="1" y="141"/>
                  </a:lnTo>
                  <a:lnTo>
                    <a:pt x="1" y="148"/>
                  </a:lnTo>
                  <a:lnTo>
                    <a:pt x="0" y="166"/>
                  </a:lnTo>
                  <a:lnTo>
                    <a:pt x="1" y="186"/>
                  </a:lnTo>
                  <a:lnTo>
                    <a:pt x="4" y="227"/>
                  </a:lnTo>
                  <a:lnTo>
                    <a:pt x="5" y="253"/>
                  </a:lnTo>
                  <a:lnTo>
                    <a:pt x="9" y="256"/>
                  </a:lnTo>
                  <a:lnTo>
                    <a:pt x="32" y="253"/>
                  </a:lnTo>
                  <a:lnTo>
                    <a:pt x="68" y="247"/>
                  </a:lnTo>
                  <a:lnTo>
                    <a:pt x="112" y="241"/>
                  </a:lnTo>
                  <a:lnTo>
                    <a:pt x="159" y="233"/>
                  </a:lnTo>
                  <a:lnTo>
                    <a:pt x="183" y="231"/>
                  </a:lnTo>
                  <a:lnTo>
                    <a:pt x="205" y="229"/>
                  </a:lnTo>
                  <a:lnTo>
                    <a:pt x="226" y="228"/>
                  </a:lnTo>
                  <a:lnTo>
                    <a:pt x="244" y="228"/>
                  </a:lnTo>
                  <a:lnTo>
                    <a:pt x="252" y="229"/>
                  </a:lnTo>
                  <a:lnTo>
                    <a:pt x="260" y="231"/>
                  </a:lnTo>
                  <a:lnTo>
                    <a:pt x="265" y="233"/>
                  </a:lnTo>
                  <a:lnTo>
                    <a:pt x="271" y="235"/>
                  </a:lnTo>
                  <a:lnTo>
                    <a:pt x="275" y="238"/>
                  </a:lnTo>
                  <a:lnTo>
                    <a:pt x="279" y="242"/>
                  </a:lnTo>
                  <a:lnTo>
                    <a:pt x="281" y="245"/>
                  </a:lnTo>
                  <a:lnTo>
                    <a:pt x="281" y="250"/>
                  </a:lnTo>
                  <a:lnTo>
                    <a:pt x="288" y="250"/>
                  </a:lnTo>
                  <a:lnTo>
                    <a:pt x="301" y="262"/>
                  </a:lnTo>
                  <a:lnTo>
                    <a:pt x="314" y="274"/>
                  </a:lnTo>
                  <a:lnTo>
                    <a:pt x="321" y="274"/>
                  </a:lnTo>
                  <a:lnTo>
                    <a:pt x="321" y="283"/>
                  </a:lnTo>
                  <a:lnTo>
                    <a:pt x="323" y="294"/>
                  </a:lnTo>
                  <a:lnTo>
                    <a:pt x="327" y="305"/>
                  </a:lnTo>
                  <a:lnTo>
                    <a:pt x="330" y="317"/>
                  </a:lnTo>
                  <a:lnTo>
                    <a:pt x="340" y="341"/>
                  </a:lnTo>
                  <a:lnTo>
                    <a:pt x="351" y="367"/>
                  </a:lnTo>
                  <a:lnTo>
                    <a:pt x="362" y="391"/>
                  </a:lnTo>
                  <a:lnTo>
                    <a:pt x="371" y="416"/>
                  </a:lnTo>
                  <a:lnTo>
                    <a:pt x="376" y="428"/>
                  </a:lnTo>
                  <a:lnTo>
                    <a:pt x="379" y="439"/>
                  </a:lnTo>
                  <a:lnTo>
                    <a:pt x="380" y="449"/>
                  </a:lnTo>
                  <a:lnTo>
                    <a:pt x="381" y="458"/>
                  </a:lnTo>
                  <a:lnTo>
                    <a:pt x="384" y="460"/>
                  </a:lnTo>
                  <a:lnTo>
                    <a:pt x="387" y="464"/>
                  </a:lnTo>
                  <a:lnTo>
                    <a:pt x="391" y="469"/>
                  </a:lnTo>
                  <a:lnTo>
                    <a:pt x="397" y="477"/>
                  </a:lnTo>
                  <a:lnTo>
                    <a:pt x="408" y="495"/>
                  </a:lnTo>
                  <a:lnTo>
                    <a:pt x="422" y="517"/>
                  </a:lnTo>
                  <a:lnTo>
                    <a:pt x="446" y="559"/>
                  </a:lnTo>
                  <a:lnTo>
                    <a:pt x="461" y="580"/>
                  </a:lnTo>
                  <a:lnTo>
                    <a:pt x="480" y="600"/>
                  </a:lnTo>
                  <a:lnTo>
                    <a:pt x="512" y="635"/>
                  </a:lnTo>
                  <a:lnTo>
                    <a:pt x="528" y="651"/>
                  </a:lnTo>
                  <a:lnTo>
                    <a:pt x="541" y="667"/>
                  </a:lnTo>
                  <a:lnTo>
                    <a:pt x="551" y="679"/>
                  </a:lnTo>
                  <a:lnTo>
                    <a:pt x="554" y="686"/>
                  </a:lnTo>
                  <a:lnTo>
                    <a:pt x="559" y="693"/>
                  </a:lnTo>
                  <a:lnTo>
                    <a:pt x="570" y="709"/>
                  </a:lnTo>
                  <a:lnTo>
                    <a:pt x="586" y="733"/>
                  </a:lnTo>
                  <a:lnTo>
                    <a:pt x="604" y="762"/>
                  </a:lnTo>
                  <a:lnTo>
                    <a:pt x="621" y="791"/>
                  </a:lnTo>
                  <a:lnTo>
                    <a:pt x="636" y="818"/>
                  </a:lnTo>
                  <a:lnTo>
                    <a:pt x="643" y="830"/>
                  </a:lnTo>
                  <a:lnTo>
                    <a:pt x="647" y="840"/>
                  </a:lnTo>
                  <a:lnTo>
                    <a:pt x="650" y="848"/>
                  </a:lnTo>
                  <a:lnTo>
                    <a:pt x="652" y="853"/>
                  </a:lnTo>
                  <a:lnTo>
                    <a:pt x="655" y="854"/>
                  </a:lnTo>
                  <a:lnTo>
                    <a:pt x="657" y="859"/>
                  </a:lnTo>
                  <a:lnTo>
                    <a:pt x="660" y="866"/>
                  </a:lnTo>
                  <a:lnTo>
                    <a:pt x="663" y="872"/>
                  </a:lnTo>
                  <a:lnTo>
                    <a:pt x="665" y="880"/>
                  </a:lnTo>
                  <a:lnTo>
                    <a:pt x="668" y="886"/>
                  </a:lnTo>
                  <a:lnTo>
                    <a:pt x="670" y="890"/>
                  </a:lnTo>
                  <a:lnTo>
                    <a:pt x="673" y="892"/>
                  </a:lnTo>
                  <a:lnTo>
                    <a:pt x="673" y="899"/>
                  </a:lnTo>
                  <a:lnTo>
                    <a:pt x="674" y="907"/>
                  </a:lnTo>
                  <a:lnTo>
                    <a:pt x="676" y="914"/>
                  </a:lnTo>
                  <a:lnTo>
                    <a:pt x="678" y="921"/>
                  </a:lnTo>
                  <a:lnTo>
                    <a:pt x="685" y="937"/>
                  </a:lnTo>
                  <a:lnTo>
                    <a:pt x="692" y="950"/>
                  </a:lnTo>
                  <a:lnTo>
                    <a:pt x="705" y="975"/>
                  </a:lnTo>
                  <a:lnTo>
                    <a:pt x="712" y="989"/>
                  </a:lnTo>
                  <a:lnTo>
                    <a:pt x="717" y="989"/>
                  </a:lnTo>
                  <a:lnTo>
                    <a:pt x="718" y="993"/>
                  </a:lnTo>
                  <a:lnTo>
                    <a:pt x="720" y="995"/>
                  </a:lnTo>
                  <a:lnTo>
                    <a:pt x="721" y="996"/>
                  </a:lnTo>
                  <a:lnTo>
                    <a:pt x="724" y="996"/>
                  </a:lnTo>
                  <a:lnTo>
                    <a:pt x="730" y="994"/>
                  </a:lnTo>
                  <a:lnTo>
                    <a:pt x="736" y="989"/>
                  </a:lnTo>
                  <a:lnTo>
                    <a:pt x="743" y="982"/>
                  </a:lnTo>
                  <a:lnTo>
                    <a:pt x="749" y="973"/>
                  </a:lnTo>
                  <a:lnTo>
                    <a:pt x="751" y="968"/>
                  </a:lnTo>
                  <a:lnTo>
                    <a:pt x="753" y="963"/>
                  </a:lnTo>
                  <a:lnTo>
                    <a:pt x="754" y="958"/>
                  </a:lnTo>
                  <a:lnTo>
                    <a:pt x="754" y="953"/>
                  </a:lnTo>
                  <a:lnTo>
                    <a:pt x="754" y="946"/>
                  </a:lnTo>
                  <a:lnTo>
                    <a:pt x="756" y="938"/>
                  </a:lnTo>
                  <a:lnTo>
                    <a:pt x="759" y="931"/>
                  </a:lnTo>
                  <a:lnTo>
                    <a:pt x="762" y="924"/>
                  </a:lnTo>
                  <a:lnTo>
                    <a:pt x="766" y="916"/>
                  </a:lnTo>
                  <a:lnTo>
                    <a:pt x="771" y="909"/>
                  </a:lnTo>
                  <a:lnTo>
                    <a:pt x="778" y="901"/>
                  </a:lnTo>
                  <a:lnTo>
                    <a:pt x="784" y="894"/>
                  </a:lnTo>
                  <a:lnTo>
                    <a:pt x="799" y="879"/>
                  </a:lnTo>
                  <a:lnTo>
                    <a:pt x="817" y="864"/>
                  </a:lnTo>
                  <a:lnTo>
                    <a:pt x="837" y="850"/>
                  </a:lnTo>
                  <a:lnTo>
                    <a:pt x="859" y="835"/>
                  </a:lnTo>
                  <a:lnTo>
                    <a:pt x="866" y="793"/>
                  </a:lnTo>
                  <a:lnTo>
                    <a:pt x="869" y="792"/>
                  </a:lnTo>
                  <a:lnTo>
                    <a:pt x="871" y="789"/>
                  </a:lnTo>
                  <a:lnTo>
                    <a:pt x="875" y="783"/>
                  </a:lnTo>
                  <a:lnTo>
                    <a:pt x="877" y="777"/>
                  </a:lnTo>
                  <a:lnTo>
                    <a:pt x="880" y="764"/>
                  </a:lnTo>
                  <a:lnTo>
                    <a:pt x="881" y="755"/>
                  </a:lnTo>
                  <a:lnTo>
                    <a:pt x="885" y="753"/>
                  </a:lnTo>
                  <a:lnTo>
                    <a:pt x="888" y="747"/>
                  </a:lnTo>
                  <a:lnTo>
                    <a:pt x="893" y="739"/>
                  </a:lnTo>
                  <a:lnTo>
                    <a:pt x="896" y="731"/>
                  </a:lnTo>
                  <a:lnTo>
                    <a:pt x="902" y="713"/>
                  </a:lnTo>
                  <a:lnTo>
                    <a:pt x="905" y="700"/>
                  </a:lnTo>
                  <a:lnTo>
                    <a:pt x="913" y="693"/>
                  </a:lnTo>
                  <a:lnTo>
                    <a:pt x="935" y="692"/>
                  </a:lnTo>
                  <a:lnTo>
                    <a:pt x="957" y="689"/>
                  </a:lnTo>
                  <a:lnTo>
                    <a:pt x="979" y="687"/>
                  </a:lnTo>
                  <a:lnTo>
                    <a:pt x="998" y="686"/>
                  </a:lnTo>
                  <a:lnTo>
                    <a:pt x="1008" y="677"/>
                  </a:lnTo>
                  <a:lnTo>
                    <a:pt x="1029" y="658"/>
                  </a:lnTo>
                  <a:lnTo>
                    <a:pt x="1050" y="640"/>
                  </a:lnTo>
                  <a:lnTo>
                    <a:pt x="1059" y="631"/>
                  </a:lnTo>
                  <a:lnTo>
                    <a:pt x="1059" y="616"/>
                  </a:lnTo>
                  <a:lnTo>
                    <a:pt x="1063" y="616"/>
                  </a:lnTo>
                  <a:lnTo>
                    <a:pt x="1066" y="614"/>
                  </a:lnTo>
                  <a:lnTo>
                    <a:pt x="1067" y="613"/>
                  </a:lnTo>
                  <a:lnTo>
                    <a:pt x="1067" y="612"/>
                  </a:lnTo>
                  <a:lnTo>
                    <a:pt x="1067" y="611"/>
                  </a:lnTo>
                  <a:lnTo>
                    <a:pt x="1068" y="609"/>
                  </a:lnTo>
                  <a:lnTo>
                    <a:pt x="1070" y="609"/>
                  </a:lnTo>
                  <a:lnTo>
                    <a:pt x="1075" y="608"/>
                  </a:lnTo>
                  <a:lnTo>
                    <a:pt x="1082" y="600"/>
                  </a:lnTo>
                  <a:lnTo>
                    <a:pt x="1084" y="588"/>
                  </a:lnTo>
                  <a:lnTo>
                    <a:pt x="1086" y="572"/>
                  </a:lnTo>
                  <a:lnTo>
                    <a:pt x="1089" y="555"/>
                  </a:lnTo>
                  <a:lnTo>
                    <a:pt x="1090" y="539"/>
                  </a:lnTo>
                  <a:lnTo>
                    <a:pt x="1106" y="531"/>
                  </a:lnTo>
                  <a:lnTo>
                    <a:pt x="1106" y="507"/>
                  </a:lnTo>
                  <a:lnTo>
                    <a:pt x="1108" y="507"/>
                  </a:lnTo>
                  <a:lnTo>
                    <a:pt x="1111" y="505"/>
                  </a:lnTo>
                  <a:lnTo>
                    <a:pt x="1115" y="503"/>
                  </a:lnTo>
                  <a:lnTo>
                    <a:pt x="1117" y="498"/>
                  </a:lnTo>
                  <a:lnTo>
                    <a:pt x="1123" y="492"/>
                  </a:lnTo>
                  <a:lnTo>
                    <a:pt x="1129" y="484"/>
                  </a:lnTo>
                  <a:lnTo>
                    <a:pt x="1144" y="484"/>
                  </a:lnTo>
                  <a:lnTo>
                    <a:pt x="1145" y="481"/>
                  </a:lnTo>
                  <a:lnTo>
                    <a:pt x="1145" y="477"/>
                  </a:lnTo>
                  <a:lnTo>
                    <a:pt x="1147" y="477"/>
                  </a:lnTo>
                  <a:lnTo>
                    <a:pt x="1148" y="477"/>
                  </a:lnTo>
                  <a:lnTo>
                    <a:pt x="1149" y="476"/>
                  </a:lnTo>
                  <a:lnTo>
                    <a:pt x="1150" y="476"/>
                  </a:lnTo>
                  <a:lnTo>
                    <a:pt x="1152" y="474"/>
                  </a:lnTo>
                  <a:lnTo>
                    <a:pt x="1152" y="469"/>
                  </a:lnTo>
                  <a:lnTo>
                    <a:pt x="1167" y="469"/>
                  </a:lnTo>
                  <a:lnTo>
                    <a:pt x="1167" y="465"/>
                  </a:lnTo>
                  <a:lnTo>
                    <a:pt x="1168" y="463"/>
                  </a:lnTo>
                  <a:lnTo>
                    <a:pt x="1169" y="462"/>
                  </a:lnTo>
                  <a:lnTo>
                    <a:pt x="1172" y="462"/>
                  </a:lnTo>
                  <a:lnTo>
                    <a:pt x="1173" y="462"/>
                  </a:lnTo>
                  <a:lnTo>
                    <a:pt x="1174" y="460"/>
                  </a:lnTo>
                  <a:lnTo>
                    <a:pt x="1175" y="458"/>
                  </a:lnTo>
                  <a:lnTo>
                    <a:pt x="1175" y="454"/>
                  </a:lnTo>
                  <a:lnTo>
                    <a:pt x="1178" y="453"/>
                  </a:lnTo>
                  <a:lnTo>
                    <a:pt x="1181" y="453"/>
                  </a:lnTo>
                  <a:lnTo>
                    <a:pt x="1184" y="450"/>
                  </a:lnTo>
                  <a:lnTo>
                    <a:pt x="1186" y="448"/>
                  </a:lnTo>
                  <a:lnTo>
                    <a:pt x="1187" y="446"/>
                  </a:lnTo>
                  <a:lnTo>
                    <a:pt x="1190" y="444"/>
                  </a:lnTo>
                  <a:lnTo>
                    <a:pt x="1191" y="442"/>
                  </a:lnTo>
                  <a:lnTo>
                    <a:pt x="1191" y="438"/>
                  </a:lnTo>
                  <a:lnTo>
                    <a:pt x="1196" y="438"/>
                  </a:lnTo>
                  <a:lnTo>
                    <a:pt x="1201" y="437"/>
                  </a:lnTo>
                  <a:lnTo>
                    <a:pt x="1203" y="436"/>
                  </a:lnTo>
                  <a:lnTo>
                    <a:pt x="1205" y="435"/>
                  </a:lnTo>
                  <a:lnTo>
                    <a:pt x="1205" y="433"/>
                  </a:lnTo>
                  <a:lnTo>
                    <a:pt x="1206" y="430"/>
                  </a:lnTo>
                  <a:lnTo>
                    <a:pt x="1222" y="430"/>
                  </a:lnTo>
                  <a:lnTo>
                    <a:pt x="1222" y="415"/>
                  </a:lnTo>
                  <a:lnTo>
                    <a:pt x="1238" y="415"/>
                  </a:lnTo>
                  <a:lnTo>
                    <a:pt x="1238" y="412"/>
                  </a:lnTo>
                  <a:lnTo>
                    <a:pt x="1240" y="409"/>
                  </a:lnTo>
                  <a:lnTo>
                    <a:pt x="1242" y="406"/>
                  </a:lnTo>
                  <a:lnTo>
                    <a:pt x="1245" y="404"/>
                  </a:lnTo>
                  <a:lnTo>
                    <a:pt x="1253" y="398"/>
                  </a:lnTo>
                  <a:lnTo>
                    <a:pt x="1260" y="391"/>
                  </a:lnTo>
                  <a:lnTo>
                    <a:pt x="1260" y="385"/>
                  </a:lnTo>
                  <a:lnTo>
                    <a:pt x="1261" y="377"/>
                  </a:lnTo>
                  <a:lnTo>
                    <a:pt x="1262" y="373"/>
                  </a:lnTo>
                  <a:lnTo>
                    <a:pt x="1263" y="371"/>
                  </a:lnTo>
                  <a:lnTo>
                    <a:pt x="1265" y="369"/>
                  </a:lnTo>
                  <a:lnTo>
                    <a:pt x="1268" y="369"/>
                  </a:lnTo>
                  <a:lnTo>
                    <a:pt x="1269" y="348"/>
                  </a:lnTo>
                  <a:lnTo>
                    <a:pt x="1272" y="323"/>
                  </a:lnTo>
                  <a:lnTo>
                    <a:pt x="1274" y="300"/>
                  </a:lnTo>
                  <a:lnTo>
                    <a:pt x="1276" y="283"/>
                  </a:lnTo>
                  <a:lnTo>
                    <a:pt x="1291" y="269"/>
                  </a:lnTo>
                  <a:lnTo>
                    <a:pt x="1307" y="253"/>
                  </a:lnTo>
                  <a:lnTo>
                    <a:pt x="1307" y="237"/>
                  </a:lnTo>
                  <a:lnTo>
                    <a:pt x="1311" y="237"/>
                  </a:lnTo>
                  <a:lnTo>
                    <a:pt x="1313" y="236"/>
                  </a:lnTo>
                  <a:lnTo>
                    <a:pt x="1315" y="235"/>
                  </a:lnTo>
                  <a:lnTo>
                    <a:pt x="1315" y="233"/>
                  </a:lnTo>
                  <a:lnTo>
                    <a:pt x="1315" y="232"/>
                  </a:lnTo>
                  <a:lnTo>
                    <a:pt x="1316" y="231"/>
                  </a:lnTo>
                  <a:lnTo>
                    <a:pt x="1318" y="229"/>
                  </a:lnTo>
                  <a:lnTo>
                    <a:pt x="1322" y="229"/>
                  </a:lnTo>
                  <a:lnTo>
                    <a:pt x="1322" y="224"/>
                  </a:lnTo>
                  <a:lnTo>
                    <a:pt x="1324" y="218"/>
                  </a:lnTo>
                  <a:lnTo>
                    <a:pt x="1324" y="217"/>
                  </a:lnTo>
                  <a:lnTo>
                    <a:pt x="1326" y="215"/>
                  </a:lnTo>
                  <a:lnTo>
                    <a:pt x="1327" y="214"/>
                  </a:lnTo>
                  <a:lnTo>
                    <a:pt x="1330" y="214"/>
                  </a:lnTo>
                  <a:lnTo>
                    <a:pt x="1332" y="203"/>
                  </a:lnTo>
                  <a:lnTo>
                    <a:pt x="1339" y="180"/>
                  </a:lnTo>
                  <a:lnTo>
                    <a:pt x="1348" y="154"/>
                  </a:lnTo>
                  <a:lnTo>
                    <a:pt x="1357" y="123"/>
                  </a:lnTo>
                  <a:lnTo>
                    <a:pt x="1361" y="108"/>
                  </a:lnTo>
                  <a:lnTo>
                    <a:pt x="1365" y="93"/>
                  </a:lnTo>
                  <a:lnTo>
                    <a:pt x="1367" y="80"/>
                  </a:lnTo>
                  <a:lnTo>
                    <a:pt x="1369" y="69"/>
                  </a:lnTo>
                  <a:lnTo>
                    <a:pt x="1369" y="59"/>
                  </a:lnTo>
                  <a:lnTo>
                    <a:pt x="1368" y="51"/>
                  </a:lnTo>
                  <a:lnTo>
                    <a:pt x="1367" y="48"/>
                  </a:lnTo>
                  <a:lnTo>
                    <a:pt x="1366" y="45"/>
                  </a:lnTo>
                  <a:lnTo>
                    <a:pt x="1364" y="44"/>
                  </a:lnTo>
                  <a:lnTo>
                    <a:pt x="1360" y="44"/>
                  </a:lnTo>
                  <a:lnTo>
                    <a:pt x="1360" y="29"/>
                  </a:lnTo>
                  <a:lnTo>
                    <a:pt x="1358" y="27"/>
                  </a:lnTo>
                  <a:lnTo>
                    <a:pt x="1356" y="26"/>
                  </a:lnTo>
                  <a:lnTo>
                    <a:pt x="1354" y="24"/>
                  </a:lnTo>
                  <a:lnTo>
                    <a:pt x="1353" y="21"/>
                  </a:lnTo>
                  <a:lnTo>
                    <a:pt x="1349" y="17"/>
                  </a:lnTo>
                  <a:lnTo>
                    <a:pt x="1347" y="15"/>
                  </a:lnTo>
                  <a:lnTo>
                    <a:pt x="1343" y="14"/>
                  </a:lnTo>
                  <a:lnTo>
                    <a:pt x="1338" y="13"/>
                  </a:lnTo>
                  <a:lnTo>
                    <a:pt x="133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3" name="Freeform 36">
              <a:extLst>
                <a:ext uri="{FF2B5EF4-FFF2-40B4-BE49-F238E27FC236}">
                  <a16:creationId xmlns:a16="http://schemas.microsoft.com/office/drawing/2014/main" id="{BAE1AC65-5156-4064-B0E6-A2F5EAD3AFF7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094538" y="3306763"/>
              <a:ext cx="373114" cy="212725"/>
            </a:xfrm>
            <a:custGeom>
              <a:avLst/>
              <a:gdLst/>
              <a:ahLst/>
              <a:cxnLst>
                <a:cxn ang="0">
                  <a:pos x="249" y="127"/>
                </a:cxn>
                <a:cxn ang="0">
                  <a:pos x="262" y="192"/>
                </a:cxn>
                <a:cxn ang="0">
                  <a:pos x="258" y="259"/>
                </a:cxn>
                <a:cxn ang="0">
                  <a:pos x="229" y="334"/>
                </a:cxn>
                <a:cxn ang="0">
                  <a:pos x="192" y="419"/>
                </a:cxn>
                <a:cxn ang="0">
                  <a:pos x="117" y="457"/>
                </a:cxn>
                <a:cxn ang="0">
                  <a:pos x="56" y="482"/>
                </a:cxn>
                <a:cxn ang="0">
                  <a:pos x="11" y="517"/>
                </a:cxn>
                <a:cxn ang="0">
                  <a:pos x="12" y="569"/>
                </a:cxn>
                <a:cxn ang="0">
                  <a:pos x="44" y="585"/>
                </a:cxn>
                <a:cxn ang="0">
                  <a:pos x="86" y="604"/>
                </a:cxn>
                <a:cxn ang="0">
                  <a:pos x="115" y="703"/>
                </a:cxn>
                <a:cxn ang="0">
                  <a:pos x="125" y="913"/>
                </a:cxn>
                <a:cxn ang="0">
                  <a:pos x="123" y="1014"/>
                </a:cxn>
                <a:cxn ang="0">
                  <a:pos x="135" y="1049"/>
                </a:cxn>
                <a:cxn ang="0">
                  <a:pos x="165" y="1097"/>
                </a:cxn>
                <a:cxn ang="0">
                  <a:pos x="225" y="1125"/>
                </a:cxn>
                <a:cxn ang="0">
                  <a:pos x="270" y="1165"/>
                </a:cxn>
                <a:cxn ang="0">
                  <a:pos x="305" y="1206"/>
                </a:cxn>
                <a:cxn ang="0">
                  <a:pos x="344" y="1245"/>
                </a:cxn>
                <a:cxn ang="0">
                  <a:pos x="388" y="1284"/>
                </a:cxn>
                <a:cxn ang="0">
                  <a:pos x="444" y="1306"/>
                </a:cxn>
                <a:cxn ang="0">
                  <a:pos x="511" y="1259"/>
                </a:cxn>
                <a:cxn ang="0">
                  <a:pos x="619" y="1198"/>
                </a:cxn>
                <a:cxn ang="0">
                  <a:pos x="647" y="1274"/>
                </a:cxn>
                <a:cxn ang="0">
                  <a:pos x="805" y="1266"/>
                </a:cxn>
                <a:cxn ang="0">
                  <a:pos x="833" y="1207"/>
                </a:cxn>
                <a:cxn ang="0">
                  <a:pos x="954" y="1183"/>
                </a:cxn>
                <a:cxn ang="0">
                  <a:pos x="974" y="1141"/>
                </a:cxn>
                <a:cxn ang="0">
                  <a:pos x="1140" y="1105"/>
                </a:cxn>
                <a:cxn ang="0">
                  <a:pos x="1250" y="1028"/>
                </a:cxn>
                <a:cxn ang="0">
                  <a:pos x="1361" y="952"/>
                </a:cxn>
                <a:cxn ang="0">
                  <a:pos x="1519" y="923"/>
                </a:cxn>
                <a:cxn ang="0">
                  <a:pos x="1821" y="881"/>
                </a:cxn>
                <a:cxn ang="0">
                  <a:pos x="2048" y="855"/>
                </a:cxn>
                <a:cxn ang="0">
                  <a:pos x="2036" y="755"/>
                </a:cxn>
                <a:cxn ang="0">
                  <a:pos x="2006" y="714"/>
                </a:cxn>
                <a:cxn ang="0">
                  <a:pos x="1940" y="644"/>
                </a:cxn>
                <a:cxn ang="0">
                  <a:pos x="1886" y="572"/>
                </a:cxn>
                <a:cxn ang="0">
                  <a:pos x="1866" y="511"/>
                </a:cxn>
                <a:cxn ang="0">
                  <a:pos x="1824" y="454"/>
                </a:cxn>
                <a:cxn ang="0">
                  <a:pos x="1757" y="449"/>
                </a:cxn>
                <a:cxn ang="0">
                  <a:pos x="1712" y="459"/>
                </a:cxn>
                <a:cxn ang="0">
                  <a:pos x="1621" y="433"/>
                </a:cxn>
                <a:cxn ang="0">
                  <a:pos x="1583" y="381"/>
                </a:cxn>
                <a:cxn ang="0">
                  <a:pos x="1555" y="315"/>
                </a:cxn>
                <a:cxn ang="0">
                  <a:pos x="1514" y="211"/>
                </a:cxn>
                <a:cxn ang="0">
                  <a:pos x="1451" y="119"/>
                </a:cxn>
                <a:cxn ang="0">
                  <a:pos x="1430" y="134"/>
                </a:cxn>
                <a:cxn ang="0">
                  <a:pos x="1294" y="130"/>
                </a:cxn>
                <a:cxn ang="0">
                  <a:pos x="964" y="81"/>
                </a:cxn>
                <a:cxn ang="0">
                  <a:pos x="887" y="71"/>
                </a:cxn>
                <a:cxn ang="0">
                  <a:pos x="839" y="36"/>
                </a:cxn>
                <a:cxn ang="0">
                  <a:pos x="577" y="57"/>
                </a:cxn>
                <a:cxn ang="0">
                  <a:pos x="523" y="94"/>
                </a:cxn>
                <a:cxn ang="0">
                  <a:pos x="441" y="75"/>
                </a:cxn>
                <a:cxn ang="0">
                  <a:pos x="407" y="86"/>
                </a:cxn>
                <a:cxn ang="0">
                  <a:pos x="341" y="85"/>
                </a:cxn>
              </a:cxnLst>
              <a:rect l="0" t="0" r="r" b="b"/>
              <a:pathLst>
                <a:path w="2057" h="1328">
                  <a:moveTo>
                    <a:pt x="334" y="71"/>
                  </a:moveTo>
                  <a:lnTo>
                    <a:pt x="314" y="81"/>
                  </a:lnTo>
                  <a:lnTo>
                    <a:pt x="289" y="93"/>
                  </a:lnTo>
                  <a:lnTo>
                    <a:pt x="277" y="101"/>
                  </a:lnTo>
                  <a:lnTo>
                    <a:pt x="267" y="108"/>
                  </a:lnTo>
                  <a:lnTo>
                    <a:pt x="263" y="112"/>
                  </a:lnTo>
                  <a:lnTo>
                    <a:pt x="260" y="115"/>
                  </a:lnTo>
                  <a:lnTo>
                    <a:pt x="259" y="120"/>
                  </a:lnTo>
                  <a:lnTo>
                    <a:pt x="258" y="123"/>
                  </a:lnTo>
                  <a:lnTo>
                    <a:pt x="249" y="127"/>
                  </a:lnTo>
                  <a:lnTo>
                    <a:pt x="249" y="136"/>
                  </a:lnTo>
                  <a:lnTo>
                    <a:pt x="249" y="149"/>
                  </a:lnTo>
                  <a:lnTo>
                    <a:pt x="249" y="161"/>
                  </a:lnTo>
                  <a:lnTo>
                    <a:pt x="249" y="170"/>
                  </a:lnTo>
                  <a:lnTo>
                    <a:pt x="252" y="173"/>
                  </a:lnTo>
                  <a:lnTo>
                    <a:pt x="255" y="178"/>
                  </a:lnTo>
                  <a:lnTo>
                    <a:pt x="257" y="182"/>
                  </a:lnTo>
                  <a:lnTo>
                    <a:pt x="258" y="189"/>
                  </a:lnTo>
                  <a:lnTo>
                    <a:pt x="260" y="190"/>
                  </a:lnTo>
                  <a:lnTo>
                    <a:pt x="262" y="192"/>
                  </a:lnTo>
                  <a:lnTo>
                    <a:pt x="264" y="194"/>
                  </a:lnTo>
                  <a:lnTo>
                    <a:pt x="266" y="198"/>
                  </a:lnTo>
                  <a:lnTo>
                    <a:pt x="269" y="204"/>
                  </a:lnTo>
                  <a:lnTo>
                    <a:pt x="270" y="213"/>
                  </a:lnTo>
                  <a:lnTo>
                    <a:pt x="272" y="232"/>
                  </a:lnTo>
                  <a:lnTo>
                    <a:pt x="272" y="249"/>
                  </a:lnTo>
                  <a:lnTo>
                    <a:pt x="269" y="252"/>
                  </a:lnTo>
                  <a:lnTo>
                    <a:pt x="264" y="256"/>
                  </a:lnTo>
                  <a:lnTo>
                    <a:pt x="261" y="258"/>
                  </a:lnTo>
                  <a:lnTo>
                    <a:pt x="258" y="259"/>
                  </a:lnTo>
                  <a:lnTo>
                    <a:pt x="258" y="268"/>
                  </a:lnTo>
                  <a:lnTo>
                    <a:pt x="253" y="270"/>
                  </a:lnTo>
                  <a:lnTo>
                    <a:pt x="249" y="273"/>
                  </a:lnTo>
                  <a:lnTo>
                    <a:pt x="248" y="277"/>
                  </a:lnTo>
                  <a:lnTo>
                    <a:pt x="245" y="281"/>
                  </a:lnTo>
                  <a:lnTo>
                    <a:pt x="242" y="286"/>
                  </a:lnTo>
                  <a:lnTo>
                    <a:pt x="239" y="287"/>
                  </a:lnTo>
                  <a:lnTo>
                    <a:pt x="234" y="292"/>
                  </a:lnTo>
                  <a:lnTo>
                    <a:pt x="233" y="305"/>
                  </a:lnTo>
                  <a:lnTo>
                    <a:pt x="229" y="334"/>
                  </a:lnTo>
                  <a:lnTo>
                    <a:pt x="226" y="350"/>
                  </a:lnTo>
                  <a:lnTo>
                    <a:pt x="224" y="363"/>
                  </a:lnTo>
                  <a:lnTo>
                    <a:pt x="222" y="373"/>
                  </a:lnTo>
                  <a:lnTo>
                    <a:pt x="221" y="376"/>
                  </a:lnTo>
                  <a:lnTo>
                    <a:pt x="221" y="400"/>
                  </a:lnTo>
                  <a:lnTo>
                    <a:pt x="215" y="404"/>
                  </a:lnTo>
                  <a:lnTo>
                    <a:pt x="211" y="406"/>
                  </a:lnTo>
                  <a:lnTo>
                    <a:pt x="206" y="409"/>
                  </a:lnTo>
                  <a:lnTo>
                    <a:pt x="202" y="419"/>
                  </a:lnTo>
                  <a:lnTo>
                    <a:pt x="192" y="419"/>
                  </a:lnTo>
                  <a:lnTo>
                    <a:pt x="187" y="422"/>
                  </a:lnTo>
                  <a:lnTo>
                    <a:pt x="180" y="427"/>
                  </a:lnTo>
                  <a:lnTo>
                    <a:pt x="171" y="432"/>
                  </a:lnTo>
                  <a:lnTo>
                    <a:pt x="161" y="437"/>
                  </a:lnTo>
                  <a:lnTo>
                    <a:pt x="151" y="440"/>
                  </a:lnTo>
                  <a:lnTo>
                    <a:pt x="142" y="443"/>
                  </a:lnTo>
                  <a:lnTo>
                    <a:pt x="133" y="446"/>
                  </a:lnTo>
                  <a:lnTo>
                    <a:pt x="126" y="447"/>
                  </a:lnTo>
                  <a:lnTo>
                    <a:pt x="122" y="451"/>
                  </a:lnTo>
                  <a:lnTo>
                    <a:pt x="117" y="457"/>
                  </a:lnTo>
                  <a:lnTo>
                    <a:pt x="103" y="457"/>
                  </a:lnTo>
                  <a:lnTo>
                    <a:pt x="101" y="458"/>
                  </a:lnTo>
                  <a:lnTo>
                    <a:pt x="98" y="460"/>
                  </a:lnTo>
                  <a:lnTo>
                    <a:pt x="94" y="462"/>
                  </a:lnTo>
                  <a:lnTo>
                    <a:pt x="88" y="465"/>
                  </a:lnTo>
                  <a:lnTo>
                    <a:pt x="77" y="469"/>
                  </a:lnTo>
                  <a:lnTo>
                    <a:pt x="70" y="470"/>
                  </a:lnTo>
                  <a:lnTo>
                    <a:pt x="68" y="475"/>
                  </a:lnTo>
                  <a:lnTo>
                    <a:pt x="66" y="480"/>
                  </a:lnTo>
                  <a:lnTo>
                    <a:pt x="56" y="482"/>
                  </a:lnTo>
                  <a:lnTo>
                    <a:pt x="42" y="485"/>
                  </a:lnTo>
                  <a:lnTo>
                    <a:pt x="41" y="487"/>
                  </a:lnTo>
                  <a:lnTo>
                    <a:pt x="39" y="489"/>
                  </a:lnTo>
                  <a:lnTo>
                    <a:pt x="36" y="489"/>
                  </a:lnTo>
                  <a:lnTo>
                    <a:pt x="32" y="489"/>
                  </a:lnTo>
                  <a:lnTo>
                    <a:pt x="28" y="494"/>
                  </a:lnTo>
                  <a:lnTo>
                    <a:pt x="28" y="504"/>
                  </a:lnTo>
                  <a:lnTo>
                    <a:pt x="21" y="506"/>
                  </a:lnTo>
                  <a:lnTo>
                    <a:pt x="13" y="508"/>
                  </a:lnTo>
                  <a:lnTo>
                    <a:pt x="11" y="517"/>
                  </a:lnTo>
                  <a:lnTo>
                    <a:pt x="9" y="527"/>
                  </a:lnTo>
                  <a:lnTo>
                    <a:pt x="5" y="528"/>
                  </a:lnTo>
                  <a:lnTo>
                    <a:pt x="3" y="530"/>
                  </a:lnTo>
                  <a:lnTo>
                    <a:pt x="2" y="535"/>
                  </a:lnTo>
                  <a:lnTo>
                    <a:pt x="1" y="539"/>
                  </a:lnTo>
                  <a:lnTo>
                    <a:pt x="0" y="550"/>
                  </a:lnTo>
                  <a:lnTo>
                    <a:pt x="0" y="559"/>
                  </a:lnTo>
                  <a:lnTo>
                    <a:pt x="3" y="562"/>
                  </a:lnTo>
                  <a:lnTo>
                    <a:pt x="9" y="565"/>
                  </a:lnTo>
                  <a:lnTo>
                    <a:pt x="12" y="569"/>
                  </a:lnTo>
                  <a:lnTo>
                    <a:pt x="13" y="574"/>
                  </a:lnTo>
                  <a:lnTo>
                    <a:pt x="23" y="574"/>
                  </a:lnTo>
                  <a:lnTo>
                    <a:pt x="23" y="576"/>
                  </a:lnTo>
                  <a:lnTo>
                    <a:pt x="26" y="577"/>
                  </a:lnTo>
                  <a:lnTo>
                    <a:pt x="29" y="578"/>
                  </a:lnTo>
                  <a:lnTo>
                    <a:pt x="32" y="578"/>
                  </a:lnTo>
                  <a:lnTo>
                    <a:pt x="33" y="581"/>
                  </a:lnTo>
                  <a:lnTo>
                    <a:pt x="37" y="582"/>
                  </a:lnTo>
                  <a:lnTo>
                    <a:pt x="40" y="584"/>
                  </a:lnTo>
                  <a:lnTo>
                    <a:pt x="44" y="585"/>
                  </a:lnTo>
                  <a:lnTo>
                    <a:pt x="55" y="587"/>
                  </a:lnTo>
                  <a:lnTo>
                    <a:pt x="60" y="587"/>
                  </a:lnTo>
                  <a:lnTo>
                    <a:pt x="61" y="590"/>
                  </a:lnTo>
                  <a:lnTo>
                    <a:pt x="62" y="591"/>
                  </a:lnTo>
                  <a:lnTo>
                    <a:pt x="63" y="592"/>
                  </a:lnTo>
                  <a:lnTo>
                    <a:pt x="66" y="592"/>
                  </a:lnTo>
                  <a:lnTo>
                    <a:pt x="70" y="593"/>
                  </a:lnTo>
                  <a:lnTo>
                    <a:pt x="75" y="593"/>
                  </a:lnTo>
                  <a:lnTo>
                    <a:pt x="79" y="597"/>
                  </a:lnTo>
                  <a:lnTo>
                    <a:pt x="86" y="604"/>
                  </a:lnTo>
                  <a:lnTo>
                    <a:pt x="91" y="611"/>
                  </a:lnTo>
                  <a:lnTo>
                    <a:pt x="94" y="616"/>
                  </a:lnTo>
                  <a:lnTo>
                    <a:pt x="97" y="617"/>
                  </a:lnTo>
                  <a:lnTo>
                    <a:pt x="99" y="621"/>
                  </a:lnTo>
                  <a:lnTo>
                    <a:pt x="103" y="626"/>
                  </a:lnTo>
                  <a:lnTo>
                    <a:pt x="105" y="632"/>
                  </a:lnTo>
                  <a:lnTo>
                    <a:pt x="108" y="644"/>
                  </a:lnTo>
                  <a:lnTo>
                    <a:pt x="113" y="649"/>
                  </a:lnTo>
                  <a:lnTo>
                    <a:pt x="113" y="675"/>
                  </a:lnTo>
                  <a:lnTo>
                    <a:pt x="115" y="703"/>
                  </a:lnTo>
                  <a:lnTo>
                    <a:pt x="116" y="730"/>
                  </a:lnTo>
                  <a:lnTo>
                    <a:pt x="119" y="756"/>
                  </a:lnTo>
                  <a:lnTo>
                    <a:pt x="122" y="783"/>
                  </a:lnTo>
                  <a:lnTo>
                    <a:pt x="124" y="808"/>
                  </a:lnTo>
                  <a:lnTo>
                    <a:pt x="125" y="833"/>
                  </a:lnTo>
                  <a:lnTo>
                    <a:pt x="126" y="857"/>
                  </a:lnTo>
                  <a:lnTo>
                    <a:pt x="127" y="857"/>
                  </a:lnTo>
                  <a:lnTo>
                    <a:pt x="127" y="873"/>
                  </a:lnTo>
                  <a:lnTo>
                    <a:pt x="126" y="900"/>
                  </a:lnTo>
                  <a:lnTo>
                    <a:pt x="125" y="913"/>
                  </a:lnTo>
                  <a:lnTo>
                    <a:pt x="124" y="924"/>
                  </a:lnTo>
                  <a:lnTo>
                    <a:pt x="123" y="929"/>
                  </a:lnTo>
                  <a:lnTo>
                    <a:pt x="122" y="932"/>
                  </a:lnTo>
                  <a:lnTo>
                    <a:pt x="120" y="934"/>
                  </a:lnTo>
                  <a:lnTo>
                    <a:pt x="119" y="935"/>
                  </a:lnTo>
                  <a:lnTo>
                    <a:pt x="119" y="954"/>
                  </a:lnTo>
                  <a:lnTo>
                    <a:pt x="120" y="983"/>
                  </a:lnTo>
                  <a:lnTo>
                    <a:pt x="120" y="997"/>
                  </a:lnTo>
                  <a:lnTo>
                    <a:pt x="123" y="1009"/>
                  </a:lnTo>
                  <a:lnTo>
                    <a:pt x="123" y="1014"/>
                  </a:lnTo>
                  <a:lnTo>
                    <a:pt x="124" y="1017"/>
                  </a:lnTo>
                  <a:lnTo>
                    <a:pt x="125" y="1019"/>
                  </a:lnTo>
                  <a:lnTo>
                    <a:pt x="127" y="1020"/>
                  </a:lnTo>
                  <a:lnTo>
                    <a:pt x="127" y="1044"/>
                  </a:lnTo>
                  <a:lnTo>
                    <a:pt x="132" y="1044"/>
                  </a:lnTo>
                  <a:lnTo>
                    <a:pt x="134" y="1045"/>
                  </a:lnTo>
                  <a:lnTo>
                    <a:pt x="135" y="1046"/>
                  </a:lnTo>
                  <a:lnTo>
                    <a:pt x="135" y="1047"/>
                  </a:lnTo>
                  <a:lnTo>
                    <a:pt x="135" y="1048"/>
                  </a:lnTo>
                  <a:lnTo>
                    <a:pt x="135" y="1049"/>
                  </a:lnTo>
                  <a:lnTo>
                    <a:pt x="138" y="1050"/>
                  </a:lnTo>
                  <a:lnTo>
                    <a:pt x="143" y="1050"/>
                  </a:lnTo>
                  <a:lnTo>
                    <a:pt x="149" y="1058"/>
                  </a:lnTo>
                  <a:lnTo>
                    <a:pt x="151" y="1066"/>
                  </a:lnTo>
                  <a:lnTo>
                    <a:pt x="152" y="1073"/>
                  </a:lnTo>
                  <a:lnTo>
                    <a:pt x="154" y="1076"/>
                  </a:lnTo>
                  <a:lnTo>
                    <a:pt x="156" y="1079"/>
                  </a:lnTo>
                  <a:lnTo>
                    <a:pt x="161" y="1082"/>
                  </a:lnTo>
                  <a:lnTo>
                    <a:pt x="165" y="1082"/>
                  </a:lnTo>
                  <a:lnTo>
                    <a:pt x="165" y="1097"/>
                  </a:lnTo>
                  <a:lnTo>
                    <a:pt x="181" y="1097"/>
                  </a:lnTo>
                  <a:lnTo>
                    <a:pt x="182" y="1101"/>
                  </a:lnTo>
                  <a:lnTo>
                    <a:pt x="183" y="1103"/>
                  </a:lnTo>
                  <a:lnTo>
                    <a:pt x="185" y="1105"/>
                  </a:lnTo>
                  <a:lnTo>
                    <a:pt x="188" y="1107"/>
                  </a:lnTo>
                  <a:lnTo>
                    <a:pt x="195" y="1112"/>
                  </a:lnTo>
                  <a:lnTo>
                    <a:pt x="204" y="1115"/>
                  </a:lnTo>
                  <a:lnTo>
                    <a:pt x="213" y="1120"/>
                  </a:lnTo>
                  <a:lnTo>
                    <a:pt x="220" y="1122"/>
                  </a:lnTo>
                  <a:lnTo>
                    <a:pt x="225" y="1125"/>
                  </a:lnTo>
                  <a:lnTo>
                    <a:pt x="228" y="1129"/>
                  </a:lnTo>
                  <a:lnTo>
                    <a:pt x="243" y="1129"/>
                  </a:lnTo>
                  <a:lnTo>
                    <a:pt x="250" y="1136"/>
                  </a:lnTo>
                  <a:lnTo>
                    <a:pt x="251" y="1140"/>
                  </a:lnTo>
                  <a:lnTo>
                    <a:pt x="253" y="1144"/>
                  </a:lnTo>
                  <a:lnTo>
                    <a:pt x="255" y="1149"/>
                  </a:lnTo>
                  <a:lnTo>
                    <a:pt x="259" y="1154"/>
                  </a:lnTo>
                  <a:lnTo>
                    <a:pt x="263" y="1159"/>
                  </a:lnTo>
                  <a:lnTo>
                    <a:pt x="267" y="1163"/>
                  </a:lnTo>
                  <a:lnTo>
                    <a:pt x="270" y="1165"/>
                  </a:lnTo>
                  <a:lnTo>
                    <a:pt x="273" y="1167"/>
                  </a:lnTo>
                  <a:lnTo>
                    <a:pt x="274" y="1171"/>
                  </a:lnTo>
                  <a:lnTo>
                    <a:pt x="277" y="1175"/>
                  </a:lnTo>
                  <a:lnTo>
                    <a:pt x="279" y="1180"/>
                  </a:lnTo>
                  <a:lnTo>
                    <a:pt x="282" y="1185"/>
                  </a:lnTo>
                  <a:lnTo>
                    <a:pt x="286" y="1190"/>
                  </a:lnTo>
                  <a:lnTo>
                    <a:pt x="290" y="1194"/>
                  </a:lnTo>
                  <a:lnTo>
                    <a:pt x="293" y="1197"/>
                  </a:lnTo>
                  <a:lnTo>
                    <a:pt x="297" y="1198"/>
                  </a:lnTo>
                  <a:lnTo>
                    <a:pt x="305" y="1206"/>
                  </a:lnTo>
                  <a:lnTo>
                    <a:pt x="312" y="1213"/>
                  </a:lnTo>
                  <a:lnTo>
                    <a:pt x="312" y="1217"/>
                  </a:lnTo>
                  <a:lnTo>
                    <a:pt x="315" y="1220"/>
                  </a:lnTo>
                  <a:lnTo>
                    <a:pt x="318" y="1225"/>
                  </a:lnTo>
                  <a:lnTo>
                    <a:pt x="321" y="1228"/>
                  </a:lnTo>
                  <a:lnTo>
                    <a:pt x="325" y="1231"/>
                  </a:lnTo>
                  <a:lnTo>
                    <a:pt x="328" y="1233"/>
                  </a:lnTo>
                  <a:lnTo>
                    <a:pt x="332" y="1236"/>
                  </a:lnTo>
                  <a:lnTo>
                    <a:pt x="336" y="1237"/>
                  </a:lnTo>
                  <a:lnTo>
                    <a:pt x="344" y="1245"/>
                  </a:lnTo>
                  <a:lnTo>
                    <a:pt x="344" y="1259"/>
                  </a:lnTo>
                  <a:lnTo>
                    <a:pt x="351" y="1267"/>
                  </a:lnTo>
                  <a:lnTo>
                    <a:pt x="366" y="1271"/>
                  </a:lnTo>
                  <a:lnTo>
                    <a:pt x="382" y="1275"/>
                  </a:lnTo>
                  <a:lnTo>
                    <a:pt x="382" y="1279"/>
                  </a:lnTo>
                  <a:lnTo>
                    <a:pt x="383" y="1281"/>
                  </a:lnTo>
                  <a:lnTo>
                    <a:pt x="384" y="1283"/>
                  </a:lnTo>
                  <a:lnTo>
                    <a:pt x="386" y="1283"/>
                  </a:lnTo>
                  <a:lnTo>
                    <a:pt x="387" y="1283"/>
                  </a:lnTo>
                  <a:lnTo>
                    <a:pt x="388" y="1284"/>
                  </a:lnTo>
                  <a:lnTo>
                    <a:pt x="389" y="1286"/>
                  </a:lnTo>
                  <a:lnTo>
                    <a:pt x="389" y="1290"/>
                  </a:lnTo>
                  <a:lnTo>
                    <a:pt x="396" y="1292"/>
                  </a:lnTo>
                  <a:lnTo>
                    <a:pt x="403" y="1293"/>
                  </a:lnTo>
                  <a:lnTo>
                    <a:pt x="410" y="1296"/>
                  </a:lnTo>
                  <a:lnTo>
                    <a:pt x="416" y="1298"/>
                  </a:lnTo>
                  <a:lnTo>
                    <a:pt x="424" y="1302"/>
                  </a:lnTo>
                  <a:lnTo>
                    <a:pt x="431" y="1304"/>
                  </a:lnTo>
                  <a:lnTo>
                    <a:pt x="437" y="1305"/>
                  </a:lnTo>
                  <a:lnTo>
                    <a:pt x="444" y="1306"/>
                  </a:lnTo>
                  <a:lnTo>
                    <a:pt x="444" y="1312"/>
                  </a:lnTo>
                  <a:lnTo>
                    <a:pt x="444" y="1317"/>
                  </a:lnTo>
                  <a:lnTo>
                    <a:pt x="445" y="1318"/>
                  </a:lnTo>
                  <a:lnTo>
                    <a:pt x="447" y="1321"/>
                  </a:lnTo>
                  <a:lnTo>
                    <a:pt x="449" y="1322"/>
                  </a:lnTo>
                  <a:lnTo>
                    <a:pt x="452" y="1322"/>
                  </a:lnTo>
                  <a:lnTo>
                    <a:pt x="452" y="1328"/>
                  </a:lnTo>
                  <a:lnTo>
                    <a:pt x="473" y="1306"/>
                  </a:lnTo>
                  <a:lnTo>
                    <a:pt x="493" y="1283"/>
                  </a:lnTo>
                  <a:lnTo>
                    <a:pt x="511" y="1259"/>
                  </a:lnTo>
                  <a:lnTo>
                    <a:pt x="529" y="1238"/>
                  </a:lnTo>
                  <a:lnTo>
                    <a:pt x="546" y="1219"/>
                  </a:lnTo>
                  <a:lnTo>
                    <a:pt x="561" y="1203"/>
                  </a:lnTo>
                  <a:lnTo>
                    <a:pt x="569" y="1198"/>
                  </a:lnTo>
                  <a:lnTo>
                    <a:pt x="576" y="1193"/>
                  </a:lnTo>
                  <a:lnTo>
                    <a:pt x="584" y="1191"/>
                  </a:lnTo>
                  <a:lnTo>
                    <a:pt x="590" y="1190"/>
                  </a:lnTo>
                  <a:lnTo>
                    <a:pt x="603" y="1191"/>
                  </a:lnTo>
                  <a:lnTo>
                    <a:pt x="612" y="1193"/>
                  </a:lnTo>
                  <a:lnTo>
                    <a:pt x="619" y="1198"/>
                  </a:lnTo>
                  <a:lnTo>
                    <a:pt x="625" y="1203"/>
                  </a:lnTo>
                  <a:lnTo>
                    <a:pt x="629" y="1210"/>
                  </a:lnTo>
                  <a:lnTo>
                    <a:pt x="633" y="1217"/>
                  </a:lnTo>
                  <a:lnTo>
                    <a:pt x="635" y="1225"/>
                  </a:lnTo>
                  <a:lnTo>
                    <a:pt x="636" y="1232"/>
                  </a:lnTo>
                  <a:lnTo>
                    <a:pt x="637" y="1248"/>
                  </a:lnTo>
                  <a:lnTo>
                    <a:pt x="639" y="1261"/>
                  </a:lnTo>
                  <a:lnTo>
                    <a:pt x="641" y="1267"/>
                  </a:lnTo>
                  <a:lnTo>
                    <a:pt x="644" y="1271"/>
                  </a:lnTo>
                  <a:lnTo>
                    <a:pt x="647" y="1274"/>
                  </a:lnTo>
                  <a:lnTo>
                    <a:pt x="653" y="1275"/>
                  </a:lnTo>
                  <a:lnTo>
                    <a:pt x="714" y="1275"/>
                  </a:lnTo>
                  <a:lnTo>
                    <a:pt x="746" y="1278"/>
                  </a:lnTo>
                  <a:lnTo>
                    <a:pt x="775" y="1280"/>
                  </a:lnTo>
                  <a:lnTo>
                    <a:pt x="781" y="1280"/>
                  </a:lnTo>
                  <a:lnTo>
                    <a:pt x="788" y="1279"/>
                  </a:lnTo>
                  <a:lnTo>
                    <a:pt x="794" y="1278"/>
                  </a:lnTo>
                  <a:lnTo>
                    <a:pt x="798" y="1275"/>
                  </a:lnTo>
                  <a:lnTo>
                    <a:pt x="801" y="1271"/>
                  </a:lnTo>
                  <a:lnTo>
                    <a:pt x="805" y="1266"/>
                  </a:lnTo>
                  <a:lnTo>
                    <a:pt x="806" y="1260"/>
                  </a:lnTo>
                  <a:lnTo>
                    <a:pt x="807" y="1251"/>
                  </a:lnTo>
                  <a:lnTo>
                    <a:pt x="807" y="1244"/>
                  </a:lnTo>
                  <a:lnTo>
                    <a:pt x="809" y="1236"/>
                  </a:lnTo>
                  <a:lnTo>
                    <a:pt x="811" y="1230"/>
                  </a:lnTo>
                  <a:lnTo>
                    <a:pt x="814" y="1223"/>
                  </a:lnTo>
                  <a:lnTo>
                    <a:pt x="818" y="1219"/>
                  </a:lnTo>
                  <a:lnTo>
                    <a:pt x="821" y="1214"/>
                  </a:lnTo>
                  <a:lnTo>
                    <a:pt x="827" y="1210"/>
                  </a:lnTo>
                  <a:lnTo>
                    <a:pt x="833" y="1207"/>
                  </a:lnTo>
                  <a:lnTo>
                    <a:pt x="845" y="1202"/>
                  </a:lnTo>
                  <a:lnTo>
                    <a:pt x="858" y="1198"/>
                  </a:lnTo>
                  <a:lnTo>
                    <a:pt x="873" y="1196"/>
                  </a:lnTo>
                  <a:lnTo>
                    <a:pt x="888" y="1194"/>
                  </a:lnTo>
                  <a:lnTo>
                    <a:pt x="903" y="1192"/>
                  </a:lnTo>
                  <a:lnTo>
                    <a:pt x="917" y="1191"/>
                  </a:lnTo>
                  <a:lnTo>
                    <a:pt x="932" y="1189"/>
                  </a:lnTo>
                  <a:lnTo>
                    <a:pt x="944" y="1187"/>
                  </a:lnTo>
                  <a:lnTo>
                    <a:pt x="950" y="1184"/>
                  </a:lnTo>
                  <a:lnTo>
                    <a:pt x="954" y="1183"/>
                  </a:lnTo>
                  <a:lnTo>
                    <a:pt x="959" y="1180"/>
                  </a:lnTo>
                  <a:lnTo>
                    <a:pt x="962" y="1177"/>
                  </a:lnTo>
                  <a:lnTo>
                    <a:pt x="965" y="1173"/>
                  </a:lnTo>
                  <a:lnTo>
                    <a:pt x="968" y="1170"/>
                  </a:lnTo>
                  <a:lnTo>
                    <a:pt x="969" y="1164"/>
                  </a:lnTo>
                  <a:lnTo>
                    <a:pt x="969" y="1159"/>
                  </a:lnTo>
                  <a:lnTo>
                    <a:pt x="970" y="1154"/>
                  </a:lnTo>
                  <a:lnTo>
                    <a:pt x="971" y="1150"/>
                  </a:lnTo>
                  <a:lnTo>
                    <a:pt x="972" y="1145"/>
                  </a:lnTo>
                  <a:lnTo>
                    <a:pt x="974" y="1141"/>
                  </a:lnTo>
                  <a:lnTo>
                    <a:pt x="980" y="1134"/>
                  </a:lnTo>
                  <a:lnTo>
                    <a:pt x="987" y="1127"/>
                  </a:lnTo>
                  <a:lnTo>
                    <a:pt x="997" y="1123"/>
                  </a:lnTo>
                  <a:lnTo>
                    <a:pt x="1007" y="1119"/>
                  </a:lnTo>
                  <a:lnTo>
                    <a:pt x="1019" y="1115"/>
                  </a:lnTo>
                  <a:lnTo>
                    <a:pt x="1031" y="1112"/>
                  </a:lnTo>
                  <a:lnTo>
                    <a:pt x="1058" y="1107"/>
                  </a:lnTo>
                  <a:lnTo>
                    <a:pt x="1087" y="1106"/>
                  </a:lnTo>
                  <a:lnTo>
                    <a:pt x="1114" y="1105"/>
                  </a:lnTo>
                  <a:lnTo>
                    <a:pt x="1140" y="1105"/>
                  </a:lnTo>
                  <a:lnTo>
                    <a:pt x="1146" y="1105"/>
                  </a:lnTo>
                  <a:lnTo>
                    <a:pt x="1154" y="1103"/>
                  </a:lnTo>
                  <a:lnTo>
                    <a:pt x="1161" y="1102"/>
                  </a:lnTo>
                  <a:lnTo>
                    <a:pt x="1167" y="1098"/>
                  </a:lnTo>
                  <a:lnTo>
                    <a:pt x="1182" y="1091"/>
                  </a:lnTo>
                  <a:lnTo>
                    <a:pt x="1195" y="1081"/>
                  </a:lnTo>
                  <a:lnTo>
                    <a:pt x="1209" y="1069"/>
                  </a:lnTo>
                  <a:lnTo>
                    <a:pt x="1222" y="1056"/>
                  </a:lnTo>
                  <a:lnTo>
                    <a:pt x="1237" y="1043"/>
                  </a:lnTo>
                  <a:lnTo>
                    <a:pt x="1250" y="1028"/>
                  </a:lnTo>
                  <a:lnTo>
                    <a:pt x="1265" y="1014"/>
                  </a:lnTo>
                  <a:lnTo>
                    <a:pt x="1279" y="999"/>
                  </a:lnTo>
                  <a:lnTo>
                    <a:pt x="1295" y="987"/>
                  </a:lnTo>
                  <a:lnTo>
                    <a:pt x="1310" y="975"/>
                  </a:lnTo>
                  <a:lnTo>
                    <a:pt x="1318" y="969"/>
                  </a:lnTo>
                  <a:lnTo>
                    <a:pt x="1326" y="964"/>
                  </a:lnTo>
                  <a:lnTo>
                    <a:pt x="1335" y="961"/>
                  </a:lnTo>
                  <a:lnTo>
                    <a:pt x="1343" y="957"/>
                  </a:lnTo>
                  <a:lnTo>
                    <a:pt x="1352" y="954"/>
                  </a:lnTo>
                  <a:lnTo>
                    <a:pt x="1361" y="952"/>
                  </a:lnTo>
                  <a:lnTo>
                    <a:pt x="1370" y="951"/>
                  </a:lnTo>
                  <a:lnTo>
                    <a:pt x="1378" y="950"/>
                  </a:lnTo>
                  <a:lnTo>
                    <a:pt x="1404" y="950"/>
                  </a:lnTo>
                  <a:lnTo>
                    <a:pt x="1425" y="948"/>
                  </a:lnTo>
                  <a:lnTo>
                    <a:pt x="1445" y="946"/>
                  </a:lnTo>
                  <a:lnTo>
                    <a:pt x="1462" y="942"/>
                  </a:lnTo>
                  <a:lnTo>
                    <a:pt x="1478" y="938"/>
                  </a:lnTo>
                  <a:lnTo>
                    <a:pt x="1492" y="933"/>
                  </a:lnTo>
                  <a:lnTo>
                    <a:pt x="1506" y="929"/>
                  </a:lnTo>
                  <a:lnTo>
                    <a:pt x="1519" y="923"/>
                  </a:lnTo>
                  <a:lnTo>
                    <a:pt x="1545" y="913"/>
                  </a:lnTo>
                  <a:lnTo>
                    <a:pt x="1572" y="905"/>
                  </a:lnTo>
                  <a:lnTo>
                    <a:pt x="1586" y="901"/>
                  </a:lnTo>
                  <a:lnTo>
                    <a:pt x="1603" y="899"/>
                  </a:lnTo>
                  <a:lnTo>
                    <a:pt x="1621" y="898"/>
                  </a:lnTo>
                  <a:lnTo>
                    <a:pt x="1642" y="896"/>
                  </a:lnTo>
                  <a:lnTo>
                    <a:pt x="1673" y="895"/>
                  </a:lnTo>
                  <a:lnTo>
                    <a:pt x="1716" y="892"/>
                  </a:lnTo>
                  <a:lnTo>
                    <a:pt x="1766" y="886"/>
                  </a:lnTo>
                  <a:lnTo>
                    <a:pt x="1821" y="881"/>
                  </a:lnTo>
                  <a:lnTo>
                    <a:pt x="1876" y="876"/>
                  </a:lnTo>
                  <a:lnTo>
                    <a:pt x="1929" y="872"/>
                  </a:lnTo>
                  <a:lnTo>
                    <a:pt x="1952" y="871"/>
                  </a:lnTo>
                  <a:lnTo>
                    <a:pt x="1975" y="871"/>
                  </a:lnTo>
                  <a:lnTo>
                    <a:pt x="1994" y="871"/>
                  </a:lnTo>
                  <a:lnTo>
                    <a:pt x="2010" y="871"/>
                  </a:lnTo>
                  <a:lnTo>
                    <a:pt x="2016" y="865"/>
                  </a:lnTo>
                  <a:lnTo>
                    <a:pt x="2019" y="861"/>
                  </a:lnTo>
                  <a:lnTo>
                    <a:pt x="2034" y="857"/>
                  </a:lnTo>
                  <a:lnTo>
                    <a:pt x="2048" y="855"/>
                  </a:lnTo>
                  <a:lnTo>
                    <a:pt x="2048" y="852"/>
                  </a:lnTo>
                  <a:lnTo>
                    <a:pt x="2050" y="850"/>
                  </a:lnTo>
                  <a:lnTo>
                    <a:pt x="2054" y="847"/>
                  </a:lnTo>
                  <a:lnTo>
                    <a:pt x="2057" y="846"/>
                  </a:lnTo>
                  <a:lnTo>
                    <a:pt x="2056" y="824"/>
                  </a:lnTo>
                  <a:lnTo>
                    <a:pt x="2053" y="803"/>
                  </a:lnTo>
                  <a:lnTo>
                    <a:pt x="2049" y="783"/>
                  </a:lnTo>
                  <a:lnTo>
                    <a:pt x="2048" y="766"/>
                  </a:lnTo>
                  <a:lnTo>
                    <a:pt x="2038" y="761"/>
                  </a:lnTo>
                  <a:lnTo>
                    <a:pt x="2036" y="755"/>
                  </a:lnTo>
                  <a:lnTo>
                    <a:pt x="2034" y="748"/>
                  </a:lnTo>
                  <a:lnTo>
                    <a:pt x="2032" y="747"/>
                  </a:lnTo>
                  <a:lnTo>
                    <a:pt x="2029" y="745"/>
                  </a:lnTo>
                  <a:lnTo>
                    <a:pt x="2026" y="741"/>
                  </a:lnTo>
                  <a:lnTo>
                    <a:pt x="2023" y="737"/>
                  </a:lnTo>
                  <a:lnTo>
                    <a:pt x="2019" y="732"/>
                  </a:lnTo>
                  <a:lnTo>
                    <a:pt x="2017" y="728"/>
                  </a:lnTo>
                  <a:lnTo>
                    <a:pt x="2016" y="723"/>
                  </a:lnTo>
                  <a:lnTo>
                    <a:pt x="2015" y="719"/>
                  </a:lnTo>
                  <a:lnTo>
                    <a:pt x="2006" y="714"/>
                  </a:lnTo>
                  <a:lnTo>
                    <a:pt x="2000" y="706"/>
                  </a:lnTo>
                  <a:lnTo>
                    <a:pt x="1989" y="692"/>
                  </a:lnTo>
                  <a:lnTo>
                    <a:pt x="1976" y="679"/>
                  </a:lnTo>
                  <a:lnTo>
                    <a:pt x="1968" y="672"/>
                  </a:lnTo>
                  <a:lnTo>
                    <a:pt x="1963" y="668"/>
                  </a:lnTo>
                  <a:lnTo>
                    <a:pt x="1954" y="660"/>
                  </a:lnTo>
                  <a:lnTo>
                    <a:pt x="1949" y="656"/>
                  </a:lnTo>
                  <a:lnTo>
                    <a:pt x="1944" y="652"/>
                  </a:lnTo>
                  <a:lnTo>
                    <a:pt x="1941" y="648"/>
                  </a:lnTo>
                  <a:lnTo>
                    <a:pt x="1940" y="644"/>
                  </a:lnTo>
                  <a:lnTo>
                    <a:pt x="1931" y="640"/>
                  </a:lnTo>
                  <a:lnTo>
                    <a:pt x="1921" y="635"/>
                  </a:lnTo>
                  <a:lnTo>
                    <a:pt x="1912" y="630"/>
                  </a:lnTo>
                  <a:lnTo>
                    <a:pt x="1910" y="625"/>
                  </a:lnTo>
                  <a:lnTo>
                    <a:pt x="1906" y="619"/>
                  </a:lnTo>
                  <a:lnTo>
                    <a:pt x="1902" y="612"/>
                  </a:lnTo>
                  <a:lnTo>
                    <a:pt x="1898" y="606"/>
                  </a:lnTo>
                  <a:lnTo>
                    <a:pt x="1898" y="597"/>
                  </a:lnTo>
                  <a:lnTo>
                    <a:pt x="1889" y="587"/>
                  </a:lnTo>
                  <a:lnTo>
                    <a:pt x="1886" y="572"/>
                  </a:lnTo>
                  <a:lnTo>
                    <a:pt x="1881" y="555"/>
                  </a:lnTo>
                  <a:lnTo>
                    <a:pt x="1879" y="546"/>
                  </a:lnTo>
                  <a:lnTo>
                    <a:pt x="1876" y="537"/>
                  </a:lnTo>
                  <a:lnTo>
                    <a:pt x="1875" y="529"/>
                  </a:lnTo>
                  <a:lnTo>
                    <a:pt x="1874" y="523"/>
                  </a:lnTo>
                  <a:lnTo>
                    <a:pt x="1872" y="521"/>
                  </a:lnTo>
                  <a:lnTo>
                    <a:pt x="1870" y="519"/>
                  </a:lnTo>
                  <a:lnTo>
                    <a:pt x="1870" y="516"/>
                  </a:lnTo>
                  <a:lnTo>
                    <a:pt x="1870" y="512"/>
                  </a:lnTo>
                  <a:lnTo>
                    <a:pt x="1866" y="511"/>
                  </a:lnTo>
                  <a:lnTo>
                    <a:pt x="1865" y="509"/>
                  </a:lnTo>
                  <a:lnTo>
                    <a:pt x="1865" y="507"/>
                  </a:lnTo>
                  <a:lnTo>
                    <a:pt x="1865" y="504"/>
                  </a:lnTo>
                  <a:lnTo>
                    <a:pt x="1857" y="496"/>
                  </a:lnTo>
                  <a:lnTo>
                    <a:pt x="1851" y="485"/>
                  </a:lnTo>
                  <a:lnTo>
                    <a:pt x="1842" y="475"/>
                  </a:lnTo>
                  <a:lnTo>
                    <a:pt x="1832" y="461"/>
                  </a:lnTo>
                  <a:lnTo>
                    <a:pt x="1831" y="460"/>
                  </a:lnTo>
                  <a:lnTo>
                    <a:pt x="1827" y="458"/>
                  </a:lnTo>
                  <a:lnTo>
                    <a:pt x="1824" y="454"/>
                  </a:lnTo>
                  <a:lnTo>
                    <a:pt x="1823" y="451"/>
                  </a:lnTo>
                  <a:lnTo>
                    <a:pt x="1813" y="451"/>
                  </a:lnTo>
                  <a:lnTo>
                    <a:pt x="1812" y="450"/>
                  </a:lnTo>
                  <a:lnTo>
                    <a:pt x="1808" y="449"/>
                  </a:lnTo>
                  <a:lnTo>
                    <a:pt x="1804" y="448"/>
                  </a:lnTo>
                  <a:lnTo>
                    <a:pt x="1798" y="448"/>
                  </a:lnTo>
                  <a:lnTo>
                    <a:pt x="1787" y="447"/>
                  </a:lnTo>
                  <a:lnTo>
                    <a:pt x="1780" y="447"/>
                  </a:lnTo>
                  <a:lnTo>
                    <a:pt x="1769" y="448"/>
                  </a:lnTo>
                  <a:lnTo>
                    <a:pt x="1757" y="449"/>
                  </a:lnTo>
                  <a:lnTo>
                    <a:pt x="1747" y="451"/>
                  </a:lnTo>
                  <a:lnTo>
                    <a:pt x="1738" y="451"/>
                  </a:lnTo>
                  <a:lnTo>
                    <a:pt x="1737" y="453"/>
                  </a:lnTo>
                  <a:lnTo>
                    <a:pt x="1736" y="454"/>
                  </a:lnTo>
                  <a:lnTo>
                    <a:pt x="1733" y="456"/>
                  </a:lnTo>
                  <a:lnTo>
                    <a:pt x="1730" y="456"/>
                  </a:lnTo>
                  <a:lnTo>
                    <a:pt x="1725" y="457"/>
                  </a:lnTo>
                  <a:lnTo>
                    <a:pt x="1719" y="457"/>
                  </a:lnTo>
                  <a:lnTo>
                    <a:pt x="1717" y="458"/>
                  </a:lnTo>
                  <a:lnTo>
                    <a:pt x="1712" y="459"/>
                  </a:lnTo>
                  <a:lnTo>
                    <a:pt x="1706" y="460"/>
                  </a:lnTo>
                  <a:lnTo>
                    <a:pt x="1697" y="460"/>
                  </a:lnTo>
                  <a:lnTo>
                    <a:pt x="1680" y="461"/>
                  </a:lnTo>
                  <a:lnTo>
                    <a:pt x="1668" y="461"/>
                  </a:lnTo>
                  <a:lnTo>
                    <a:pt x="1653" y="451"/>
                  </a:lnTo>
                  <a:lnTo>
                    <a:pt x="1634" y="442"/>
                  </a:lnTo>
                  <a:lnTo>
                    <a:pt x="1633" y="439"/>
                  </a:lnTo>
                  <a:lnTo>
                    <a:pt x="1630" y="435"/>
                  </a:lnTo>
                  <a:lnTo>
                    <a:pt x="1624" y="433"/>
                  </a:lnTo>
                  <a:lnTo>
                    <a:pt x="1621" y="433"/>
                  </a:lnTo>
                  <a:lnTo>
                    <a:pt x="1616" y="428"/>
                  </a:lnTo>
                  <a:lnTo>
                    <a:pt x="1608" y="418"/>
                  </a:lnTo>
                  <a:lnTo>
                    <a:pt x="1602" y="404"/>
                  </a:lnTo>
                  <a:lnTo>
                    <a:pt x="1596" y="404"/>
                  </a:lnTo>
                  <a:lnTo>
                    <a:pt x="1594" y="403"/>
                  </a:lnTo>
                  <a:lnTo>
                    <a:pt x="1593" y="401"/>
                  </a:lnTo>
                  <a:lnTo>
                    <a:pt x="1592" y="395"/>
                  </a:lnTo>
                  <a:lnTo>
                    <a:pt x="1587" y="393"/>
                  </a:lnTo>
                  <a:lnTo>
                    <a:pt x="1583" y="391"/>
                  </a:lnTo>
                  <a:lnTo>
                    <a:pt x="1583" y="381"/>
                  </a:lnTo>
                  <a:lnTo>
                    <a:pt x="1574" y="376"/>
                  </a:lnTo>
                  <a:lnTo>
                    <a:pt x="1572" y="365"/>
                  </a:lnTo>
                  <a:lnTo>
                    <a:pt x="1568" y="353"/>
                  </a:lnTo>
                  <a:lnTo>
                    <a:pt x="1567" y="352"/>
                  </a:lnTo>
                  <a:lnTo>
                    <a:pt x="1565" y="350"/>
                  </a:lnTo>
                  <a:lnTo>
                    <a:pt x="1563" y="345"/>
                  </a:lnTo>
                  <a:lnTo>
                    <a:pt x="1560" y="341"/>
                  </a:lnTo>
                  <a:lnTo>
                    <a:pt x="1556" y="333"/>
                  </a:lnTo>
                  <a:lnTo>
                    <a:pt x="1555" y="329"/>
                  </a:lnTo>
                  <a:lnTo>
                    <a:pt x="1555" y="315"/>
                  </a:lnTo>
                  <a:lnTo>
                    <a:pt x="1547" y="308"/>
                  </a:lnTo>
                  <a:lnTo>
                    <a:pt x="1540" y="302"/>
                  </a:lnTo>
                  <a:lnTo>
                    <a:pt x="1540" y="287"/>
                  </a:lnTo>
                  <a:lnTo>
                    <a:pt x="1534" y="279"/>
                  </a:lnTo>
                  <a:lnTo>
                    <a:pt x="1528" y="270"/>
                  </a:lnTo>
                  <a:lnTo>
                    <a:pt x="1524" y="260"/>
                  </a:lnTo>
                  <a:lnTo>
                    <a:pt x="1520" y="249"/>
                  </a:lnTo>
                  <a:lnTo>
                    <a:pt x="1517" y="237"/>
                  </a:lnTo>
                  <a:lnTo>
                    <a:pt x="1515" y="225"/>
                  </a:lnTo>
                  <a:lnTo>
                    <a:pt x="1514" y="211"/>
                  </a:lnTo>
                  <a:lnTo>
                    <a:pt x="1512" y="198"/>
                  </a:lnTo>
                  <a:lnTo>
                    <a:pt x="1511" y="170"/>
                  </a:lnTo>
                  <a:lnTo>
                    <a:pt x="1511" y="143"/>
                  </a:lnTo>
                  <a:lnTo>
                    <a:pt x="1512" y="117"/>
                  </a:lnTo>
                  <a:lnTo>
                    <a:pt x="1512" y="94"/>
                  </a:lnTo>
                  <a:lnTo>
                    <a:pt x="1485" y="94"/>
                  </a:lnTo>
                  <a:lnTo>
                    <a:pt x="1470" y="104"/>
                  </a:lnTo>
                  <a:lnTo>
                    <a:pt x="1466" y="113"/>
                  </a:lnTo>
                  <a:lnTo>
                    <a:pt x="1461" y="119"/>
                  </a:lnTo>
                  <a:lnTo>
                    <a:pt x="1451" y="119"/>
                  </a:lnTo>
                  <a:lnTo>
                    <a:pt x="1451" y="121"/>
                  </a:lnTo>
                  <a:lnTo>
                    <a:pt x="1450" y="123"/>
                  </a:lnTo>
                  <a:lnTo>
                    <a:pt x="1448" y="125"/>
                  </a:lnTo>
                  <a:lnTo>
                    <a:pt x="1445" y="126"/>
                  </a:lnTo>
                  <a:lnTo>
                    <a:pt x="1441" y="127"/>
                  </a:lnTo>
                  <a:lnTo>
                    <a:pt x="1438" y="127"/>
                  </a:lnTo>
                  <a:lnTo>
                    <a:pt x="1437" y="130"/>
                  </a:lnTo>
                  <a:lnTo>
                    <a:pt x="1435" y="131"/>
                  </a:lnTo>
                  <a:lnTo>
                    <a:pt x="1432" y="132"/>
                  </a:lnTo>
                  <a:lnTo>
                    <a:pt x="1430" y="134"/>
                  </a:lnTo>
                  <a:lnTo>
                    <a:pt x="1423" y="136"/>
                  </a:lnTo>
                  <a:lnTo>
                    <a:pt x="1419" y="136"/>
                  </a:lnTo>
                  <a:lnTo>
                    <a:pt x="1418" y="139"/>
                  </a:lnTo>
                  <a:lnTo>
                    <a:pt x="1415" y="140"/>
                  </a:lnTo>
                  <a:lnTo>
                    <a:pt x="1412" y="141"/>
                  </a:lnTo>
                  <a:lnTo>
                    <a:pt x="1408" y="141"/>
                  </a:lnTo>
                  <a:lnTo>
                    <a:pt x="1396" y="141"/>
                  </a:lnTo>
                  <a:lnTo>
                    <a:pt x="1381" y="141"/>
                  </a:lnTo>
                  <a:lnTo>
                    <a:pt x="1341" y="136"/>
                  </a:lnTo>
                  <a:lnTo>
                    <a:pt x="1294" y="130"/>
                  </a:lnTo>
                  <a:lnTo>
                    <a:pt x="1246" y="123"/>
                  </a:lnTo>
                  <a:lnTo>
                    <a:pt x="1200" y="115"/>
                  </a:lnTo>
                  <a:lnTo>
                    <a:pt x="1164" y="111"/>
                  </a:lnTo>
                  <a:lnTo>
                    <a:pt x="1141" y="108"/>
                  </a:lnTo>
                  <a:lnTo>
                    <a:pt x="1114" y="107"/>
                  </a:lnTo>
                  <a:lnTo>
                    <a:pt x="1086" y="104"/>
                  </a:lnTo>
                  <a:lnTo>
                    <a:pt x="1057" y="98"/>
                  </a:lnTo>
                  <a:lnTo>
                    <a:pt x="1027" y="92"/>
                  </a:lnTo>
                  <a:lnTo>
                    <a:pt x="996" y="86"/>
                  </a:lnTo>
                  <a:lnTo>
                    <a:pt x="964" y="81"/>
                  </a:lnTo>
                  <a:lnTo>
                    <a:pt x="949" y="78"/>
                  </a:lnTo>
                  <a:lnTo>
                    <a:pt x="933" y="77"/>
                  </a:lnTo>
                  <a:lnTo>
                    <a:pt x="917" y="76"/>
                  </a:lnTo>
                  <a:lnTo>
                    <a:pt x="902" y="76"/>
                  </a:lnTo>
                  <a:lnTo>
                    <a:pt x="901" y="74"/>
                  </a:lnTo>
                  <a:lnTo>
                    <a:pt x="900" y="73"/>
                  </a:lnTo>
                  <a:lnTo>
                    <a:pt x="898" y="73"/>
                  </a:lnTo>
                  <a:lnTo>
                    <a:pt x="896" y="72"/>
                  </a:lnTo>
                  <a:lnTo>
                    <a:pt x="892" y="72"/>
                  </a:lnTo>
                  <a:lnTo>
                    <a:pt x="887" y="71"/>
                  </a:lnTo>
                  <a:lnTo>
                    <a:pt x="883" y="66"/>
                  </a:lnTo>
                  <a:lnTo>
                    <a:pt x="878" y="57"/>
                  </a:lnTo>
                  <a:lnTo>
                    <a:pt x="871" y="55"/>
                  </a:lnTo>
                  <a:lnTo>
                    <a:pt x="864" y="53"/>
                  </a:lnTo>
                  <a:lnTo>
                    <a:pt x="862" y="47"/>
                  </a:lnTo>
                  <a:lnTo>
                    <a:pt x="859" y="43"/>
                  </a:lnTo>
                  <a:lnTo>
                    <a:pt x="849" y="40"/>
                  </a:lnTo>
                  <a:lnTo>
                    <a:pt x="840" y="38"/>
                  </a:lnTo>
                  <a:lnTo>
                    <a:pt x="840" y="37"/>
                  </a:lnTo>
                  <a:lnTo>
                    <a:pt x="839" y="36"/>
                  </a:lnTo>
                  <a:lnTo>
                    <a:pt x="837" y="35"/>
                  </a:lnTo>
                  <a:lnTo>
                    <a:pt x="835" y="34"/>
                  </a:lnTo>
                  <a:lnTo>
                    <a:pt x="830" y="34"/>
                  </a:lnTo>
                  <a:lnTo>
                    <a:pt x="826" y="34"/>
                  </a:lnTo>
                  <a:lnTo>
                    <a:pt x="610" y="0"/>
                  </a:lnTo>
                  <a:lnTo>
                    <a:pt x="600" y="12"/>
                  </a:lnTo>
                  <a:lnTo>
                    <a:pt x="591" y="29"/>
                  </a:lnTo>
                  <a:lnTo>
                    <a:pt x="583" y="34"/>
                  </a:lnTo>
                  <a:lnTo>
                    <a:pt x="580" y="44"/>
                  </a:lnTo>
                  <a:lnTo>
                    <a:pt x="577" y="57"/>
                  </a:lnTo>
                  <a:lnTo>
                    <a:pt x="574" y="71"/>
                  </a:lnTo>
                  <a:lnTo>
                    <a:pt x="573" y="81"/>
                  </a:lnTo>
                  <a:lnTo>
                    <a:pt x="564" y="81"/>
                  </a:lnTo>
                  <a:lnTo>
                    <a:pt x="562" y="83"/>
                  </a:lnTo>
                  <a:lnTo>
                    <a:pt x="561" y="85"/>
                  </a:lnTo>
                  <a:lnTo>
                    <a:pt x="559" y="87"/>
                  </a:lnTo>
                  <a:lnTo>
                    <a:pt x="557" y="88"/>
                  </a:lnTo>
                  <a:lnTo>
                    <a:pt x="549" y="91"/>
                  </a:lnTo>
                  <a:lnTo>
                    <a:pt x="541" y="93"/>
                  </a:lnTo>
                  <a:lnTo>
                    <a:pt x="523" y="94"/>
                  </a:lnTo>
                  <a:lnTo>
                    <a:pt x="511" y="94"/>
                  </a:lnTo>
                  <a:lnTo>
                    <a:pt x="502" y="85"/>
                  </a:lnTo>
                  <a:lnTo>
                    <a:pt x="493" y="85"/>
                  </a:lnTo>
                  <a:lnTo>
                    <a:pt x="488" y="76"/>
                  </a:lnTo>
                  <a:lnTo>
                    <a:pt x="475" y="74"/>
                  </a:lnTo>
                  <a:lnTo>
                    <a:pt x="461" y="71"/>
                  </a:lnTo>
                  <a:lnTo>
                    <a:pt x="453" y="71"/>
                  </a:lnTo>
                  <a:lnTo>
                    <a:pt x="446" y="72"/>
                  </a:lnTo>
                  <a:lnTo>
                    <a:pt x="443" y="73"/>
                  </a:lnTo>
                  <a:lnTo>
                    <a:pt x="441" y="75"/>
                  </a:lnTo>
                  <a:lnTo>
                    <a:pt x="439" y="77"/>
                  </a:lnTo>
                  <a:lnTo>
                    <a:pt x="436" y="81"/>
                  </a:lnTo>
                  <a:lnTo>
                    <a:pt x="422" y="81"/>
                  </a:lnTo>
                  <a:lnTo>
                    <a:pt x="422" y="82"/>
                  </a:lnTo>
                  <a:lnTo>
                    <a:pt x="421" y="83"/>
                  </a:lnTo>
                  <a:lnTo>
                    <a:pt x="420" y="84"/>
                  </a:lnTo>
                  <a:lnTo>
                    <a:pt x="417" y="85"/>
                  </a:lnTo>
                  <a:lnTo>
                    <a:pt x="413" y="85"/>
                  </a:lnTo>
                  <a:lnTo>
                    <a:pt x="408" y="85"/>
                  </a:lnTo>
                  <a:lnTo>
                    <a:pt x="407" y="86"/>
                  </a:lnTo>
                  <a:lnTo>
                    <a:pt x="404" y="88"/>
                  </a:lnTo>
                  <a:lnTo>
                    <a:pt x="399" y="88"/>
                  </a:lnTo>
                  <a:lnTo>
                    <a:pt x="394" y="90"/>
                  </a:lnTo>
                  <a:lnTo>
                    <a:pt x="383" y="90"/>
                  </a:lnTo>
                  <a:lnTo>
                    <a:pt x="375" y="90"/>
                  </a:lnTo>
                  <a:lnTo>
                    <a:pt x="374" y="88"/>
                  </a:lnTo>
                  <a:lnTo>
                    <a:pt x="369" y="87"/>
                  </a:lnTo>
                  <a:lnTo>
                    <a:pt x="364" y="86"/>
                  </a:lnTo>
                  <a:lnTo>
                    <a:pt x="356" y="86"/>
                  </a:lnTo>
                  <a:lnTo>
                    <a:pt x="341" y="85"/>
                  </a:lnTo>
                  <a:lnTo>
                    <a:pt x="334" y="85"/>
                  </a:lnTo>
                  <a:lnTo>
                    <a:pt x="334" y="7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4" name="Freeform 37">
              <a:extLst>
                <a:ext uri="{FF2B5EF4-FFF2-40B4-BE49-F238E27FC236}">
                  <a16:creationId xmlns:a16="http://schemas.microsoft.com/office/drawing/2014/main" id="{A3E65E20-CD0F-4A76-B6D0-B0E7C64799AC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542213" y="3467100"/>
              <a:ext cx="304164" cy="254000"/>
            </a:xfrm>
            <a:custGeom>
              <a:avLst/>
              <a:gdLst/>
              <a:ahLst/>
              <a:cxnLst>
                <a:cxn ang="0">
                  <a:pos x="809" y="159"/>
                </a:cxn>
                <a:cxn ang="0">
                  <a:pos x="708" y="191"/>
                </a:cxn>
                <a:cxn ang="0">
                  <a:pos x="606" y="265"/>
                </a:cxn>
                <a:cxn ang="0">
                  <a:pos x="564" y="389"/>
                </a:cxn>
                <a:cxn ang="0">
                  <a:pos x="658" y="462"/>
                </a:cxn>
                <a:cxn ang="0">
                  <a:pos x="714" y="488"/>
                </a:cxn>
                <a:cxn ang="0">
                  <a:pos x="676" y="549"/>
                </a:cxn>
                <a:cxn ang="0">
                  <a:pos x="621" y="533"/>
                </a:cxn>
                <a:cxn ang="0">
                  <a:pos x="547" y="537"/>
                </a:cxn>
                <a:cxn ang="0">
                  <a:pos x="451" y="587"/>
                </a:cxn>
                <a:cxn ang="0">
                  <a:pos x="322" y="549"/>
                </a:cxn>
                <a:cxn ang="0">
                  <a:pos x="305" y="598"/>
                </a:cxn>
                <a:cxn ang="0">
                  <a:pos x="411" y="699"/>
                </a:cxn>
                <a:cxn ang="0">
                  <a:pos x="383" y="781"/>
                </a:cxn>
                <a:cxn ang="0">
                  <a:pos x="236" y="846"/>
                </a:cxn>
                <a:cxn ang="0">
                  <a:pos x="182" y="883"/>
                </a:cxn>
                <a:cxn ang="0">
                  <a:pos x="216" y="1086"/>
                </a:cxn>
                <a:cxn ang="0">
                  <a:pos x="150" y="1180"/>
                </a:cxn>
                <a:cxn ang="0">
                  <a:pos x="0" y="1209"/>
                </a:cxn>
                <a:cxn ang="0">
                  <a:pos x="17" y="1262"/>
                </a:cxn>
                <a:cxn ang="0">
                  <a:pos x="45" y="1309"/>
                </a:cxn>
                <a:cxn ang="0">
                  <a:pos x="65" y="1352"/>
                </a:cxn>
                <a:cxn ang="0">
                  <a:pos x="89" y="1414"/>
                </a:cxn>
                <a:cxn ang="0">
                  <a:pos x="117" y="1420"/>
                </a:cxn>
                <a:cxn ang="0">
                  <a:pos x="203" y="1398"/>
                </a:cxn>
                <a:cxn ang="0">
                  <a:pos x="354" y="1425"/>
                </a:cxn>
                <a:cxn ang="0">
                  <a:pos x="382" y="1434"/>
                </a:cxn>
                <a:cxn ang="0">
                  <a:pos x="454" y="1462"/>
                </a:cxn>
                <a:cxn ang="0">
                  <a:pos x="554" y="1491"/>
                </a:cxn>
                <a:cxn ang="0">
                  <a:pos x="609" y="1514"/>
                </a:cxn>
                <a:cxn ang="0">
                  <a:pos x="670" y="1539"/>
                </a:cxn>
                <a:cxn ang="0">
                  <a:pos x="754" y="1564"/>
                </a:cxn>
                <a:cxn ang="0">
                  <a:pos x="803" y="1575"/>
                </a:cxn>
                <a:cxn ang="0">
                  <a:pos x="928" y="1558"/>
                </a:cxn>
                <a:cxn ang="0">
                  <a:pos x="971" y="1515"/>
                </a:cxn>
                <a:cxn ang="0">
                  <a:pos x="965" y="1464"/>
                </a:cxn>
                <a:cxn ang="0">
                  <a:pos x="894" y="1111"/>
                </a:cxn>
                <a:cxn ang="0">
                  <a:pos x="767" y="1021"/>
                </a:cxn>
                <a:cxn ang="0">
                  <a:pos x="676" y="1031"/>
                </a:cxn>
                <a:cxn ang="0">
                  <a:pos x="666" y="944"/>
                </a:cxn>
                <a:cxn ang="0">
                  <a:pos x="757" y="832"/>
                </a:cxn>
                <a:cxn ang="0">
                  <a:pos x="943" y="694"/>
                </a:cxn>
                <a:cxn ang="0">
                  <a:pos x="994" y="625"/>
                </a:cxn>
                <a:cxn ang="0">
                  <a:pos x="1049" y="743"/>
                </a:cxn>
                <a:cxn ang="0">
                  <a:pos x="1203" y="726"/>
                </a:cxn>
                <a:cxn ang="0">
                  <a:pos x="1293" y="813"/>
                </a:cxn>
                <a:cxn ang="0">
                  <a:pos x="1379" y="982"/>
                </a:cxn>
                <a:cxn ang="0">
                  <a:pos x="1358" y="1112"/>
                </a:cxn>
                <a:cxn ang="0">
                  <a:pos x="1295" y="1178"/>
                </a:cxn>
                <a:cxn ang="0">
                  <a:pos x="1240" y="1067"/>
                </a:cxn>
                <a:cxn ang="0">
                  <a:pos x="1183" y="1088"/>
                </a:cxn>
                <a:cxn ang="0">
                  <a:pos x="1092" y="1308"/>
                </a:cxn>
                <a:cxn ang="0">
                  <a:pos x="1145" y="1345"/>
                </a:cxn>
                <a:cxn ang="0">
                  <a:pos x="1341" y="1319"/>
                </a:cxn>
                <a:cxn ang="0">
                  <a:pos x="1540" y="1187"/>
                </a:cxn>
                <a:cxn ang="0">
                  <a:pos x="1672" y="1075"/>
                </a:cxn>
                <a:cxn ang="0">
                  <a:pos x="1641" y="1006"/>
                </a:cxn>
                <a:cxn ang="0">
                  <a:pos x="1616" y="913"/>
                </a:cxn>
                <a:cxn ang="0">
                  <a:pos x="1608" y="743"/>
                </a:cxn>
                <a:cxn ang="0">
                  <a:pos x="1453" y="576"/>
                </a:cxn>
                <a:cxn ang="0">
                  <a:pos x="1273" y="302"/>
                </a:cxn>
                <a:cxn ang="0">
                  <a:pos x="1021" y="41"/>
                </a:cxn>
              </a:cxnLst>
              <a:rect l="0" t="0" r="r" b="b"/>
              <a:pathLst>
                <a:path w="1675" h="1575">
                  <a:moveTo>
                    <a:pt x="923" y="0"/>
                  </a:moveTo>
                  <a:lnTo>
                    <a:pt x="914" y="12"/>
                  </a:lnTo>
                  <a:lnTo>
                    <a:pt x="905" y="27"/>
                  </a:lnTo>
                  <a:lnTo>
                    <a:pt x="896" y="41"/>
                  </a:lnTo>
                  <a:lnTo>
                    <a:pt x="887" y="57"/>
                  </a:lnTo>
                  <a:lnTo>
                    <a:pt x="868" y="88"/>
                  </a:lnTo>
                  <a:lnTo>
                    <a:pt x="847" y="120"/>
                  </a:lnTo>
                  <a:lnTo>
                    <a:pt x="835" y="133"/>
                  </a:lnTo>
                  <a:lnTo>
                    <a:pt x="823" y="146"/>
                  </a:lnTo>
                  <a:lnTo>
                    <a:pt x="809" y="159"/>
                  </a:lnTo>
                  <a:lnTo>
                    <a:pt x="794" y="169"/>
                  </a:lnTo>
                  <a:lnTo>
                    <a:pt x="786" y="174"/>
                  </a:lnTo>
                  <a:lnTo>
                    <a:pt x="777" y="178"/>
                  </a:lnTo>
                  <a:lnTo>
                    <a:pt x="770" y="181"/>
                  </a:lnTo>
                  <a:lnTo>
                    <a:pt x="760" y="184"/>
                  </a:lnTo>
                  <a:lnTo>
                    <a:pt x="751" y="187"/>
                  </a:lnTo>
                  <a:lnTo>
                    <a:pt x="741" y="189"/>
                  </a:lnTo>
                  <a:lnTo>
                    <a:pt x="729" y="190"/>
                  </a:lnTo>
                  <a:lnTo>
                    <a:pt x="718" y="190"/>
                  </a:lnTo>
                  <a:lnTo>
                    <a:pt x="708" y="191"/>
                  </a:lnTo>
                  <a:lnTo>
                    <a:pt x="697" y="193"/>
                  </a:lnTo>
                  <a:lnTo>
                    <a:pt x="686" y="197"/>
                  </a:lnTo>
                  <a:lnTo>
                    <a:pt x="675" y="201"/>
                  </a:lnTo>
                  <a:lnTo>
                    <a:pt x="664" y="208"/>
                  </a:lnTo>
                  <a:lnTo>
                    <a:pt x="654" y="214"/>
                  </a:lnTo>
                  <a:lnTo>
                    <a:pt x="642" y="223"/>
                  </a:lnTo>
                  <a:lnTo>
                    <a:pt x="632" y="232"/>
                  </a:lnTo>
                  <a:lnTo>
                    <a:pt x="623" y="242"/>
                  </a:lnTo>
                  <a:lnTo>
                    <a:pt x="614" y="254"/>
                  </a:lnTo>
                  <a:lnTo>
                    <a:pt x="606" y="265"/>
                  </a:lnTo>
                  <a:lnTo>
                    <a:pt x="598" y="276"/>
                  </a:lnTo>
                  <a:lnTo>
                    <a:pt x="590" y="288"/>
                  </a:lnTo>
                  <a:lnTo>
                    <a:pt x="583" y="302"/>
                  </a:lnTo>
                  <a:lnTo>
                    <a:pt x="578" y="314"/>
                  </a:lnTo>
                  <a:lnTo>
                    <a:pt x="573" y="326"/>
                  </a:lnTo>
                  <a:lnTo>
                    <a:pt x="569" y="339"/>
                  </a:lnTo>
                  <a:lnTo>
                    <a:pt x="566" y="352"/>
                  </a:lnTo>
                  <a:lnTo>
                    <a:pt x="564" y="364"/>
                  </a:lnTo>
                  <a:lnTo>
                    <a:pt x="564" y="376"/>
                  </a:lnTo>
                  <a:lnTo>
                    <a:pt x="564" y="389"/>
                  </a:lnTo>
                  <a:lnTo>
                    <a:pt x="566" y="400"/>
                  </a:lnTo>
                  <a:lnTo>
                    <a:pt x="571" y="411"/>
                  </a:lnTo>
                  <a:lnTo>
                    <a:pt x="575" y="421"/>
                  </a:lnTo>
                  <a:lnTo>
                    <a:pt x="582" y="430"/>
                  </a:lnTo>
                  <a:lnTo>
                    <a:pt x="590" y="438"/>
                  </a:lnTo>
                  <a:lnTo>
                    <a:pt x="600" y="446"/>
                  </a:lnTo>
                  <a:lnTo>
                    <a:pt x="611" y="451"/>
                  </a:lnTo>
                  <a:lnTo>
                    <a:pt x="624" y="457"/>
                  </a:lnTo>
                  <a:lnTo>
                    <a:pt x="640" y="460"/>
                  </a:lnTo>
                  <a:lnTo>
                    <a:pt x="658" y="462"/>
                  </a:lnTo>
                  <a:lnTo>
                    <a:pt x="677" y="463"/>
                  </a:lnTo>
                  <a:lnTo>
                    <a:pt x="685" y="463"/>
                  </a:lnTo>
                  <a:lnTo>
                    <a:pt x="690" y="464"/>
                  </a:lnTo>
                  <a:lnTo>
                    <a:pt x="697" y="467"/>
                  </a:lnTo>
                  <a:lnTo>
                    <a:pt x="702" y="469"/>
                  </a:lnTo>
                  <a:lnTo>
                    <a:pt x="705" y="472"/>
                  </a:lnTo>
                  <a:lnTo>
                    <a:pt x="708" y="476"/>
                  </a:lnTo>
                  <a:lnTo>
                    <a:pt x="710" y="479"/>
                  </a:lnTo>
                  <a:lnTo>
                    <a:pt x="713" y="483"/>
                  </a:lnTo>
                  <a:lnTo>
                    <a:pt x="714" y="488"/>
                  </a:lnTo>
                  <a:lnTo>
                    <a:pt x="715" y="492"/>
                  </a:lnTo>
                  <a:lnTo>
                    <a:pt x="714" y="498"/>
                  </a:lnTo>
                  <a:lnTo>
                    <a:pt x="714" y="502"/>
                  </a:lnTo>
                  <a:lnTo>
                    <a:pt x="710" y="512"/>
                  </a:lnTo>
                  <a:lnTo>
                    <a:pt x="706" y="523"/>
                  </a:lnTo>
                  <a:lnTo>
                    <a:pt x="699" y="533"/>
                  </a:lnTo>
                  <a:lnTo>
                    <a:pt x="690" y="540"/>
                  </a:lnTo>
                  <a:lnTo>
                    <a:pt x="686" y="544"/>
                  </a:lnTo>
                  <a:lnTo>
                    <a:pt x="681" y="547"/>
                  </a:lnTo>
                  <a:lnTo>
                    <a:pt x="676" y="549"/>
                  </a:lnTo>
                  <a:lnTo>
                    <a:pt x="671" y="552"/>
                  </a:lnTo>
                  <a:lnTo>
                    <a:pt x="666" y="553"/>
                  </a:lnTo>
                  <a:lnTo>
                    <a:pt x="660" y="553"/>
                  </a:lnTo>
                  <a:lnTo>
                    <a:pt x="655" y="553"/>
                  </a:lnTo>
                  <a:lnTo>
                    <a:pt x="649" y="552"/>
                  </a:lnTo>
                  <a:lnTo>
                    <a:pt x="643" y="549"/>
                  </a:lnTo>
                  <a:lnTo>
                    <a:pt x="638" y="546"/>
                  </a:lnTo>
                  <a:lnTo>
                    <a:pt x="632" y="543"/>
                  </a:lnTo>
                  <a:lnTo>
                    <a:pt x="626" y="537"/>
                  </a:lnTo>
                  <a:lnTo>
                    <a:pt x="621" y="533"/>
                  </a:lnTo>
                  <a:lnTo>
                    <a:pt x="616" y="529"/>
                  </a:lnTo>
                  <a:lnTo>
                    <a:pt x="610" y="526"/>
                  </a:lnTo>
                  <a:lnTo>
                    <a:pt x="604" y="524"/>
                  </a:lnTo>
                  <a:lnTo>
                    <a:pt x="599" y="523"/>
                  </a:lnTo>
                  <a:lnTo>
                    <a:pt x="593" y="521"/>
                  </a:lnTo>
                  <a:lnTo>
                    <a:pt x="588" y="521"/>
                  </a:lnTo>
                  <a:lnTo>
                    <a:pt x="581" y="523"/>
                  </a:lnTo>
                  <a:lnTo>
                    <a:pt x="570" y="526"/>
                  </a:lnTo>
                  <a:lnTo>
                    <a:pt x="559" y="530"/>
                  </a:lnTo>
                  <a:lnTo>
                    <a:pt x="547" y="537"/>
                  </a:lnTo>
                  <a:lnTo>
                    <a:pt x="536" y="545"/>
                  </a:lnTo>
                  <a:lnTo>
                    <a:pt x="516" y="560"/>
                  </a:lnTo>
                  <a:lnTo>
                    <a:pt x="499" y="576"/>
                  </a:lnTo>
                  <a:lnTo>
                    <a:pt x="492" y="583"/>
                  </a:lnTo>
                  <a:lnTo>
                    <a:pt x="486" y="588"/>
                  </a:lnTo>
                  <a:lnTo>
                    <a:pt x="482" y="592"/>
                  </a:lnTo>
                  <a:lnTo>
                    <a:pt x="478" y="593"/>
                  </a:lnTo>
                  <a:lnTo>
                    <a:pt x="470" y="592"/>
                  </a:lnTo>
                  <a:lnTo>
                    <a:pt x="461" y="589"/>
                  </a:lnTo>
                  <a:lnTo>
                    <a:pt x="451" y="587"/>
                  </a:lnTo>
                  <a:lnTo>
                    <a:pt x="440" y="583"/>
                  </a:lnTo>
                  <a:lnTo>
                    <a:pt x="417" y="573"/>
                  </a:lnTo>
                  <a:lnTo>
                    <a:pt x="392" y="563"/>
                  </a:lnTo>
                  <a:lnTo>
                    <a:pt x="380" y="557"/>
                  </a:lnTo>
                  <a:lnTo>
                    <a:pt x="368" y="554"/>
                  </a:lnTo>
                  <a:lnTo>
                    <a:pt x="357" y="550"/>
                  </a:lnTo>
                  <a:lnTo>
                    <a:pt x="345" y="548"/>
                  </a:lnTo>
                  <a:lnTo>
                    <a:pt x="335" y="547"/>
                  </a:lnTo>
                  <a:lnTo>
                    <a:pt x="326" y="548"/>
                  </a:lnTo>
                  <a:lnTo>
                    <a:pt x="322" y="549"/>
                  </a:lnTo>
                  <a:lnTo>
                    <a:pt x="317" y="550"/>
                  </a:lnTo>
                  <a:lnTo>
                    <a:pt x="314" y="553"/>
                  </a:lnTo>
                  <a:lnTo>
                    <a:pt x="311" y="556"/>
                  </a:lnTo>
                  <a:lnTo>
                    <a:pt x="305" y="562"/>
                  </a:lnTo>
                  <a:lnTo>
                    <a:pt x="302" y="568"/>
                  </a:lnTo>
                  <a:lnTo>
                    <a:pt x="301" y="574"/>
                  </a:lnTo>
                  <a:lnTo>
                    <a:pt x="300" y="581"/>
                  </a:lnTo>
                  <a:lnTo>
                    <a:pt x="301" y="586"/>
                  </a:lnTo>
                  <a:lnTo>
                    <a:pt x="303" y="592"/>
                  </a:lnTo>
                  <a:lnTo>
                    <a:pt x="305" y="598"/>
                  </a:lnTo>
                  <a:lnTo>
                    <a:pt x="310" y="604"/>
                  </a:lnTo>
                  <a:lnTo>
                    <a:pt x="321" y="616"/>
                  </a:lnTo>
                  <a:lnTo>
                    <a:pt x="334" y="629"/>
                  </a:lnTo>
                  <a:lnTo>
                    <a:pt x="349" y="641"/>
                  </a:lnTo>
                  <a:lnTo>
                    <a:pt x="364" y="653"/>
                  </a:lnTo>
                  <a:lnTo>
                    <a:pt x="380" y="665"/>
                  </a:lnTo>
                  <a:lnTo>
                    <a:pt x="393" y="679"/>
                  </a:lnTo>
                  <a:lnTo>
                    <a:pt x="400" y="685"/>
                  </a:lnTo>
                  <a:lnTo>
                    <a:pt x="406" y="692"/>
                  </a:lnTo>
                  <a:lnTo>
                    <a:pt x="411" y="699"/>
                  </a:lnTo>
                  <a:lnTo>
                    <a:pt x="416" y="706"/>
                  </a:lnTo>
                  <a:lnTo>
                    <a:pt x="418" y="712"/>
                  </a:lnTo>
                  <a:lnTo>
                    <a:pt x="420" y="720"/>
                  </a:lnTo>
                  <a:lnTo>
                    <a:pt x="421" y="727"/>
                  </a:lnTo>
                  <a:lnTo>
                    <a:pt x="421" y="735"/>
                  </a:lnTo>
                  <a:lnTo>
                    <a:pt x="419" y="741"/>
                  </a:lnTo>
                  <a:lnTo>
                    <a:pt x="416" y="749"/>
                  </a:lnTo>
                  <a:lnTo>
                    <a:pt x="410" y="757"/>
                  </a:lnTo>
                  <a:lnTo>
                    <a:pt x="403" y="765"/>
                  </a:lnTo>
                  <a:lnTo>
                    <a:pt x="383" y="781"/>
                  </a:lnTo>
                  <a:lnTo>
                    <a:pt x="351" y="806"/>
                  </a:lnTo>
                  <a:lnTo>
                    <a:pt x="333" y="819"/>
                  </a:lnTo>
                  <a:lnTo>
                    <a:pt x="315" y="831"/>
                  </a:lnTo>
                  <a:lnTo>
                    <a:pt x="300" y="841"/>
                  </a:lnTo>
                  <a:lnTo>
                    <a:pt x="287" y="847"/>
                  </a:lnTo>
                  <a:lnTo>
                    <a:pt x="280" y="851"/>
                  </a:lnTo>
                  <a:lnTo>
                    <a:pt x="271" y="852"/>
                  </a:lnTo>
                  <a:lnTo>
                    <a:pt x="263" y="852"/>
                  </a:lnTo>
                  <a:lnTo>
                    <a:pt x="254" y="850"/>
                  </a:lnTo>
                  <a:lnTo>
                    <a:pt x="236" y="846"/>
                  </a:lnTo>
                  <a:lnTo>
                    <a:pt x="219" y="842"/>
                  </a:lnTo>
                  <a:lnTo>
                    <a:pt x="211" y="839"/>
                  </a:lnTo>
                  <a:lnTo>
                    <a:pt x="204" y="838"/>
                  </a:lnTo>
                  <a:lnTo>
                    <a:pt x="197" y="839"/>
                  </a:lnTo>
                  <a:lnTo>
                    <a:pt x="192" y="841"/>
                  </a:lnTo>
                  <a:lnTo>
                    <a:pt x="187" y="844"/>
                  </a:lnTo>
                  <a:lnTo>
                    <a:pt x="184" y="850"/>
                  </a:lnTo>
                  <a:lnTo>
                    <a:pt x="182" y="856"/>
                  </a:lnTo>
                  <a:lnTo>
                    <a:pt x="181" y="866"/>
                  </a:lnTo>
                  <a:lnTo>
                    <a:pt x="182" y="883"/>
                  </a:lnTo>
                  <a:lnTo>
                    <a:pt x="184" y="901"/>
                  </a:lnTo>
                  <a:lnTo>
                    <a:pt x="187" y="919"/>
                  </a:lnTo>
                  <a:lnTo>
                    <a:pt x="191" y="937"/>
                  </a:lnTo>
                  <a:lnTo>
                    <a:pt x="200" y="973"/>
                  </a:lnTo>
                  <a:lnTo>
                    <a:pt x="209" y="1010"/>
                  </a:lnTo>
                  <a:lnTo>
                    <a:pt x="213" y="1028"/>
                  </a:lnTo>
                  <a:lnTo>
                    <a:pt x="215" y="1046"/>
                  </a:lnTo>
                  <a:lnTo>
                    <a:pt x="216" y="1063"/>
                  </a:lnTo>
                  <a:lnTo>
                    <a:pt x="216" y="1078"/>
                  </a:lnTo>
                  <a:lnTo>
                    <a:pt x="216" y="1086"/>
                  </a:lnTo>
                  <a:lnTo>
                    <a:pt x="215" y="1093"/>
                  </a:lnTo>
                  <a:lnTo>
                    <a:pt x="213" y="1100"/>
                  </a:lnTo>
                  <a:lnTo>
                    <a:pt x="210" y="1107"/>
                  </a:lnTo>
                  <a:lnTo>
                    <a:pt x="207" y="1113"/>
                  </a:lnTo>
                  <a:lnTo>
                    <a:pt x="204" y="1120"/>
                  </a:lnTo>
                  <a:lnTo>
                    <a:pt x="200" y="1125"/>
                  </a:lnTo>
                  <a:lnTo>
                    <a:pt x="195" y="1131"/>
                  </a:lnTo>
                  <a:lnTo>
                    <a:pt x="173" y="1154"/>
                  </a:lnTo>
                  <a:lnTo>
                    <a:pt x="157" y="1172"/>
                  </a:lnTo>
                  <a:lnTo>
                    <a:pt x="150" y="1180"/>
                  </a:lnTo>
                  <a:lnTo>
                    <a:pt x="143" y="1185"/>
                  </a:lnTo>
                  <a:lnTo>
                    <a:pt x="137" y="1191"/>
                  </a:lnTo>
                  <a:lnTo>
                    <a:pt x="130" y="1195"/>
                  </a:lnTo>
                  <a:lnTo>
                    <a:pt x="121" y="1200"/>
                  </a:lnTo>
                  <a:lnTo>
                    <a:pt x="112" y="1202"/>
                  </a:lnTo>
                  <a:lnTo>
                    <a:pt x="101" y="1206"/>
                  </a:lnTo>
                  <a:lnTo>
                    <a:pt x="88" y="1207"/>
                  </a:lnTo>
                  <a:lnTo>
                    <a:pt x="53" y="1209"/>
                  </a:lnTo>
                  <a:lnTo>
                    <a:pt x="5" y="1209"/>
                  </a:lnTo>
                  <a:lnTo>
                    <a:pt x="0" y="1209"/>
                  </a:lnTo>
                  <a:lnTo>
                    <a:pt x="2" y="1220"/>
                  </a:lnTo>
                  <a:lnTo>
                    <a:pt x="3" y="1231"/>
                  </a:lnTo>
                  <a:lnTo>
                    <a:pt x="5" y="1236"/>
                  </a:lnTo>
                  <a:lnTo>
                    <a:pt x="6" y="1239"/>
                  </a:lnTo>
                  <a:lnTo>
                    <a:pt x="8" y="1241"/>
                  </a:lnTo>
                  <a:lnTo>
                    <a:pt x="12" y="1242"/>
                  </a:lnTo>
                  <a:lnTo>
                    <a:pt x="12" y="1259"/>
                  </a:lnTo>
                  <a:lnTo>
                    <a:pt x="14" y="1259"/>
                  </a:lnTo>
                  <a:lnTo>
                    <a:pt x="16" y="1260"/>
                  </a:lnTo>
                  <a:lnTo>
                    <a:pt x="17" y="1262"/>
                  </a:lnTo>
                  <a:lnTo>
                    <a:pt x="19" y="1266"/>
                  </a:lnTo>
                  <a:lnTo>
                    <a:pt x="24" y="1273"/>
                  </a:lnTo>
                  <a:lnTo>
                    <a:pt x="28" y="1280"/>
                  </a:lnTo>
                  <a:lnTo>
                    <a:pt x="32" y="1289"/>
                  </a:lnTo>
                  <a:lnTo>
                    <a:pt x="36" y="1296"/>
                  </a:lnTo>
                  <a:lnTo>
                    <a:pt x="38" y="1299"/>
                  </a:lnTo>
                  <a:lnTo>
                    <a:pt x="41" y="1302"/>
                  </a:lnTo>
                  <a:lnTo>
                    <a:pt x="43" y="1303"/>
                  </a:lnTo>
                  <a:lnTo>
                    <a:pt x="45" y="1303"/>
                  </a:lnTo>
                  <a:lnTo>
                    <a:pt x="45" y="1309"/>
                  </a:lnTo>
                  <a:lnTo>
                    <a:pt x="48" y="1319"/>
                  </a:lnTo>
                  <a:lnTo>
                    <a:pt x="50" y="1324"/>
                  </a:lnTo>
                  <a:lnTo>
                    <a:pt x="52" y="1327"/>
                  </a:lnTo>
                  <a:lnTo>
                    <a:pt x="54" y="1329"/>
                  </a:lnTo>
                  <a:lnTo>
                    <a:pt x="56" y="1331"/>
                  </a:lnTo>
                  <a:lnTo>
                    <a:pt x="56" y="1336"/>
                  </a:lnTo>
                  <a:lnTo>
                    <a:pt x="60" y="1344"/>
                  </a:lnTo>
                  <a:lnTo>
                    <a:pt x="61" y="1347"/>
                  </a:lnTo>
                  <a:lnTo>
                    <a:pt x="63" y="1351"/>
                  </a:lnTo>
                  <a:lnTo>
                    <a:pt x="65" y="1352"/>
                  </a:lnTo>
                  <a:lnTo>
                    <a:pt x="67" y="1353"/>
                  </a:lnTo>
                  <a:lnTo>
                    <a:pt x="69" y="1365"/>
                  </a:lnTo>
                  <a:lnTo>
                    <a:pt x="74" y="1382"/>
                  </a:lnTo>
                  <a:lnTo>
                    <a:pt x="77" y="1390"/>
                  </a:lnTo>
                  <a:lnTo>
                    <a:pt x="81" y="1396"/>
                  </a:lnTo>
                  <a:lnTo>
                    <a:pt x="83" y="1399"/>
                  </a:lnTo>
                  <a:lnTo>
                    <a:pt x="85" y="1401"/>
                  </a:lnTo>
                  <a:lnTo>
                    <a:pt x="86" y="1402"/>
                  </a:lnTo>
                  <a:lnTo>
                    <a:pt x="89" y="1403"/>
                  </a:lnTo>
                  <a:lnTo>
                    <a:pt x="89" y="1414"/>
                  </a:lnTo>
                  <a:lnTo>
                    <a:pt x="91" y="1414"/>
                  </a:lnTo>
                  <a:lnTo>
                    <a:pt x="94" y="1418"/>
                  </a:lnTo>
                  <a:lnTo>
                    <a:pt x="99" y="1421"/>
                  </a:lnTo>
                  <a:lnTo>
                    <a:pt x="100" y="1425"/>
                  </a:lnTo>
                  <a:lnTo>
                    <a:pt x="105" y="1424"/>
                  </a:lnTo>
                  <a:lnTo>
                    <a:pt x="111" y="1424"/>
                  </a:lnTo>
                  <a:lnTo>
                    <a:pt x="113" y="1423"/>
                  </a:lnTo>
                  <a:lnTo>
                    <a:pt x="115" y="1422"/>
                  </a:lnTo>
                  <a:lnTo>
                    <a:pt x="117" y="1421"/>
                  </a:lnTo>
                  <a:lnTo>
                    <a:pt x="117" y="1420"/>
                  </a:lnTo>
                  <a:lnTo>
                    <a:pt x="122" y="1419"/>
                  </a:lnTo>
                  <a:lnTo>
                    <a:pt x="127" y="1419"/>
                  </a:lnTo>
                  <a:lnTo>
                    <a:pt x="130" y="1418"/>
                  </a:lnTo>
                  <a:lnTo>
                    <a:pt x="131" y="1416"/>
                  </a:lnTo>
                  <a:lnTo>
                    <a:pt x="133" y="1415"/>
                  </a:lnTo>
                  <a:lnTo>
                    <a:pt x="133" y="1414"/>
                  </a:lnTo>
                  <a:lnTo>
                    <a:pt x="156" y="1414"/>
                  </a:lnTo>
                  <a:lnTo>
                    <a:pt x="169" y="1405"/>
                  </a:lnTo>
                  <a:lnTo>
                    <a:pt x="184" y="1398"/>
                  </a:lnTo>
                  <a:lnTo>
                    <a:pt x="203" y="1398"/>
                  </a:lnTo>
                  <a:lnTo>
                    <a:pt x="223" y="1400"/>
                  </a:lnTo>
                  <a:lnTo>
                    <a:pt x="244" y="1402"/>
                  </a:lnTo>
                  <a:lnTo>
                    <a:pt x="266" y="1405"/>
                  </a:lnTo>
                  <a:lnTo>
                    <a:pt x="286" y="1409"/>
                  </a:lnTo>
                  <a:lnTo>
                    <a:pt x="307" y="1411"/>
                  </a:lnTo>
                  <a:lnTo>
                    <a:pt x="326" y="1413"/>
                  </a:lnTo>
                  <a:lnTo>
                    <a:pt x="344" y="1414"/>
                  </a:lnTo>
                  <a:lnTo>
                    <a:pt x="347" y="1420"/>
                  </a:lnTo>
                  <a:lnTo>
                    <a:pt x="350" y="1425"/>
                  </a:lnTo>
                  <a:lnTo>
                    <a:pt x="354" y="1425"/>
                  </a:lnTo>
                  <a:lnTo>
                    <a:pt x="360" y="1425"/>
                  </a:lnTo>
                  <a:lnTo>
                    <a:pt x="362" y="1427"/>
                  </a:lnTo>
                  <a:lnTo>
                    <a:pt x="364" y="1428"/>
                  </a:lnTo>
                  <a:lnTo>
                    <a:pt x="365" y="1429"/>
                  </a:lnTo>
                  <a:lnTo>
                    <a:pt x="365" y="1430"/>
                  </a:lnTo>
                  <a:lnTo>
                    <a:pt x="371" y="1431"/>
                  </a:lnTo>
                  <a:lnTo>
                    <a:pt x="377" y="1431"/>
                  </a:lnTo>
                  <a:lnTo>
                    <a:pt x="379" y="1432"/>
                  </a:lnTo>
                  <a:lnTo>
                    <a:pt x="381" y="1433"/>
                  </a:lnTo>
                  <a:lnTo>
                    <a:pt x="382" y="1434"/>
                  </a:lnTo>
                  <a:lnTo>
                    <a:pt x="382" y="1435"/>
                  </a:lnTo>
                  <a:lnTo>
                    <a:pt x="396" y="1439"/>
                  </a:lnTo>
                  <a:lnTo>
                    <a:pt x="411" y="1445"/>
                  </a:lnTo>
                  <a:lnTo>
                    <a:pt x="419" y="1449"/>
                  </a:lnTo>
                  <a:lnTo>
                    <a:pt x="426" y="1452"/>
                  </a:lnTo>
                  <a:lnTo>
                    <a:pt x="430" y="1456"/>
                  </a:lnTo>
                  <a:lnTo>
                    <a:pt x="432" y="1458"/>
                  </a:lnTo>
                  <a:lnTo>
                    <a:pt x="449" y="1458"/>
                  </a:lnTo>
                  <a:lnTo>
                    <a:pt x="450" y="1460"/>
                  </a:lnTo>
                  <a:lnTo>
                    <a:pt x="454" y="1462"/>
                  </a:lnTo>
                  <a:lnTo>
                    <a:pt x="459" y="1464"/>
                  </a:lnTo>
                  <a:lnTo>
                    <a:pt x="466" y="1467"/>
                  </a:lnTo>
                  <a:lnTo>
                    <a:pt x="483" y="1470"/>
                  </a:lnTo>
                  <a:lnTo>
                    <a:pt x="502" y="1475"/>
                  </a:lnTo>
                  <a:lnTo>
                    <a:pt x="521" y="1479"/>
                  </a:lnTo>
                  <a:lnTo>
                    <a:pt x="537" y="1483"/>
                  </a:lnTo>
                  <a:lnTo>
                    <a:pt x="544" y="1486"/>
                  </a:lnTo>
                  <a:lnTo>
                    <a:pt x="550" y="1487"/>
                  </a:lnTo>
                  <a:lnTo>
                    <a:pt x="553" y="1489"/>
                  </a:lnTo>
                  <a:lnTo>
                    <a:pt x="554" y="1491"/>
                  </a:lnTo>
                  <a:lnTo>
                    <a:pt x="559" y="1491"/>
                  </a:lnTo>
                  <a:lnTo>
                    <a:pt x="562" y="1492"/>
                  </a:lnTo>
                  <a:lnTo>
                    <a:pt x="564" y="1493"/>
                  </a:lnTo>
                  <a:lnTo>
                    <a:pt x="565" y="1497"/>
                  </a:lnTo>
                  <a:lnTo>
                    <a:pt x="570" y="1497"/>
                  </a:lnTo>
                  <a:lnTo>
                    <a:pt x="573" y="1498"/>
                  </a:lnTo>
                  <a:lnTo>
                    <a:pt x="575" y="1499"/>
                  </a:lnTo>
                  <a:lnTo>
                    <a:pt x="576" y="1502"/>
                  </a:lnTo>
                  <a:lnTo>
                    <a:pt x="590" y="1506"/>
                  </a:lnTo>
                  <a:lnTo>
                    <a:pt x="609" y="1514"/>
                  </a:lnTo>
                  <a:lnTo>
                    <a:pt x="624" y="1521"/>
                  </a:lnTo>
                  <a:lnTo>
                    <a:pt x="632" y="1525"/>
                  </a:lnTo>
                  <a:lnTo>
                    <a:pt x="649" y="1525"/>
                  </a:lnTo>
                  <a:lnTo>
                    <a:pt x="649" y="1528"/>
                  </a:lnTo>
                  <a:lnTo>
                    <a:pt x="652" y="1531"/>
                  </a:lnTo>
                  <a:lnTo>
                    <a:pt x="656" y="1534"/>
                  </a:lnTo>
                  <a:lnTo>
                    <a:pt x="659" y="1535"/>
                  </a:lnTo>
                  <a:lnTo>
                    <a:pt x="664" y="1536"/>
                  </a:lnTo>
                  <a:lnTo>
                    <a:pt x="667" y="1538"/>
                  </a:lnTo>
                  <a:lnTo>
                    <a:pt x="670" y="1539"/>
                  </a:lnTo>
                  <a:lnTo>
                    <a:pt x="670" y="1541"/>
                  </a:lnTo>
                  <a:lnTo>
                    <a:pt x="675" y="1541"/>
                  </a:lnTo>
                  <a:lnTo>
                    <a:pt x="678" y="1541"/>
                  </a:lnTo>
                  <a:lnTo>
                    <a:pt x="680" y="1544"/>
                  </a:lnTo>
                  <a:lnTo>
                    <a:pt x="681" y="1547"/>
                  </a:lnTo>
                  <a:lnTo>
                    <a:pt x="686" y="1547"/>
                  </a:lnTo>
                  <a:lnTo>
                    <a:pt x="689" y="1547"/>
                  </a:lnTo>
                  <a:lnTo>
                    <a:pt x="691" y="1549"/>
                  </a:lnTo>
                  <a:lnTo>
                    <a:pt x="693" y="1553"/>
                  </a:lnTo>
                  <a:lnTo>
                    <a:pt x="754" y="1564"/>
                  </a:lnTo>
                  <a:lnTo>
                    <a:pt x="757" y="1564"/>
                  </a:lnTo>
                  <a:lnTo>
                    <a:pt x="762" y="1564"/>
                  </a:lnTo>
                  <a:lnTo>
                    <a:pt x="764" y="1566"/>
                  </a:lnTo>
                  <a:lnTo>
                    <a:pt x="765" y="1569"/>
                  </a:lnTo>
                  <a:lnTo>
                    <a:pt x="773" y="1569"/>
                  </a:lnTo>
                  <a:lnTo>
                    <a:pt x="786" y="1569"/>
                  </a:lnTo>
                  <a:lnTo>
                    <a:pt x="793" y="1570"/>
                  </a:lnTo>
                  <a:lnTo>
                    <a:pt x="799" y="1572"/>
                  </a:lnTo>
                  <a:lnTo>
                    <a:pt x="802" y="1573"/>
                  </a:lnTo>
                  <a:lnTo>
                    <a:pt x="803" y="1575"/>
                  </a:lnTo>
                  <a:lnTo>
                    <a:pt x="827" y="1574"/>
                  </a:lnTo>
                  <a:lnTo>
                    <a:pt x="862" y="1573"/>
                  </a:lnTo>
                  <a:lnTo>
                    <a:pt x="880" y="1572"/>
                  </a:lnTo>
                  <a:lnTo>
                    <a:pt x="895" y="1569"/>
                  </a:lnTo>
                  <a:lnTo>
                    <a:pt x="900" y="1568"/>
                  </a:lnTo>
                  <a:lnTo>
                    <a:pt x="905" y="1567"/>
                  </a:lnTo>
                  <a:lnTo>
                    <a:pt x="908" y="1565"/>
                  </a:lnTo>
                  <a:lnTo>
                    <a:pt x="909" y="1564"/>
                  </a:lnTo>
                  <a:lnTo>
                    <a:pt x="926" y="1564"/>
                  </a:lnTo>
                  <a:lnTo>
                    <a:pt x="928" y="1558"/>
                  </a:lnTo>
                  <a:lnTo>
                    <a:pt x="931" y="1553"/>
                  </a:lnTo>
                  <a:lnTo>
                    <a:pt x="943" y="1553"/>
                  </a:lnTo>
                  <a:lnTo>
                    <a:pt x="948" y="1547"/>
                  </a:lnTo>
                  <a:lnTo>
                    <a:pt x="949" y="1540"/>
                  </a:lnTo>
                  <a:lnTo>
                    <a:pt x="955" y="1530"/>
                  </a:lnTo>
                  <a:lnTo>
                    <a:pt x="958" y="1526"/>
                  </a:lnTo>
                  <a:lnTo>
                    <a:pt x="962" y="1523"/>
                  </a:lnTo>
                  <a:lnTo>
                    <a:pt x="966" y="1520"/>
                  </a:lnTo>
                  <a:lnTo>
                    <a:pt x="969" y="1519"/>
                  </a:lnTo>
                  <a:lnTo>
                    <a:pt x="971" y="1515"/>
                  </a:lnTo>
                  <a:lnTo>
                    <a:pt x="973" y="1511"/>
                  </a:lnTo>
                  <a:lnTo>
                    <a:pt x="977" y="1509"/>
                  </a:lnTo>
                  <a:lnTo>
                    <a:pt x="981" y="1508"/>
                  </a:lnTo>
                  <a:lnTo>
                    <a:pt x="984" y="1502"/>
                  </a:lnTo>
                  <a:lnTo>
                    <a:pt x="986" y="1497"/>
                  </a:lnTo>
                  <a:lnTo>
                    <a:pt x="988" y="1497"/>
                  </a:lnTo>
                  <a:lnTo>
                    <a:pt x="991" y="1496"/>
                  </a:lnTo>
                  <a:lnTo>
                    <a:pt x="979" y="1485"/>
                  </a:lnTo>
                  <a:lnTo>
                    <a:pt x="969" y="1472"/>
                  </a:lnTo>
                  <a:lnTo>
                    <a:pt x="965" y="1464"/>
                  </a:lnTo>
                  <a:lnTo>
                    <a:pt x="962" y="1456"/>
                  </a:lnTo>
                  <a:lnTo>
                    <a:pt x="959" y="1444"/>
                  </a:lnTo>
                  <a:lnTo>
                    <a:pt x="959" y="1432"/>
                  </a:lnTo>
                  <a:lnTo>
                    <a:pt x="965" y="1284"/>
                  </a:lnTo>
                  <a:lnTo>
                    <a:pt x="960" y="1270"/>
                  </a:lnTo>
                  <a:lnTo>
                    <a:pt x="952" y="1246"/>
                  </a:lnTo>
                  <a:lnTo>
                    <a:pt x="939" y="1214"/>
                  </a:lnTo>
                  <a:lnTo>
                    <a:pt x="924" y="1179"/>
                  </a:lnTo>
                  <a:lnTo>
                    <a:pt x="908" y="1143"/>
                  </a:lnTo>
                  <a:lnTo>
                    <a:pt x="894" y="1111"/>
                  </a:lnTo>
                  <a:lnTo>
                    <a:pt x="882" y="1085"/>
                  </a:lnTo>
                  <a:lnTo>
                    <a:pt x="877" y="1070"/>
                  </a:lnTo>
                  <a:lnTo>
                    <a:pt x="871" y="1065"/>
                  </a:lnTo>
                  <a:lnTo>
                    <a:pt x="863" y="1058"/>
                  </a:lnTo>
                  <a:lnTo>
                    <a:pt x="852" y="1052"/>
                  </a:lnTo>
                  <a:lnTo>
                    <a:pt x="838" y="1045"/>
                  </a:lnTo>
                  <a:lnTo>
                    <a:pt x="822" y="1038"/>
                  </a:lnTo>
                  <a:lnTo>
                    <a:pt x="804" y="1031"/>
                  </a:lnTo>
                  <a:lnTo>
                    <a:pt x="785" y="1026"/>
                  </a:lnTo>
                  <a:lnTo>
                    <a:pt x="767" y="1021"/>
                  </a:lnTo>
                  <a:lnTo>
                    <a:pt x="748" y="1018"/>
                  </a:lnTo>
                  <a:lnTo>
                    <a:pt x="731" y="1017"/>
                  </a:lnTo>
                  <a:lnTo>
                    <a:pt x="722" y="1017"/>
                  </a:lnTo>
                  <a:lnTo>
                    <a:pt x="714" y="1017"/>
                  </a:lnTo>
                  <a:lnTo>
                    <a:pt x="706" y="1018"/>
                  </a:lnTo>
                  <a:lnTo>
                    <a:pt x="698" y="1019"/>
                  </a:lnTo>
                  <a:lnTo>
                    <a:pt x="691" y="1021"/>
                  </a:lnTo>
                  <a:lnTo>
                    <a:pt x="686" y="1025"/>
                  </a:lnTo>
                  <a:lnTo>
                    <a:pt x="680" y="1028"/>
                  </a:lnTo>
                  <a:lnTo>
                    <a:pt x="676" y="1031"/>
                  </a:lnTo>
                  <a:lnTo>
                    <a:pt x="672" y="1037"/>
                  </a:lnTo>
                  <a:lnTo>
                    <a:pt x="670" y="1043"/>
                  </a:lnTo>
                  <a:lnTo>
                    <a:pt x="668" y="1049"/>
                  </a:lnTo>
                  <a:lnTo>
                    <a:pt x="668" y="1056"/>
                  </a:lnTo>
                  <a:lnTo>
                    <a:pt x="667" y="1019"/>
                  </a:lnTo>
                  <a:lnTo>
                    <a:pt x="666" y="989"/>
                  </a:lnTo>
                  <a:lnTo>
                    <a:pt x="665" y="977"/>
                  </a:lnTo>
                  <a:lnTo>
                    <a:pt x="665" y="966"/>
                  </a:lnTo>
                  <a:lnTo>
                    <a:pt x="665" y="954"/>
                  </a:lnTo>
                  <a:lnTo>
                    <a:pt x="666" y="944"/>
                  </a:lnTo>
                  <a:lnTo>
                    <a:pt x="668" y="935"/>
                  </a:lnTo>
                  <a:lnTo>
                    <a:pt x="671" y="925"/>
                  </a:lnTo>
                  <a:lnTo>
                    <a:pt x="676" y="915"/>
                  </a:lnTo>
                  <a:lnTo>
                    <a:pt x="681" y="905"/>
                  </a:lnTo>
                  <a:lnTo>
                    <a:pt x="689" y="895"/>
                  </a:lnTo>
                  <a:lnTo>
                    <a:pt x="698" y="884"/>
                  </a:lnTo>
                  <a:lnTo>
                    <a:pt x="709" y="871"/>
                  </a:lnTo>
                  <a:lnTo>
                    <a:pt x="724" y="857"/>
                  </a:lnTo>
                  <a:lnTo>
                    <a:pt x="737" y="846"/>
                  </a:lnTo>
                  <a:lnTo>
                    <a:pt x="757" y="832"/>
                  </a:lnTo>
                  <a:lnTo>
                    <a:pt x="784" y="815"/>
                  </a:lnTo>
                  <a:lnTo>
                    <a:pt x="814" y="796"/>
                  </a:lnTo>
                  <a:lnTo>
                    <a:pt x="844" y="778"/>
                  </a:lnTo>
                  <a:lnTo>
                    <a:pt x="873" y="760"/>
                  </a:lnTo>
                  <a:lnTo>
                    <a:pt x="899" y="745"/>
                  </a:lnTo>
                  <a:lnTo>
                    <a:pt x="918" y="732"/>
                  </a:lnTo>
                  <a:lnTo>
                    <a:pt x="925" y="726"/>
                  </a:lnTo>
                  <a:lnTo>
                    <a:pt x="931" y="717"/>
                  </a:lnTo>
                  <a:lnTo>
                    <a:pt x="937" y="707"/>
                  </a:lnTo>
                  <a:lnTo>
                    <a:pt x="943" y="694"/>
                  </a:lnTo>
                  <a:lnTo>
                    <a:pt x="954" y="668"/>
                  </a:lnTo>
                  <a:lnTo>
                    <a:pt x="965" y="643"/>
                  </a:lnTo>
                  <a:lnTo>
                    <a:pt x="971" y="633"/>
                  </a:lnTo>
                  <a:lnTo>
                    <a:pt x="976" y="625"/>
                  </a:lnTo>
                  <a:lnTo>
                    <a:pt x="978" y="623"/>
                  </a:lnTo>
                  <a:lnTo>
                    <a:pt x="982" y="622"/>
                  </a:lnTo>
                  <a:lnTo>
                    <a:pt x="985" y="621"/>
                  </a:lnTo>
                  <a:lnTo>
                    <a:pt x="987" y="621"/>
                  </a:lnTo>
                  <a:lnTo>
                    <a:pt x="991" y="623"/>
                  </a:lnTo>
                  <a:lnTo>
                    <a:pt x="994" y="625"/>
                  </a:lnTo>
                  <a:lnTo>
                    <a:pt x="997" y="630"/>
                  </a:lnTo>
                  <a:lnTo>
                    <a:pt x="1001" y="635"/>
                  </a:lnTo>
                  <a:lnTo>
                    <a:pt x="1007" y="650"/>
                  </a:lnTo>
                  <a:lnTo>
                    <a:pt x="1015" y="672"/>
                  </a:lnTo>
                  <a:lnTo>
                    <a:pt x="1027" y="711"/>
                  </a:lnTo>
                  <a:lnTo>
                    <a:pt x="1035" y="733"/>
                  </a:lnTo>
                  <a:lnTo>
                    <a:pt x="1039" y="740"/>
                  </a:lnTo>
                  <a:lnTo>
                    <a:pt x="1042" y="743"/>
                  </a:lnTo>
                  <a:lnTo>
                    <a:pt x="1045" y="745"/>
                  </a:lnTo>
                  <a:lnTo>
                    <a:pt x="1049" y="743"/>
                  </a:lnTo>
                  <a:lnTo>
                    <a:pt x="1060" y="738"/>
                  </a:lnTo>
                  <a:lnTo>
                    <a:pt x="1078" y="729"/>
                  </a:lnTo>
                  <a:lnTo>
                    <a:pt x="1090" y="725"/>
                  </a:lnTo>
                  <a:lnTo>
                    <a:pt x="1106" y="721"/>
                  </a:lnTo>
                  <a:lnTo>
                    <a:pt x="1123" y="719"/>
                  </a:lnTo>
                  <a:lnTo>
                    <a:pt x="1145" y="718"/>
                  </a:lnTo>
                  <a:lnTo>
                    <a:pt x="1161" y="719"/>
                  </a:lnTo>
                  <a:lnTo>
                    <a:pt x="1177" y="720"/>
                  </a:lnTo>
                  <a:lnTo>
                    <a:pt x="1190" y="722"/>
                  </a:lnTo>
                  <a:lnTo>
                    <a:pt x="1203" y="726"/>
                  </a:lnTo>
                  <a:lnTo>
                    <a:pt x="1215" y="729"/>
                  </a:lnTo>
                  <a:lnTo>
                    <a:pt x="1226" y="735"/>
                  </a:lnTo>
                  <a:lnTo>
                    <a:pt x="1235" y="739"/>
                  </a:lnTo>
                  <a:lnTo>
                    <a:pt x="1244" y="746"/>
                  </a:lnTo>
                  <a:lnTo>
                    <a:pt x="1253" y="752"/>
                  </a:lnTo>
                  <a:lnTo>
                    <a:pt x="1260" y="759"/>
                  </a:lnTo>
                  <a:lnTo>
                    <a:pt x="1267" y="767"/>
                  </a:lnTo>
                  <a:lnTo>
                    <a:pt x="1273" y="776"/>
                  </a:lnTo>
                  <a:lnTo>
                    <a:pt x="1284" y="794"/>
                  </a:lnTo>
                  <a:lnTo>
                    <a:pt x="1293" y="813"/>
                  </a:lnTo>
                  <a:lnTo>
                    <a:pt x="1310" y="854"/>
                  </a:lnTo>
                  <a:lnTo>
                    <a:pt x="1326" y="896"/>
                  </a:lnTo>
                  <a:lnTo>
                    <a:pt x="1334" y="916"/>
                  </a:lnTo>
                  <a:lnTo>
                    <a:pt x="1345" y="937"/>
                  </a:lnTo>
                  <a:lnTo>
                    <a:pt x="1350" y="947"/>
                  </a:lnTo>
                  <a:lnTo>
                    <a:pt x="1357" y="956"/>
                  </a:lnTo>
                  <a:lnTo>
                    <a:pt x="1365" y="964"/>
                  </a:lnTo>
                  <a:lnTo>
                    <a:pt x="1372" y="973"/>
                  </a:lnTo>
                  <a:lnTo>
                    <a:pt x="1376" y="978"/>
                  </a:lnTo>
                  <a:lnTo>
                    <a:pt x="1379" y="982"/>
                  </a:lnTo>
                  <a:lnTo>
                    <a:pt x="1380" y="989"/>
                  </a:lnTo>
                  <a:lnTo>
                    <a:pt x="1382" y="996"/>
                  </a:lnTo>
                  <a:lnTo>
                    <a:pt x="1382" y="1004"/>
                  </a:lnTo>
                  <a:lnTo>
                    <a:pt x="1384" y="1012"/>
                  </a:lnTo>
                  <a:lnTo>
                    <a:pt x="1382" y="1021"/>
                  </a:lnTo>
                  <a:lnTo>
                    <a:pt x="1381" y="1030"/>
                  </a:lnTo>
                  <a:lnTo>
                    <a:pt x="1378" y="1050"/>
                  </a:lnTo>
                  <a:lnTo>
                    <a:pt x="1374" y="1070"/>
                  </a:lnTo>
                  <a:lnTo>
                    <a:pt x="1367" y="1092"/>
                  </a:lnTo>
                  <a:lnTo>
                    <a:pt x="1358" y="1112"/>
                  </a:lnTo>
                  <a:lnTo>
                    <a:pt x="1349" y="1130"/>
                  </a:lnTo>
                  <a:lnTo>
                    <a:pt x="1339" y="1146"/>
                  </a:lnTo>
                  <a:lnTo>
                    <a:pt x="1333" y="1154"/>
                  </a:lnTo>
                  <a:lnTo>
                    <a:pt x="1329" y="1160"/>
                  </a:lnTo>
                  <a:lnTo>
                    <a:pt x="1323" y="1165"/>
                  </a:lnTo>
                  <a:lnTo>
                    <a:pt x="1318" y="1170"/>
                  </a:lnTo>
                  <a:lnTo>
                    <a:pt x="1312" y="1174"/>
                  </a:lnTo>
                  <a:lnTo>
                    <a:pt x="1307" y="1177"/>
                  </a:lnTo>
                  <a:lnTo>
                    <a:pt x="1301" y="1178"/>
                  </a:lnTo>
                  <a:lnTo>
                    <a:pt x="1295" y="1178"/>
                  </a:lnTo>
                  <a:lnTo>
                    <a:pt x="1290" y="1177"/>
                  </a:lnTo>
                  <a:lnTo>
                    <a:pt x="1285" y="1173"/>
                  </a:lnTo>
                  <a:lnTo>
                    <a:pt x="1280" y="1169"/>
                  </a:lnTo>
                  <a:lnTo>
                    <a:pt x="1275" y="1163"/>
                  </a:lnTo>
                  <a:lnTo>
                    <a:pt x="1267" y="1151"/>
                  </a:lnTo>
                  <a:lnTo>
                    <a:pt x="1262" y="1137"/>
                  </a:lnTo>
                  <a:lnTo>
                    <a:pt x="1256" y="1124"/>
                  </a:lnTo>
                  <a:lnTo>
                    <a:pt x="1253" y="1111"/>
                  </a:lnTo>
                  <a:lnTo>
                    <a:pt x="1245" y="1086"/>
                  </a:lnTo>
                  <a:lnTo>
                    <a:pt x="1240" y="1067"/>
                  </a:lnTo>
                  <a:lnTo>
                    <a:pt x="1235" y="1059"/>
                  </a:lnTo>
                  <a:lnTo>
                    <a:pt x="1231" y="1055"/>
                  </a:lnTo>
                  <a:lnTo>
                    <a:pt x="1228" y="1053"/>
                  </a:lnTo>
                  <a:lnTo>
                    <a:pt x="1226" y="1052"/>
                  </a:lnTo>
                  <a:lnTo>
                    <a:pt x="1223" y="1052"/>
                  </a:lnTo>
                  <a:lnTo>
                    <a:pt x="1221" y="1053"/>
                  </a:lnTo>
                  <a:lnTo>
                    <a:pt x="1213" y="1056"/>
                  </a:lnTo>
                  <a:lnTo>
                    <a:pt x="1205" y="1063"/>
                  </a:lnTo>
                  <a:lnTo>
                    <a:pt x="1194" y="1074"/>
                  </a:lnTo>
                  <a:lnTo>
                    <a:pt x="1183" y="1088"/>
                  </a:lnTo>
                  <a:lnTo>
                    <a:pt x="1166" y="1114"/>
                  </a:lnTo>
                  <a:lnTo>
                    <a:pt x="1150" y="1142"/>
                  </a:lnTo>
                  <a:lnTo>
                    <a:pt x="1135" y="1173"/>
                  </a:lnTo>
                  <a:lnTo>
                    <a:pt x="1120" y="1207"/>
                  </a:lnTo>
                  <a:lnTo>
                    <a:pt x="1113" y="1225"/>
                  </a:lnTo>
                  <a:lnTo>
                    <a:pt x="1108" y="1241"/>
                  </a:lnTo>
                  <a:lnTo>
                    <a:pt x="1102" y="1258"/>
                  </a:lnTo>
                  <a:lnTo>
                    <a:pt x="1098" y="1275"/>
                  </a:lnTo>
                  <a:lnTo>
                    <a:pt x="1094" y="1291"/>
                  </a:lnTo>
                  <a:lnTo>
                    <a:pt x="1092" y="1308"/>
                  </a:lnTo>
                  <a:lnTo>
                    <a:pt x="1090" y="1324"/>
                  </a:lnTo>
                  <a:lnTo>
                    <a:pt x="1090" y="1339"/>
                  </a:lnTo>
                  <a:lnTo>
                    <a:pt x="1090" y="1342"/>
                  </a:lnTo>
                  <a:lnTo>
                    <a:pt x="1091" y="1344"/>
                  </a:lnTo>
                  <a:lnTo>
                    <a:pt x="1092" y="1345"/>
                  </a:lnTo>
                  <a:lnTo>
                    <a:pt x="1094" y="1346"/>
                  </a:lnTo>
                  <a:lnTo>
                    <a:pt x="1100" y="1348"/>
                  </a:lnTo>
                  <a:lnTo>
                    <a:pt x="1107" y="1350"/>
                  </a:lnTo>
                  <a:lnTo>
                    <a:pt x="1125" y="1348"/>
                  </a:lnTo>
                  <a:lnTo>
                    <a:pt x="1145" y="1345"/>
                  </a:lnTo>
                  <a:lnTo>
                    <a:pt x="1187" y="1335"/>
                  </a:lnTo>
                  <a:lnTo>
                    <a:pt x="1215" y="1329"/>
                  </a:lnTo>
                  <a:lnTo>
                    <a:pt x="1253" y="1331"/>
                  </a:lnTo>
                  <a:lnTo>
                    <a:pt x="1282" y="1332"/>
                  </a:lnTo>
                  <a:lnTo>
                    <a:pt x="1293" y="1332"/>
                  </a:lnTo>
                  <a:lnTo>
                    <a:pt x="1304" y="1331"/>
                  </a:lnTo>
                  <a:lnTo>
                    <a:pt x="1314" y="1329"/>
                  </a:lnTo>
                  <a:lnTo>
                    <a:pt x="1323" y="1327"/>
                  </a:lnTo>
                  <a:lnTo>
                    <a:pt x="1332" y="1324"/>
                  </a:lnTo>
                  <a:lnTo>
                    <a:pt x="1341" y="1319"/>
                  </a:lnTo>
                  <a:lnTo>
                    <a:pt x="1350" y="1314"/>
                  </a:lnTo>
                  <a:lnTo>
                    <a:pt x="1360" y="1306"/>
                  </a:lnTo>
                  <a:lnTo>
                    <a:pt x="1384" y="1286"/>
                  </a:lnTo>
                  <a:lnTo>
                    <a:pt x="1414" y="1256"/>
                  </a:lnTo>
                  <a:lnTo>
                    <a:pt x="1420" y="1250"/>
                  </a:lnTo>
                  <a:lnTo>
                    <a:pt x="1430" y="1243"/>
                  </a:lnTo>
                  <a:lnTo>
                    <a:pt x="1444" y="1237"/>
                  </a:lnTo>
                  <a:lnTo>
                    <a:pt x="1461" y="1228"/>
                  </a:lnTo>
                  <a:lnTo>
                    <a:pt x="1497" y="1209"/>
                  </a:lnTo>
                  <a:lnTo>
                    <a:pt x="1540" y="1187"/>
                  </a:lnTo>
                  <a:lnTo>
                    <a:pt x="1561" y="1174"/>
                  </a:lnTo>
                  <a:lnTo>
                    <a:pt x="1582" y="1161"/>
                  </a:lnTo>
                  <a:lnTo>
                    <a:pt x="1601" y="1149"/>
                  </a:lnTo>
                  <a:lnTo>
                    <a:pt x="1620" y="1134"/>
                  </a:lnTo>
                  <a:lnTo>
                    <a:pt x="1637" y="1120"/>
                  </a:lnTo>
                  <a:lnTo>
                    <a:pt x="1651" y="1105"/>
                  </a:lnTo>
                  <a:lnTo>
                    <a:pt x="1658" y="1098"/>
                  </a:lnTo>
                  <a:lnTo>
                    <a:pt x="1664" y="1091"/>
                  </a:lnTo>
                  <a:lnTo>
                    <a:pt x="1668" y="1083"/>
                  </a:lnTo>
                  <a:lnTo>
                    <a:pt x="1672" y="1075"/>
                  </a:lnTo>
                  <a:lnTo>
                    <a:pt x="1674" y="1070"/>
                  </a:lnTo>
                  <a:lnTo>
                    <a:pt x="1674" y="1066"/>
                  </a:lnTo>
                  <a:lnTo>
                    <a:pt x="1675" y="1063"/>
                  </a:lnTo>
                  <a:lnTo>
                    <a:pt x="1674" y="1058"/>
                  </a:lnTo>
                  <a:lnTo>
                    <a:pt x="1673" y="1049"/>
                  </a:lnTo>
                  <a:lnTo>
                    <a:pt x="1669" y="1040"/>
                  </a:lnTo>
                  <a:lnTo>
                    <a:pt x="1664" y="1031"/>
                  </a:lnTo>
                  <a:lnTo>
                    <a:pt x="1657" y="1023"/>
                  </a:lnTo>
                  <a:lnTo>
                    <a:pt x="1649" y="1014"/>
                  </a:lnTo>
                  <a:lnTo>
                    <a:pt x="1641" y="1006"/>
                  </a:lnTo>
                  <a:lnTo>
                    <a:pt x="1636" y="999"/>
                  </a:lnTo>
                  <a:lnTo>
                    <a:pt x="1631" y="993"/>
                  </a:lnTo>
                  <a:lnTo>
                    <a:pt x="1627" y="987"/>
                  </a:lnTo>
                  <a:lnTo>
                    <a:pt x="1625" y="979"/>
                  </a:lnTo>
                  <a:lnTo>
                    <a:pt x="1621" y="972"/>
                  </a:lnTo>
                  <a:lnTo>
                    <a:pt x="1620" y="964"/>
                  </a:lnTo>
                  <a:lnTo>
                    <a:pt x="1618" y="957"/>
                  </a:lnTo>
                  <a:lnTo>
                    <a:pt x="1617" y="948"/>
                  </a:lnTo>
                  <a:lnTo>
                    <a:pt x="1616" y="931"/>
                  </a:lnTo>
                  <a:lnTo>
                    <a:pt x="1616" y="913"/>
                  </a:lnTo>
                  <a:lnTo>
                    <a:pt x="1617" y="894"/>
                  </a:lnTo>
                  <a:lnTo>
                    <a:pt x="1619" y="875"/>
                  </a:lnTo>
                  <a:lnTo>
                    <a:pt x="1620" y="855"/>
                  </a:lnTo>
                  <a:lnTo>
                    <a:pt x="1621" y="836"/>
                  </a:lnTo>
                  <a:lnTo>
                    <a:pt x="1621" y="816"/>
                  </a:lnTo>
                  <a:lnTo>
                    <a:pt x="1621" y="797"/>
                  </a:lnTo>
                  <a:lnTo>
                    <a:pt x="1619" y="778"/>
                  </a:lnTo>
                  <a:lnTo>
                    <a:pt x="1615" y="760"/>
                  </a:lnTo>
                  <a:lnTo>
                    <a:pt x="1612" y="752"/>
                  </a:lnTo>
                  <a:lnTo>
                    <a:pt x="1608" y="743"/>
                  </a:lnTo>
                  <a:lnTo>
                    <a:pt x="1605" y="736"/>
                  </a:lnTo>
                  <a:lnTo>
                    <a:pt x="1599" y="728"/>
                  </a:lnTo>
                  <a:lnTo>
                    <a:pt x="1591" y="716"/>
                  </a:lnTo>
                  <a:lnTo>
                    <a:pt x="1581" y="703"/>
                  </a:lnTo>
                  <a:lnTo>
                    <a:pt x="1570" y="691"/>
                  </a:lnTo>
                  <a:lnTo>
                    <a:pt x="1558" y="679"/>
                  </a:lnTo>
                  <a:lnTo>
                    <a:pt x="1532" y="653"/>
                  </a:lnTo>
                  <a:lnTo>
                    <a:pt x="1504" y="627"/>
                  </a:lnTo>
                  <a:lnTo>
                    <a:pt x="1477" y="602"/>
                  </a:lnTo>
                  <a:lnTo>
                    <a:pt x="1453" y="576"/>
                  </a:lnTo>
                  <a:lnTo>
                    <a:pt x="1443" y="564"/>
                  </a:lnTo>
                  <a:lnTo>
                    <a:pt x="1433" y="552"/>
                  </a:lnTo>
                  <a:lnTo>
                    <a:pt x="1425" y="539"/>
                  </a:lnTo>
                  <a:lnTo>
                    <a:pt x="1418" y="528"/>
                  </a:lnTo>
                  <a:lnTo>
                    <a:pt x="1404" y="499"/>
                  </a:lnTo>
                  <a:lnTo>
                    <a:pt x="1384" y="464"/>
                  </a:lnTo>
                  <a:lnTo>
                    <a:pt x="1361" y="427"/>
                  </a:lnTo>
                  <a:lnTo>
                    <a:pt x="1334" y="386"/>
                  </a:lnTo>
                  <a:lnTo>
                    <a:pt x="1304" y="345"/>
                  </a:lnTo>
                  <a:lnTo>
                    <a:pt x="1273" y="302"/>
                  </a:lnTo>
                  <a:lnTo>
                    <a:pt x="1240" y="258"/>
                  </a:lnTo>
                  <a:lnTo>
                    <a:pt x="1204" y="216"/>
                  </a:lnTo>
                  <a:lnTo>
                    <a:pt x="1168" y="174"/>
                  </a:lnTo>
                  <a:lnTo>
                    <a:pt x="1131" y="135"/>
                  </a:lnTo>
                  <a:lnTo>
                    <a:pt x="1112" y="117"/>
                  </a:lnTo>
                  <a:lnTo>
                    <a:pt x="1093" y="100"/>
                  </a:lnTo>
                  <a:lnTo>
                    <a:pt x="1075" y="83"/>
                  </a:lnTo>
                  <a:lnTo>
                    <a:pt x="1056" y="68"/>
                  </a:lnTo>
                  <a:lnTo>
                    <a:pt x="1039" y="54"/>
                  </a:lnTo>
                  <a:lnTo>
                    <a:pt x="1021" y="41"/>
                  </a:lnTo>
                  <a:lnTo>
                    <a:pt x="1004" y="30"/>
                  </a:lnTo>
                  <a:lnTo>
                    <a:pt x="986" y="20"/>
                  </a:lnTo>
                  <a:lnTo>
                    <a:pt x="969" y="12"/>
                  </a:lnTo>
                  <a:lnTo>
                    <a:pt x="954" y="7"/>
                  </a:lnTo>
                  <a:lnTo>
                    <a:pt x="938" y="2"/>
                  </a:lnTo>
                  <a:lnTo>
                    <a:pt x="92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5" name="Freeform 38">
              <a:extLst>
                <a:ext uri="{FF2B5EF4-FFF2-40B4-BE49-F238E27FC236}">
                  <a16:creationId xmlns:a16="http://schemas.microsoft.com/office/drawing/2014/main" id="{425F1A12-EECA-4812-9938-B8BEECBD9663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757988" y="3262313"/>
              <a:ext cx="184307" cy="223838"/>
            </a:xfrm>
            <a:custGeom>
              <a:avLst/>
              <a:gdLst/>
              <a:ahLst/>
              <a:cxnLst>
                <a:cxn ang="0">
                  <a:pos x="452" y="36"/>
                </a:cxn>
                <a:cxn ang="0">
                  <a:pos x="350" y="44"/>
                </a:cxn>
                <a:cxn ang="0">
                  <a:pos x="291" y="65"/>
                </a:cxn>
                <a:cxn ang="0">
                  <a:pos x="273" y="93"/>
                </a:cxn>
                <a:cxn ang="0">
                  <a:pos x="246" y="144"/>
                </a:cxn>
                <a:cxn ang="0">
                  <a:pos x="222" y="149"/>
                </a:cxn>
                <a:cxn ang="0">
                  <a:pos x="200" y="158"/>
                </a:cxn>
                <a:cxn ang="0">
                  <a:pos x="215" y="193"/>
                </a:cxn>
                <a:cxn ang="0">
                  <a:pos x="237" y="197"/>
                </a:cxn>
                <a:cxn ang="0">
                  <a:pos x="260" y="264"/>
                </a:cxn>
                <a:cxn ang="0">
                  <a:pos x="215" y="309"/>
                </a:cxn>
                <a:cxn ang="0">
                  <a:pos x="179" y="338"/>
                </a:cxn>
                <a:cxn ang="0">
                  <a:pos x="162" y="382"/>
                </a:cxn>
                <a:cxn ang="0">
                  <a:pos x="139" y="408"/>
                </a:cxn>
                <a:cxn ang="0">
                  <a:pos x="60" y="439"/>
                </a:cxn>
                <a:cxn ang="0">
                  <a:pos x="8" y="462"/>
                </a:cxn>
                <a:cxn ang="0">
                  <a:pos x="2" y="574"/>
                </a:cxn>
                <a:cxn ang="0">
                  <a:pos x="16" y="756"/>
                </a:cxn>
                <a:cxn ang="0">
                  <a:pos x="92" y="744"/>
                </a:cxn>
                <a:cxn ang="0">
                  <a:pos x="150" y="759"/>
                </a:cxn>
                <a:cxn ang="0">
                  <a:pos x="181" y="788"/>
                </a:cxn>
                <a:cxn ang="0">
                  <a:pos x="179" y="861"/>
                </a:cxn>
                <a:cxn ang="0">
                  <a:pos x="157" y="925"/>
                </a:cxn>
                <a:cxn ang="0">
                  <a:pos x="177" y="1004"/>
                </a:cxn>
                <a:cxn ang="0">
                  <a:pos x="190" y="1031"/>
                </a:cxn>
                <a:cxn ang="0">
                  <a:pos x="204" y="1166"/>
                </a:cxn>
                <a:cxn ang="0">
                  <a:pos x="217" y="1203"/>
                </a:cxn>
                <a:cxn ang="0">
                  <a:pos x="240" y="1255"/>
                </a:cxn>
                <a:cxn ang="0">
                  <a:pos x="258" y="1292"/>
                </a:cxn>
                <a:cxn ang="0">
                  <a:pos x="280" y="1307"/>
                </a:cxn>
                <a:cxn ang="0">
                  <a:pos x="284" y="1260"/>
                </a:cxn>
                <a:cxn ang="0">
                  <a:pos x="392" y="1255"/>
                </a:cxn>
                <a:cxn ang="0">
                  <a:pos x="526" y="1285"/>
                </a:cxn>
                <a:cxn ang="0">
                  <a:pos x="641" y="1378"/>
                </a:cxn>
                <a:cxn ang="0">
                  <a:pos x="664" y="1384"/>
                </a:cxn>
                <a:cxn ang="0">
                  <a:pos x="816" y="1355"/>
                </a:cxn>
                <a:cxn ang="0">
                  <a:pos x="943" y="1339"/>
                </a:cxn>
                <a:cxn ang="0">
                  <a:pos x="1014" y="1302"/>
                </a:cxn>
                <a:cxn ang="0">
                  <a:pos x="996" y="1266"/>
                </a:cxn>
                <a:cxn ang="0">
                  <a:pos x="975" y="1205"/>
                </a:cxn>
                <a:cxn ang="0">
                  <a:pos x="964" y="1135"/>
                </a:cxn>
                <a:cxn ang="0">
                  <a:pos x="958" y="1093"/>
                </a:cxn>
                <a:cxn ang="0">
                  <a:pos x="941" y="981"/>
                </a:cxn>
                <a:cxn ang="0">
                  <a:pos x="925" y="949"/>
                </a:cxn>
                <a:cxn ang="0">
                  <a:pos x="913" y="819"/>
                </a:cxn>
                <a:cxn ang="0">
                  <a:pos x="899" y="785"/>
                </a:cxn>
                <a:cxn ang="0">
                  <a:pos x="883" y="744"/>
                </a:cxn>
                <a:cxn ang="0">
                  <a:pos x="852" y="727"/>
                </a:cxn>
                <a:cxn ang="0">
                  <a:pos x="816" y="723"/>
                </a:cxn>
                <a:cxn ang="0">
                  <a:pos x="741" y="664"/>
                </a:cxn>
                <a:cxn ang="0">
                  <a:pos x="728" y="638"/>
                </a:cxn>
                <a:cxn ang="0">
                  <a:pos x="723" y="609"/>
                </a:cxn>
                <a:cxn ang="0">
                  <a:pos x="695" y="572"/>
                </a:cxn>
                <a:cxn ang="0">
                  <a:pos x="698" y="327"/>
                </a:cxn>
                <a:cxn ang="0">
                  <a:pos x="692" y="233"/>
                </a:cxn>
                <a:cxn ang="0">
                  <a:pos x="664" y="175"/>
                </a:cxn>
                <a:cxn ang="0">
                  <a:pos x="638" y="119"/>
                </a:cxn>
                <a:cxn ang="0">
                  <a:pos x="628" y="71"/>
                </a:cxn>
                <a:cxn ang="0">
                  <a:pos x="581" y="63"/>
                </a:cxn>
                <a:cxn ang="0">
                  <a:pos x="521" y="53"/>
                </a:cxn>
                <a:cxn ang="0">
                  <a:pos x="507" y="19"/>
                </a:cxn>
                <a:cxn ang="0">
                  <a:pos x="497" y="0"/>
                </a:cxn>
              </a:cxnLst>
              <a:rect l="0" t="0" r="r" b="b"/>
              <a:pathLst>
                <a:path w="1023" h="1388">
                  <a:moveTo>
                    <a:pt x="475" y="0"/>
                  </a:moveTo>
                  <a:lnTo>
                    <a:pt x="475" y="26"/>
                  </a:lnTo>
                  <a:lnTo>
                    <a:pt x="471" y="31"/>
                  </a:lnTo>
                  <a:lnTo>
                    <a:pt x="466" y="35"/>
                  </a:lnTo>
                  <a:lnTo>
                    <a:pt x="459" y="35"/>
                  </a:lnTo>
                  <a:lnTo>
                    <a:pt x="453" y="35"/>
                  </a:lnTo>
                  <a:lnTo>
                    <a:pt x="452" y="36"/>
                  </a:lnTo>
                  <a:lnTo>
                    <a:pt x="449" y="39"/>
                  </a:lnTo>
                  <a:lnTo>
                    <a:pt x="445" y="40"/>
                  </a:lnTo>
                  <a:lnTo>
                    <a:pt x="438" y="41"/>
                  </a:lnTo>
                  <a:lnTo>
                    <a:pt x="424" y="42"/>
                  </a:lnTo>
                  <a:lnTo>
                    <a:pt x="406" y="43"/>
                  </a:lnTo>
                  <a:lnTo>
                    <a:pt x="371" y="44"/>
                  </a:lnTo>
                  <a:lnTo>
                    <a:pt x="350" y="44"/>
                  </a:lnTo>
                  <a:lnTo>
                    <a:pt x="342" y="47"/>
                  </a:lnTo>
                  <a:lnTo>
                    <a:pt x="327" y="51"/>
                  </a:lnTo>
                  <a:lnTo>
                    <a:pt x="310" y="55"/>
                  </a:lnTo>
                  <a:lnTo>
                    <a:pt x="300" y="58"/>
                  </a:lnTo>
                  <a:lnTo>
                    <a:pt x="299" y="61"/>
                  </a:lnTo>
                  <a:lnTo>
                    <a:pt x="295" y="64"/>
                  </a:lnTo>
                  <a:lnTo>
                    <a:pt x="291" y="65"/>
                  </a:lnTo>
                  <a:lnTo>
                    <a:pt x="286" y="67"/>
                  </a:lnTo>
                  <a:lnTo>
                    <a:pt x="284" y="73"/>
                  </a:lnTo>
                  <a:lnTo>
                    <a:pt x="282" y="80"/>
                  </a:lnTo>
                  <a:lnTo>
                    <a:pt x="279" y="82"/>
                  </a:lnTo>
                  <a:lnTo>
                    <a:pt x="276" y="86"/>
                  </a:lnTo>
                  <a:lnTo>
                    <a:pt x="274" y="90"/>
                  </a:lnTo>
                  <a:lnTo>
                    <a:pt x="273" y="93"/>
                  </a:lnTo>
                  <a:lnTo>
                    <a:pt x="264" y="98"/>
                  </a:lnTo>
                  <a:lnTo>
                    <a:pt x="264" y="109"/>
                  </a:lnTo>
                  <a:lnTo>
                    <a:pt x="264" y="120"/>
                  </a:lnTo>
                  <a:lnTo>
                    <a:pt x="264" y="130"/>
                  </a:lnTo>
                  <a:lnTo>
                    <a:pt x="264" y="139"/>
                  </a:lnTo>
                  <a:lnTo>
                    <a:pt x="255" y="141"/>
                  </a:lnTo>
                  <a:lnTo>
                    <a:pt x="246" y="144"/>
                  </a:lnTo>
                  <a:lnTo>
                    <a:pt x="246" y="145"/>
                  </a:lnTo>
                  <a:lnTo>
                    <a:pt x="245" y="146"/>
                  </a:lnTo>
                  <a:lnTo>
                    <a:pt x="243" y="147"/>
                  </a:lnTo>
                  <a:lnTo>
                    <a:pt x="241" y="147"/>
                  </a:lnTo>
                  <a:lnTo>
                    <a:pt x="235" y="148"/>
                  </a:lnTo>
                  <a:lnTo>
                    <a:pt x="228" y="148"/>
                  </a:lnTo>
                  <a:lnTo>
                    <a:pt x="222" y="149"/>
                  </a:lnTo>
                  <a:lnTo>
                    <a:pt x="216" y="150"/>
                  </a:lnTo>
                  <a:lnTo>
                    <a:pt x="214" y="151"/>
                  </a:lnTo>
                  <a:lnTo>
                    <a:pt x="212" y="153"/>
                  </a:lnTo>
                  <a:lnTo>
                    <a:pt x="210" y="155"/>
                  </a:lnTo>
                  <a:lnTo>
                    <a:pt x="210" y="157"/>
                  </a:lnTo>
                  <a:lnTo>
                    <a:pt x="202" y="157"/>
                  </a:lnTo>
                  <a:lnTo>
                    <a:pt x="200" y="158"/>
                  </a:lnTo>
                  <a:lnTo>
                    <a:pt x="198" y="161"/>
                  </a:lnTo>
                  <a:lnTo>
                    <a:pt x="196" y="164"/>
                  </a:lnTo>
                  <a:lnTo>
                    <a:pt x="193" y="166"/>
                  </a:lnTo>
                  <a:lnTo>
                    <a:pt x="193" y="179"/>
                  </a:lnTo>
                  <a:lnTo>
                    <a:pt x="202" y="184"/>
                  </a:lnTo>
                  <a:lnTo>
                    <a:pt x="206" y="193"/>
                  </a:lnTo>
                  <a:lnTo>
                    <a:pt x="215" y="193"/>
                  </a:lnTo>
                  <a:lnTo>
                    <a:pt x="224" y="193"/>
                  </a:lnTo>
                  <a:lnTo>
                    <a:pt x="224" y="194"/>
                  </a:lnTo>
                  <a:lnTo>
                    <a:pt x="225" y="195"/>
                  </a:lnTo>
                  <a:lnTo>
                    <a:pt x="227" y="196"/>
                  </a:lnTo>
                  <a:lnTo>
                    <a:pt x="228" y="196"/>
                  </a:lnTo>
                  <a:lnTo>
                    <a:pt x="233" y="197"/>
                  </a:lnTo>
                  <a:lnTo>
                    <a:pt x="237" y="197"/>
                  </a:lnTo>
                  <a:lnTo>
                    <a:pt x="242" y="202"/>
                  </a:lnTo>
                  <a:lnTo>
                    <a:pt x="245" y="214"/>
                  </a:lnTo>
                  <a:lnTo>
                    <a:pt x="251" y="230"/>
                  </a:lnTo>
                  <a:lnTo>
                    <a:pt x="254" y="238"/>
                  </a:lnTo>
                  <a:lnTo>
                    <a:pt x="257" y="247"/>
                  </a:lnTo>
                  <a:lnTo>
                    <a:pt x="258" y="256"/>
                  </a:lnTo>
                  <a:lnTo>
                    <a:pt x="260" y="264"/>
                  </a:lnTo>
                  <a:lnTo>
                    <a:pt x="255" y="270"/>
                  </a:lnTo>
                  <a:lnTo>
                    <a:pt x="250" y="278"/>
                  </a:lnTo>
                  <a:lnTo>
                    <a:pt x="244" y="285"/>
                  </a:lnTo>
                  <a:lnTo>
                    <a:pt x="242" y="291"/>
                  </a:lnTo>
                  <a:lnTo>
                    <a:pt x="237" y="295"/>
                  </a:lnTo>
                  <a:lnTo>
                    <a:pt x="226" y="302"/>
                  </a:lnTo>
                  <a:lnTo>
                    <a:pt x="215" y="309"/>
                  </a:lnTo>
                  <a:lnTo>
                    <a:pt x="210" y="313"/>
                  </a:lnTo>
                  <a:lnTo>
                    <a:pt x="208" y="318"/>
                  </a:lnTo>
                  <a:lnTo>
                    <a:pt x="203" y="322"/>
                  </a:lnTo>
                  <a:lnTo>
                    <a:pt x="195" y="326"/>
                  </a:lnTo>
                  <a:lnTo>
                    <a:pt x="188" y="328"/>
                  </a:lnTo>
                  <a:lnTo>
                    <a:pt x="184" y="332"/>
                  </a:lnTo>
                  <a:lnTo>
                    <a:pt x="179" y="338"/>
                  </a:lnTo>
                  <a:lnTo>
                    <a:pt x="174" y="343"/>
                  </a:lnTo>
                  <a:lnTo>
                    <a:pt x="170" y="346"/>
                  </a:lnTo>
                  <a:lnTo>
                    <a:pt x="169" y="352"/>
                  </a:lnTo>
                  <a:lnTo>
                    <a:pt x="168" y="361"/>
                  </a:lnTo>
                  <a:lnTo>
                    <a:pt x="166" y="371"/>
                  </a:lnTo>
                  <a:lnTo>
                    <a:pt x="166" y="381"/>
                  </a:lnTo>
                  <a:lnTo>
                    <a:pt x="162" y="382"/>
                  </a:lnTo>
                  <a:lnTo>
                    <a:pt x="161" y="384"/>
                  </a:lnTo>
                  <a:lnTo>
                    <a:pt x="161" y="387"/>
                  </a:lnTo>
                  <a:lnTo>
                    <a:pt x="161" y="390"/>
                  </a:lnTo>
                  <a:lnTo>
                    <a:pt x="156" y="392"/>
                  </a:lnTo>
                  <a:lnTo>
                    <a:pt x="148" y="397"/>
                  </a:lnTo>
                  <a:lnTo>
                    <a:pt x="141" y="404"/>
                  </a:lnTo>
                  <a:lnTo>
                    <a:pt x="139" y="408"/>
                  </a:lnTo>
                  <a:lnTo>
                    <a:pt x="131" y="408"/>
                  </a:lnTo>
                  <a:lnTo>
                    <a:pt x="125" y="410"/>
                  </a:lnTo>
                  <a:lnTo>
                    <a:pt x="117" y="413"/>
                  </a:lnTo>
                  <a:lnTo>
                    <a:pt x="109" y="415"/>
                  </a:lnTo>
                  <a:lnTo>
                    <a:pt x="92" y="423"/>
                  </a:lnTo>
                  <a:lnTo>
                    <a:pt x="77" y="430"/>
                  </a:lnTo>
                  <a:lnTo>
                    <a:pt x="60" y="439"/>
                  </a:lnTo>
                  <a:lnTo>
                    <a:pt x="44" y="446"/>
                  </a:lnTo>
                  <a:lnTo>
                    <a:pt x="37" y="449"/>
                  </a:lnTo>
                  <a:lnTo>
                    <a:pt x="30" y="451"/>
                  </a:lnTo>
                  <a:lnTo>
                    <a:pt x="23" y="453"/>
                  </a:lnTo>
                  <a:lnTo>
                    <a:pt x="17" y="453"/>
                  </a:lnTo>
                  <a:lnTo>
                    <a:pt x="17" y="462"/>
                  </a:lnTo>
                  <a:lnTo>
                    <a:pt x="8" y="462"/>
                  </a:lnTo>
                  <a:lnTo>
                    <a:pt x="7" y="465"/>
                  </a:lnTo>
                  <a:lnTo>
                    <a:pt x="4" y="468"/>
                  </a:lnTo>
                  <a:lnTo>
                    <a:pt x="1" y="471"/>
                  </a:lnTo>
                  <a:lnTo>
                    <a:pt x="0" y="471"/>
                  </a:lnTo>
                  <a:lnTo>
                    <a:pt x="0" y="505"/>
                  </a:lnTo>
                  <a:lnTo>
                    <a:pt x="1" y="540"/>
                  </a:lnTo>
                  <a:lnTo>
                    <a:pt x="2" y="574"/>
                  </a:lnTo>
                  <a:lnTo>
                    <a:pt x="4" y="610"/>
                  </a:lnTo>
                  <a:lnTo>
                    <a:pt x="5" y="645"/>
                  </a:lnTo>
                  <a:lnTo>
                    <a:pt x="7" y="678"/>
                  </a:lnTo>
                  <a:lnTo>
                    <a:pt x="7" y="713"/>
                  </a:lnTo>
                  <a:lnTo>
                    <a:pt x="8" y="745"/>
                  </a:lnTo>
                  <a:lnTo>
                    <a:pt x="12" y="750"/>
                  </a:lnTo>
                  <a:lnTo>
                    <a:pt x="16" y="756"/>
                  </a:lnTo>
                  <a:lnTo>
                    <a:pt x="21" y="763"/>
                  </a:lnTo>
                  <a:lnTo>
                    <a:pt x="22" y="767"/>
                  </a:lnTo>
                  <a:lnTo>
                    <a:pt x="58" y="767"/>
                  </a:lnTo>
                  <a:lnTo>
                    <a:pt x="68" y="759"/>
                  </a:lnTo>
                  <a:lnTo>
                    <a:pt x="77" y="752"/>
                  </a:lnTo>
                  <a:lnTo>
                    <a:pt x="84" y="747"/>
                  </a:lnTo>
                  <a:lnTo>
                    <a:pt x="92" y="744"/>
                  </a:lnTo>
                  <a:lnTo>
                    <a:pt x="99" y="743"/>
                  </a:lnTo>
                  <a:lnTo>
                    <a:pt x="106" y="742"/>
                  </a:lnTo>
                  <a:lnTo>
                    <a:pt x="111" y="743"/>
                  </a:lnTo>
                  <a:lnTo>
                    <a:pt x="118" y="745"/>
                  </a:lnTo>
                  <a:lnTo>
                    <a:pt x="130" y="750"/>
                  </a:lnTo>
                  <a:lnTo>
                    <a:pt x="142" y="756"/>
                  </a:lnTo>
                  <a:lnTo>
                    <a:pt x="150" y="759"/>
                  </a:lnTo>
                  <a:lnTo>
                    <a:pt x="157" y="761"/>
                  </a:lnTo>
                  <a:lnTo>
                    <a:pt x="166" y="762"/>
                  </a:lnTo>
                  <a:lnTo>
                    <a:pt x="175" y="763"/>
                  </a:lnTo>
                  <a:lnTo>
                    <a:pt x="177" y="772"/>
                  </a:lnTo>
                  <a:lnTo>
                    <a:pt x="179" y="785"/>
                  </a:lnTo>
                  <a:lnTo>
                    <a:pt x="180" y="786"/>
                  </a:lnTo>
                  <a:lnTo>
                    <a:pt x="181" y="788"/>
                  </a:lnTo>
                  <a:lnTo>
                    <a:pt x="183" y="791"/>
                  </a:lnTo>
                  <a:lnTo>
                    <a:pt x="184" y="795"/>
                  </a:lnTo>
                  <a:lnTo>
                    <a:pt x="186" y="805"/>
                  </a:lnTo>
                  <a:lnTo>
                    <a:pt x="187" y="818"/>
                  </a:lnTo>
                  <a:lnTo>
                    <a:pt x="188" y="842"/>
                  </a:lnTo>
                  <a:lnTo>
                    <a:pt x="188" y="857"/>
                  </a:lnTo>
                  <a:lnTo>
                    <a:pt x="179" y="861"/>
                  </a:lnTo>
                  <a:lnTo>
                    <a:pt x="179" y="875"/>
                  </a:lnTo>
                  <a:lnTo>
                    <a:pt x="170" y="891"/>
                  </a:lnTo>
                  <a:lnTo>
                    <a:pt x="161" y="907"/>
                  </a:lnTo>
                  <a:lnTo>
                    <a:pt x="161" y="913"/>
                  </a:lnTo>
                  <a:lnTo>
                    <a:pt x="160" y="917"/>
                  </a:lnTo>
                  <a:lnTo>
                    <a:pt x="159" y="921"/>
                  </a:lnTo>
                  <a:lnTo>
                    <a:pt x="157" y="925"/>
                  </a:lnTo>
                  <a:lnTo>
                    <a:pt x="158" y="943"/>
                  </a:lnTo>
                  <a:lnTo>
                    <a:pt x="161" y="962"/>
                  </a:lnTo>
                  <a:lnTo>
                    <a:pt x="164" y="981"/>
                  </a:lnTo>
                  <a:lnTo>
                    <a:pt x="166" y="996"/>
                  </a:lnTo>
                  <a:lnTo>
                    <a:pt x="171" y="1000"/>
                  </a:lnTo>
                  <a:lnTo>
                    <a:pt x="176" y="1002"/>
                  </a:lnTo>
                  <a:lnTo>
                    <a:pt x="177" y="1004"/>
                  </a:lnTo>
                  <a:lnTo>
                    <a:pt x="178" y="1006"/>
                  </a:lnTo>
                  <a:lnTo>
                    <a:pt x="179" y="1010"/>
                  </a:lnTo>
                  <a:lnTo>
                    <a:pt x="179" y="1014"/>
                  </a:lnTo>
                  <a:lnTo>
                    <a:pt x="184" y="1023"/>
                  </a:lnTo>
                  <a:lnTo>
                    <a:pt x="186" y="1025"/>
                  </a:lnTo>
                  <a:lnTo>
                    <a:pt x="188" y="1028"/>
                  </a:lnTo>
                  <a:lnTo>
                    <a:pt x="190" y="1031"/>
                  </a:lnTo>
                  <a:lnTo>
                    <a:pt x="192" y="1034"/>
                  </a:lnTo>
                  <a:lnTo>
                    <a:pt x="195" y="1044"/>
                  </a:lnTo>
                  <a:lnTo>
                    <a:pt x="196" y="1055"/>
                  </a:lnTo>
                  <a:lnTo>
                    <a:pt x="199" y="1082"/>
                  </a:lnTo>
                  <a:lnTo>
                    <a:pt x="200" y="1111"/>
                  </a:lnTo>
                  <a:lnTo>
                    <a:pt x="202" y="1140"/>
                  </a:lnTo>
                  <a:lnTo>
                    <a:pt x="204" y="1166"/>
                  </a:lnTo>
                  <a:lnTo>
                    <a:pt x="206" y="1175"/>
                  </a:lnTo>
                  <a:lnTo>
                    <a:pt x="208" y="1183"/>
                  </a:lnTo>
                  <a:lnTo>
                    <a:pt x="209" y="1186"/>
                  </a:lnTo>
                  <a:lnTo>
                    <a:pt x="212" y="1188"/>
                  </a:lnTo>
                  <a:lnTo>
                    <a:pt x="213" y="1189"/>
                  </a:lnTo>
                  <a:lnTo>
                    <a:pt x="215" y="1189"/>
                  </a:lnTo>
                  <a:lnTo>
                    <a:pt x="217" y="1203"/>
                  </a:lnTo>
                  <a:lnTo>
                    <a:pt x="219" y="1216"/>
                  </a:lnTo>
                  <a:lnTo>
                    <a:pt x="228" y="1225"/>
                  </a:lnTo>
                  <a:lnTo>
                    <a:pt x="229" y="1232"/>
                  </a:lnTo>
                  <a:lnTo>
                    <a:pt x="234" y="1243"/>
                  </a:lnTo>
                  <a:lnTo>
                    <a:pt x="235" y="1249"/>
                  </a:lnTo>
                  <a:lnTo>
                    <a:pt x="237" y="1253"/>
                  </a:lnTo>
                  <a:lnTo>
                    <a:pt x="240" y="1255"/>
                  </a:lnTo>
                  <a:lnTo>
                    <a:pt x="242" y="1257"/>
                  </a:lnTo>
                  <a:lnTo>
                    <a:pt x="242" y="1266"/>
                  </a:lnTo>
                  <a:lnTo>
                    <a:pt x="245" y="1269"/>
                  </a:lnTo>
                  <a:lnTo>
                    <a:pt x="251" y="1276"/>
                  </a:lnTo>
                  <a:lnTo>
                    <a:pt x="254" y="1282"/>
                  </a:lnTo>
                  <a:lnTo>
                    <a:pt x="257" y="1286"/>
                  </a:lnTo>
                  <a:lnTo>
                    <a:pt x="258" y="1292"/>
                  </a:lnTo>
                  <a:lnTo>
                    <a:pt x="260" y="1298"/>
                  </a:lnTo>
                  <a:lnTo>
                    <a:pt x="264" y="1298"/>
                  </a:lnTo>
                  <a:lnTo>
                    <a:pt x="269" y="1300"/>
                  </a:lnTo>
                  <a:lnTo>
                    <a:pt x="272" y="1303"/>
                  </a:lnTo>
                  <a:lnTo>
                    <a:pt x="273" y="1307"/>
                  </a:lnTo>
                  <a:lnTo>
                    <a:pt x="276" y="1307"/>
                  </a:lnTo>
                  <a:lnTo>
                    <a:pt x="280" y="1307"/>
                  </a:lnTo>
                  <a:lnTo>
                    <a:pt x="279" y="1291"/>
                  </a:lnTo>
                  <a:lnTo>
                    <a:pt x="280" y="1278"/>
                  </a:lnTo>
                  <a:lnTo>
                    <a:pt x="281" y="1272"/>
                  </a:lnTo>
                  <a:lnTo>
                    <a:pt x="281" y="1269"/>
                  </a:lnTo>
                  <a:lnTo>
                    <a:pt x="283" y="1266"/>
                  </a:lnTo>
                  <a:lnTo>
                    <a:pt x="284" y="1265"/>
                  </a:lnTo>
                  <a:lnTo>
                    <a:pt x="284" y="1260"/>
                  </a:lnTo>
                  <a:lnTo>
                    <a:pt x="288" y="1259"/>
                  </a:lnTo>
                  <a:lnTo>
                    <a:pt x="290" y="1257"/>
                  </a:lnTo>
                  <a:lnTo>
                    <a:pt x="292" y="1255"/>
                  </a:lnTo>
                  <a:lnTo>
                    <a:pt x="293" y="1253"/>
                  </a:lnTo>
                  <a:lnTo>
                    <a:pt x="333" y="1253"/>
                  </a:lnTo>
                  <a:lnTo>
                    <a:pt x="372" y="1254"/>
                  </a:lnTo>
                  <a:lnTo>
                    <a:pt x="392" y="1255"/>
                  </a:lnTo>
                  <a:lnTo>
                    <a:pt x="413" y="1257"/>
                  </a:lnTo>
                  <a:lnTo>
                    <a:pt x="433" y="1260"/>
                  </a:lnTo>
                  <a:lnTo>
                    <a:pt x="453" y="1263"/>
                  </a:lnTo>
                  <a:lnTo>
                    <a:pt x="472" y="1266"/>
                  </a:lnTo>
                  <a:lnTo>
                    <a:pt x="491" y="1272"/>
                  </a:lnTo>
                  <a:lnTo>
                    <a:pt x="509" y="1278"/>
                  </a:lnTo>
                  <a:lnTo>
                    <a:pt x="526" y="1285"/>
                  </a:lnTo>
                  <a:lnTo>
                    <a:pt x="544" y="1294"/>
                  </a:lnTo>
                  <a:lnTo>
                    <a:pt x="560" y="1304"/>
                  </a:lnTo>
                  <a:lnTo>
                    <a:pt x="576" y="1315"/>
                  </a:lnTo>
                  <a:lnTo>
                    <a:pt x="591" y="1329"/>
                  </a:lnTo>
                  <a:lnTo>
                    <a:pt x="603" y="1342"/>
                  </a:lnTo>
                  <a:lnTo>
                    <a:pt x="628" y="1367"/>
                  </a:lnTo>
                  <a:lnTo>
                    <a:pt x="641" y="1378"/>
                  </a:lnTo>
                  <a:lnTo>
                    <a:pt x="653" y="1386"/>
                  </a:lnTo>
                  <a:lnTo>
                    <a:pt x="657" y="1388"/>
                  </a:lnTo>
                  <a:lnTo>
                    <a:pt x="660" y="1388"/>
                  </a:lnTo>
                  <a:lnTo>
                    <a:pt x="661" y="1388"/>
                  </a:lnTo>
                  <a:lnTo>
                    <a:pt x="663" y="1387"/>
                  </a:lnTo>
                  <a:lnTo>
                    <a:pt x="663" y="1386"/>
                  </a:lnTo>
                  <a:lnTo>
                    <a:pt x="664" y="1384"/>
                  </a:lnTo>
                  <a:lnTo>
                    <a:pt x="678" y="1384"/>
                  </a:lnTo>
                  <a:lnTo>
                    <a:pt x="693" y="1381"/>
                  </a:lnTo>
                  <a:lnTo>
                    <a:pt x="708" y="1380"/>
                  </a:lnTo>
                  <a:lnTo>
                    <a:pt x="724" y="1377"/>
                  </a:lnTo>
                  <a:lnTo>
                    <a:pt x="754" y="1370"/>
                  </a:lnTo>
                  <a:lnTo>
                    <a:pt x="785" y="1362"/>
                  </a:lnTo>
                  <a:lnTo>
                    <a:pt x="816" y="1355"/>
                  </a:lnTo>
                  <a:lnTo>
                    <a:pt x="847" y="1348"/>
                  </a:lnTo>
                  <a:lnTo>
                    <a:pt x="862" y="1346"/>
                  </a:lnTo>
                  <a:lnTo>
                    <a:pt x="878" y="1343"/>
                  </a:lnTo>
                  <a:lnTo>
                    <a:pt x="894" y="1342"/>
                  </a:lnTo>
                  <a:lnTo>
                    <a:pt x="909" y="1341"/>
                  </a:lnTo>
                  <a:lnTo>
                    <a:pt x="926" y="1341"/>
                  </a:lnTo>
                  <a:lnTo>
                    <a:pt x="943" y="1339"/>
                  </a:lnTo>
                  <a:lnTo>
                    <a:pt x="957" y="1337"/>
                  </a:lnTo>
                  <a:lnTo>
                    <a:pt x="972" y="1333"/>
                  </a:lnTo>
                  <a:lnTo>
                    <a:pt x="997" y="1327"/>
                  </a:lnTo>
                  <a:lnTo>
                    <a:pt x="1023" y="1318"/>
                  </a:lnTo>
                  <a:lnTo>
                    <a:pt x="1019" y="1313"/>
                  </a:lnTo>
                  <a:lnTo>
                    <a:pt x="1014" y="1311"/>
                  </a:lnTo>
                  <a:lnTo>
                    <a:pt x="1014" y="1302"/>
                  </a:lnTo>
                  <a:lnTo>
                    <a:pt x="1005" y="1293"/>
                  </a:lnTo>
                  <a:lnTo>
                    <a:pt x="1005" y="1285"/>
                  </a:lnTo>
                  <a:lnTo>
                    <a:pt x="1004" y="1276"/>
                  </a:lnTo>
                  <a:lnTo>
                    <a:pt x="1003" y="1272"/>
                  </a:lnTo>
                  <a:lnTo>
                    <a:pt x="1002" y="1269"/>
                  </a:lnTo>
                  <a:lnTo>
                    <a:pt x="1000" y="1266"/>
                  </a:lnTo>
                  <a:lnTo>
                    <a:pt x="996" y="1266"/>
                  </a:lnTo>
                  <a:lnTo>
                    <a:pt x="996" y="1257"/>
                  </a:lnTo>
                  <a:lnTo>
                    <a:pt x="989" y="1246"/>
                  </a:lnTo>
                  <a:lnTo>
                    <a:pt x="983" y="1238"/>
                  </a:lnTo>
                  <a:lnTo>
                    <a:pt x="981" y="1223"/>
                  </a:lnTo>
                  <a:lnTo>
                    <a:pt x="979" y="1207"/>
                  </a:lnTo>
                  <a:lnTo>
                    <a:pt x="977" y="1207"/>
                  </a:lnTo>
                  <a:lnTo>
                    <a:pt x="975" y="1205"/>
                  </a:lnTo>
                  <a:lnTo>
                    <a:pt x="974" y="1202"/>
                  </a:lnTo>
                  <a:lnTo>
                    <a:pt x="973" y="1197"/>
                  </a:lnTo>
                  <a:lnTo>
                    <a:pt x="971" y="1187"/>
                  </a:lnTo>
                  <a:lnTo>
                    <a:pt x="968" y="1175"/>
                  </a:lnTo>
                  <a:lnTo>
                    <a:pt x="966" y="1150"/>
                  </a:lnTo>
                  <a:lnTo>
                    <a:pt x="965" y="1136"/>
                  </a:lnTo>
                  <a:lnTo>
                    <a:pt x="964" y="1135"/>
                  </a:lnTo>
                  <a:lnTo>
                    <a:pt x="963" y="1132"/>
                  </a:lnTo>
                  <a:lnTo>
                    <a:pt x="962" y="1128"/>
                  </a:lnTo>
                  <a:lnTo>
                    <a:pt x="961" y="1124"/>
                  </a:lnTo>
                  <a:lnTo>
                    <a:pt x="961" y="1115"/>
                  </a:lnTo>
                  <a:lnTo>
                    <a:pt x="961" y="1109"/>
                  </a:lnTo>
                  <a:lnTo>
                    <a:pt x="960" y="1105"/>
                  </a:lnTo>
                  <a:lnTo>
                    <a:pt x="958" y="1093"/>
                  </a:lnTo>
                  <a:lnTo>
                    <a:pt x="957" y="1079"/>
                  </a:lnTo>
                  <a:lnTo>
                    <a:pt x="956" y="1060"/>
                  </a:lnTo>
                  <a:lnTo>
                    <a:pt x="956" y="1025"/>
                  </a:lnTo>
                  <a:lnTo>
                    <a:pt x="956" y="1005"/>
                  </a:lnTo>
                  <a:lnTo>
                    <a:pt x="951" y="1000"/>
                  </a:lnTo>
                  <a:lnTo>
                    <a:pt x="944" y="987"/>
                  </a:lnTo>
                  <a:lnTo>
                    <a:pt x="941" y="981"/>
                  </a:lnTo>
                  <a:lnTo>
                    <a:pt x="936" y="975"/>
                  </a:lnTo>
                  <a:lnTo>
                    <a:pt x="933" y="971"/>
                  </a:lnTo>
                  <a:lnTo>
                    <a:pt x="929" y="969"/>
                  </a:lnTo>
                  <a:lnTo>
                    <a:pt x="929" y="961"/>
                  </a:lnTo>
                  <a:lnTo>
                    <a:pt x="927" y="959"/>
                  </a:lnTo>
                  <a:lnTo>
                    <a:pt x="926" y="955"/>
                  </a:lnTo>
                  <a:lnTo>
                    <a:pt x="925" y="949"/>
                  </a:lnTo>
                  <a:lnTo>
                    <a:pt x="923" y="942"/>
                  </a:lnTo>
                  <a:lnTo>
                    <a:pt x="920" y="921"/>
                  </a:lnTo>
                  <a:lnTo>
                    <a:pt x="919" y="898"/>
                  </a:lnTo>
                  <a:lnTo>
                    <a:pt x="916" y="850"/>
                  </a:lnTo>
                  <a:lnTo>
                    <a:pt x="916" y="821"/>
                  </a:lnTo>
                  <a:lnTo>
                    <a:pt x="914" y="821"/>
                  </a:lnTo>
                  <a:lnTo>
                    <a:pt x="913" y="819"/>
                  </a:lnTo>
                  <a:lnTo>
                    <a:pt x="913" y="817"/>
                  </a:lnTo>
                  <a:lnTo>
                    <a:pt x="912" y="814"/>
                  </a:lnTo>
                  <a:lnTo>
                    <a:pt x="912" y="808"/>
                  </a:lnTo>
                  <a:lnTo>
                    <a:pt x="912" y="803"/>
                  </a:lnTo>
                  <a:lnTo>
                    <a:pt x="903" y="799"/>
                  </a:lnTo>
                  <a:lnTo>
                    <a:pt x="901" y="792"/>
                  </a:lnTo>
                  <a:lnTo>
                    <a:pt x="899" y="785"/>
                  </a:lnTo>
                  <a:lnTo>
                    <a:pt x="896" y="779"/>
                  </a:lnTo>
                  <a:lnTo>
                    <a:pt x="894" y="772"/>
                  </a:lnTo>
                  <a:lnTo>
                    <a:pt x="890" y="765"/>
                  </a:lnTo>
                  <a:lnTo>
                    <a:pt x="887" y="759"/>
                  </a:lnTo>
                  <a:lnTo>
                    <a:pt x="885" y="752"/>
                  </a:lnTo>
                  <a:lnTo>
                    <a:pt x="884" y="745"/>
                  </a:lnTo>
                  <a:lnTo>
                    <a:pt x="883" y="744"/>
                  </a:lnTo>
                  <a:lnTo>
                    <a:pt x="881" y="743"/>
                  </a:lnTo>
                  <a:lnTo>
                    <a:pt x="880" y="742"/>
                  </a:lnTo>
                  <a:lnTo>
                    <a:pt x="880" y="740"/>
                  </a:lnTo>
                  <a:lnTo>
                    <a:pt x="880" y="735"/>
                  </a:lnTo>
                  <a:lnTo>
                    <a:pt x="879" y="732"/>
                  </a:lnTo>
                  <a:lnTo>
                    <a:pt x="868" y="730"/>
                  </a:lnTo>
                  <a:lnTo>
                    <a:pt x="852" y="727"/>
                  </a:lnTo>
                  <a:lnTo>
                    <a:pt x="851" y="728"/>
                  </a:lnTo>
                  <a:lnTo>
                    <a:pt x="849" y="730"/>
                  </a:lnTo>
                  <a:lnTo>
                    <a:pt x="846" y="731"/>
                  </a:lnTo>
                  <a:lnTo>
                    <a:pt x="841" y="731"/>
                  </a:lnTo>
                  <a:lnTo>
                    <a:pt x="832" y="732"/>
                  </a:lnTo>
                  <a:lnTo>
                    <a:pt x="826" y="732"/>
                  </a:lnTo>
                  <a:lnTo>
                    <a:pt x="816" y="723"/>
                  </a:lnTo>
                  <a:lnTo>
                    <a:pt x="797" y="709"/>
                  </a:lnTo>
                  <a:lnTo>
                    <a:pt x="778" y="697"/>
                  </a:lnTo>
                  <a:lnTo>
                    <a:pt x="768" y="690"/>
                  </a:lnTo>
                  <a:lnTo>
                    <a:pt x="763" y="686"/>
                  </a:lnTo>
                  <a:lnTo>
                    <a:pt x="759" y="677"/>
                  </a:lnTo>
                  <a:lnTo>
                    <a:pt x="751" y="670"/>
                  </a:lnTo>
                  <a:lnTo>
                    <a:pt x="741" y="664"/>
                  </a:lnTo>
                  <a:lnTo>
                    <a:pt x="738" y="660"/>
                  </a:lnTo>
                  <a:lnTo>
                    <a:pt x="736" y="658"/>
                  </a:lnTo>
                  <a:lnTo>
                    <a:pt x="733" y="656"/>
                  </a:lnTo>
                  <a:lnTo>
                    <a:pt x="732" y="655"/>
                  </a:lnTo>
                  <a:lnTo>
                    <a:pt x="732" y="641"/>
                  </a:lnTo>
                  <a:lnTo>
                    <a:pt x="730" y="640"/>
                  </a:lnTo>
                  <a:lnTo>
                    <a:pt x="728" y="638"/>
                  </a:lnTo>
                  <a:lnTo>
                    <a:pt x="728" y="635"/>
                  </a:lnTo>
                  <a:lnTo>
                    <a:pt x="727" y="630"/>
                  </a:lnTo>
                  <a:lnTo>
                    <a:pt x="727" y="621"/>
                  </a:lnTo>
                  <a:lnTo>
                    <a:pt x="727" y="615"/>
                  </a:lnTo>
                  <a:lnTo>
                    <a:pt x="724" y="613"/>
                  </a:lnTo>
                  <a:lnTo>
                    <a:pt x="723" y="612"/>
                  </a:lnTo>
                  <a:lnTo>
                    <a:pt x="723" y="609"/>
                  </a:lnTo>
                  <a:lnTo>
                    <a:pt x="723" y="606"/>
                  </a:lnTo>
                  <a:lnTo>
                    <a:pt x="718" y="601"/>
                  </a:lnTo>
                  <a:lnTo>
                    <a:pt x="714" y="597"/>
                  </a:lnTo>
                  <a:lnTo>
                    <a:pt x="711" y="592"/>
                  </a:lnTo>
                  <a:lnTo>
                    <a:pt x="709" y="588"/>
                  </a:lnTo>
                  <a:lnTo>
                    <a:pt x="701" y="583"/>
                  </a:lnTo>
                  <a:lnTo>
                    <a:pt x="695" y="572"/>
                  </a:lnTo>
                  <a:lnTo>
                    <a:pt x="690" y="565"/>
                  </a:lnTo>
                  <a:lnTo>
                    <a:pt x="692" y="526"/>
                  </a:lnTo>
                  <a:lnTo>
                    <a:pt x="693" y="487"/>
                  </a:lnTo>
                  <a:lnTo>
                    <a:pt x="694" y="447"/>
                  </a:lnTo>
                  <a:lnTo>
                    <a:pt x="695" y="407"/>
                  </a:lnTo>
                  <a:lnTo>
                    <a:pt x="697" y="368"/>
                  </a:lnTo>
                  <a:lnTo>
                    <a:pt x="698" y="327"/>
                  </a:lnTo>
                  <a:lnTo>
                    <a:pt x="699" y="286"/>
                  </a:lnTo>
                  <a:lnTo>
                    <a:pt x="701" y="246"/>
                  </a:lnTo>
                  <a:lnTo>
                    <a:pt x="698" y="246"/>
                  </a:lnTo>
                  <a:lnTo>
                    <a:pt x="697" y="244"/>
                  </a:lnTo>
                  <a:lnTo>
                    <a:pt x="695" y="242"/>
                  </a:lnTo>
                  <a:lnTo>
                    <a:pt x="694" y="240"/>
                  </a:lnTo>
                  <a:lnTo>
                    <a:pt x="692" y="233"/>
                  </a:lnTo>
                  <a:lnTo>
                    <a:pt x="690" y="228"/>
                  </a:lnTo>
                  <a:lnTo>
                    <a:pt x="686" y="222"/>
                  </a:lnTo>
                  <a:lnTo>
                    <a:pt x="680" y="212"/>
                  </a:lnTo>
                  <a:lnTo>
                    <a:pt x="675" y="202"/>
                  </a:lnTo>
                  <a:lnTo>
                    <a:pt x="673" y="193"/>
                  </a:lnTo>
                  <a:lnTo>
                    <a:pt x="668" y="185"/>
                  </a:lnTo>
                  <a:lnTo>
                    <a:pt x="664" y="175"/>
                  </a:lnTo>
                  <a:lnTo>
                    <a:pt x="655" y="170"/>
                  </a:lnTo>
                  <a:lnTo>
                    <a:pt x="650" y="166"/>
                  </a:lnTo>
                  <a:lnTo>
                    <a:pt x="646" y="150"/>
                  </a:lnTo>
                  <a:lnTo>
                    <a:pt x="641" y="135"/>
                  </a:lnTo>
                  <a:lnTo>
                    <a:pt x="640" y="132"/>
                  </a:lnTo>
                  <a:lnTo>
                    <a:pt x="639" y="127"/>
                  </a:lnTo>
                  <a:lnTo>
                    <a:pt x="638" y="119"/>
                  </a:lnTo>
                  <a:lnTo>
                    <a:pt x="638" y="110"/>
                  </a:lnTo>
                  <a:lnTo>
                    <a:pt x="637" y="92"/>
                  </a:lnTo>
                  <a:lnTo>
                    <a:pt x="637" y="80"/>
                  </a:lnTo>
                  <a:lnTo>
                    <a:pt x="634" y="79"/>
                  </a:lnTo>
                  <a:lnTo>
                    <a:pt x="631" y="76"/>
                  </a:lnTo>
                  <a:lnTo>
                    <a:pt x="629" y="72"/>
                  </a:lnTo>
                  <a:lnTo>
                    <a:pt x="628" y="71"/>
                  </a:lnTo>
                  <a:lnTo>
                    <a:pt x="619" y="71"/>
                  </a:lnTo>
                  <a:lnTo>
                    <a:pt x="618" y="70"/>
                  </a:lnTo>
                  <a:lnTo>
                    <a:pt x="616" y="69"/>
                  </a:lnTo>
                  <a:lnTo>
                    <a:pt x="612" y="67"/>
                  </a:lnTo>
                  <a:lnTo>
                    <a:pt x="608" y="67"/>
                  </a:lnTo>
                  <a:lnTo>
                    <a:pt x="596" y="64"/>
                  </a:lnTo>
                  <a:lnTo>
                    <a:pt x="581" y="63"/>
                  </a:lnTo>
                  <a:lnTo>
                    <a:pt x="553" y="62"/>
                  </a:lnTo>
                  <a:lnTo>
                    <a:pt x="534" y="62"/>
                  </a:lnTo>
                  <a:lnTo>
                    <a:pt x="533" y="60"/>
                  </a:lnTo>
                  <a:lnTo>
                    <a:pt x="531" y="59"/>
                  </a:lnTo>
                  <a:lnTo>
                    <a:pt x="528" y="58"/>
                  </a:lnTo>
                  <a:lnTo>
                    <a:pt x="525" y="58"/>
                  </a:lnTo>
                  <a:lnTo>
                    <a:pt x="521" y="53"/>
                  </a:lnTo>
                  <a:lnTo>
                    <a:pt x="521" y="47"/>
                  </a:lnTo>
                  <a:lnTo>
                    <a:pt x="521" y="40"/>
                  </a:lnTo>
                  <a:lnTo>
                    <a:pt x="511" y="31"/>
                  </a:lnTo>
                  <a:lnTo>
                    <a:pt x="511" y="22"/>
                  </a:lnTo>
                  <a:lnTo>
                    <a:pt x="510" y="22"/>
                  </a:lnTo>
                  <a:lnTo>
                    <a:pt x="509" y="21"/>
                  </a:lnTo>
                  <a:lnTo>
                    <a:pt x="507" y="19"/>
                  </a:lnTo>
                  <a:lnTo>
                    <a:pt x="507" y="16"/>
                  </a:lnTo>
                  <a:lnTo>
                    <a:pt x="507" y="12"/>
                  </a:lnTo>
                  <a:lnTo>
                    <a:pt x="506" y="9"/>
                  </a:lnTo>
                  <a:lnTo>
                    <a:pt x="503" y="7"/>
                  </a:lnTo>
                  <a:lnTo>
                    <a:pt x="501" y="4"/>
                  </a:lnTo>
                  <a:lnTo>
                    <a:pt x="498" y="1"/>
                  </a:lnTo>
                  <a:lnTo>
                    <a:pt x="497" y="0"/>
                  </a:lnTo>
                  <a:lnTo>
                    <a:pt x="47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6" name="Freeform 39">
              <a:extLst>
                <a:ext uri="{FF2B5EF4-FFF2-40B4-BE49-F238E27FC236}">
                  <a16:creationId xmlns:a16="http://schemas.microsoft.com/office/drawing/2014/main" id="{B3173423-33AC-4425-917D-052EC9F37320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6827838" y="3079750"/>
              <a:ext cx="342967" cy="411163"/>
            </a:xfrm>
            <a:custGeom>
              <a:avLst/>
              <a:gdLst/>
              <a:ahLst/>
              <a:cxnLst>
                <a:cxn ang="0">
                  <a:pos x="840" y="60"/>
                </a:cxn>
                <a:cxn ang="0">
                  <a:pos x="765" y="215"/>
                </a:cxn>
                <a:cxn ang="0">
                  <a:pos x="721" y="403"/>
                </a:cxn>
                <a:cxn ang="0">
                  <a:pos x="691" y="583"/>
                </a:cxn>
                <a:cxn ang="0">
                  <a:pos x="341" y="623"/>
                </a:cxn>
                <a:cxn ang="0">
                  <a:pos x="240" y="670"/>
                </a:cxn>
                <a:cxn ang="0">
                  <a:pos x="172" y="748"/>
                </a:cxn>
                <a:cxn ang="0">
                  <a:pos x="48" y="806"/>
                </a:cxn>
                <a:cxn ang="0">
                  <a:pos x="0" y="873"/>
                </a:cxn>
                <a:cxn ang="0">
                  <a:pos x="49" y="934"/>
                </a:cxn>
                <a:cxn ang="0">
                  <a:pos x="93" y="1044"/>
                </a:cxn>
                <a:cxn ang="0">
                  <a:pos x="155" y="1238"/>
                </a:cxn>
                <a:cxn ang="0">
                  <a:pos x="182" y="1295"/>
                </a:cxn>
                <a:cxn ang="0">
                  <a:pos x="286" y="1309"/>
                </a:cxn>
                <a:cxn ang="0">
                  <a:pos x="325" y="1422"/>
                </a:cxn>
                <a:cxn ang="0">
                  <a:pos x="354" y="1605"/>
                </a:cxn>
                <a:cxn ang="0">
                  <a:pos x="380" y="1849"/>
                </a:cxn>
                <a:cxn ang="0">
                  <a:pos x="408" y="1907"/>
                </a:cxn>
                <a:cxn ang="0">
                  <a:pos x="525" y="1967"/>
                </a:cxn>
                <a:cxn ang="0">
                  <a:pos x="558" y="2029"/>
                </a:cxn>
                <a:cxn ang="0">
                  <a:pos x="583" y="2192"/>
                </a:cxn>
                <a:cxn ang="0">
                  <a:pos x="617" y="2342"/>
                </a:cxn>
                <a:cxn ang="0">
                  <a:pos x="634" y="2444"/>
                </a:cxn>
                <a:cxn ang="0">
                  <a:pos x="671" y="2548"/>
                </a:cxn>
                <a:cxn ang="0">
                  <a:pos x="813" y="2499"/>
                </a:cxn>
                <a:cxn ang="0">
                  <a:pos x="880" y="2482"/>
                </a:cxn>
                <a:cxn ang="0">
                  <a:pos x="1084" y="2538"/>
                </a:cxn>
                <a:cxn ang="0">
                  <a:pos x="1134" y="2484"/>
                </a:cxn>
                <a:cxn ang="0">
                  <a:pos x="1208" y="2394"/>
                </a:cxn>
                <a:cxn ang="0">
                  <a:pos x="1310" y="2330"/>
                </a:cxn>
                <a:cxn ang="0">
                  <a:pos x="1350" y="2210"/>
                </a:cxn>
                <a:cxn ang="0">
                  <a:pos x="1398" y="2171"/>
                </a:cxn>
                <a:cxn ang="0">
                  <a:pos x="1447" y="2152"/>
                </a:cxn>
                <a:cxn ang="0">
                  <a:pos x="1613" y="2044"/>
                </a:cxn>
                <a:cxn ang="0">
                  <a:pos x="1654" y="1843"/>
                </a:cxn>
                <a:cxn ang="0">
                  <a:pos x="1603" y="1785"/>
                </a:cxn>
                <a:cxn ang="0">
                  <a:pos x="1553" y="1763"/>
                </a:cxn>
                <a:cxn ang="0">
                  <a:pos x="1569" y="1688"/>
                </a:cxn>
                <a:cxn ang="0">
                  <a:pos x="1642" y="1652"/>
                </a:cxn>
                <a:cxn ang="0">
                  <a:pos x="1747" y="1603"/>
                </a:cxn>
                <a:cxn ang="0">
                  <a:pos x="1789" y="1471"/>
                </a:cxn>
                <a:cxn ang="0">
                  <a:pos x="1803" y="1386"/>
                </a:cxn>
                <a:cxn ang="0">
                  <a:pos x="1804" y="1306"/>
                </a:cxn>
                <a:cxn ang="0">
                  <a:pos x="1861" y="1209"/>
                </a:cxn>
                <a:cxn ang="0">
                  <a:pos x="1697" y="1205"/>
                </a:cxn>
                <a:cxn ang="0">
                  <a:pos x="1543" y="1170"/>
                </a:cxn>
                <a:cxn ang="0">
                  <a:pos x="1503" y="1094"/>
                </a:cxn>
                <a:cxn ang="0">
                  <a:pos x="1454" y="999"/>
                </a:cxn>
                <a:cxn ang="0">
                  <a:pos x="1424" y="911"/>
                </a:cxn>
                <a:cxn ang="0">
                  <a:pos x="1423" y="835"/>
                </a:cxn>
                <a:cxn ang="0">
                  <a:pos x="1460" y="763"/>
                </a:cxn>
                <a:cxn ang="0">
                  <a:pos x="1332" y="695"/>
                </a:cxn>
                <a:cxn ang="0">
                  <a:pos x="1301" y="593"/>
                </a:cxn>
                <a:cxn ang="0">
                  <a:pos x="1320" y="515"/>
                </a:cxn>
                <a:cxn ang="0">
                  <a:pos x="1297" y="332"/>
                </a:cxn>
                <a:cxn ang="0">
                  <a:pos x="1243" y="174"/>
                </a:cxn>
                <a:cxn ang="0">
                  <a:pos x="1142" y="106"/>
                </a:cxn>
                <a:cxn ang="0">
                  <a:pos x="1060" y="77"/>
                </a:cxn>
                <a:cxn ang="0">
                  <a:pos x="1016" y="11"/>
                </a:cxn>
                <a:cxn ang="0">
                  <a:pos x="906" y="6"/>
                </a:cxn>
              </a:cxnLst>
              <a:rect l="0" t="0" r="r" b="b"/>
              <a:pathLst>
                <a:path w="1890" h="2555">
                  <a:moveTo>
                    <a:pt x="906" y="11"/>
                  </a:moveTo>
                  <a:lnTo>
                    <a:pt x="892" y="13"/>
                  </a:lnTo>
                  <a:lnTo>
                    <a:pt x="879" y="17"/>
                  </a:lnTo>
                  <a:lnTo>
                    <a:pt x="878" y="21"/>
                  </a:lnTo>
                  <a:lnTo>
                    <a:pt x="874" y="25"/>
                  </a:lnTo>
                  <a:lnTo>
                    <a:pt x="869" y="27"/>
                  </a:lnTo>
                  <a:lnTo>
                    <a:pt x="862" y="28"/>
                  </a:lnTo>
                  <a:lnTo>
                    <a:pt x="861" y="32"/>
                  </a:lnTo>
                  <a:lnTo>
                    <a:pt x="858" y="38"/>
                  </a:lnTo>
                  <a:lnTo>
                    <a:pt x="855" y="40"/>
                  </a:lnTo>
                  <a:lnTo>
                    <a:pt x="853" y="42"/>
                  </a:lnTo>
                  <a:lnTo>
                    <a:pt x="850" y="44"/>
                  </a:lnTo>
                  <a:lnTo>
                    <a:pt x="845" y="45"/>
                  </a:lnTo>
                  <a:lnTo>
                    <a:pt x="840" y="60"/>
                  </a:lnTo>
                  <a:lnTo>
                    <a:pt x="838" y="63"/>
                  </a:lnTo>
                  <a:lnTo>
                    <a:pt x="833" y="67"/>
                  </a:lnTo>
                  <a:lnTo>
                    <a:pt x="829" y="74"/>
                  </a:lnTo>
                  <a:lnTo>
                    <a:pt x="823" y="82"/>
                  </a:lnTo>
                  <a:lnTo>
                    <a:pt x="812" y="97"/>
                  </a:lnTo>
                  <a:lnTo>
                    <a:pt x="802" y="111"/>
                  </a:lnTo>
                  <a:lnTo>
                    <a:pt x="798" y="123"/>
                  </a:lnTo>
                  <a:lnTo>
                    <a:pt x="793" y="142"/>
                  </a:lnTo>
                  <a:lnTo>
                    <a:pt x="785" y="161"/>
                  </a:lnTo>
                  <a:lnTo>
                    <a:pt x="780" y="171"/>
                  </a:lnTo>
                  <a:lnTo>
                    <a:pt x="780" y="186"/>
                  </a:lnTo>
                  <a:lnTo>
                    <a:pt x="775" y="194"/>
                  </a:lnTo>
                  <a:lnTo>
                    <a:pt x="769" y="204"/>
                  </a:lnTo>
                  <a:lnTo>
                    <a:pt x="765" y="215"/>
                  </a:lnTo>
                  <a:lnTo>
                    <a:pt x="763" y="225"/>
                  </a:lnTo>
                  <a:lnTo>
                    <a:pt x="755" y="239"/>
                  </a:lnTo>
                  <a:lnTo>
                    <a:pt x="747" y="252"/>
                  </a:lnTo>
                  <a:lnTo>
                    <a:pt x="747" y="269"/>
                  </a:lnTo>
                  <a:lnTo>
                    <a:pt x="745" y="271"/>
                  </a:lnTo>
                  <a:lnTo>
                    <a:pt x="742" y="275"/>
                  </a:lnTo>
                  <a:lnTo>
                    <a:pt x="739" y="280"/>
                  </a:lnTo>
                  <a:lnTo>
                    <a:pt x="736" y="287"/>
                  </a:lnTo>
                  <a:lnTo>
                    <a:pt x="732" y="299"/>
                  </a:lnTo>
                  <a:lnTo>
                    <a:pt x="730" y="308"/>
                  </a:lnTo>
                  <a:lnTo>
                    <a:pt x="719" y="319"/>
                  </a:lnTo>
                  <a:lnTo>
                    <a:pt x="719" y="346"/>
                  </a:lnTo>
                  <a:lnTo>
                    <a:pt x="720" y="374"/>
                  </a:lnTo>
                  <a:lnTo>
                    <a:pt x="721" y="403"/>
                  </a:lnTo>
                  <a:lnTo>
                    <a:pt x="721" y="431"/>
                  </a:lnTo>
                  <a:lnTo>
                    <a:pt x="723" y="460"/>
                  </a:lnTo>
                  <a:lnTo>
                    <a:pt x="724" y="489"/>
                  </a:lnTo>
                  <a:lnTo>
                    <a:pt x="725" y="517"/>
                  </a:lnTo>
                  <a:lnTo>
                    <a:pt x="725" y="544"/>
                  </a:lnTo>
                  <a:lnTo>
                    <a:pt x="721" y="545"/>
                  </a:lnTo>
                  <a:lnTo>
                    <a:pt x="720" y="547"/>
                  </a:lnTo>
                  <a:lnTo>
                    <a:pt x="719" y="550"/>
                  </a:lnTo>
                  <a:lnTo>
                    <a:pt x="719" y="555"/>
                  </a:lnTo>
                  <a:lnTo>
                    <a:pt x="708" y="560"/>
                  </a:lnTo>
                  <a:lnTo>
                    <a:pt x="707" y="565"/>
                  </a:lnTo>
                  <a:lnTo>
                    <a:pt x="702" y="571"/>
                  </a:lnTo>
                  <a:lnTo>
                    <a:pt x="697" y="577"/>
                  </a:lnTo>
                  <a:lnTo>
                    <a:pt x="691" y="583"/>
                  </a:lnTo>
                  <a:lnTo>
                    <a:pt x="684" y="584"/>
                  </a:lnTo>
                  <a:lnTo>
                    <a:pt x="670" y="586"/>
                  </a:lnTo>
                  <a:lnTo>
                    <a:pt x="665" y="587"/>
                  </a:lnTo>
                  <a:lnTo>
                    <a:pt x="659" y="589"/>
                  </a:lnTo>
                  <a:lnTo>
                    <a:pt x="654" y="592"/>
                  </a:lnTo>
                  <a:lnTo>
                    <a:pt x="653" y="594"/>
                  </a:lnTo>
                  <a:lnTo>
                    <a:pt x="494" y="594"/>
                  </a:lnTo>
                  <a:lnTo>
                    <a:pt x="488" y="604"/>
                  </a:lnTo>
                  <a:lnTo>
                    <a:pt x="470" y="605"/>
                  </a:lnTo>
                  <a:lnTo>
                    <a:pt x="448" y="607"/>
                  </a:lnTo>
                  <a:lnTo>
                    <a:pt x="422" y="612"/>
                  </a:lnTo>
                  <a:lnTo>
                    <a:pt x="395" y="615"/>
                  </a:lnTo>
                  <a:lnTo>
                    <a:pt x="369" y="619"/>
                  </a:lnTo>
                  <a:lnTo>
                    <a:pt x="341" y="623"/>
                  </a:lnTo>
                  <a:lnTo>
                    <a:pt x="315" y="625"/>
                  </a:lnTo>
                  <a:lnTo>
                    <a:pt x="291" y="626"/>
                  </a:lnTo>
                  <a:lnTo>
                    <a:pt x="289" y="629"/>
                  </a:lnTo>
                  <a:lnTo>
                    <a:pt x="287" y="631"/>
                  </a:lnTo>
                  <a:lnTo>
                    <a:pt x="284" y="632"/>
                  </a:lnTo>
                  <a:lnTo>
                    <a:pt x="279" y="632"/>
                  </a:lnTo>
                  <a:lnTo>
                    <a:pt x="275" y="643"/>
                  </a:lnTo>
                  <a:lnTo>
                    <a:pt x="266" y="643"/>
                  </a:lnTo>
                  <a:lnTo>
                    <a:pt x="258" y="643"/>
                  </a:lnTo>
                  <a:lnTo>
                    <a:pt x="253" y="648"/>
                  </a:lnTo>
                  <a:lnTo>
                    <a:pt x="253" y="660"/>
                  </a:lnTo>
                  <a:lnTo>
                    <a:pt x="248" y="663"/>
                  </a:lnTo>
                  <a:lnTo>
                    <a:pt x="244" y="666"/>
                  </a:lnTo>
                  <a:lnTo>
                    <a:pt x="240" y="670"/>
                  </a:lnTo>
                  <a:lnTo>
                    <a:pt x="236" y="670"/>
                  </a:lnTo>
                  <a:lnTo>
                    <a:pt x="234" y="681"/>
                  </a:lnTo>
                  <a:lnTo>
                    <a:pt x="230" y="692"/>
                  </a:lnTo>
                  <a:lnTo>
                    <a:pt x="226" y="693"/>
                  </a:lnTo>
                  <a:lnTo>
                    <a:pt x="222" y="695"/>
                  </a:lnTo>
                  <a:lnTo>
                    <a:pt x="218" y="699"/>
                  </a:lnTo>
                  <a:lnTo>
                    <a:pt x="214" y="703"/>
                  </a:lnTo>
                  <a:lnTo>
                    <a:pt x="214" y="714"/>
                  </a:lnTo>
                  <a:lnTo>
                    <a:pt x="209" y="720"/>
                  </a:lnTo>
                  <a:lnTo>
                    <a:pt x="192" y="730"/>
                  </a:lnTo>
                  <a:lnTo>
                    <a:pt x="176" y="741"/>
                  </a:lnTo>
                  <a:lnTo>
                    <a:pt x="176" y="743"/>
                  </a:lnTo>
                  <a:lnTo>
                    <a:pt x="173" y="746"/>
                  </a:lnTo>
                  <a:lnTo>
                    <a:pt x="172" y="748"/>
                  </a:lnTo>
                  <a:lnTo>
                    <a:pt x="169" y="749"/>
                  </a:lnTo>
                  <a:lnTo>
                    <a:pt x="164" y="751"/>
                  </a:lnTo>
                  <a:lnTo>
                    <a:pt x="159" y="752"/>
                  </a:lnTo>
                  <a:lnTo>
                    <a:pt x="151" y="761"/>
                  </a:lnTo>
                  <a:lnTo>
                    <a:pt x="142" y="769"/>
                  </a:lnTo>
                  <a:lnTo>
                    <a:pt x="132" y="770"/>
                  </a:lnTo>
                  <a:lnTo>
                    <a:pt x="120" y="775"/>
                  </a:lnTo>
                  <a:lnTo>
                    <a:pt x="109" y="779"/>
                  </a:lnTo>
                  <a:lnTo>
                    <a:pt x="96" y="786"/>
                  </a:lnTo>
                  <a:lnTo>
                    <a:pt x="84" y="791"/>
                  </a:lnTo>
                  <a:lnTo>
                    <a:pt x="72" y="797"/>
                  </a:lnTo>
                  <a:lnTo>
                    <a:pt x="59" y="800"/>
                  </a:lnTo>
                  <a:lnTo>
                    <a:pt x="49" y="801"/>
                  </a:lnTo>
                  <a:lnTo>
                    <a:pt x="48" y="806"/>
                  </a:lnTo>
                  <a:lnTo>
                    <a:pt x="46" y="809"/>
                  </a:lnTo>
                  <a:lnTo>
                    <a:pt x="43" y="811"/>
                  </a:lnTo>
                  <a:lnTo>
                    <a:pt x="38" y="813"/>
                  </a:lnTo>
                  <a:lnTo>
                    <a:pt x="36" y="818"/>
                  </a:lnTo>
                  <a:lnTo>
                    <a:pt x="33" y="824"/>
                  </a:lnTo>
                  <a:lnTo>
                    <a:pt x="22" y="824"/>
                  </a:lnTo>
                  <a:lnTo>
                    <a:pt x="16" y="829"/>
                  </a:lnTo>
                  <a:lnTo>
                    <a:pt x="15" y="834"/>
                  </a:lnTo>
                  <a:lnTo>
                    <a:pt x="13" y="837"/>
                  </a:lnTo>
                  <a:lnTo>
                    <a:pt x="9" y="839"/>
                  </a:lnTo>
                  <a:lnTo>
                    <a:pt x="5" y="840"/>
                  </a:lnTo>
                  <a:lnTo>
                    <a:pt x="0" y="846"/>
                  </a:lnTo>
                  <a:lnTo>
                    <a:pt x="0" y="859"/>
                  </a:lnTo>
                  <a:lnTo>
                    <a:pt x="0" y="873"/>
                  </a:lnTo>
                  <a:lnTo>
                    <a:pt x="5" y="878"/>
                  </a:lnTo>
                  <a:lnTo>
                    <a:pt x="10" y="882"/>
                  </a:lnTo>
                  <a:lnTo>
                    <a:pt x="16" y="884"/>
                  </a:lnTo>
                  <a:lnTo>
                    <a:pt x="19" y="891"/>
                  </a:lnTo>
                  <a:lnTo>
                    <a:pt x="25" y="900"/>
                  </a:lnTo>
                  <a:lnTo>
                    <a:pt x="29" y="904"/>
                  </a:lnTo>
                  <a:lnTo>
                    <a:pt x="33" y="909"/>
                  </a:lnTo>
                  <a:lnTo>
                    <a:pt x="36" y="911"/>
                  </a:lnTo>
                  <a:lnTo>
                    <a:pt x="38" y="912"/>
                  </a:lnTo>
                  <a:lnTo>
                    <a:pt x="41" y="920"/>
                  </a:lnTo>
                  <a:lnTo>
                    <a:pt x="44" y="929"/>
                  </a:lnTo>
                  <a:lnTo>
                    <a:pt x="46" y="929"/>
                  </a:lnTo>
                  <a:lnTo>
                    <a:pt x="48" y="931"/>
                  </a:lnTo>
                  <a:lnTo>
                    <a:pt x="49" y="934"/>
                  </a:lnTo>
                  <a:lnTo>
                    <a:pt x="52" y="938"/>
                  </a:lnTo>
                  <a:lnTo>
                    <a:pt x="54" y="944"/>
                  </a:lnTo>
                  <a:lnTo>
                    <a:pt x="55" y="950"/>
                  </a:lnTo>
                  <a:lnTo>
                    <a:pt x="57" y="951"/>
                  </a:lnTo>
                  <a:lnTo>
                    <a:pt x="58" y="953"/>
                  </a:lnTo>
                  <a:lnTo>
                    <a:pt x="61" y="955"/>
                  </a:lnTo>
                  <a:lnTo>
                    <a:pt x="63" y="959"/>
                  </a:lnTo>
                  <a:lnTo>
                    <a:pt x="67" y="967"/>
                  </a:lnTo>
                  <a:lnTo>
                    <a:pt x="72" y="972"/>
                  </a:lnTo>
                  <a:lnTo>
                    <a:pt x="73" y="987"/>
                  </a:lnTo>
                  <a:lnTo>
                    <a:pt x="76" y="1002"/>
                  </a:lnTo>
                  <a:lnTo>
                    <a:pt x="81" y="1018"/>
                  </a:lnTo>
                  <a:lnTo>
                    <a:pt x="82" y="1032"/>
                  </a:lnTo>
                  <a:lnTo>
                    <a:pt x="93" y="1044"/>
                  </a:lnTo>
                  <a:lnTo>
                    <a:pt x="94" y="1050"/>
                  </a:lnTo>
                  <a:lnTo>
                    <a:pt x="97" y="1059"/>
                  </a:lnTo>
                  <a:lnTo>
                    <a:pt x="102" y="1068"/>
                  </a:lnTo>
                  <a:lnTo>
                    <a:pt x="109" y="1078"/>
                  </a:lnTo>
                  <a:lnTo>
                    <a:pt x="114" y="1087"/>
                  </a:lnTo>
                  <a:lnTo>
                    <a:pt x="121" y="1095"/>
                  </a:lnTo>
                  <a:lnTo>
                    <a:pt x="126" y="1100"/>
                  </a:lnTo>
                  <a:lnTo>
                    <a:pt x="132" y="1104"/>
                  </a:lnTo>
                  <a:lnTo>
                    <a:pt x="132" y="1137"/>
                  </a:lnTo>
                  <a:lnTo>
                    <a:pt x="135" y="1171"/>
                  </a:lnTo>
                  <a:lnTo>
                    <a:pt x="139" y="1203"/>
                  </a:lnTo>
                  <a:lnTo>
                    <a:pt x="144" y="1237"/>
                  </a:lnTo>
                  <a:lnTo>
                    <a:pt x="154" y="1237"/>
                  </a:lnTo>
                  <a:lnTo>
                    <a:pt x="155" y="1238"/>
                  </a:lnTo>
                  <a:lnTo>
                    <a:pt x="158" y="1241"/>
                  </a:lnTo>
                  <a:lnTo>
                    <a:pt x="160" y="1244"/>
                  </a:lnTo>
                  <a:lnTo>
                    <a:pt x="163" y="1246"/>
                  </a:lnTo>
                  <a:lnTo>
                    <a:pt x="164" y="1249"/>
                  </a:lnTo>
                  <a:lnTo>
                    <a:pt x="164" y="1253"/>
                  </a:lnTo>
                  <a:lnTo>
                    <a:pt x="164" y="1256"/>
                  </a:lnTo>
                  <a:lnTo>
                    <a:pt x="166" y="1258"/>
                  </a:lnTo>
                  <a:lnTo>
                    <a:pt x="167" y="1259"/>
                  </a:lnTo>
                  <a:lnTo>
                    <a:pt x="168" y="1259"/>
                  </a:lnTo>
                  <a:lnTo>
                    <a:pt x="168" y="1268"/>
                  </a:lnTo>
                  <a:lnTo>
                    <a:pt x="178" y="1277"/>
                  </a:lnTo>
                  <a:lnTo>
                    <a:pt x="178" y="1284"/>
                  </a:lnTo>
                  <a:lnTo>
                    <a:pt x="178" y="1290"/>
                  </a:lnTo>
                  <a:lnTo>
                    <a:pt x="182" y="1295"/>
                  </a:lnTo>
                  <a:lnTo>
                    <a:pt x="185" y="1295"/>
                  </a:lnTo>
                  <a:lnTo>
                    <a:pt x="188" y="1296"/>
                  </a:lnTo>
                  <a:lnTo>
                    <a:pt x="190" y="1297"/>
                  </a:lnTo>
                  <a:lnTo>
                    <a:pt x="191" y="1299"/>
                  </a:lnTo>
                  <a:lnTo>
                    <a:pt x="210" y="1299"/>
                  </a:lnTo>
                  <a:lnTo>
                    <a:pt x="238" y="1300"/>
                  </a:lnTo>
                  <a:lnTo>
                    <a:pt x="253" y="1301"/>
                  </a:lnTo>
                  <a:lnTo>
                    <a:pt x="265" y="1304"/>
                  </a:lnTo>
                  <a:lnTo>
                    <a:pt x="269" y="1304"/>
                  </a:lnTo>
                  <a:lnTo>
                    <a:pt x="273" y="1306"/>
                  </a:lnTo>
                  <a:lnTo>
                    <a:pt x="275" y="1307"/>
                  </a:lnTo>
                  <a:lnTo>
                    <a:pt x="276" y="1308"/>
                  </a:lnTo>
                  <a:lnTo>
                    <a:pt x="285" y="1308"/>
                  </a:lnTo>
                  <a:lnTo>
                    <a:pt x="286" y="1309"/>
                  </a:lnTo>
                  <a:lnTo>
                    <a:pt x="288" y="1313"/>
                  </a:lnTo>
                  <a:lnTo>
                    <a:pt x="291" y="1316"/>
                  </a:lnTo>
                  <a:lnTo>
                    <a:pt x="294" y="1317"/>
                  </a:lnTo>
                  <a:lnTo>
                    <a:pt x="294" y="1329"/>
                  </a:lnTo>
                  <a:lnTo>
                    <a:pt x="295" y="1347"/>
                  </a:lnTo>
                  <a:lnTo>
                    <a:pt x="295" y="1356"/>
                  </a:lnTo>
                  <a:lnTo>
                    <a:pt x="296" y="1364"/>
                  </a:lnTo>
                  <a:lnTo>
                    <a:pt x="297" y="1369"/>
                  </a:lnTo>
                  <a:lnTo>
                    <a:pt x="298" y="1372"/>
                  </a:lnTo>
                  <a:lnTo>
                    <a:pt x="303" y="1387"/>
                  </a:lnTo>
                  <a:lnTo>
                    <a:pt x="307" y="1403"/>
                  </a:lnTo>
                  <a:lnTo>
                    <a:pt x="312" y="1407"/>
                  </a:lnTo>
                  <a:lnTo>
                    <a:pt x="321" y="1412"/>
                  </a:lnTo>
                  <a:lnTo>
                    <a:pt x="325" y="1422"/>
                  </a:lnTo>
                  <a:lnTo>
                    <a:pt x="330" y="1430"/>
                  </a:lnTo>
                  <a:lnTo>
                    <a:pt x="332" y="1439"/>
                  </a:lnTo>
                  <a:lnTo>
                    <a:pt x="337" y="1449"/>
                  </a:lnTo>
                  <a:lnTo>
                    <a:pt x="343" y="1459"/>
                  </a:lnTo>
                  <a:lnTo>
                    <a:pt x="347" y="1465"/>
                  </a:lnTo>
                  <a:lnTo>
                    <a:pt x="349" y="1470"/>
                  </a:lnTo>
                  <a:lnTo>
                    <a:pt x="351" y="1477"/>
                  </a:lnTo>
                  <a:lnTo>
                    <a:pt x="352" y="1479"/>
                  </a:lnTo>
                  <a:lnTo>
                    <a:pt x="354" y="1481"/>
                  </a:lnTo>
                  <a:lnTo>
                    <a:pt x="355" y="1483"/>
                  </a:lnTo>
                  <a:lnTo>
                    <a:pt x="358" y="1483"/>
                  </a:lnTo>
                  <a:lnTo>
                    <a:pt x="356" y="1523"/>
                  </a:lnTo>
                  <a:lnTo>
                    <a:pt x="355" y="1564"/>
                  </a:lnTo>
                  <a:lnTo>
                    <a:pt x="354" y="1605"/>
                  </a:lnTo>
                  <a:lnTo>
                    <a:pt x="352" y="1644"/>
                  </a:lnTo>
                  <a:lnTo>
                    <a:pt x="351" y="1684"/>
                  </a:lnTo>
                  <a:lnTo>
                    <a:pt x="350" y="1724"/>
                  </a:lnTo>
                  <a:lnTo>
                    <a:pt x="349" y="1763"/>
                  </a:lnTo>
                  <a:lnTo>
                    <a:pt x="347" y="1802"/>
                  </a:lnTo>
                  <a:lnTo>
                    <a:pt x="352" y="1809"/>
                  </a:lnTo>
                  <a:lnTo>
                    <a:pt x="358" y="1820"/>
                  </a:lnTo>
                  <a:lnTo>
                    <a:pt x="366" y="1825"/>
                  </a:lnTo>
                  <a:lnTo>
                    <a:pt x="368" y="1829"/>
                  </a:lnTo>
                  <a:lnTo>
                    <a:pt x="371" y="1834"/>
                  </a:lnTo>
                  <a:lnTo>
                    <a:pt x="375" y="1838"/>
                  </a:lnTo>
                  <a:lnTo>
                    <a:pt x="380" y="1843"/>
                  </a:lnTo>
                  <a:lnTo>
                    <a:pt x="380" y="1846"/>
                  </a:lnTo>
                  <a:lnTo>
                    <a:pt x="380" y="1849"/>
                  </a:lnTo>
                  <a:lnTo>
                    <a:pt x="381" y="1850"/>
                  </a:lnTo>
                  <a:lnTo>
                    <a:pt x="384" y="1852"/>
                  </a:lnTo>
                  <a:lnTo>
                    <a:pt x="384" y="1858"/>
                  </a:lnTo>
                  <a:lnTo>
                    <a:pt x="384" y="1867"/>
                  </a:lnTo>
                  <a:lnTo>
                    <a:pt x="385" y="1872"/>
                  </a:lnTo>
                  <a:lnTo>
                    <a:pt x="385" y="1875"/>
                  </a:lnTo>
                  <a:lnTo>
                    <a:pt x="387" y="1877"/>
                  </a:lnTo>
                  <a:lnTo>
                    <a:pt x="389" y="1878"/>
                  </a:lnTo>
                  <a:lnTo>
                    <a:pt x="389" y="1892"/>
                  </a:lnTo>
                  <a:lnTo>
                    <a:pt x="390" y="1893"/>
                  </a:lnTo>
                  <a:lnTo>
                    <a:pt x="393" y="1895"/>
                  </a:lnTo>
                  <a:lnTo>
                    <a:pt x="395" y="1897"/>
                  </a:lnTo>
                  <a:lnTo>
                    <a:pt x="398" y="1901"/>
                  </a:lnTo>
                  <a:lnTo>
                    <a:pt x="408" y="1907"/>
                  </a:lnTo>
                  <a:lnTo>
                    <a:pt x="416" y="1914"/>
                  </a:lnTo>
                  <a:lnTo>
                    <a:pt x="420" y="1923"/>
                  </a:lnTo>
                  <a:lnTo>
                    <a:pt x="425" y="1927"/>
                  </a:lnTo>
                  <a:lnTo>
                    <a:pt x="435" y="1934"/>
                  </a:lnTo>
                  <a:lnTo>
                    <a:pt x="454" y="1946"/>
                  </a:lnTo>
                  <a:lnTo>
                    <a:pt x="473" y="1960"/>
                  </a:lnTo>
                  <a:lnTo>
                    <a:pt x="483" y="1969"/>
                  </a:lnTo>
                  <a:lnTo>
                    <a:pt x="489" y="1969"/>
                  </a:lnTo>
                  <a:lnTo>
                    <a:pt x="498" y="1968"/>
                  </a:lnTo>
                  <a:lnTo>
                    <a:pt x="503" y="1968"/>
                  </a:lnTo>
                  <a:lnTo>
                    <a:pt x="506" y="1967"/>
                  </a:lnTo>
                  <a:lnTo>
                    <a:pt x="508" y="1965"/>
                  </a:lnTo>
                  <a:lnTo>
                    <a:pt x="509" y="1964"/>
                  </a:lnTo>
                  <a:lnTo>
                    <a:pt x="525" y="1967"/>
                  </a:lnTo>
                  <a:lnTo>
                    <a:pt x="536" y="1969"/>
                  </a:lnTo>
                  <a:lnTo>
                    <a:pt x="537" y="1972"/>
                  </a:lnTo>
                  <a:lnTo>
                    <a:pt x="537" y="1977"/>
                  </a:lnTo>
                  <a:lnTo>
                    <a:pt x="537" y="1979"/>
                  </a:lnTo>
                  <a:lnTo>
                    <a:pt x="538" y="1980"/>
                  </a:lnTo>
                  <a:lnTo>
                    <a:pt x="540" y="1981"/>
                  </a:lnTo>
                  <a:lnTo>
                    <a:pt x="541" y="1982"/>
                  </a:lnTo>
                  <a:lnTo>
                    <a:pt x="542" y="1989"/>
                  </a:lnTo>
                  <a:lnTo>
                    <a:pt x="544" y="1996"/>
                  </a:lnTo>
                  <a:lnTo>
                    <a:pt x="547" y="2002"/>
                  </a:lnTo>
                  <a:lnTo>
                    <a:pt x="551" y="2009"/>
                  </a:lnTo>
                  <a:lnTo>
                    <a:pt x="553" y="2016"/>
                  </a:lnTo>
                  <a:lnTo>
                    <a:pt x="556" y="2022"/>
                  </a:lnTo>
                  <a:lnTo>
                    <a:pt x="558" y="2029"/>
                  </a:lnTo>
                  <a:lnTo>
                    <a:pt x="560" y="2036"/>
                  </a:lnTo>
                  <a:lnTo>
                    <a:pt x="569" y="2040"/>
                  </a:lnTo>
                  <a:lnTo>
                    <a:pt x="569" y="2045"/>
                  </a:lnTo>
                  <a:lnTo>
                    <a:pt x="569" y="2051"/>
                  </a:lnTo>
                  <a:lnTo>
                    <a:pt x="570" y="2054"/>
                  </a:lnTo>
                  <a:lnTo>
                    <a:pt x="570" y="2056"/>
                  </a:lnTo>
                  <a:lnTo>
                    <a:pt x="571" y="2058"/>
                  </a:lnTo>
                  <a:lnTo>
                    <a:pt x="573" y="2058"/>
                  </a:lnTo>
                  <a:lnTo>
                    <a:pt x="573" y="2087"/>
                  </a:lnTo>
                  <a:lnTo>
                    <a:pt x="576" y="2135"/>
                  </a:lnTo>
                  <a:lnTo>
                    <a:pt x="577" y="2158"/>
                  </a:lnTo>
                  <a:lnTo>
                    <a:pt x="580" y="2179"/>
                  </a:lnTo>
                  <a:lnTo>
                    <a:pt x="582" y="2186"/>
                  </a:lnTo>
                  <a:lnTo>
                    <a:pt x="583" y="2192"/>
                  </a:lnTo>
                  <a:lnTo>
                    <a:pt x="584" y="2196"/>
                  </a:lnTo>
                  <a:lnTo>
                    <a:pt x="586" y="2198"/>
                  </a:lnTo>
                  <a:lnTo>
                    <a:pt x="586" y="2206"/>
                  </a:lnTo>
                  <a:lnTo>
                    <a:pt x="590" y="2208"/>
                  </a:lnTo>
                  <a:lnTo>
                    <a:pt x="593" y="2212"/>
                  </a:lnTo>
                  <a:lnTo>
                    <a:pt x="598" y="2218"/>
                  </a:lnTo>
                  <a:lnTo>
                    <a:pt x="601" y="2224"/>
                  </a:lnTo>
                  <a:lnTo>
                    <a:pt x="608" y="2237"/>
                  </a:lnTo>
                  <a:lnTo>
                    <a:pt x="613" y="2242"/>
                  </a:lnTo>
                  <a:lnTo>
                    <a:pt x="613" y="2262"/>
                  </a:lnTo>
                  <a:lnTo>
                    <a:pt x="613" y="2297"/>
                  </a:lnTo>
                  <a:lnTo>
                    <a:pt x="614" y="2316"/>
                  </a:lnTo>
                  <a:lnTo>
                    <a:pt x="615" y="2330"/>
                  </a:lnTo>
                  <a:lnTo>
                    <a:pt x="617" y="2342"/>
                  </a:lnTo>
                  <a:lnTo>
                    <a:pt x="618" y="2346"/>
                  </a:lnTo>
                  <a:lnTo>
                    <a:pt x="618" y="2352"/>
                  </a:lnTo>
                  <a:lnTo>
                    <a:pt x="618" y="2361"/>
                  </a:lnTo>
                  <a:lnTo>
                    <a:pt x="619" y="2365"/>
                  </a:lnTo>
                  <a:lnTo>
                    <a:pt x="620" y="2369"/>
                  </a:lnTo>
                  <a:lnTo>
                    <a:pt x="621" y="2372"/>
                  </a:lnTo>
                  <a:lnTo>
                    <a:pt x="622" y="2373"/>
                  </a:lnTo>
                  <a:lnTo>
                    <a:pt x="623" y="2387"/>
                  </a:lnTo>
                  <a:lnTo>
                    <a:pt x="625" y="2412"/>
                  </a:lnTo>
                  <a:lnTo>
                    <a:pt x="628" y="2424"/>
                  </a:lnTo>
                  <a:lnTo>
                    <a:pt x="630" y="2434"/>
                  </a:lnTo>
                  <a:lnTo>
                    <a:pt x="631" y="2439"/>
                  </a:lnTo>
                  <a:lnTo>
                    <a:pt x="632" y="2442"/>
                  </a:lnTo>
                  <a:lnTo>
                    <a:pt x="634" y="2444"/>
                  </a:lnTo>
                  <a:lnTo>
                    <a:pt x="636" y="2444"/>
                  </a:lnTo>
                  <a:lnTo>
                    <a:pt x="638" y="2460"/>
                  </a:lnTo>
                  <a:lnTo>
                    <a:pt x="640" y="2475"/>
                  </a:lnTo>
                  <a:lnTo>
                    <a:pt x="646" y="2483"/>
                  </a:lnTo>
                  <a:lnTo>
                    <a:pt x="653" y="2494"/>
                  </a:lnTo>
                  <a:lnTo>
                    <a:pt x="653" y="2503"/>
                  </a:lnTo>
                  <a:lnTo>
                    <a:pt x="657" y="2503"/>
                  </a:lnTo>
                  <a:lnTo>
                    <a:pt x="659" y="2506"/>
                  </a:lnTo>
                  <a:lnTo>
                    <a:pt x="660" y="2509"/>
                  </a:lnTo>
                  <a:lnTo>
                    <a:pt x="661" y="2513"/>
                  </a:lnTo>
                  <a:lnTo>
                    <a:pt x="662" y="2522"/>
                  </a:lnTo>
                  <a:lnTo>
                    <a:pt x="662" y="2530"/>
                  </a:lnTo>
                  <a:lnTo>
                    <a:pt x="671" y="2539"/>
                  </a:lnTo>
                  <a:lnTo>
                    <a:pt x="671" y="2548"/>
                  </a:lnTo>
                  <a:lnTo>
                    <a:pt x="676" y="2550"/>
                  </a:lnTo>
                  <a:lnTo>
                    <a:pt x="679" y="2555"/>
                  </a:lnTo>
                  <a:lnTo>
                    <a:pt x="680" y="2555"/>
                  </a:lnTo>
                  <a:lnTo>
                    <a:pt x="704" y="2547"/>
                  </a:lnTo>
                  <a:lnTo>
                    <a:pt x="729" y="2539"/>
                  </a:lnTo>
                  <a:lnTo>
                    <a:pt x="743" y="2537"/>
                  </a:lnTo>
                  <a:lnTo>
                    <a:pt x="756" y="2535"/>
                  </a:lnTo>
                  <a:lnTo>
                    <a:pt x="772" y="2533"/>
                  </a:lnTo>
                  <a:lnTo>
                    <a:pt x="787" y="2532"/>
                  </a:lnTo>
                  <a:lnTo>
                    <a:pt x="795" y="2523"/>
                  </a:lnTo>
                  <a:lnTo>
                    <a:pt x="805" y="2515"/>
                  </a:lnTo>
                  <a:lnTo>
                    <a:pt x="807" y="2510"/>
                  </a:lnTo>
                  <a:lnTo>
                    <a:pt x="811" y="2503"/>
                  </a:lnTo>
                  <a:lnTo>
                    <a:pt x="813" y="2499"/>
                  </a:lnTo>
                  <a:lnTo>
                    <a:pt x="815" y="2497"/>
                  </a:lnTo>
                  <a:lnTo>
                    <a:pt x="817" y="2494"/>
                  </a:lnTo>
                  <a:lnTo>
                    <a:pt x="821" y="2493"/>
                  </a:lnTo>
                  <a:lnTo>
                    <a:pt x="821" y="2490"/>
                  </a:lnTo>
                  <a:lnTo>
                    <a:pt x="823" y="2487"/>
                  </a:lnTo>
                  <a:lnTo>
                    <a:pt x="826" y="2486"/>
                  </a:lnTo>
                  <a:lnTo>
                    <a:pt x="830" y="2483"/>
                  </a:lnTo>
                  <a:lnTo>
                    <a:pt x="840" y="2482"/>
                  </a:lnTo>
                  <a:lnTo>
                    <a:pt x="851" y="2483"/>
                  </a:lnTo>
                  <a:lnTo>
                    <a:pt x="862" y="2483"/>
                  </a:lnTo>
                  <a:lnTo>
                    <a:pt x="872" y="2484"/>
                  </a:lnTo>
                  <a:lnTo>
                    <a:pt x="876" y="2484"/>
                  </a:lnTo>
                  <a:lnTo>
                    <a:pt x="879" y="2483"/>
                  </a:lnTo>
                  <a:lnTo>
                    <a:pt x="880" y="2482"/>
                  </a:lnTo>
                  <a:lnTo>
                    <a:pt x="881" y="2481"/>
                  </a:lnTo>
                  <a:lnTo>
                    <a:pt x="886" y="2480"/>
                  </a:lnTo>
                  <a:lnTo>
                    <a:pt x="890" y="2478"/>
                  </a:lnTo>
                  <a:lnTo>
                    <a:pt x="892" y="2474"/>
                  </a:lnTo>
                  <a:lnTo>
                    <a:pt x="893" y="2472"/>
                  </a:lnTo>
                  <a:lnTo>
                    <a:pt x="908" y="2477"/>
                  </a:lnTo>
                  <a:lnTo>
                    <a:pt x="935" y="2489"/>
                  </a:lnTo>
                  <a:lnTo>
                    <a:pt x="969" y="2504"/>
                  </a:lnTo>
                  <a:lnTo>
                    <a:pt x="1008" y="2520"/>
                  </a:lnTo>
                  <a:lnTo>
                    <a:pt x="1027" y="2528"/>
                  </a:lnTo>
                  <a:lnTo>
                    <a:pt x="1045" y="2533"/>
                  </a:lnTo>
                  <a:lnTo>
                    <a:pt x="1062" y="2537"/>
                  </a:lnTo>
                  <a:lnTo>
                    <a:pt x="1078" y="2539"/>
                  </a:lnTo>
                  <a:lnTo>
                    <a:pt x="1084" y="2538"/>
                  </a:lnTo>
                  <a:lnTo>
                    <a:pt x="1090" y="2538"/>
                  </a:lnTo>
                  <a:lnTo>
                    <a:pt x="1095" y="2536"/>
                  </a:lnTo>
                  <a:lnTo>
                    <a:pt x="1100" y="2533"/>
                  </a:lnTo>
                  <a:lnTo>
                    <a:pt x="1103" y="2530"/>
                  </a:lnTo>
                  <a:lnTo>
                    <a:pt x="1107" y="2526"/>
                  </a:lnTo>
                  <a:lnTo>
                    <a:pt x="1108" y="2521"/>
                  </a:lnTo>
                  <a:lnTo>
                    <a:pt x="1109" y="2515"/>
                  </a:lnTo>
                  <a:lnTo>
                    <a:pt x="1114" y="2506"/>
                  </a:lnTo>
                  <a:lnTo>
                    <a:pt x="1121" y="2497"/>
                  </a:lnTo>
                  <a:lnTo>
                    <a:pt x="1121" y="2490"/>
                  </a:lnTo>
                  <a:lnTo>
                    <a:pt x="1127" y="2490"/>
                  </a:lnTo>
                  <a:lnTo>
                    <a:pt x="1128" y="2488"/>
                  </a:lnTo>
                  <a:lnTo>
                    <a:pt x="1130" y="2487"/>
                  </a:lnTo>
                  <a:lnTo>
                    <a:pt x="1134" y="2484"/>
                  </a:lnTo>
                  <a:lnTo>
                    <a:pt x="1139" y="2484"/>
                  </a:lnTo>
                  <a:lnTo>
                    <a:pt x="1145" y="2477"/>
                  </a:lnTo>
                  <a:lnTo>
                    <a:pt x="1156" y="2467"/>
                  </a:lnTo>
                  <a:lnTo>
                    <a:pt x="1165" y="2456"/>
                  </a:lnTo>
                  <a:lnTo>
                    <a:pt x="1169" y="2451"/>
                  </a:lnTo>
                  <a:lnTo>
                    <a:pt x="1174" y="2450"/>
                  </a:lnTo>
                  <a:lnTo>
                    <a:pt x="1178" y="2446"/>
                  </a:lnTo>
                  <a:lnTo>
                    <a:pt x="1184" y="2442"/>
                  </a:lnTo>
                  <a:lnTo>
                    <a:pt x="1188" y="2438"/>
                  </a:lnTo>
                  <a:lnTo>
                    <a:pt x="1198" y="2427"/>
                  </a:lnTo>
                  <a:lnTo>
                    <a:pt x="1206" y="2424"/>
                  </a:lnTo>
                  <a:lnTo>
                    <a:pt x="1206" y="2415"/>
                  </a:lnTo>
                  <a:lnTo>
                    <a:pt x="1207" y="2405"/>
                  </a:lnTo>
                  <a:lnTo>
                    <a:pt x="1208" y="2394"/>
                  </a:lnTo>
                  <a:lnTo>
                    <a:pt x="1208" y="2384"/>
                  </a:lnTo>
                  <a:lnTo>
                    <a:pt x="1242" y="2375"/>
                  </a:lnTo>
                  <a:lnTo>
                    <a:pt x="1256" y="2374"/>
                  </a:lnTo>
                  <a:lnTo>
                    <a:pt x="1274" y="2371"/>
                  </a:lnTo>
                  <a:lnTo>
                    <a:pt x="1274" y="2361"/>
                  </a:lnTo>
                  <a:lnTo>
                    <a:pt x="1289" y="2353"/>
                  </a:lnTo>
                  <a:lnTo>
                    <a:pt x="1296" y="2345"/>
                  </a:lnTo>
                  <a:lnTo>
                    <a:pt x="1297" y="2343"/>
                  </a:lnTo>
                  <a:lnTo>
                    <a:pt x="1297" y="2339"/>
                  </a:lnTo>
                  <a:lnTo>
                    <a:pt x="1300" y="2337"/>
                  </a:lnTo>
                  <a:lnTo>
                    <a:pt x="1302" y="2335"/>
                  </a:lnTo>
                  <a:lnTo>
                    <a:pt x="1304" y="2333"/>
                  </a:lnTo>
                  <a:lnTo>
                    <a:pt x="1306" y="2331"/>
                  </a:lnTo>
                  <a:lnTo>
                    <a:pt x="1310" y="2330"/>
                  </a:lnTo>
                  <a:lnTo>
                    <a:pt x="1312" y="2330"/>
                  </a:lnTo>
                  <a:lnTo>
                    <a:pt x="1312" y="2326"/>
                  </a:lnTo>
                  <a:lnTo>
                    <a:pt x="1313" y="2324"/>
                  </a:lnTo>
                  <a:lnTo>
                    <a:pt x="1314" y="2323"/>
                  </a:lnTo>
                  <a:lnTo>
                    <a:pt x="1316" y="2323"/>
                  </a:lnTo>
                  <a:lnTo>
                    <a:pt x="1318" y="2323"/>
                  </a:lnTo>
                  <a:lnTo>
                    <a:pt x="1319" y="2321"/>
                  </a:lnTo>
                  <a:lnTo>
                    <a:pt x="1320" y="2319"/>
                  </a:lnTo>
                  <a:lnTo>
                    <a:pt x="1320" y="2315"/>
                  </a:lnTo>
                  <a:lnTo>
                    <a:pt x="1335" y="2315"/>
                  </a:lnTo>
                  <a:lnTo>
                    <a:pt x="1343" y="2307"/>
                  </a:lnTo>
                  <a:lnTo>
                    <a:pt x="1343" y="2214"/>
                  </a:lnTo>
                  <a:lnTo>
                    <a:pt x="1347" y="2213"/>
                  </a:lnTo>
                  <a:lnTo>
                    <a:pt x="1350" y="2210"/>
                  </a:lnTo>
                  <a:lnTo>
                    <a:pt x="1353" y="2206"/>
                  </a:lnTo>
                  <a:lnTo>
                    <a:pt x="1358" y="2201"/>
                  </a:lnTo>
                  <a:lnTo>
                    <a:pt x="1361" y="2196"/>
                  </a:lnTo>
                  <a:lnTo>
                    <a:pt x="1363" y="2191"/>
                  </a:lnTo>
                  <a:lnTo>
                    <a:pt x="1366" y="2186"/>
                  </a:lnTo>
                  <a:lnTo>
                    <a:pt x="1367" y="2183"/>
                  </a:lnTo>
                  <a:lnTo>
                    <a:pt x="1372" y="2183"/>
                  </a:lnTo>
                  <a:lnTo>
                    <a:pt x="1377" y="2182"/>
                  </a:lnTo>
                  <a:lnTo>
                    <a:pt x="1379" y="2181"/>
                  </a:lnTo>
                  <a:lnTo>
                    <a:pt x="1380" y="2180"/>
                  </a:lnTo>
                  <a:lnTo>
                    <a:pt x="1381" y="2177"/>
                  </a:lnTo>
                  <a:lnTo>
                    <a:pt x="1381" y="2175"/>
                  </a:lnTo>
                  <a:lnTo>
                    <a:pt x="1397" y="2175"/>
                  </a:lnTo>
                  <a:lnTo>
                    <a:pt x="1398" y="2171"/>
                  </a:lnTo>
                  <a:lnTo>
                    <a:pt x="1398" y="2169"/>
                  </a:lnTo>
                  <a:lnTo>
                    <a:pt x="1399" y="2167"/>
                  </a:lnTo>
                  <a:lnTo>
                    <a:pt x="1401" y="2167"/>
                  </a:lnTo>
                  <a:lnTo>
                    <a:pt x="1402" y="2167"/>
                  </a:lnTo>
                  <a:lnTo>
                    <a:pt x="1404" y="2166"/>
                  </a:lnTo>
                  <a:lnTo>
                    <a:pt x="1405" y="2164"/>
                  </a:lnTo>
                  <a:lnTo>
                    <a:pt x="1405" y="2160"/>
                  </a:lnTo>
                  <a:lnTo>
                    <a:pt x="1410" y="2160"/>
                  </a:lnTo>
                  <a:lnTo>
                    <a:pt x="1416" y="2158"/>
                  </a:lnTo>
                  <a:lnTo>
                    <a:pt x="1418" y="2158"/>
                  </a:lnTo>
                  <a:lnTo>
                    <a:pt x="1419" y="2156"/>
                  </a:lnTo>
                  <a:lnTo>
                    <a:pt x="1420" y="2155"/>
                  </a:lnTo>
                  <a:lnTo>
                    <a:pt x="1420" y="2152"/>
                  </a:lnTo>
                  <a:lnTo>
                    <a:pt x="1447" y="2152"/>
                  </a:lnTo>
                  <a:lnTo>
                    <a:pt x="1492" y="2151"/>
                  </a:lnTo>
                  <a:lnTo>
                    <a:pt x="1514" y="2151"/>
                  </a:lnTo>
                  <a:lnTo>
                    <a:pt x="1533" y="2148"/>
                  </a:lnTo>
                  <a:lnTo>
                    <a:pt x="1541" y="2148"/>
                  </a:lnTo>
                  <a:lnTo>
                    <a:pt x="1546" y="2147"/>
                  </a:lnTo>
                  <a:lnTo>
                    <a:pt x="1551" y="2146"/>
                  </a:lnTo>
                  <a:lnTo>
                    <a:pt x="1552" y="2144"/>
                  </a:lnTo>
                  <a:lnTo>
                    <a:pt x="1583" y="2144"/>
                  </a:lnTo>
                  <a:lnTo>
                    <a:pt x="1583" y="2124"/>
                  </a:lnTo>
                  <a:lnTo>
                    <a:pt x="1583" y="2098"/>
                  </a:lnTo>
                  <a:lnTo>
                    <a:pt x="1583" y="2073"/>
                  </a:lnTo>
                  <a:lnTo>
                    <a:pt x="1583" y="2051"/>
                  </a:lnTo>
                  <a:lnTo>
                    <a:pt x="1590" y="2044"/>
                  </a:lnTo>
                  <a:lnTo>
                    <a:pt x="1613" y="2044"/>
                  </a:lnTo>
                  <a:lnTo>
                    <a:pt x="1620" y="2050"/>
                  </a:lnTo>
                  <a:lnTo>
                    <a:pt x="1629" y="2055"/>
                  </a:lnTo>
                  <a:lnTo>
                    <a:pt x="1638" y="2058"/>
                  </a:lnTo>
                  <a:lnTo>
                    <a:pt x="1645" y="2059"/>
                  </a:lnTo>
                  <a:lnTo>
                    <a:pt x="1660" y="2044"/>
                  </a:lnTo>
                  <a:lnTo>
                    <a:pt x="1667" y="2051"/>
                  </a:lnTo>
                  <a:lnTo>
                    <a:pt x="1666" y="2027"/>
                  </a:lnTo>
                  <a:lnTo>
                    <a:pt x="1665" y="2002"/>
                  </a:lnTo>
                  <a:lnTo>
                    <a:pt x="1663" y="1977"/>
                  </a:lnTo>
                  <a:lnTo>
                    <a:pt x="1660" y="1950"/>
                  </a:lnTo>
                  <a:lnTo>
                    <a:pt x="1657" y="1924"/>
                  </a:lnTo>
                  <a:lnTo>
                    <a:pt x="1656" y="1897"/>
                  </a:lnTo>
                  <a:lnTo>
                    <a:pt x="1654" y="1869"/>
                  </a:lnTo>
                  <a:lnTo>
                    <a:pt x="1654" y="1843"/>
                  </a:lnTo>
                  <a:lnTo>
                    <a:pt x="1649" y="1838"/>
                  </a:lnTo>
                  <a:lnTo>
                    <a:pt x="1646" y="1826"/>
                  </a:lnTo>
                  <a:lnTo>
                    <a:pt x="1644" y="1820"/>
                  </a:lnTo>
                  <a:lnTo>
                    <a:pt x="1640" y="1815"/>
                  </a:lnTo>
                  <a:lnTo>
                    <a:pt x="1638" y="1811"/>
                  </a:lnTo>
                  <a:lnTo>
                    <a:pt x="1635" y="1810"/>
                  </a:lnTo>
                  <a:lnTo>
                    <a:pt x="1632" y="1805"/>
                  </a:lnTo>
                  <a:lnTo>
                    <a:pt x="1627" y="1798"/>
                  </a:lnTo>
                  <a:lnTo>
                    <a:pt x="1620" y="1791"/>
                  </a:lnTo>
                  <a:lnTo>
                    <a:pt x="1616" y="1787"/>
                  </a:lnTo>
                  <a:lnTo>
                    <a:pt x="1611" y="1787"/>
                  </a:lnTo>
                  <a:lnTo>
                    <a:pt x="1607" y="1786"/>
                  </a:lnTo>
                  <a:lnTo>
                    <a:pt x="1604" y="1786"/>
                  </a:lnTo>
                  <a:lnTo>
                    <a:pt x="1603" y="1785"/>
                  </a:lnTo>
                  <a:lnTo>
                    <a:pt x="1602" y="1784"/>
                  </a:lnTo>
                  <a:lnTo>
                    <a:pt x="1601" y="1781"/>
                  </a:lnTo>
                  <a:lnTo>
                    <a:pt x="1596" y="1781"/>
                  </a:lnTo>
                  <a:lnTo>
                    <a:pt x="1585" y="1779"/>
                  </a:lnTo>
                  <a:lnTo>
                    <a:pt x="1581" y="1778"/>
                  </a:lnTo>
                  <a:lnTo>
                    <a:pt x="1578" y="1776"/>
                  </a:lnTo>
                  <a:lnTo>
                    <a:pt x="1574" y="1775"/>
                  </a:lnTo>
                  <a:lnTo>
                    <a:pt x="1573" y="1772"/>
                  </a:lnTo>
                  <a:lnTo>
                    <a:pt x="1570" y="1772"/>
                  </a:lnTo>
                  <a:lnTo>
                    <a:pt x="1567" y="1771"/>
                  </a:lnTo>
                  <a:lnTo>
                    <a:pt x="1564" y="1770"/>
                  </a:lnTo>
                  <a:lnTo>
                    <a:pt x="1564" y="1768"/>
                  </a:lnTo>
                  <a:lnTo>
                    <a:pt x="1554" y="1768"/>
                  </a:lnTo>
                  <a:lnTo>
                    <a:pt x="1553" y="1763"/>
                  </a:lnTo>
                  <a:lnTo>
                    <a:pt x="1550" y="1759"/>
                  </a:lnTo>
                  <a:lnTo>
                    <a:pt x="1544" y="1756"/>
                  </a:lnTo>
                  <a:lnTo>
                    <a:pt x="1541" y="1753"/>
                  </a:lnTo>
                  <a:lnTo>
                    <a:pt x="1541" y="1744"/>
                  </a:lnTo>
                  <a:lnTo>
                    <a:pt x="1542" y="1733"/>
                  </a:lnTo>
                  <a:lnTo>
                    <a:pt x="1543" y="1729"/>
                  </a:lnTo>
                  <a:lnTo>
                    <a:pt x="1544" y="1724"/>
                  </a:lnTo>
                  <a:lnTo>
                    <a:pt x="1546" y="1722"/>
                  </a:lnTo>
                  <a:lnTo>
                    <a:pt x="1550" y="1721"/>
                  </a:lnTo>
                  <a:lnTo>
                    <a:pt x="1552" y="1711"/>
                  </a:lnTo>
                  <a:lnTo>
                    <a:pt x="1554" y="1702"/>
                  </a:lnTo>
                  <a:lnTo>
                    <a:pt x="1562" y="1700"/>
                  </a:lnTo>
                  <a:lnTo>
                    <a:pt x="1569" y="1698"/>
                  </a:lnTo>
                  <a:lnTo>
                    <a:pt x="1569" y="1688"/>
                  </a:lnTo>
                  <a:lnTo>
                    <a:pt x="1573" y="1683"/>
                  </a:lnTo>
                  <a:lnTo>
                    <a:pt x="1577" y="1683"/>
                  </a:lnTo>
                  <a:lnTo>
                    <a:pt x="1580" y="1683"/>
                  </a:lnTo>
                  <a:lnTo>
                    <a:pt x="1582" y="1681"/>
                  </a:lnTo>
                  <a:lnTo>
                    <a:pt x="1583" y="1679"/>
                  </a:lnTo>
                  <a:lnTo>
                    <a:pt x="1597" y="1676"/>
                  </a:lnTo>
                  <a:lnTo>
                    <a:pt x="1607" y="1674"/>
                  </a:lnTo>
                  <a:lnTo>
                    <a:pt x="1609" y="1669"/>
                  </a:lnTo>
                  <a:lnTo>
                    <a:pt x="1611" y="1664"/>
                  </a:lnTo>
                  <a:lnTo>
                    <a:pt x="1618" y="1663"/>
                  </a:lnTo>
                  <a:lnTo>
                    <a:pt x="1629" y="1659"/>
                  </a:lnTo>
                  <a:lnTo>
                    <a:pt x="1635" y="1656"/>
                  </a:lnTo>
                  <a:lnTo>
                    <a:pt x="1639" y="1654"/>
                  </a:lnTo>
                  <a:lnTo>
                    <a:pt x="1642" y="1652"/>
                  </a:lnTo>
                  <a:lnTo>
                    <a:pt x="1644" y="1651"/>
                  </a:lnTo>
                  <a:lnTo>
                    <a:pt x="1658" y="1651"/>
                  </a:lnTo>
                  <a:lnTo>
                    <a:pt x="1663" y="1645"/>
                  </a:lnTo>
                  <a:lnTo>
                    <a:pt x="1667" y="1641"/>
                  </a:lnTo>
                  <a:lnTo>
                    <a:pt x="1674" y="1640"/>
                  </a:lnTo>
                  <a:lnTo>
                    <a:pt x="1683" y="1637"/>
                  </a:lnTo>
                  <a:lnTo>
                    <a:pt x="1692" y="1634"/>
                  </a:lnTo>
                  <a:lnTo>
                    <a:pt x="1702" y="1631"/>
                  </a:lnTo>
                  <a:lnTo>
                    <a:pt x="1712" y="1626"/>
                  </a:lnTo>
                  <a:lnTo>
                    <a:pt x="1721" y="1621"/>
                  </a:lnTo>
                  <a:lnTo>
                    <a:pt x="1728" y="1616"/>
                  </a:lnTo>
                  <a:lnTo>
                    <a:pt x="1733" y="1613"/>
                  </a:lnTo>
                  <a:lnTo>
                    <a:pt x="1743" y="1613"/>
                  </a:lnTo>
                  <a:lnTo>
                    <a:pt x="1747" y="1603"/>
                  </a:lnTo>
                  <a:lnTo>
                    <a:pt x="1752" y="1600"/>
                  </a:lnTo>
                  <a:lnTo>
                    <a:pt x="1756" y="1598"/>
                  </a:lnTo>
                  <a:lnTo>
                    <a:pt x="1762" y="1594"/>
                  </a:lnTo>
                  <a:lnTo>
                    <a:pt x="1762" y="1570"/>
                  </a:lnTo>
                  <a:lnTo>
                    <a:pt x="1763" y="1567"/>
                  </a:lnTo>
                  <a:lnTo>
                    <a:pt x="1765" y="1557"/>
                  </a:lnTo>
                  <a:lnTo>
                    <a:pt x="1767" y="1544"/>
                  </a:lnTo>
                  <a:lnTo>
                    <a:pt x="1770" y="1528"/>
                  </a:lnTo>
                  <a:lnTo>
                    <a:pt x="1774" y="1499"/>
                  </a:lnTo>
                  <a:lnTo>
                    <a:pt x="1775" y="1486"/>
                  </a:lnTo>
                  <a:lnTo>
                    <a:pt x="1780" y="1481"/>
                  </a:lnTo>
                  <a:lnTo>
                    <a:pt x="1783" y="1480"/>
                  </a:lnTo>
                  <a:lnTo>
                    <a:pt x="1786" y="1475"/>
                  </a:lnTo>
                  <a:lnTo>
                    <a:pt x="1789" y="1471"/>
                  </a:lnTo>
                  <a:lnTo>
                    <a:pt x="1790" y="1467"/>
                  </a:lnTo>
                  <a:lnTo>
                    <a:pt x="1794" y="1464"/>
                  </a:lnTo>
                  <a:lnTo>
                    <a:pt x="1799" y="1462"/>
                  </a:lnTo>
                  <a:lnTo>
                    <a:pt x="1799" y="1453"/>
                  </a:lnTo>
                  <a:lnTo>
                    <a:pt x="1802" y="1452"/>
                  </a:lnTo>
                  <a:lnTo>
                    <a:pt x="1805" y="1450"/>
                  </a:lnTo>
                  <a:lnTo>
                    <a:pt x="1810" y="1446"/>
                  </a:lnTo>
                  <a:lnTo>
                    <a:pt x="1813" y="1443"/>
                  </a:lnTo>
                  <a:lnTo>
                    <a:pt x="1813" y="1426"/>
                  </a:lnTo>
                  <a:lnTo>
                    <a:pt x="1811" y="1407"/>
                  </a:lnTo>
                  <a:lnTo>
                    <a:pt x="1810" y="1398"/>
                  </a:lnTo>
                  <a:lnTo>
                    <a:pt x="1807" y="1392"/>
                  </a:lnTo>
                  <a:lnTo>
                    <a:pt x="1805" y="1388"/>
                  </a:lnTo>
                  <a:lnTo>
                    <a:pt x="1803" y="1386"/>
                  </a:lnTo>
                  <a:lnTo>
                    <a:pt x="1801" y="1384"/>
                  </a:lnTo>
                  <a:lnTo>
                    <a:pt x="1799" y="1383"/>
                  </a:lnTo>
                  <a:lnTo>
                    <a:pt x="1798" y="1376"/>
                  </a:lnTo>
                  <a:lnTo>
                    <a:pt x="1796" y="1372"/>
                  </a:lnTo>
                  <a:lnTo>
                    <a:pt x="1793" y="1367"/>
                  </a:lnTo>
                  <a:lnTo>
                    <a:pt x="1790" y="1364"/>
                  </a:lnTo>
                  <a:lnTo>
                    <a:pt x="1790" y="1355"/>
                  </a:lnTo>
                  <a:lnTo>
                    <a:pt x="1790" y="1343"/>
                  </a:lnTo>
                  <a:lnTo>
                    <a:pt x="1790" y="1330"/>
                  </a:lnTo>
                  <a:lnTo>
                    <a:pt x="1790" y="1321"/>
                  </a:lnTo>
                  <a:lnTo>
                    <a:pt x="1799" y="1317"/>
                  </a:lnTo>
                  <a:lnTo>
                    <a:pt x="1800" y="1314"/>
                  </a:lnTo>
                  <a:lnTo>
                    <a:pt x="1801" y="1309"/>
                  </a:lnTo>
                  <a:lnTo>
                    <a:pt x="1804" y="1306"/>
                  </a:lnTo>
                  <a:lnTo>
                    <a:pt x="1808" y="1302"/>
                  </a:lnTo>
                  <a:lnTo>
                    <a:pt x="1818" y="1295"/>
                  </a:lnTo>
                  <a:lnTo>
                    <a:pt x="1830" y="1287"/>
                  </a:lnTo>
                  <a:lnTo>
                    <a:pt x="1855" y="1275"/>
                  </a:lnTo>
                  <a:lnTo>
                    <a:pt x="1875" y="1265"/>
                  </a:lnTo>
                  <a:lnTo>
                    <a:pt x="1875" y="1279"/>
                  </a:lnTo>
                  <a:lnTo>
                    <a:pt x="1880" y="1279"/>
                  </a:lnTo>
                  <a:lnTo>
                    <a:pt x="1890" y="1279"/>
                  </a:lnTo>
                  <a:lnTo>
                    <a:pt x="1889" y="1267"/>
                  </a:lnTo>
                  <a:lnTo>
                    <a:pt x="1889" y="1258"/>
                  </a:lnTo>
                  <a:lnTo>
                    <a:pt x="1881" y="1244"/>
                  </a:lnTo>
                  <a:lnTo>
                    <a:pt x="1872" y="1230"/>
                  </a:lnTo>
                  <a:lnTo>
                    <a:pt x="1872" y="1219"/>
                  </a:lnTo>
                  <a:lnTo>
                    <a:pt x="1861" y="1209"/>
                  </a:lnTo>
                  <a:lnTo>
                    <a:pt x="1843" y="1209"/>
                  </a:lnTo>
                  <a:lnTo>
                    <a:pt x="1823" y="1209"/>
                  </a:lnTo>
                  <a:lnTo>
                    <a:pt x="1803" y="1209"/>
                  </a:lnTo>
                  <a:lnTo>
                    <a:pt x="1784" y="1209"/>
                  </a:lnTo>
                  <a:lnTo>
                    <a:pt x="1784" y="1210"/>
                  </a:lnTo>
                  <a:lnTo>
                    <a:pt x="1782" y="1211"/>
                  </a:lnTo>
                  <a:lnTo>
                    <a:pt x="1777" y="1212"/>
                  </a:lnTo>
                  <a:lnTo>
                    <a:pt x="1773" y="1213"/>
                  </a:lnTo>
                  <a:lnTo>
                    <a:pt x="1761" y="1213"/>
                  </a:lnTo>
                  <a:lnTo>
                    <a:pt x="1746" y="1212"/>
                  </a:lnTo>
                  <a:lnTo>
                    <a:pt x="1719" y="1210"/>
                  </a:lnTo>
                  <a:lnTo>
                    <a:pt x="1708" y="1209"/>
                  </a:lnTo>
                  <a:lnTo>
                    <a:pt x="1705" y="1206"/>
                  </a:lnTo>
                  <a:lnTo>
                    <a:pt x="1697" y="1205"/>
                  </a:lnTo>
                  <a:lnTo>
                    <a:pt x="1686" y="1204"/>
                  </a:lnTo>
                  <a:lnTo>
                    <a:pt x="1674" y="1203"/>
                  </a:lnTo>
                  <a:lnTo>
                    <a:pt x="1648" y="1203"/>
                  </a:lnTo>
                  <a:lnTo>
                    <a:pt x="1631" y="1203"/>
                  </a:lnTo>
                  <a:lnTo>
                    <a:pt x="1620" y="1202"/>
                  </a:lnTo>
                  <a:lnTo>
                    <a:pt x="1610" y="1200"/>
                  </a:lnTo>
                  <a:lnTo>
                    <a:pt x="1600" y="1198"/>
                  </a:lnTo>
                  <a:lnTo>
                    <a:pt x="1590" y="1194"/>
                  </a:lnTo>
                  <a:lnTo>
                    <a:pt x="1580" y="1192"/>
                  </a:lnTo>
                  <a:lnTo>
                    <a:pt x="1569" y="1189"/>
                  </a:lnTo>
                  <a:lnTo>
                    <a:pt x="1559" y="1186"/>
                  </a:lnTo>
                  <a:lnTo>
                    <a:pt x="1549" y="1186"/>
                  </a:lnTo>
                  <a:lnTo>
                    <a:pt x="1545" y="1177"/>
                  </a:lnTo>
                  <a:lnTo>
                    <a:pt x="1543" y="1170"/>
                  </a:lnTo>
                  <a:lnTo>
                    <a:pt x="1540" y="1169"/>
                  </a:lnTo>
                  <a:lnTo>
                    <a:pt x="1536" y="1164"/>
                  </a:lnTo>
                  <a:lnTo>
                    <a:pt x="1535" y="1162"/>
                  </a:lnTo>
                  <a:lnTo>
                    <a:pt x="1533" y="1161"/>
                  </a:lnTo>
                  <a:lnTo>
                    <a:pt x="1530" y="1160"/>
                  </a:lnTo>
                  <a:lnTo>
                    <a:pt x="1526" y="1159"/>
                  </a:lnTo>
                  <a:lnTo>
                    <a:pt x="1524" y="1142"/>
                  </a:lnTo>
                  <a:lnTo>
                    <a:pt x="1521" y="1126"/>
                  </a:lnTo>
                  <a:lnTo>
                    <a:pt x="1515" y="1121"/>
                  </a:lnTo>
                  <a:lnTo>
                    <a:pt x="1510" y="1115"/>
                  </a:lnTo>
                  <a:lnTo>
                    <a:pt x="1510" y="1098"/>
                  </a:lnTo>
                  <a:lnTo>
                    <a:pt x="1507" y="1098"/>
                  </a:lnTo>
                  <a:lnTo>
                    <a:pt x="1505" y="1096"/>
                  </a:lnTo>
                  <a:lnTo>
                    <a:pt x="1503" y="1094"/>
                  </a:lnTo>
                  <a:lnTo>
                    <a:pt x="1500" y="1090"/>
                  </a:lnTo>
                  <a:lnTo>
                    <a:pt x="1493" y="1083"/>
                  </a:lnTo>
                  <a:lnTo>
                    <a:pt x="1487" y="1073"/>
                  </a:lnTo>
                  <a:lnTo>
                    <a:pt x="1481" y="1061"/>
                  </a:lnTo>
                  <a:lnTo>
                    <a:pt x="1476" y="1052"/>
                  </a:lnTo>
                  <a:lnTo>
                    <a:pt x="1473" y="1044"/>
                  </a:lnTo>
                  <a:lnTo>
                    <a:pt x="1472" y="1038"/>
                  </a:lnTo>
                  <a:lnTo>
                    <a:pt x="1466" y="1036"/>
                  </a:lnTo>
                  <a:lnTo>
                    <a:pt x="1460" y="1032"/>
                  </a:lnTo>
                  <a:lnTo>
                    <a:pt x="1460" y="1010"/>
                  </a:lnTo>
                  <a:lnTo>
                    <a:pt x="1458" y="1010"/>
                  </a:lnTo>
                  <a:lnTo>
                    <a:pt x="1457" y="1007"/>
                  </a:lnTo>
                  <a:lnTo>
                    <a:pt x="1456" y="1003"/>
                  </a:lnTo>
                  <a:lnTo>
                    <a:pt x="1454" y="999"/>
                  </a:lnTo>
                  <a:lnTo>
                    <a:pt x="1452" y="987"/>
                  </a:lnTo>
                  <a:lnTo>
                    <a:pt x="1449" y="972"/>
                  </a:lnTo>
                  <a:lnTo>
                    <a:pt x="1446" y="958"/>
                  </a:lnTo>
                  <a:lnTo>
                    <a:pt x="1443" y="945"/>
                  </a:lnTo>
                  <a:lnTo>
                    <a:pt x="1440" y="941"/>
                  </a:lnTo>
                  <a:lnTo>
                    <a:pt x="1438" y="938"/>
                  </a:lnTo>
                  <a:lnTo>
                    <a:pt x="1436" y="934"/>
                  </a:lnTo>
                  <a:lnTo>
                    <a:pt x="1434" y="934"/>
                  </a:lnTo>
                  <a:lnTo>
                    <a:pt x="1434" y="923"/>
                  </a:lnTo>
                  <a:lnTo>
                    <a:pt x="1431" y="922"/>
                  </a:lnTo>
                  <a:lnTo>
                    <a:pt x="1429" y="921"/>
                  </a:lnTo>
                  <a:lnTo>
                    <a:pt x="1427" y="919"/>
                  </a:lnTo>
                  <a:lnTo>
                    <a:pt x="1426" y="916"/>
                  </a:lnTo>
                  <a:lnTo>
                    <a:pt x="1424" y="911"/>
                  </a:lnTo>
                  <a:lnTo>
                    <a:pt x="1423" y="906"/>
                  </a:lnTo>
                  <a:lnTo>
                    <a:pt x="1418" y="905"/>
                  </a:lnTo>
                  <a:lnTo>
                    <a:pt x="1414" y="903"/>
                  </a:lnTo>
                  <a:lnTo>
                    <a:pt x="1410" y="900"/>
                  </a:lnTo>
                  <a:lnTo>
                    <a:pt x="1406" y="895"/>
                  </a:lnTo>
                  <a:lnTo>
                    <a:pt x="1406" y="884"/>
                  </a:lnTo>
                  <a:lnTo>
                    <a:pt x="1400" y="882"/>
                  </a:lnTo>
                  <a:lnTo>
                    <a:pt x="1395" y="878"/>
                  </a:lnTo>
                  <a:lnTo>
                    <a:pt x="1395" y="857"/>
                  </a:lnTo>
                  <a:lnTo>
                    <a:pt x="1400" y="852"/>
                  </a:lnTo>
                  <a:lnTo>
                    <a:pt x="1406" y="848"/>
                  </a:lnTo>
                  <a:lnTo>
                    <a:pt x="1411" y="846"/>
                  </a:lnTo>
                  <a:lnTo>
                    <a:pt x="1411" y="835"/>
                  </a:lnTo>
                  <a:lnTo>
                    <a:pt x="1423" y="835"/>
                  </a:lnTo>
                  <a:lnTo>
                    <a:pt x="1428" y="821"/>
                  </a:lnTo>
                  <a:lnTo>
                    <a:pt x="1434" y="807"/>
                  </a:lnTo>
                  <a:lnTo>
                    <a:pt x="1437" y="807"/>
                  </a:lnTo>
                  <a:lnTo>
                    <a:pt x="1440" y="804"/>
                  </a:lnTo>
                  <a:lnTo>
                    <a:pt x="1444" y="800"/>
                  </a:lnTo>
                  <a:lnTo>
                    <a:pt x="1444" y="797"/>
                  </a:lnTo>
                  <a:lnTo>
                    <a:pt x="1449" y="794"/>
                  </a:lnTo>
                  <a:lnTo>
                    <a:pt x="1455" y="791"/>
                  </a:lnTo>
                  <a:lnTo>
                    <a:pt x="1455" y="780"/>
                  </a:lnTo>
                  <a:lnTo>
                    <a:pt x="1457" y="779"/>
                  </a:lnTo>
                  <a:lnTo>
                    <a:pt x="1458" y="777"/>
                  </a:lnTo>
                  <a:lnTo>
                    <a:pt x="1459" y="775"/>
                  </a:lnTo>
                  <a:lnTo>
                    <a:pt x="1460" y="771"/>
                  </a:lnTo>
                  <a:lnTo>
                    <a:pt x="1460" y="763"/>
                  </a:lnTo>
                  <a:lnTo>
                    <a:pt x="1460" y="758"/>
                  </a:lnTo>
                  <a:lnTo>
                    <a:pt x="1455" y="752"/>
                  </a:lnTo>
                  <a:lnTo>
                    <a:pt x="1445" y="752"/>
                  </a:lnTo>
                  <a:lnTo>
                    <a:pt x="1433" y="750"/>
                  </a:lnTo>
                  <a:lnTo>
                    <a:pt x="1420" y="748"/>
                  </a:lnTo>
                  <a:lnTo>
                    <a:pt x="1408" y="744"/>
                  </a:lnTo>
                  <a:lnTo>
                    <a:pt x="1395" y="741"/>
                  </a:lnTo>
                  <a:lnTo>
                    <a:pt x="1382" y="739"/>
                  </a:lnTo>
                  <a:lnTo>
                    <a:pt x="1369" y="737"/>
                  </a:lnTo>
                  <a:lnTo>
                    <a:pt x="1357" y="736"/>
                  </a:lnTo>
                  <a:lnTo>
                    <a:pt x="1353" y="718"/>
                  </a:lnTo>
                  <a:lnTo>
                    <a:pt x="1351" y="703"/>
                  </a:lnTo>
                  <a:lnTo>
                    <a:pt x="1340" y="703"/>
                  </a:lnTo>
                  <a:lnTo>
                    <a:pt x="1332" y="695"/>
                  </a:lnTo>
                  <a:lnTo>
                    <a:pt x="1323" y="686"/>
                  </a:lnTo>
                  <a:lnTo>
                    <a:pt x="1312" y="686"/>
                  </a:lnTo>
                  <a:lnTo>
                    <a:pt x="1306" y="681"/>
                  </a:lnTo>
                  <a:lnTo>
                    <a:pt x="1302" y="675"/>
                  </a:lnTo>
                  <a:lnTo>
                    <a:pt x="1296" y="670"/>
                  </a:lnTo>
                  <a:lnTo>
                    <a:pt x="1291" y="664"/>
                  </a:lnTo>
                  <a:lnTo>
                    <a:pt x="1291" y="647"/>
                  </a:lnTo>
                  <a:lnTo>
                    <a:pt x="1293" y="629"/>
                  </a:lnTo>
                  <a:lnTo>
                    <a:pt x="1295" y="613"/>
                  </a:lnTo>
                  <a:lnTo>
                    <a:pt x="1296" y="598"/>
                  </a:lnTo>
                  <a:lnTo>
                    <a:pt x="1297" y="598"/>
                  </a:lnTo>
                  <a:lnTo>
                    <a:pt x="1299" y="597"/>
                  </a:lnTo>
                  <a:lnTo>
                    <a:pt x="1300" y="595"/>
                  </a:lnTo>
                  <a:lnTo>
                    <a:pt x="1301" y="593"/>
                  </a:lnTo>
                  <a:lnTo>
                    <a:pt x="1301" y="587"/>
                  </a:lnTo>
                  <a:lnTo>
                    <a:pt x="1302" y="583"/>
                  </a:lnTo>
                  <a:lnTo>
                    <a:pt x="1303" y="582"/>
                  </a:lnTo>
                  <a:lnTo>
                    <a:pt x="1304" y="579"/>
                  </a:lnTo>
                  <a:lnTo>
                    <a:pt x="1305" y="575"/>
                  </a:lnTo>
                  <a:lnTo>
                    <a:pt x="1306" y="570"/>
                  </a:lnTo>
                  <a:lnTo>
                    <a:pt x="1306" y="561"/>
                  </a:lnTo>
                  <a:lnTo>
                    <a:pt x="1306" y="555"/>
                  </a:lnTo>
                  <a:lnTo>
                    <a:pt x="1309" y="554"/>
                  </a:lnTo>
                  <a:lnTo>
                    <a:pt x="1311" y="551"/>
                  </a:lnTo>
                  <a:lnTo>
                    <a:pt x="1312" y="548"/>
                  </a:lnTo>
                  <a:lnTo>
                    <a:pt x="1314" y="542"/>
                  </a:lnTo>
                  <a:lnTo>
                    <a:pt x="1316" y="530"/>
                  </a:lnTo>
                  <a:lnTo>
                    <a:pt x="1320" y="515"/>
                  </a:lnTo>
                  <a:lnTo>
                    <a:pt x="1322" y="483"/>
                  </a:lnTo>
                  <a:lnTo>
                    <a:pt x="1323" y="461"/>
                  </a:lnTo>
                  <a:lnTo>
                    <a:pt x="1321" y="460"/>
                  </a:lnTo>
                  <a:lnTo>
                    <a:pt x="1320" y="455"/>
                  </a:lnTo>
                  <a:lnTo>
                    <a:pt x="1318" y="450"/>
                  </a:lnTo>
                  <a:lnTo>
                    <a:pt x="1315" y="442"/>
                  </a:lnTo>
                  <a:lnTo>
                    <a:pt x="1313" y="429"/>
                  </a:lnTo>
                  <a:lnTo>
                    <a:pt x="1312" y="423"/>
                  </a:lnTo>
                  <a:lnTo>
                    <a:pt x="1302" y="363"/>
                  </a:lnTo>
                  <a:lnTo>
                    <a:pt x="1302" y="349"/>
                  </a:lnTo>
                  <a:lnTo>
                    <a:pt x="1302" y="335"/>
                  </a:lnTo>
                  <a:lnTo>
                    <a:pt x="1300" y="335"/>
                  </a:lnTo>
                  <a:lnTo>
                    <a:pt x="1299" y="334"/>
                  </a:lnTo>
                  <a:lnTo>
                    <a:pt x="1297" y="332"/>
                  </a:lnTo>
                  <a:lnTo>
                    <a:pt x="1296" y="329"/>
                  </a:lnTo>
                  <a:lnTo>
                    <a:pt x="1296" y="324"/>
                  </a:lnTo>
                  <a:lnTo>
                    <a:pt x="1296" y="319"/>
                  </a:lnTo>
                  <a:lnTo>
                    <a:pt x="1291" y="316"/>
                  </a:lnTo>
                  <a:lnTo>
                    <a:pt x="1285" y="314"/>
                  </a:lnTo>
                  <a:lnTo>
                    <a:pt x="1285" y="297"/>
                  </a:lnTo>
                  <a:lnTo>
                    <a:pt x="1283" y="296"/>
                  </a:lnTo>
                  <a:lnTo>
                    <a:pt x="1282" y="291"/>
                  </a:lnTo>
                  <a:lnTo>
                    <a:pt x="1281" y="286"/>
                  </a:lnTo>
                  <a:lnTo>
                    <a:pt x="1280" y="279"/>
                  </a:lnTo>
                  <a:lnTo>
                    <a:pt x="1280" y="267"/>
                  </a:lnTo>
                  <a:lnTo>
                    <a:pt x="1280" y="258"/>
                  </a:lnTo>
                  <a:lnTo>
                    <a:pt x="1252" y="182"/>
                  </a:lnTo>
                  <a:lnTo>
                    <a:pt x="1243" y="174"/>
                  </a:lnTo>
                  <a:lnTo>
                    <a:pt x="1226" y="156"/>
                  </a:lnTo>
                  <a:lnTo>
                    <a:pt x="1216" y="147"/>
                  </a:lnTo>
                  <a:lnTo>
                    <a:pt x="1207" y="140"/>
                  </a:lnTo>
                  <a:lnTo>
                    <a:pt x="1203" y="136"/>
                  </a:lnTo>
                  <a:lnTo>
                    <a:pt x="1198" y="134"/>
                  </a:lnTo>
                  <a:lnTo>
                    <a:pt x="1195" y="133"/>
                  </a:lnTo>
                  <a:lnTo>
                    <a:pt x="1191" y="132"/>
                  </a:lnTo>
                  <a:lnTo>
                    <a:pt x="1186" y="121"/>
                  </a:lnTo>
                  <a:lnTo>
                    <a:pt x="1177" y="119"/>
                  </a:lnTo>
                  <a:lnTo>
                    <a:pt x="1168" y="115"/>
                  </a:lnTo>
                  <a:lnTo>
                    <a:pt x="1161" y="112"/>
                  </a:lnTo>
                  <a:lnTo>
                    <a:pt x="1159" y="111"/>
                  </a:lnTo>
                  <a:lnTo>
                    <a:pt x="1152" y="109"/>
                  </a:lnTo>
                  <a:lnTo>
                    <a:pt x="1142" y="106"/>
                  </a:lnTo>
                  <a:lnTo>
                    <a:pt x="1138" y="105"/>
                  </a:lnTo>
                  <a:lnTo>
                    <a:pt x="1134" y="103"/>
                  </a:lnTo>
                  <a:lnTo>
                    <a:pt x="1132" y="102"/>
                  </a:lnTo>
                  <a:lnTo>
                    <a:pt x="1131" y="99"/>
                  </a:lnTo>
                  <a:lnTo>
                    <a:pt x="1117" y="98"/>
                  </a:lnTo>
                  <a:lnTo>
                    <a:pt x="1101" y="96"/>
                  </a:lnTo>
                  <a:lnTo>
                    <a:pt x="1085" y="95"/>
                  </a:lnTo>
                  <a:lnTo>
                    <a:pt x="1071" y="94"/>
                  </a:lnTo>
                  <a:lnTo>
                    <a:pt x="1069" y="90"/>
                  </a:lnTo>
                  <a:lnTo>
                    <a:pt x="1065" y="87"/>
                  </a:lnTo>
                  <a:lnTo>
                    <a:pt x="1063" y="86"/>
                  </a:lnTo>
                  <a:lnTo>
                    <a:pt x="1062" y="84"/>
                  </a:lnTo>
                  <a:lnTo>
                    <a:pt x="1060" y="80"/>
                  </a:lnTo>
                  <a:lnTo>
                    <a:pt x="1060" y="77"/>
                  </a:lnTo>
                  <a:lnTo>
                    <a:pt x="1049" y="77"/>
                  </a:lnTo>
                  <a:lnTo>
                    <a:pt x="1043" y="71"/>
                  </a:lnTo>
                  <a:lnTo>
                    <a:pt x="1037" y="66"/>
                  </a:lnTo>
                  <a:lnTo>
                    <a:pt x="1037" y="55"/>
                  </a:lnTo>
                  <a:lnTo>
                    <a:pt x="1035" y="54"/>
                  </a:lnTo>
                  <a:lnTo>
                    <a:pt x="1033" y="50"/>
                  </a:lnTo>
                  <a:lnTo>
                    <a:pt x="1031" y="46"/>
                  </a:lnTo>
                  <a:lnTo>
                    <a:pt x="1027" y="40"/>
                  </a:lnTo>
                  <a:lnTo>
                    <a:pt x="1023" y="30"/>
                  </a:lnTo>
                  <a:lnTo>
                    <a:pt x="1022" y="22"/>
                  </a:lnTo>
                  <a:lnTo>
                    <a:pt x="1018" y="21"/>
                  </a:lnTo>
                  <a:lnTo>
                    <a:pt x="1016" y="19"/>
                  </a:lnTo>
                  <a:lnTo>
                    <a:pt x="1016" y="16"/>
                  </a:lnTo>
                  <a:lnTo>
                    <a:pt x="1016" y="11"/>
                  </a:lnTo>
                  <a:lnTo>
                    <a:pt x="999" y="11"/>
                  </a:lnTo>
                  <a:lnTo>
                    <a:pt x="998" y="9"/>
                  </a:lnTo>
                  <a:lnTo>
                    <a:pt x="996" y="8"/>
                  </a:lnTo>
                  <a:lnTo>
                    <a:pt x="993" y="6"/>
                  </a:lnTo>
                  <a:lnTo>
                    <a:pt x="987" y="4"/>
                  </a:lnTo>
                  <a:lnTo>
                    <a:pt x="975" y="3"/>
                  </a:lnTo>
                  <a:lnTo>
                    <a:pt x="959" y="1"/>
                  </a:lnTo>
                  <a:lnTo>
                    <a:pt x="930" y="0"/>
                  </a:lnTo>
                  <a:lnTo>
                    <a:pt x="911" y="0"/>
                  </a:lnTo>
                  <a:lnTo>
                    <a:pt x="911" y="3"/>
                  </a:lnTo>
                  <a:lnTo>
                    <a:pt x="910" y="4"/>
                  </a:lnTo>
                  <a:lnTo>
                    <a:pt x="908" y="6"/>
                  </a:lnTo>
                  <a:lnTo>
                    <a:pt x="907" y="6"/>
                  </a:lnTo>
                  <a:lnTo>
                    <a:pt x="906" y="6"/>
                  </a:lnTo>
                  <a:lnTo>
                    <a:pt x="905" y="7"/>
                  </a:lnTo>
                  <a:lnTo>
                    <a:pt x="905" y="8"/>
                  </a:lnTo>
                  <a:lnTo>
                    <a:pt x="906" y="11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7" name="Freeform 40">
              <a:extLst>
                <a:ext uri="{FF2B5EF4-FFF2-40B4-BE49-F238E27FC236}">
                  <a16:creationId xmlns:a16="http://schemas.microsoft.com/office/drawing/2014/main" id="{B9B888CB-5113-446E-9B8F-27C8555BE688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366000" y="3230563"/>
              <a:ext cx="362436" cy="419100"/>
            </a:xfrm>
            <a:custGeom>
              <a:avLst/>
              <a:gdLst/>
              <a:ahLst/>
              <a:cxnLst>
                <a:cxn ang="0">
                  <a:pos x="365" y="45"/>
                </a:cxn>
                <a:cxn ang="0">
                  <a:pos x="313" y="156"/>
                </a:cxn>
                <a:cxn ang="0">
                  <a:pos x="285" y="203"/>
                </a:cxn>
                <a:cxn ang="0">
                  <a:pos x="218" y="271"/>
                </a:cxn>
                <a:cxn ang="0">
                  <a:pos x="151" y="359"/>
                </a:cxn>
                <a:cxn ang="0">
                  <a:pos x="126" y="389"/>
                </a:cxn>
                <a:cxn ang="0">
                  <a:pos x="58" y="452"/>
                </a:cxn>
                <a:cxn ang="0">
                  <a:pos x="12" y="652"/>
                </a:cxn>
                <a:cxn ang="0">
                  <a:pos x="38" y="920"/>
                </a:cxn>
                <a:cxn ang="0">
                  <a:pos x="84" y="1026"/>
                </a:cxn>
                <a:cxn ang="0">
                  <a:pos x="143" y="1089"/>
                </a:cxn>
                <a:cxn ang="0">
                  <a:pos x="247" y="1103"/>
                </a:cxn>
                <a:cxn ang="0">
                  <a:pos x="337" y="1108"/>
                </a:cxn>
                <a:cxn ang="0">
                  <a:pos x="384" y="1173"/>
                </a:cxn>
                <a:cxn ang="0">
                  <a:pos x="441" y="1290"/>
                </a:cxn>
                <a:cxn ang="0">
                  <a:pos x="527" y="1378"/>
                </a:cxn>
                <a:cxn ang="0">
                  <a:pos x="564" y="1497"/>
                </a:cxn>
                <a:cxn ang="0">
                  <a:pos x="546" y="1543"/>
                </a:cxn>
                <a:cxn ang="0">
                  <a:pos x="627" y="1685"/>
                </a:cxn>
                <a:cxn ang="0">
                  <a:pos x="809" y="1754"/>
                </a:cxn>
                <a:cxn ang="0">
                  <a:pos x="716" y="1875"/>
                </a:cxn>
                <a:cxn ang="0">
                  <a:pos x="782" y="2258"/>
                </a:cxn>
                <a:cxn ang="0">
                  <a:pos x="934" y="2325"/>
                </a:cxn>
                <a:cxn ang="0">
                  <a:pos x="1034" y="2459"/>
                </a:cxn>
                <a:cxn ang="0">
                  <a:pos x="1080" y="2571"/>
                </a:cxn>
                <a:cxn ang="0">
                  <a:pos x="1251" y="2524"/>
                </a:cxn>
                <a:cxn ang="0">
                  <a:pos x="1278" y="2344"/>
                </a:cxn>
                <a:cxn ang="0">
                  <a:pos x="1314" y="2217"/>
                </a:cxn>
                <a:cxn ang="0">
                  <a:pos x="1497" y="2112"/>
                </a:cxn>
                <a:cxn ang="0">
                  <a:pos x="1399" y="1987"/>
                </a:cxn>
                <a:cxn ang="0">
                  <a:pos x="1413" y="1918"/>
                </a:cxn>
                <a:cxn ang="0">
                  <a:pos x="1570" y="1954"/>
                </a:cxn>
                <a:cxn ang="0">
                  <a:pos x="1699" y="1904"/>
                </a:cxn>
                <a:cxn ang="0">
                  <a:pos x="1777" y="1904"/>
                </a:cxn>
                <a:cxn ang="0">
                  <a:pos x="1763" y="1834"/>
                </a:cxn>
                <a:cxn ang="0">
                  <a:pos x="1642" y="1735"/>
                </a:cxn>
                <a:cxn ang="0">
                  <a:pos x="1742" y="1579"/>
                </a:cxn>
                <a:cxn ang="0">
                  <a:pos x="1882" y="1533"/>
                </a:cxn>
                <a:cxn ang="0">
                  <a:pos x="1938" y="1294"/>
                </a:cxn>
                <a:cxn ang="0">
                  <a:pos x="1911" y="1223"/>
                </a:cxn>
                <a:cxn ang="0">
                  <a:pos x="1881" y="1118"/>
                </a:cxn>
                <a:cxn ang="0">
                  <a:pos x="1853" y="998"/>
                </a:cxn>
                <a:cxn ang="0">
                  <a:pos x="1807" y="881"/>
                </a:cxn>
                <a:cxn ang="0">
                  <a:pos x="1788" y="835"/>
                </a:cxn>
                <a:cxn ang="0">
                  <a:pos x="1724" y="784"/>
                </a:cxn>
                <a:cxn ang="0">
                  <a:pos x="1647" y="721"/>
                </a:cxn>
                <a:cxn ang="0">
                  <a:pos x="1584" y="621"/>
                </a:cxn>
                <a:cxn ang="0">
                  <a:pos x="1545" y="495"/>
                </a:cxn>
                <a:cxn ang="0">
                  <a:pos x="1421" y="513"/>
                </a:cxn>
                <a:cxn ang="0">
                  <a:pos x="1246" y="468"/>
                </a:cxn>
                <a:cxn ang="0">
                  <a:pos x="1191" y="439"/>
                </a:cxn>
                <a:cxn ang="0">
                  <a:pos x="1129" y="406"/>
                </a:cxn>
                <a:cxn ang="0">
                  <a:pos x="1046" y="338"/>
                </a:cxn>
                <a:cxn ang="0">
                  <a:pos x="978" y="284"/>
                </a:cxn>
                <a:cxn ang="0">
                  <a:pos x="955" y="238"/>
                </a:cxn>
                <a:cxn ang="0">
                  <a:pos x="930" y="187"/>
                </a:cxn>
                <a:cxn ang="0">
                  <a:pos x="904" y="97"/>
                </a:cxn>
                <a:cxn ang="0">
                  <a:pos x="862" y="46"/>
                </a:cxn>
                <a:cxn ang="0">
                  <a:pos x="692" y="81"/>
                </a:cxn>
                <a:cxn ang="0">
                  <a:pos x="649" y="29"/>
                </a:cxn>
                <a:cxn ang="0">
                  <a:pos x="518" y="14"/>
                </a:cxn>
              </a:cxnLst>
              <a:rect l="0" t="0" r="r" b="b"/>
              <a:pathLst>
                <a:path w="1992" h="2580">
                  <a:moveTo>
                    <a:pt x="408" y="8"/>
                  </a:moveTo>
                  <a:lnTo>
                    <a:pt x="402" y="8"/>
                  </a:lnTo>
                  <a:lnTo>
                    <a:pt x="398" y="10"/>
                  </a:lnTo>
                  <a:lnTo>
                    <a:pt x="393" y="11"/>
                  </a:lnTo>
                  <a:lnTo>
                    <a:pt x="390" y="13"/>
                  </a:lnTo>
                  <a:lnTo>
                    <a:pt x="386" y="15"/>
                  </a:lnTo>
                  <a:lnTo>
                    <a:pt x="384" y="19"/>
                  </a:lnTo>
                  <a:lnTo>
                    <a:pt x="383" y="23"/>
                  </a:lnTo>
                  <a:lnTo>
                    <a:pt x="383" y="29"/>
                  </a:lnTo>
                  <a:lnTo>
                    <a:pt x="379" y="33"/>
                  </a:lnTo>
                  <a:lnTo>
                    <a:pt x="373" y="35"/>
                  </a:lnTo>
                  <a:lnTo>
                    <a:pt x="368" y="38"/>
                  </a:lnTo>
                  <a:lnTo>
                    <a:pt x="367" y="42"/>
                  </a:lnTo>
                  <a:lnTo>
                    <a:pt x="365" y="45"/>
                  </a:lnTo>
                  <a:lnTo>
                    <a:pt x="362" y="49"/>
                  </a:lnTo>
                  <a:lnTo>
                    <a:pt x="358" y="52"/>
                  </a:lnTo>
                  <a:lnTo>
                    <a:pt x="358" y="67"/>
                  </a:lnTo>
                  <a:lnTo>
                    <a:pt x="354" y="69"/>
                  </a:lnTo>
                  <a:lnTo>
                    <a:pt x="350" y="72"/>
                  </a:lnTo>
                  <a:lnTo>
                    <a:pt x="346" y="83"/>
                  </a:lnTo>
                  <a:lnTo>
                    <a:pt x="344" y="96"/>
                  </a:lnTo>
                  <a:lnTo>
                    <a:pt x="325" y="120"/>
                  </a:lnTo>
                  <a:lnTo>
                    <a:pt x="325" y="135"/>
                  </a:lnTo>
                  <a:lnTo>
                    <a:pt x="320" y="137"/>
                  </a:lnTo>
                  <a:lnTo>
                    <a:pt x="315" y="139"/>
                  </a:lnTo>
                  <a:lnTo>
                    <a:pt x="315" y="154"/>
                  </a:lnTo>
                  <a:lnTo>
                    <a:pt x="314" y="155"/>
                  </a:lnTo>
                  <a:lnTo>
                    <a:pt x="313" y="156"/>
                  </a:lnTo>
                  <a:lnTo>
                    <a:pt x="312" y="157"/>
                  </a:lnTo>
                  <a:lnTo>
                    <a:pt x="310" y="159"/>
                  </a:lnTo>
                  <a:lnTo>
                    <a:pt x="310" y="164"/>
                  </a:lnTo>
                  <a:lnTo>
                    <a:pt x="310" y="168"/>
                  </a:lnTo>
                  <a:lnTo>
                    <a:pt x="307" y="169"/>
                  </a:lnTo>
                  <a:lnTo>
                    <a:pt x="305" y="173"/>
                  </a:lnTo>
                  <a:lnTo>
                    <a:pt x="304" y="176"/>
                  </a:lnTo>
                  <a:lnTo>
                    <a:pt x="303" y="180"/>
                  </a:lnTo>
                  <a:lnTo>
                    <a:pt x="300" y="185"/>
                  </a:lnTo>
                  <a:lnTo>
                    <a:pt x="298" y="189"/>
                  </a:lnTo>
                  <a:lnTo>
                    <a:pt x="296" y="192"/>
                  </a:lnTo>
                  <a:lnTo>
                    <a:pt x="291" y="193"/>
                  </a:lnTo>
                  <a:lnTo>
                    <a:pt x="286" y="197"/>
                  </a:lnTo>
                  <a:lnTo>
                    <a:pt x="285" y="203"/>
                  </a:lnTo>
                  <a:lnTo>
                    <a:pt x="280" y="209"/>
                  </a:lnTo>
                  <a:lnTo>
                    <a:pt x="276" y="215"/>
                  </a:lnTo>
                  <a:lnTo>
                    <a:pt x="271" y="217"/>
                  </a:lnTo>
                  <a:lnTo>
                    <a:pt x="271" y="226"/>
                  </a:lnTo>
                  <a:lnTo>
                    <a:pt x="267" y="232"/>
                  </a:lnTo>
                  <a:lnTo>
                    <a:pt x="261" y="236"/>
                  </a:lnTo>
                  <a:lnTo>
                    <a:pt x="252" y="236"/>
                  </a:lnTo>
                  <a:lnTo>
                    <a:pt x="249" y="242"/>
                  </a:lnTo>
                  <a:lnTo>
                    <a:pt x="242" y="247"/>
                  </a:lnTo>
                  <a:lnTo>
                    <a:pt x="233" y="253"/>
                  </a:lnTo>
                  <a:lnTo>
                    <a:pt x="228" y="255"/>
                  </a:lnTo>
                  <a:lnTo>
                    <a:pt x="227" y="260"/>
                  </a:lnTo>
                  <a:lnTo>
                    <a:pt x="222" y="265"/>
                  </a:lnTo>
                  <a:lnTo>
                    <a:pt x="218" y="271"/>
                  </a:lnTo>
                  <a:lnTo>
                    <a:pt x="213" y="275"/>
                  </a:lnTo>
                  <a:lnTo>
                    <a:pt x="213" y="284"/>
                  </a:lnTo>
                  <a:lnTo>
                    <a:pt x="208" y="290"/>
                  </a:lnTo>
                  <a:lnTo>
                    <a:pt x="199" y="294"/>
                  </a:lnTo>
                  <a:lnTo>
                    <a:pt x="199" y="304"/>
                  </a:lnTo>
                  <a:lnTo>
                    <a:pt x="194" y="308"/>
                  </a:lnTo>
                  <a:lnTo>
                    <a:pt x="188" y="314"/>
                  </a:lnTo>
                  <a:lnTo>
                    <a:pt x="182" y="322"/>
                  </a:lnTo>
                  <a:lnTo>
                    <a:pt x="180" y="328"/>
                  </a:lnTo>
                  <a:lnTo>
                    <a:pt x="174" y="333"/>
                  </a:lnTo>
                  <a:lnTo>
                    <a:pt x="165" y="338"/>
                  </a:lnTo>
                  <a:lnTo>
                    <a:pt x="163" y="343"/>
                  </a:lnTo>
                  <a:lnTo>
                    <a:pt x="158" y="352"/>
                  </a:lnTo>
                  <a:lnTo>
                    <a:pt x="151" y="359"/>
                  </a:lnTo>
                  <a:lnTo>
                    <a:pt x="145" y="362"/>
                  </a:lnTo>
                  <a:lnTo>
                    <a:pt x="145" y="367"/>
                  </a:lnTo>
                  <a:lnTo>
                    <a:pt x="142" y="371"/>
                  </a:lnTo>
                  <a:lnTo>
                    <a:pt x="140" y="373"/>
                  </a:lnTo>
                  <a:lnTo>
                    <a:pt x="137" y="375"/>
                  </a:lnTo>
                  <a:lnTo>
                    <a:pt x="134" y="376"/>
                  </a:lnTo>
                  <a:lnTo>
                    <a:pt x="131" y="377"/>
                  </a:lnTo>
                  <a:lnTo>
                    <a:pt x="131" y="382"/>
                  </a:lnTo>
                  <a:lnTo>
                    <a:pt x="131" y="386"/>
                  </a:lnTo>
                  <a:lnTo>
                    <a:pt x="130" y="387"/>
                  </a:lnTo>
                  <a:lnTo>
                    <a:pt x="128" y="388"/>
                  </a:lnTo>
                  <a:lnTo>
                    <a:pt x="127" y="387"/>
                  </a:lnTo>
                  <a:lnTo>
                    <a:pt x="127" y="388"/>
                  </a:lnTo>
                  <a:lnTo>
                    <a:pt x="126" y="389"/>
                  </a:lnTo>
                  <a:lnTo>
                    <a:pt x="126" y="391"/>
                  </a:lnTo>
                  <a:lnTo>
                    <a:pt x="122" y="394"/>
                  </a:lnTo>
                  <a:lnTo>
                    <a:pt x="117" y="399"/>
                  </a:lnTo>
                  <a:lnTo>
                    <a:pt x="113" y="406"/>
                  </a:lnTo>
                  <a:lnTo>
                    <a:pt x="112" y="410"/>
                  </a:lnTo>
                  <a:lnTo>
                    <a:pt x="107" y="412"/>
                  </a:lnTo>
                  <a:lnTo>
                    <a:pt x="102" y="416"/>
                  </a:lnTo>
                  <a:lnTo>
                    <a:pt x="93" y="425"/>
                  </a:lnTo>
                  <a:lnTo>
                    <a:pt x="83" y="435"/>
                  </a:lnTo>
                  <a:lnTo>
                    <a:pt x="73" y="435"/>
                  </a:lnTo>
                  <a:lnTo>
                    <a:pt x="73" y="445"/>
                  </a:lnTo>
                  <a:lnTo>
                    <a:pt x="64" y="445"/>
                  </a:lnTo>
                  <a:lnTo>
                    <a:pt x="62" y="448"/>
                  </a:lnTo>
                  <a:lnTo>
                    <a:pt x="58" y="452"/>
                  </a:lnTo>
                  <a:lnTo>
                    <a:pt x="54" y="453"/>
                  </a:lnTo>
                  <a:lnTo>
                    <a:pt x="49" y="454"/>
                  </a:lnTo>
                  <a:lnTo>
                    <a:pt x="48" y="457"/>
                  </a:lnTo>
                  <a:lnTo>
                    <a:pt x="46" y="460"/>
                  </a:lnTo>
                  <a:lnTo>
                    <a:pt x="43" y="463"/>
                  </a:lnTo>
                  <a:lnTo>
                    <a:pt x="39" y="464"/>
                  </a:lnTo>
                  <a:lnTo>
                    <a:pt x="25" y="478"/>
                  </a:lnTo>
                  <a:lnTo>
                    <a:pt x="24" y="514"/>
                  </a:lnTo>
                  <a:lnTo>
                    <a:pt x="22" y="554"/>
                  </a:lnTo>
                  <a:lnTo>
                    <a:pt x="20" y="594"/>
                  </a:lnTo>
                  <a:lnTo>
                    <a:pt x="20" y="633"/>
                  </a:lnTo>
                  <a:lnTo>
                    <a:pt x="17" y="636"/>
                  </a:lnTo>
                  <a:lnTo>
                    <a:pt x="15" y="642"/>
                  </a:lnTo>
                  <a:lnTo>
                    <a:pt x="12" y="652"/>
                  </a:lnTo>
                  <a:lnTo>
                    <a:pt x="10" y="666"/>
                  </a:lnTo>
                  <a:lnTo>
                    <a:pt x="5" y="702"/>
                  </a:lnTo>
                  <a:lnTo>
                    <a:pt x="0" y="744"/>
                  </a:lnTo>
                  <a:lnTo>
                    <a:pt x="22" y="744"/>
                  </a:lnTo>
                  <a:lnTo>
                    <a:pt x="22" y="767"/>
                  </a:lnTo>
                  <a:lnTo>
                    <a:pt x="21" y="793"/>
                  </a:lnTo>
                  <a:lnTo>
                    <a:pt x="21" y="820"/>
                  </a:lnTo>
                  <a:lnTo>
                    <a:pt x="22" y="848"/>
                  </a:lnTo>
                  <a:lnTo>
                    <a:pt x="24" y="861"/>
                  </a:lnTo>
                  <a:lnTo>
                    <a:pt x="25" y="875"/>
                  </a:lnTo>
                  <a:lnTo>
                    <a:pt x="27" y="887"/>
                  </a:lnTo>
                  <a:lnTo>
                    <a:pt x="30" y="899"/>
                  </a:lnTo>
                  <a:lnTo>
                    <a:pt x="34" y="910"/>
                  </a:lnTo>
                  <a:lnTo>
                    <a:pt x="38" y="920"/>
                  </a:lnTo>
                  <a:lnTo>
                    <a:pt x="44" y="929"/>
                  </a:lnTo>
                  <a:lnTo>
                    <a:pt x="50" y="937"/>
                  </a:lnTo>
                  <a:lnTo>
                    <a:pt x="50" y="952"/>
                  </a:lnTo>
                  <a:lnTo>
                    <a:pt x="57" y="958"/>
                  </a:lnTo>
                  <a:lnTo>
                    <a:pt x="65" y="965"/>
                  </a:lnTo>
                  <a:lnTo>
                    <a:pt x="65" y="979"/>
                  </a:lnTo>
                  <a:lnTo>
                    <a:pt x="66" y="983"/>
                  </a:lnTo>
                  <a:lnTo>
                    <a:pt x="70" y="991"/>
                  </a:lnTo>
                  <a:lnTo>
                    <a:pt x="73" y="995"/>
                  </a:lnTo>
                  <a:lnTo>
                    <a:pt x="75" y="1000"/>
                  </a:lnTo>
                  <a:lnTo>
                    <a:pt x="77" y="1002"/>
                  </a:lnTo>
                  <a:lnTo>
                    <a:pt x="78" y="1003"/>
                  </a:lnTo>
                  <a:lnTo>
                    <a:pt x="82" y="1015"/>
                  </a:lnTo>
                  <a:lnTo>
                    <a:pt x="84" y="1026"/>
                  </a:lnTo>
                  <a:lnTo>
                    <a:pt x="93" y="1031"/>
                  </a:lnTo>
                  <a:lnTo>
                    <a:pt x="93" y="1041"/>
                  </a:lnTo>
                  <a:lnTo>
                    <a:pt x="97" y="1043"/>
                  </a:lnTo>
                  <a:lnTo>
                    <a:pt x="102" y="1045"/>
                  </a:lnTo>
                  <a:lnTo>
                    <a:pt x="103" y="1051"/>
                  </a:lnTo>
                  <a:lnTo>
                    <a:pt x="104" y="1053"/>
                  </a:lnTo>
                  <a:lnTo>
                    <a:pt x="106" y="1054"/>
                  </a:lnTo>
                  <a:lnTo>
                    <a:pt x="112" y="1054"/>
                  </a:lnTo>
                  <a:lnTo>
                    <a:pt x="118" y="1068"/>
                  </a:lnTo>
                  <a:lnTo>
                    <a:pt x="126" y="1078"/>
                  </a:lnTo>
                  <a:lnTo>
                    <a:pt x="131" y="1083"/>
                  </a:lnTo>
                  <a:lnTo>
                    <a:pt x="134" y="1083"/>
                  </a:lnTo>
                  <a:lnTo>
                    <a:pt x="140" y="1085"/>
                  </a:lnTo>
                  <a:lnTo>
                    <a:pt x="143" y="1089"/>
                  </a:lnTo>
                  <a:lnTo>
                    <a:pt x="144" y="1092"/>
                  </a:lnTo>
                  <a:lnTo>
                    <a:pt x="163" y="1101"/>
                  </a:lnTo>
                  <a:lnTo>
                    <a:pt x="178" y="1111"/>
                  </a:lnTo>
                  <a:lnTo>
                    <a:pt x="190" y="1111"/>
                  </a:lnTo>
                  <a:lnTo>
                    <a:pt x="207" y="1110"/>
                  </a:lnTo>
                  <a:lnTo>
                    <a:pt x="216" y="1110"/>
                  </a:lnTo>
                  <a:lnTo>
                    <a:pt x="222" y="1109"/>
                  </a:lnTo>
                  <a:lnTo>
                    <a:pt x="227" y="1108"/>
                  </a:lnTo>
                  <a:lnTo>
                    <a:pt x="229" y="1107"/>
                  </a:lnTo>
                  <a:lnTo>
                    <a:pt x="235" y="1107"/>
                  </a:lnTo>
                  <a:lnTo>
                    <a:pt x="240" y="1106"/>
                  </a:lnTo>
                  <a:lnTo>
                    <a:pt x="243" y="1106"/>
                  </a:lnTo>
                  <a:lnTo>
                    <a:pt x="246" y="1104"/>
                  </a:lnTo>
                  <a:lnTo>
                    <a:pt x="247" y="1103"/>
                  </a:lnTo>
                  <a:lnTo>
                    <a:pt x="248" y="1101"/>
                  </a:lnTo>
                  <a:lnTo>
                    <a:pt x="257" y="1101"/>
                  </a:lnTo>
                  <a:lnTo>
                    <a:pt x="267" y="1099"/>
                  </a:lnTo>
                  <a:lnTo>
                    <a:pt x="279" y="1098"/>
                  </a:lnTo>
                  <a:lnTo>
                    <a:pt x="290" y="1097"/>
                  </a:lnTo>
                  <a:lnTo>
                    <a:pt x="297" y="1097"/>
                  </a:lnTo>
                  <a:lnTo>
                    <a:pt x="308" y="1098"/>
                  </a:lnTo>
                  <a:lnTo>
                    <a:pt x="314" y="1098"/>
                  </a:lnTo>
                  <a:lnTo>
                    <a:pt x="318" y="1099"/>
                  </a:lnTo>
                  <a:lnTo>
                    <a:pt x="322" y="1100"/>
                  </a:lnTo>
                  <a:lnTo>
                    <a:pt x="323" y="1101"/>
                  </a:lnTo>
                  <a:lnTo>
                    <a:pt x="333" y="1101"/>
                  </a:lnTo>
                  <a:lnTo>
                    <a:pt x="334" y="1104"/>
                  </a:lnTo>
                  <a:lnTo>
                    <a:pt x="337" y="1108"/>
                  </a:lnTo>
                  <a:lnTo>
                    <a:pt x="341" y="1110"/>
                  </a:lnTo>
                  <a:lnTo>
                    <a:pt x="342" y="1111"/>
                  </a:lnTo>
                  <a:lnTo>
                    <a:pt x="352" y="1125"/>
                  </a:lnTo>
                  <a:lnTo>
                    <a:pt x="361" y="1135"/>
                  </a:lnTo>
                  <a:lnTo>
                    <a:pt x="367" y="1146"/>
                  </a:lnTo>
                  <a:lnTo>
                    <a:pt x="375" y="1154"/>
                  </a:lnTo>
                  <a:lnTo>
                    <a:pt x="375" y="1157"/>
                  </a:lnTo>
                  <a:lnTo>
                    <a:pt x="375" y="1159"/>
                  </a:lnTo>
                  <a:lnTo>
                    <a:pt x="376" y="1161"/>
                  </a:lnTo>
                  <a:lnTo>
                    <a:pt x="380" y="1162"/>
                  </a:lnTo>
                  <a:lnTo>
                    <a:pt x="380" y="1166"/>
                  </a:lnTo>
                  <a:lnTo>
                    <a:pt x="380" y="1169"/>
                  </a:lnTo>
                  <a:lnTo>
                    <a:pt x="382" y="1171"/>
                  </a:lnTo>
                  <a:lnTo>
                    <a:pt x="384" y="1173"/>
                  </a:lnTo>
                  <a:lnTo>
                    <a:pt x="385" y="1179"/>
                  </a:lnTo>
                  <a:lnTo>
                    <a:pt x="386" y="1187"/>
                  </a:lnTo>
                  <a:lnTo>
                    <a:pt x="389" y="1196"/>
                  </a:lnTo>
                  <a:lnTo>
                    <a:pt x="391" y="1205"/>
                  </a:lnTo>
                  <a:lnTo>
                    <a:pt x="396" y="1222"/>
                  </a:lnTo>
                  <a:lnTo>
                    <a:pt x="399" y="1237"/>
                  </a:lnTo>
                  <a:lnTo>
                    <a:pt x="408" y="1247"/>
                  </a:lnTo>
                  <a:lnTo>
                    <a:pt x="408" y="1256"/>
                  </a:lnTo>
                  <a:lnTo>
                    <a:pt x="412" y="1262"/>
                  </a:lnTo>
                  <a:lnTo>
                    <a:pt x="416" y="1269"/>
                  </a:lnTo>
                  <a:lnTo>
                    <a:pt x="420" y="1275"/>
                  </a:lnTo>
                  <a:lnTo>
                    <a:pt x="422" y="1280"/>
                  </a:lnTo>
                  <a:lnTo>
                    <a:pt x="431" y="1285"/>
                  </a:lnTo>
                  <a:lnTo>
                    <a:pt x="441" y="1290"/>
                  </a:lnTo>
                  <a:lnTo>
                    <a:pt x="450" y="1294"/>
                  </a:lnTo>
                  <a:lnTo>
                    <a:pt x="451" y="1298"/>
                  </a:lnTo>
                  <a:lnTo>
                    <a:pt x="454" y="1302"/>
                  </a:lnTo>
                  <a:lnTo>
                    <a:pt x="459" y="1306"/>
                  </a:lnTo>
                  <a:lnTo>
                    <a:pt x="464" y="1310"/>
                  </a:lnTo>
                  <a:lnTo>
                    <a:pt x="473" y="1318"/>
                  </a:lnTo>
                  <a:lnTo>
                    <a:pt x="478" y="1322"/>
                  </a:lnTo>
                  <a:lnTo>
                    <a:pt x="486" y="1329"/>
                  </a:lnTo>
                  <a:lnTo>
                    <a:pt x="499" y="1342"/>
                  </a:lnTo>
                  <a:lnTo>
                    <a:pt x="510" y="1356"/>
                  </a:lnTo>
                  <a:lnTo>
                    <a:pt x="516" y="1364"/>
                  </a:lnTo>
                  <a:lnTo>
                    <a:pt x="525" y="1369"/>
                  </a:lnTo>
                  <a:lnTo>
                    <a:pt x="526" y="1373"/>
                  </a:lnTo>
                  <a:lnTo>
                    <a:pt x="527" y="1378"/>
                  </a:lnTo>
                  <a:lnTo>
                    <a:pt x="529" y="1382"/>
                  </a:lnTo>
                  <a:lnTo>
                    <a:pt x="533" y="1387"/>
                  </a:lnTo>
                  <a:lnTo>
                    <a:pt x="536" y="1391"/>
                  </a:lnTo>
                  <a:lnTo>
                    <a:pt x="539" y="1395"/>
                  </a:lnTo>
                  <a:lnTo>
                    <a:pt x="542" y="1397"/>
                  </a:lnTo>
                  <a:lnTo>
                    <a:pt x="544" y="1398"/>
                  </a:lnTo>
                  <a:lnTo>
                    <a:pt x="546" y="1405"/>
                  </a:lnTo>
                  <a:lnTo>
                    <a:pt x="548" y="1411"/>
                  </a:lnTo>
                  <a:lnTo>
                    <a:pt x="558" y="1416"/>
                  </a:lnTo>
                  <a:lnTo>
                    <a:pt x="559" y="1433"/>
                  </a:lnTo>
                  <a:lnTo>
                    <a:pt x="563" y="1453"/>
                  </a:lnTo>
                  <a:lnTo>
                    <a:pt x="566" y="1474"/>
                  </a:lnTo>
                  <a:lnTo>
                    <a:pt x="567" y="1496"/>
                  </a:lnTo>
                  <a:lnTo>
                    <a:pt x="564" y="1497"/>
                  </a:lnTo>
                  <a:lnTo>
                    <a:pt x="560" y="1500"/>
                  </a:lnTo>
                  <a:lnTo>
                    <a:pt x="558" y="1502"/>
                  </a:lnTo>
                  <a:lnTo>
                    <a:pt x="558" y="1505"/>
                  </a:lnTo>
                  <a:lnTo>
                    <a:pt x="544" y="1507"/>
                  </a:lnTo>
                  <a:lnTo>
                    <a:pt x="529" y="1511"/>
                  </a:lnTo>
                  <a:lnTo>
                    <a:pt x="526" y="1515"/>
                  </a:lnTo>
                  <a:lnTo>
                    <a:pt x="520" y="1521"/>
                  </a:lnTo>
                  <a:lnTo>
                    <a:pt x="531" y="1523"/>
                  </a:lnTo>
                  <a:lnTo>
                    <a:pt x="539" y="1524"/>
                  </a:lnTo>
                  <a:lnTo>
                    <a:pt x="543" y="1526"/>
                  </a:lnTo>
                  <a:lnTo>
                    <a:pt x="544" y="1527"/>
                  </a:lnTo>
                  <a:lnTo>
                    <a:pt x="546" y="1529"/>
                  </a:lnTo>
                  <a:lnTo>
                    <a:pt x="546" y="1531"/>
                  </a:lnTo>
                  <a:lnTo>
                    <a:pt x="546" y="1543"/>
                  </a:lnTo>
                  <a:lnTo>
                    <a:pt x="547" y="1555"/>
                  </a:lnTo>
                  <a:lnTo>
                    <a:pt x="549" y="1568"/>
                  </a:lnTo>
                  <a:lnTo>
                    <a:pt x="552" y="1581"/>
                  </a:lnTo>
                  <a:lnTo>
                    <a:pt x="555" y="1594"/>
                  </a:lnTo>
                  <a:lnTo>
                    <a:pt x="559" y="1607"/>
                  </a:lnTo>
                  <a:lnTo>
                    <a:pt x="564" y="1619"/>
                  </a:lnTo>
                  <a:lnTo>
                    <a:pt x="569" y="1631"/>
                  </a:lnTo>
                  <a:lnTo>
                    <a:pt x="575" y="1642"/>
                  </a:lnTo>
                  <a:lnTo>
                    <a:pt x="583" y="1652"/>
                  </a:lnTo>
                  <a:lnTo>
                    <a:pt x="590" y="1662"/>
                  </a:lnTo>
                  <a:lnTo>
                    <a:pt x="598" y="1670"/>
                  </a:lnTo>
                  <a:lnTo>
                    <a:pt x="607" y="1677"/>
                  </a:lnTo>
                  <a:lnTo>
                    <a:pt x="617" y="1681"/>
                  </a:lnTo>
                  <a:lnTo>
                    <a:pt x="627" y="1685"/>
                  </a:lnTo>
                  <a:lnTo>
                    <a:pt x="639" y="1686"/>
                  </a:lnTo>
                  <a:lnTo>
                    <a:pt x="655" y="1686"/>
                  </a:lnTo>
                  <a:lnTo>
                    <a:pt x="671" y="1688"/>
                  </a:lnTo>
                  <a:lnTo>
                    <a:pt x="687" y="1692"/>
                  </a:lnTo>
                  <a:lnTo>
                    <a:pt x="700" y="1696"/>
                  </a:lnTo>
                  <a:lnTo>
                    <a:pt x="713" y="1702"/>
                  </a:lnTo>
                  <a:lnTo>
                    <a:pt x="726" y="1707"/>
                  </a:lnTo>
                  <a:lnTo>
                    <a:pt x="737" y="1714"/>
                  </a:lnTo>
                  <a:lnTo>
                    <a:pt x="748" y="1721"/>
                  </a:lnTo>
                  <a:lnTo>
                    <a:pt x="768" y="1733"/>
                  </a:lnTo>
                  <a:lnTo>
                    <a:pt x="786" y="1744"/>
                  </a:lnTo>
                  <a:lnTo>
                    <a:pt x="794" y="1748"/>
                  </a:lnTo>
                  <a:lnTo>
                    <a:pt x="802" y="1752"/>
                  </a:lnTo>
                  <a:lnTo>
                    <a:pt x="809" y="1754"/>
                  </a:lnTo>
                  <a:lnTo>
                    <a:pt x="816" y="1755"/>
                  </a:lnTo>
                  <a:lnTo>
                    <a:pt x="804" y="1756"/>
                  </a:lnTo>
                  <a:lnTo>
                    <a:pt x="793" y="1758"/>
                  </a:lnTo>
                  <a:lnTo>
                    <a:pt x="783" y="1763"/>
                  </a:lnTo>
                  <a:lnTo>
                    <a:pt x="773" y="1769"/>
                  </a:lnTo>
                  <a:lnTo>
                    <a:pt x="764" y="1775"/>
                  </a:lnTo>
                  <a:lnTo>
                    <a:pt x="755" y="1784"/>
                  </a:lnTo>
                  <a:lnTo>
                    <a:pt x="747" y="1793"/>
                  </a:lnTo>
                  <a:lnTo>
                    <a:pt x="740" y="1804"/>
                  </a:lnTo>
                  <a:lnTo>
                    <a:pt x="735" y="1817"/>
                  </a:lnTo>
                  <a:lnTo>
                    <a:pt x="729" y="1830"/>
                  </a:lnTo>
                  <a:lnTo>
                    <a:pt x="723" y="1844"/>
                  </a:lnTo>
                  <a:lnTo>
                    <a:pt x="719" y="1859"/>
                  </a:lnTo>
                  <a:lnTo>
                    <a:pt x="716" y="1875"/>
                  </a:lnTo>
                  <a:lnTo>
                    <a:pt x="712" y="1891"/>
                  </a:lnTo>
                  <a:lnTo>
                    <a:pt x="709" y="1909"/>
                  </a:lnTo>
                  <a:lnTo>
                    <a:pt x="707" y="1927"/>
                  </a:lnTo>
                  <a:lnTo>
                    <a:pt x="703" y="1965"/>
                  </a:lnTo>
                  <a:lnTo>
                    <a:pt x="701" y="2004"/>
                  </a:lnTo>
                  <a:lnTo>
                    <a:pt x="700" y="2044"/>
                  </a:lnTo>
                  <a:lnTo>
                    <a:pt x="700" y="2084"/>
                  </a:lnTo>
                  <a:lnTo>
                    <a:pt x="702" y="2164"/>
                  </a:lnTo>
                  <a:lnTo>
                    <a:pt x="706" y="2236"/>
                  </a:lnTo>
                  <a:lnTo>
                    <a:pt x="735" y="2236"/>
                  </a:lnTo>
                  <a:lnTo>
                    <a:pt x="749" y="2245"/>
                  </a:lnTo>
                  <a:lnTo>
                    <a:pt x="763" y="2253"/>
                  </a:lnTo>
                  <a:lnTo>
                    <a:pt x="779" y="2253"/>
                  </a:lnTo>
                  <a:lnTo>
                    <a:pt x="782" y="2258"/>
                  </a:lnTo>
                  <a:lnTo>
                    <a:pt x="785" y="2264"/>
                  </a:lnTo>
                  <a:lnTo>
                    <a:pt x="799" y="2269"/>
                  </a:lnTo>
                  <a:lnTo>
                    <a:pt x="832" y="2279"/>
                  </a:lnTo>
                  <a:lnTo>
                    <a:pt x="850" y="2284"/>
                  </a:lnTo>
                  <a:lnTo>
                    <a:pt x="864" y="2290"/>
                  </a:lnTo>
                  <a:lnTo>
                    <a:pt x="875" y="2294"/>
                  </a:lnTo>
                  <a:lnTo>
                    <a:pt x="879" y="2298"/>
                  </a:lnTo>
                  <a:lnTo>
                    <a:pt x="893" y="2300"/>
                  </a:lnTo>
                  <a:lnTo>
                    <a:pt x="907" y="2303"/>
                  </a:lnTo>
                  <a:lnTo>
                    <a:pt x="910" y="2309"/>
                  </a:lnTo>
                  <a:lnTo>
                    <a:pt x="912" y="2314"/>
                  </a:lnTo>
                  <a:lnTo>
                    <a:pt x="918" y="2320"/>
                  </a:lnTo>
                  <a:lnTo>
                    <a:pt x="929" y="2320"/>
                  </a:lnTo>
                  <a:lnTo>
                    <a:pt x="934" y="2325"/>
                  </a:lnTo>
                  <a:lnTo>
                    <a:pt x="974" y="2363"/>
                  </a:lnTo>
                  <a:lnTo>
                    <a:pt x="977" y="2370"/>
                  </a:lnTo>
                  <a:lnTo>
                    <a:pt x="985" y="2380"/>
                  </a:lnTo>
                  <a:lnTo>
                    <a:pt x="991" y="2388"/>
                  </a:lnTo>
                  <a:lnTo>
                    <a:pt x="996" y="2391"/>
                  </a:lnTo>
                  <a:lnTo>
                    <a:pt x="1000" y="2402"/>
                  </a:lnTo>
                  <a:lnTo>
                    <a:pt x="1006" y="2414"/>
                  </a:lnTo>
                  <a:lnTo>
                    <a:pt x="1011" y="2417"/>
                  </a:lnTo>
                  <a:lnTo>
                    <a:pt x="1017" y="2419"/>
                  </a:lnTo>
                  <a:lnTo>
                    <a:pt x="1023" y="2436"/>
                  </a:lnTo>
                  <a:lnTo>
                    <a:pt x="1028" y="2453"/>
                  </a:lnTo>
                  <a:lnTo>
                    <a:pt x="1032" y="2454"/>
                  </a:lnTo>
                  <a:lnTo>
                    <a:pt x="1034" y="2456"/>
                  </a:lnTo>
                  <a:lnTo>
                    <a:pt x="1034" y="2459"/>
                  </a:lnTo>
                  <a:lnTo>
                    <a:pt x="1034" y="2464"/>
                  </a:lnTo>
                  <a:lnTo>
                    <a:pt x="1045" y="2475"/>
                  </a:lnTo>
                  <a:lnTo>
                    <a:pt x="1046" y="2481"/>
                  </a:lnTo>
                  <a:lnTo>
                    <a:pt x="1047" y="2486"/>
                  </a:lnTo>
                  <a:lnTo>
                    <a:pt x="1048" y="2492"/>
                  </a:lnTo>
                  <a:lnTo>
                    <a:pt x="1051" y="2497"/>
                  </a:lnTo>
                  <a:lnTo>
                    <a:pt x="1053" y="2502"/>
                  </a:lnTo>
                  <a:lnTo>
                    <a:pt x="1055" y="2507"/>
                  </a:lnTo>
                  <a:lnTo>
                    <a:pt x="1056" y="2513"/>
                  </a:lnTo>
                  <a:lnTo>
                    <a:pt x="1056" y="2519"/>
                  </a:lnTo>
                  <a:lnTo>
                    <a:pt x="1062" y="2522"/>
                  </a:lnTo>
                  <a:lnTo>
                    <a:pt x="1067" y="2524"/>
                  </a:lnTo>
                  <a:lnTo>
                    <a:pt x="1078" y="2569"/>
                  </a:lnTo>
                  <a:lnTo>
                    <a:pt x="1080" y="2571"/>
                  </a:lnTo>
                  <a:lnTo>
                    <a:pt x="1081" y="2574"/>
                  </a:lnTo>
                  <a:lnTo>
                    <a:pt x="1084" y="2577"/>
                  </a:lnTo>
                  <a:lnTo>
                    <a:pt x="1087" y="2580"/>
                  </a:lnTo>
                  <a:lnTo>
                    <a:pt x="1134" y="2580"/>
                  </a:lnTo>
                  <a:lnTo>
                    <a:pt x="1168" y="2578"/>
                  </a:lnTo>
                  <a:lnTo>
                    <a:pt x="1180" y="2575"/>
                  </a:lnTo>
                  <a:lnTo>
                    <a:pt x="1191" y="2573"/>
                  </a:lnTo>
                  <a:lnTo>
                    <a:pt x="1200" y="2570"/>
                  </a:lnTo>
                  <a:lnTo>
                    <a:pt x="1208" y="2566"/>
                  </a:lnTo>
                  <a:lnTo>
                    <a:pt x="1216" y="2562"/>
                  </a:lnTo>
                  <a:lnTo>
                    <a:pt x="1221" y="2556"/>
                  </a:lnTo>
                  <a:lnTo>
                    <a:pt x="1228" y="2550"/>
                  </a:lnTo>
                  <a:lnTo>
                    <a:pt x="1235" y="2543"/>
                  </a:lnTo>
                  <a:lnTo>
                    <a:pt x="1251" y="2524"/>
                  </a:lnTo>
                  <a:lnTo>
                    <a:pt x="1273" y="2502"/>
                  </a:lnTo>
                  <a:lnTo>
                    <a:pt x="1278" y="2496"/>
                  </a:lnTo>
                  <a:lnTo>
                    <a:pt x="1282" y="2491"/>
                  </a:lnTo>
                  <a:lnTo>
                    <a:pt x="1285" y="2484"/>
                  </a:lnTo>
                  <a:lnTo>
                    <a:pt x="1288" y="2478"/>
                  </a:lnTo>
                  <a:lnTo>
                    <a:pt x="1291" y="2471"/>
                  </a:lnTo>
                  <a:lnTo>
                    <a:pt x="1293" y="2464"/>
                  </a:lnTo>
                  <a:lnTo>
                    <a:pt x="1294" y="2457"/>
                  </a:lnTo>
                  <a:lnTo>
                    <a:pt x="1294" y="2449"/>
                  </a:lnTo>
                  <a:lnTo>
                    <a:pt x="1294" y="2434"/>
                  </a:lnTo>
                  <a:lnTo>
                    <a:pt x="1293" y="2417"/>
                  </a:lnTo>
                  <a:lnTo>
                    <a:pt x="1291" y="2399"/>
                  </a:lnTo>
                  <a:lnTo>
                    <a:pt x="1287" y="2381"/>
                  </a:lnTo>
                  <a:lnTo>
                    <a:pt x="1278" y="2344"/>
                  </a:lnTo>
                  <a:lnTo>
                    <a:pt x="1269" y="2308"/>
                  </a:lnTo>
                  <a:lnTo>
                    <a:pt x="1265" y="2290"/>
                  </a:lnTo>
                  <a:lnTo>
                    <a:pt x="1262" y="2272"/>
                  </a:lnTo>
                  <a:lnTo>
                    <a:pt x="1260" y="2254"/>
                  </a:lnTo>
                  <a:lnTo>
                    <a:pt x="1259" y="2237"/>
                  </a:lnTo>
                  <a:lnTo>
                    <a:pt x="1260" y="2227"/>
                  </a:lnTo>
                  <a:lnTo>
                    <a:pt x="1262" y="2221"/>
                  </a:lnTo>
                  <a:lnTo>
                    <a:pt x="1265" y="2215"/>
                  </a:lnTo>
                  <a:lnTo>
                    <a:pt x="1270" y="2212"/>
                  </a:lnTo>
                  <a:lnTo>
                    <a:pt x="1275" y="2210"/>
                  </a:lnTo>
                  <a:lnTo>
                    <a:pt x="1282" y="2209"/>
                  </a:lnTo>
                  <a:lnTo>
                    <a:pt x="1289" y="2210"/>
                  </a:lnTo>
                  <a:lnTo>
                    <a:pt x="1297" y="2213"/>
                  </a:lnTo>
                  <a:lnTo>
                    <a:pt x="1314" y="2217"/>
                  </a:lnTo>
                  <a:lnTo>
                    <a:pt x="1332" y="2221"/>
                  </a:lnTo>
                  <a:lnTo>
                    <a:pt x="1341" y="2223"/>
                  </a:lnTo>
                  <a:lnTo>
                    <a:pt x="1349" y="2223"/>
                  </a:lnTo>
                  <a:lnTo>
                    <a:pt x="1358" y="2222"/>
                  </a:lnTo>
                  <a:lnTo>
                    <a:pt x="1365" y="2218"/>
                  </a:lnTo>
                  <a:lnTo>
                    <a:pt x="1378" y="2212"/>
                  </a:lnTo>
                  <a:lnTo>
                    <a:pt x="1393" y="2202"/>
                  </a:lnTo>
                  <a:lnTo>
                    <a:pt x="1411" y="2190"/>
                  </a:lnTo>
                  <a:lnTo>
                    <a:pt x="1429" y="2177"/>
                  </a:lnTo>
                  <a:lnTo>
                    <a:pt x="1461" y="2152"/>
                  </a:lnTo>
                  <a:lnTo>
                    <a:pt x="1481" y="2136"/>
                  </a:lnTo>
                  <a:lnTo>
                    <a:pt x="1488" y="2128"/>
                  </a:lnTo>
                  <a:lnTo>
                    <a:pt x="1494" y="2120"/>
                  </a:lnTo>
                  <a:lnTo>
                    <a:pt x="1497" y="2112"/>
                  </a:lnTo>
                  <a:lnTo>
                    <a:pt x="1499" y="2106"/>
                  </a:lnTo>
                  <a:lnTo>
                    <a:pt x="1499" y="2098"/>
                  </a:lnTo>
                  <a:lnTo>
                    <a:pt x="1498" y="2091"/>
                  </a:lnTo>
                  <a:lnTo>
                    <a:pt x="1496" y="2083"/>
                  </a:lnTo>
                  <a:lnTo>
                    <a:pt x="1494" y="2077"/>
                  </a:lnTo>
                  <a:lnTo>
                    <a:pt x="1489" y="2070"/>
                  </a:lnTo>
                  <a:lnTo>
                    <a:pt x="1484" y="2063"/>
                  </a:lnTo>
                  <a:lnTo>
                    <a:pt x="1478" y="2056"/>
                  </a:lnTo>
                  <a:lnTo>
                    <a:pt x="1471" y="2050"/>
                  </a:lnTo>
                  <a:lnTo>
                    <a:pt x="1458" y="2036"/>
                  </a:lnTo>
                  <a:lnTo>
                    <a:pt x="1442" y="2024"/>
                  </a:lnTo>
                  <a:lnTo>
                    <a:pt x="1427" y="2012"/>
                  </a:lnTo>
                  <a:lnTo>
                    <a:pt x="1412" y="2000"/>
                  </a:lnTo>
                  <a:lnTo>
                    <a:pt x="1399" y="1987"/>
                  </a:lnTo>
                  <a:lnTo>
                    <a:pt x="1388" y="1975"/>
                  </a:lnTo>
                  <a:lnTo>
                    <a:pt x="1383" y="1969"/>
                  </a:lnTo>
                  <a:lnTo>
                    <a:pt x="1381" y="1963"/>
                  </a:lnTo>
                  <a:lnTo>
                    <a:pt x="1379" y="1957"/>
                  </a:lnTo>
                  <a:lnTo>
                    <a:pt x="1378" y="1952"/>
                  </a:lnTo>
                  <a:lnTo>
                    <a:pt x="1379" y="1945"/>
                  </a:lnTo>
                  <a:lnTo>
                    <a:pt x="1380" y="1939"/>
                  </a:lnTo>
                  <a:lnTo>
                    <a:pt x="1383" y="1933"/>
                  </a:lnTo>
                  <a:lnTo>
                    <a:pt x="1389" y="1927"/>
                  </a:lnTo>
                  <a:lnTo>
                    <a:pt x="1392" y="1924"/>
                  </a:lnTo>
                  <a:lnTo>
                    <a:pt x="1395" y="1921"/>
                  </a:lnTo>
                  <a:lnTo>
                    <a:pt x="1400" y="1920"/>
                  </a:lnTo>
                  <a:lnTo>
                    <a:pt x="1404" y="1919"/>
                  </a:lnTo>
                  <a:lnTo>
                    <a:pt x="1413" y="1918"/>
                  </a:lnTo>
                  <a:lnTo>
                    <a:pt x="1423" y="1919"/>
                  </a:lnTo>
                  <a:lnTo>
                    <a:pt x="1435" y="1921"/>
                  </a:lnTo>
                  <a:lnTo>
                    <a:pt x="1446" y="1925"/>
                  </a:lnTo>
                  <a:lnTo>
                    <a:pt x="1458" y="1928"/>
                  </a:lnTo>
                  <a:lnTo>
                    <a:pt x="1470" y="1934"/>
                  </a:lnTo>
                  <a:lnTo>
                    <a:pt x="1495" y="1944"/>
                  </a:lnTo>
                  <a:lnTo>
                    <a:pt x="1518" y="1954"/>
                  </a:lnTo>
                  <a:lnTo>
                    <a:pt x="1529" y="1958"/>
                  </a:lnTo>
                  <a:lnTo>
                    <a:pt x="1539" y="1960"/>
                  </a:lnTo>
                  <a:lnTo>
                    <a:pt x="1548" y="1963"/>
                  </a:lnTo>
                  <a:lnTo>
                    <a:pt x="1556" y="1964"/>
                  </a:lnTo>
                  <a:lnTo>
                    <a:pt x="1560" y="1963"/>
                  </a:lnTo>
                  <a:lnTo>
                    <a:pt x="1564" y="1959"/>
                  </a:lnTo>
                  <a:lnTo>
                    <a:pt x="1570" y="1954"/>
                  </a:lnTo>
                  <a:lnTo>
                    <a:pt x="1577" y="1947"/>
                  </a:lnTo>
                  <a:lnTo>
                    <a:pt x="1594" y="1931"/>
                  </a:lnTo>
                  <a:lnTo>
                    <a:pt x="1614" y="1916"/>
                  </a:lnTo>
                  <a:lnTo>
                    <a:pt x="1625" y="1908"/>
                  </a:lnTo>
                  <a:lnTo>
                    <a:pt x="1637" y="1901"/>
                  </a:lnTo>
                  <a:lnTo>
                    <a:pt x="1648" y="1897"/>
                  </a:lnTo>
                  <a:lnTo>
                    <a:pt x="1659" y="1894"/>
                  </a:lnTo>
                  <a:lnTo>
                    <a:pt x="1666" y="1892"/>
                  </a:lnTo>
                  <a:lnTo>
                    <a:pt x="1671" y="1892"/>
                  </a:lnTo>
                  <a:lnTo>
                    <a:pt x="1677" y="1894"/>
                  </a:lnTo>
                  <a:lnTo>
                    <a:pt x="1682" y="1895"/>
                  </a:lnTo>
                  <a:lnTo>
                    <a:pt x="1688" y="1897"/>
                  </a:lnTo>
                  <a:lnTo>
                    <a:pt x="1694" y="1900"/>
                  </a:lnTo>
                  <a:lnTo>
                    <a:pt x="1699" y="1904"/>
                  </a:lnTo>
                  <a:lnTo>
                    <a:pt x="1704" y="1908"/>
                  </a:lnTo>
                  <a:lnTo>
                    <a:pt x="1710" y="1914"/>
                  </a:lnTo>
                  <a:lnTo>
                    <a:pt x="1716" y="1917"/>
                  </a:lnTo>
                  <a:lnTo>
                    <a:pt x="1721" y="1920"/>
                  </a:lnTo>
                  <a:lnTo>
                    <a:pt x="1727" y="1923"/>
                  </a:lnTo>
                  <a:lnTo>
                    <a:pt x="1733" y="1924"/>
                  </a:lnTo>
                  <a:lnTo>
                    <a:pt x="1738" y="1924"/>
                  </a:lnTo>
                  <a:lnTo>
                    <a:pt x="1744" y="1924"/>
                  </a:lnTo>
                  <a:lnTo>
                    <a:pt x="1749" y="1923"/>
                  </a:lnTo>
                  <a:lnTo>
                    <a:pt x="1754" y="1920"/>
                  </a:lnTo>
                  <a:lnTo>
                    <a:pt x="1759" y="1918"/>
                  </a:lnTo>
                  <a:lnTo>
                    <a:pt x="1764" y="1915"/>
                  </a:lnTo>
                  <a:lnTo>
                    <a:pt x="1768" y="1911"/>
                  </a:lnTo>
                  <a:lnTo>
                    <a:pt x="1777" y="1904"/>
                  </a:lnTo>
                  <a:lnTo>
                    <a:pt x="1784" y="1894"/>
                  </a:lnTo>
                  <a:lnTo>
                    <a:pt x="1788" y="1883"/>
                  </a:lnTo>
                  <a:lnTo>
                    <a:pt x="1792" y="1873"/>
                  </a:lnTo>
                  <a:lnTo>
                    <a:pt x="1792" y="1869"/>
                  </a:lnTo>
                  <a:lnTo>
                    <a:pt x="1793" y="1863"/>
                  </a:lnTo>
                  <a:lnTo>
                    <a:pt x="1792" y="1859"/>
                  </a:lnTo>
                  <a:lnTo>
                    <a:pt x="1791" y="1854"/>
                  </a:lnTo>
                  <a:lnTo>
                    <a:pt x="1788" y="1850"/>
                  </a:lnTo>
                  <a:lnTo>
                    <a:pt x="1786" y="1847"/>
                  </a:lnTo>
                  <a:lnTo>
                    <a:pt x="1783" y="1843"/>
                  </a:lnTo>
                  <a:lnTo>
                    <a:pt x="1780" y="1840"/>
                  </a:lnTo>
                  <a:lnTo>
                    <a:pt x="1775" y="1838"/>
                  </a:lnTo>
                  <a:lnTo>
                    <a:pt x="1768" y="1835"/>
                  </a:lnTo>
                  <a:lnTo>
                    <a:pt x="1763" y="1834"/>
                  </a:lnTo>
                  <a:lnTo>
                    <a:pt x="1755" y="1834"/>
                  </a:lnTo>
                  <a:lnTo>
                    <a:pt x="1736" y="1833"/>
                  </a:lnTo>
                  <a:lnTo>
                    <a:pt x="1718" y="1831"/>
                  </a:lnTo>
                  <a:lnTo>
                    <a:pt x="1702" y="1828"/>
                  </a:lnTo>
                  <a:lnTo>
                    <a:pt x="1689" y="1822"/>
                  </a:lnTo>
                  <a:lnTo>
                    <a:pt x="1678" y="1817"/>
                  </a:lnTo>
                  <a:lnTo>
                    <a:pt x="1668" y="1809"/>
                  </a:lnTo>
                  <a:lnTo>
                    <a:pt x="1660" y="1801"/>
                  </a:lnTo>
                  <a:lnTo>
                    <a:pt x="1653" y="1792"/>
                  </a:lnTo>
                  <a:lnTo>
                    <a:pt x="1649" y="1782"/>
                  </a:lnTo>
                  <a:lnTo>
                    <a:pt x="1644" y="1771"/>
                  </a:lnTo>
                  <a:lnTo>
                    <a:pt x="1642" y="1760"/>
                  </a:lnTo>
                  <a:lnTo>
                    <a:pt x="1642" y="1747"/>
                  </a:lnTo>
                  <a:lnTo>
                    <a:pt x="1642" y="1735"/>
                  </a:lnTo>
                  <a:lnTo>
                    <a:pt x="1644" y="1723"/>
                  </a:lnTo>
                  <a:lnTo>
                    <a:pt x="1647" y="1710"/>
                  </a:lnTo>
                  <a:lnTo>
                    <a:pt x="1651" y="1697"/>
                  </a:lnTo>
                  <a:lnTo>
                    <a:pt x="1656" y="1685"/>
                  </a:lnTo>
                  <a:lnTo>
                    <a:pt x="1661" y="1673"/>
                  </a:lnTo>
                  <a:lnTo>
                    <a:pt x="1668" y="1659"/>
                  </a:lnTo>
                  <a:lnTo>
                    <a:pt x="1676" y="1647"/>
                  </a:lnTo>
                  <a:lnTo>
                    <a:pt x="1684" y="1636"/>
                  </a:lnTo>
                  <a:lnTo>
                    <a:pt x="1692" y="1625"/>
                  </a:lnTo>
                  <a:lnTo>
                    <a:pt x="1701" y="1613"/>
                  </a:lnTo>
                  <a:lnTo>
                    <a:pt x="1710" y="1603"/>
                  </a:lnTo>
                  <a:lnTo>
                    <a:pt x="1720" y="1594"/>
                  </a:lnTo>
                  <a:lnTo>
                    <a:pt x="1732" y="1585"/>
                  </a:lnTo>
                  <a:lnTo>
                    <a:pt x="1742" y="1579"/>
                  </a:lnTo>
                  <a:lnTo>
                    <a:pt x="1753" y="1572"/>
                  </a:lnTo>
                  <a:lnTo>
                    <a:pt x="1764" y="1568"/>
                  </a:lnTo>
                  <a:lnTo>
                    <a:pt x="1775" y="1564"/>
                  </a:lnTo>
                  <a:lnTo>
                    <a:pt x="1786" y="1562"/>
                  </a:lnTo>
                  <a:lnTo>
                    <a:pt x="1796" y="1561"/>
                  </a:lnTo>
                  <a:lnTo>
                    <a:pt x="1807" y="1561"/>
                  </a:lnTo>
                  <a:lnTo>
                    <a:pt x="1817" y="1560"/>
                  </a:lnTo>
                  <a:lnTo>
                    <a:pt x="1826" y="1558"/>
                  </a:lnTo>
                  <a:lnTo>
                    <a:pt x="1835" y="1556"/>
                  </a:lnTo>
                  <a:lnTo>
                    <a:pt x="1844" y="1553"/>
                  </a:lnTo>
                  <a:lnTo>
                    <a:pt x="1853" y="1550"/>
                  </a:lnTo>
                  <a:lnTo>
                    <a:pt x="1861" y="1546"/>
                  </a:lnTo>
                  <a:lnTo>
                    <a:pt x="1869" y="1543"/>
                  </a:lnTo>
                  <a:lnTo>
                    <a:pt x="1882" y="1533"/>
                  </a:lnTo>
                  <a:lnTo>
                    <a:pt x="1896" y="1523"/>
                  </a:lnTo>
                  <a:lnTo>
                    <a:pt x="1908" y="1511"/>
                  </a:lnTo>
                  <a:lnTo>
                    <a:pt x="1919" y="1497"/>
                  </a:lnTo>
                  <a:lnTo>
                    <a:pt x="1929" y="1484"/>
                  </a:lnTo>
                  <a:lnTo>
                    <a:pt x="1939" y="1469"/>
                  </a:lnTo>
                  <a:lnTo>
                    <a:pt x="1948" y="1455"/>
                  </a:lnTo>
                  <a:lnTo>
                    <a:pt x="1957" y="1440"/>
                  </a:lnTo>
                  <a:lnTo>
                    <a:pt x="1974" y="1411"/>
                  </a:lnTo>
                  <a:lnTo>
                    <a:pt x="1992" y="1383"/>
                  </a:lnTo>
                  <a:lnTo>
                    <a:pt x="1974" y="1359"/>
                  </a:lnTo>
                  <a:lnTo>
                    <a:pt x="1957" y="1330"/>
                  </a:lnTo>
                  <a:lnTo>
                    <a:pt x="1949" y="1317"/>
                  </a:lnTo>
                  <a:lnTo>
                    <a:pt x="1942" y="1304"/>
                  </a:lnTo>
                  <a:lnTo>
                    <a:pt x="1938" y="1294"/>
                  </a:lnTo>
                  <a:lnTo>
                    <a:pt x="1937" y="1286"/>
                  </a:lnTo>
                  <a:lnTo>
                    <a:pt x="1935" y="1285"/>
                  </a:lnTo>
                  <a:lnTo>
                    <a:pt x="1934" y="1283"/>
                  </a:lnTo>
                  <a:lnTo>
                    <a:pt x="1931" y="1279"/>
                  </a:lnTo>
                  <a:lnTo>
                    <a:pt x="1930" y="1274"/>
                  </a:lnTo>
                  <a:lnTo>
                    <a:pt x="1928" y="1264"/>
                  </a:lnTo>
                  <a:lnTo>
                    <a:pt x="1927" y="1257"/>
                  </a:lnTo>
                  <a:lnTo>
                    <a:pt x="1926" y="1256"/>
                  </a:lnTo>
                  <a:lnTo>
                    <a:pt x="1922" y="1253"/>
                  </a:lnTo>
                  <a:lnTo>
                    <a:pt x="1920" y="1248"/>
                  </a:lnTo>
                  <a:lnTo>
                    <a:pt x="1918" y="1243"/>
                  </a:lnTo>
                  <a:lnTo>
                    <a:pt x="1915" y="1231"/>
                  </a:lnTo>
                  <a:lnTo>
                    <a:pt x="1912" y="1224"/>
                  </a:lnTo>
                  <a:lnTo>
                    <a:pt x="1911" y="1223"/>
                  </a:lnTo>
                  <a:lnTo>
                    <a:pt x="1910" y="1222"/>
                  </a:lnTo>
                  <a:lnTo>
                    <a:pt x="1909" y="1221"/>
                  </a:lnTo>
                  <a:lnTo>
                    <a:pt x="1909" y="1218"/>
                  </a:lnTo>
                  <a:lnTo>
                    <a:pt x="1908" y="1214"/>
                  </a:lnTo>
                  <a:lnTo>
                    <a:pt x="1908" y="1209"/>
                  </a:lnTo>
                  <a:lnTo>
                    <a:pt x="1898" y="1199"/>
                  </a:lnTo>
                  <a:lnTo>
                    <a:pt x="1898" y="1196"/>
                  </a:lnTo>
                  <a:lnTo>
                    <a:pt x="1898" y="1193"/>
                  </a:lnTo>
                  <a:lnTo>
                    <a:pt x="1896" y="1190"/>
                  </a:lnTo>
                  <a:lnTo>
                    <a:pt x="1893" y="1189"/>
                  </a:lnTo>
                  <a:lnTo>
                    <a:pt x="1893" y="1175"/>
                  </a:lnTo>
                  <a:lnTo>
                    <a:pt x="1891" y="1165"/>
                  </a:lnTo>
                  <a:lnTo>
                    <a:pt x="1886" y="1142"/>
                  </a:lnTo>
                  <a:lnTo>
                    <a:pt x="1881" y="1118"/>
                  </a:lnTo>
                  <a:lnTo>
                    <a:pt x="1879" y="1102"/>
                  </a:lnTo>
                  <a:lnTo>
                    <a:pt x="1878" y="1093"/>
                  </a:lnTo>
                  <a:lnTo>
                    <a:pt x="1877" y="1083"/>
                  </a:lnTo>
                  <a:lnTo>
                    <a:pt x="1874" y="1072"/>
                  </a:lnTo>
                  <a:lnTo>
                    <a:pt x="1871" y="1061"/>
                  </a:lnTo>
                  <a:lnTo>
                    <a:pt x="1869" y="1050"/>
                  </a:lnTo>
                  <a:lnTo>
                    <a:pt x="1867" y="1037"/>
                  </a:lnTo>
                  <a:lnTo>
                    <a:pt x="1864" y="1026"/>
                  </a:lnTo>
                  <a:lnTo>
                    <a:pt x="1864" y="1015"/>
                  </a:lnTo>
                  <a:lnTo>
                    <a:pt x="1862" y="1015"/>
                  </a:lnTo>
                  <a:lnTo>
                    <a:pt x="1861" y="1013"/>
                  </a:lnTo>
                  <a:lnTo>
                    <a:pt x="1859" y="1011"/>
                  </a:lnTo>
                  <a:lnTo>
                    <a:pt x="1857" y="1007"/>
                  </a:lnTo>
                  <a:lnTo>
                    <a:pt x="1853" y="998"/>
                  </a:lnTo>
                  <a:lnTo>
                    <a:pt x="1850" y="988"/>
                  </a:lnTo>
                  <a:lnTo>
                    <a:pt x="1846" y="979"/>
                  </a:lnTo>
                  <a:lnTo>
                    <a:pt x="1842" y="971"/>
                  </a:lnTo>
                  <a:lnTo>
                    <a:pt x="1841" y="967"/>
                  </a:lnTo>
                  <a:lnTo>
                    <a:pt x="1839" y="965"/>
                  </a:lnTo>
                  <a:lnTo>
                    <a:pt x="1838" y="963"/>
                  </a:lnTo>
                  <a:lnTo>
                    <a:pt x="1835" y="963"/>
                  </a:lnTo>
                  <a:lnTo>
                    <a:pt x="1834" y="952"/>
                  </a:lnTo>
                  <a:lnTo>
                    <a:pt x="1831" y="939"/>
                  </a:lnTo>
                  <a:lnTo>
                    <a:pt x="1826" y="928"/>
                  </a:lnTo>
                  <a:lnTo>
                    <a:pt x="1821" y="916"/>
                  </a:lnTo>
                  <a:lnTo>
                    <a:pt x="1815" y="905"/>
                  </a:lnTo>
                  <a:lnTo>
                    <a:pt x="1811" y="892"/>
                  </a:lnTo>
                  <a:lnTo>
                    <a:pt x="1807" y="881"/>
                  </a:lnTo>
                  <a:lnTo>
                    <a:pt x="1806" y="870"/>
                  </a:lnTo>
                  <a:lnTo>
                    <a:pt x="1804" y="870"/>
                  </a:lnTo>
                  <a:lnTo>
                    <a:pt x="1803" y="868"/>
                  </a:lnTo>
                  <a:lnTo>
                    <a:pt x="1801" y="866"/>
                  </a:lnTo>
                  <a:lnTo>
                    <a:pt x="1800" y="862"/>
                  </a:lnTo>
                  <a:lnTo>
                    <a:pt x="1797" y="856"/>
                  </a:lnTo>
                  <a:lnTo>
                    <a:pt x="1796" y="851"/>
                  </a:lnTo>
                  <a:lnTo>
                    <a:pt x="1795" y="850"/>
                  </a:lnTo>
                  <a:lnTo>
                    <a:pt x="1794" y="849"/>
                  </a:lnTo>
                  <a:lnTo>
                    <a:pt x="1793" y="848"/>
                  </a:lnTo>
                  <a:lnTo>
                    <a:pt x="1792" y="846"/>
                  </a:lnTo>
                  <a:lnTo>
                    <a:pt x="1792" y="841"/>
                  </a:lnTo>
                  <a:lnTo>
                    <a:pt x="1792" y="837"/>
                  </a:lnTo>
                  <a:lnTo>
                    <a:pt x="1788" y="835"/>
                  </a:lnTo>
                  <a:lnTo>
                    <a:pt x="1787" y="833"/>
                  </a:lnTo>
                  <a:lnTo>
                    <a:pt x="1787" y="830"/>
                  </a:lnTo>
                  <a:lnTo>
                    <a:pt x="1787" y="827"/>
                  </a:lnTo>
                  <a:lnTo>
                    <a:pt x="1775" y="820"/>
                  </a:lnTo>
                  <a:lnTo>
                    <a:pt x="1767" y="812"/>
                  </a:lnTo>
                  <a:lnTo>
                    <a:pt x="1758" y="812"/>
                  </a:lnTo>
                  <a:lnTo>
                    <a:pt x="1753" y="802"/>
                  </a:lnTo>
                  <a:lnTo>
                    <a:pt x="1748" y="802"/>
                  </a:lnTo>
                  <a:lnTo>
                    <a:pt x="1744" y="800"/>
                  </a:lnTo>
                  <a:lnTo>
                    <a:pt x="1739" y="796"/>
                  </a:lnTo>
                  <a:lnTo>
                    <a:pt x="1736" y="793"/>
                  </a:lnTo>
                  <a:lnTo>
                    <a:pt x="1733" y="790"/>
                  </a:lnTo>
                  <a:lnTo>
                    <a:pt x="1728" y="786"/>
                  </a:lnTo>
                  <a:lnTo>
                    <a:pt x="1724" y="784"/>
                  </a:lnTo>
                  <a:lnTo>
                    <a:pt x="1719" y="783"/>
                  </a:lnTo>
                  <a:lnTo>
                    <a:pt x="1715" y="777"/>
                  </a:lnTo>
                  <a:lnTo>
                    <a:pt x="1706" y="770"/>
                  </a:lnTo>
                  <a:lnTo>
                    <a:pt x="1697" y="762"/>
                  </a:lnTo>
                  <a:lnTo>
                    <a:pt x="1690" y="758"/>
                  </a:lnTo>
                  <a:lnTo>
                    <a:pt x="1688" y="754"/>
                  </a:lnTo>
                  <a:lnTo>
                    <a:pt x="1685" y="750"/>
                  </a:lnTo>
                  <a:lnTo>
                    <a:pt x="1676" y="747"/>
                  </a:lnTo>
                  <a:lnTo>
                    <a:pt x="1666" y="744"/>
                  </a:lnTo>
                  <a:lnTo>
                    <a:pt x="1666" y="735"/>
                  </a:lnTo>
                  <a:lnTo>
                    <a:pt x="1656" y="735"/>
                  </a:lnTo>
                  <a:lnTo>
                    <a:pt x="1651" y="729"/>
                  </a:lnTo>
                  <a:lnTo>
                    <a:pt x="1649" y="725"/>
                  </a:lnTo>
                  <a:lnTo>
                    <a:pt x="1647" y="721"/>
                  </a:lnTo>
                  <a:lnTo>
                    <a:pt x="1637" y="721"/>
                  </a:lnTo>
                  <a:lnTo>
                    <a:pt x="1637" y="710"/>
                  </a:lnTo>
                  <a:lnTo>
                    <a:pt x="1632" y="706"/>
                  </a:lnTo>
                  <a:lnTo>
                    <a:pt x="1627" y="704"/>
                  </a:lnTo>
                  <a:lnTo>
                    <a:pt x="1622" y="700"/>
                  </a:lnTo>
                  <a:lnTo>
                    <a:pt x="1619" y="694"/>
                  </a:lnTo>
                  <a:lnTo>
                    <a:pt x="1610" y="683"/>
                  </a:lnTo>
                  <a:lnTo>
                    <a:pt x="1602" y="671"/>
                  </a:lnTo>
                  <a:lnTo>
                    <a:pt x="1598" y="667"/>
                  </a:lnTo>
                  <a:lnTo>
                    <a:pt x="1598" y="660"/>
                  </a:lnTo>
                  <a:lnTo>
                    <a:pt x="1596" y="654"/>
                  </a:lnTo>
                  <a:lnTo>
                    <a:pt x="1594" y="646"/>
                  </a:lnTo>
                  <a:lnTo>
                    <a:pt x="1591" y="638"/>
                  </a:lnTo>
                  <a:lnTo>
                    <a:pt x="1584" y="621"/>
                  </a:lnTo>
                  <a:lnTo>
                    <a:pt x="1576" y="603"/>
                  </a:lnTo>
                  <a:lnTo>
                    <a:pt x="1569" y="584"/>
                  </a:lnTo>
                  <a:lnTo>
                    <a:pt x="1561" y="567"/>
                  </a:lnTo>
                  <a:lnTo>
                    <a:pt x="1558" y="558"/>
                  </a:lnTo>
                  <a:lnTo>
                    <a:pt x="1556" y="549"/>
                  </a:lnTo>
                  <a:lnTo>
                    <a:pt x="1555" y="540"/>
                  </a:lnTo>
                  <a:lnTo>
                    <a:pt x="1554" y="532"/>
                  </a:lnTo>
                  <a:lnTo>
                    <a:pt x="1553" y="531"/>
                  </a:lnTo>
                  <a:lnTo>
                    <a:pt x="1552" y="527"/>
                  </a:lnTo>
                  <a:lnTo>
                    <a:pt x="1551" y="524"/>
                  </a:lnTo>
                  <a:lnTo>
                    <a:pt x="1551" y="519"/>
                  </a:lnTo>
                  <a:lnTo>
                    <a:pt x="1550" y="508"/>
                  </a:lnTo>
                  <a:lnTo>
                    <a:pt x="1550" y="503"/>
                  </a:lnTo>
                  <a:lnTo>
                    <a:pt x="1545" y="495"/>
                  </a:lnTo>
                  <a:lnTo>
                    <a:pt x="1539" y="483"/>
                  </a:lnTo>
                  <a:lnTo>
                    <a:pt x="1528" y="484"/>
                  </a:lnTo>
                  <a:lnTo>
                    <a:pt x="1517" y="485"/>
                  </a:lnTo>
                  <a:lnTo>
                    <a:pt x="1506" y="487"/>
                  </a:lnTo>
                  <a:lnTo>
                    <a:pt x="1495" y="491"/>
                  </a:lnTo>
                  <a:lnTo>
                    <a:pt x="1484" y="493"/>
                  </a:lnTo>
                  <a:lnTo>
                    <a:pt x="1473" y="495"/>
                  </a:lnTo>
                  <a:lnTo>
                    <a:pt x="1462" y="497"/>
                  </a:lnTo>
                  <a:lnTo>
                    <a:pt x="1452" y="497"/>
                  </a:lnTo>
                  <a:lnTo>
                    <a:pt x="1451" y="502"/>
                  </a:lnTo>
                  <a:lnTo>
                    <a:pt x="1449" y="505"/>
                  </a:lnTo>
                  <a:lnTo>
                    <a:pt x="1443" y="508"/>
                  </a:lnTo>
                  <a:lnTo>
                    <a:pt x="1438" y="510"/>
                  </a:lnTo>
                  <a:lnTo>
                    <a:pt x="1421" y="513"/>
                  </a:lnTo>
                  <a:lnTo>
                    <a:pt x="1403" y="514"/>
                  </a:lnTo>
                  <a:lnTo>
                    <a:pt x="1366" y="513"/>
                  </a:lnTo>
                  <a:lnTo>
                    <a:pt x="1346" y="512"/>
                  </a:lnTo>
                  <a:lnTo>
                    <a:pt x="1342" y="503"/>
                  </a:lnTo>
                  <a:lnTo>
                    <a:pt x="1331" y="502"/>
                  </a:lnTo>
                  <a:lnTo>
                    <a:pt x="1322" y="500"/>
                  </a:lnTo>
                  <a:lnTo>
                    <a:pt x="1313" y="498"/>
                  </a:lnTo>
                  <a:lnTo>
                    <a:pt x="1303" y="497"/>
                  </a:lnTo>
                  <a:lnTo>
                    <a:pt x="1299" y="495"/>
                  </a:lnTo>
                  <a:lnTo>
                    <a:pt x="1293" y="491"/>
                  </a:lnTo>
                  <a:lnTo>
                    <a:pt x="1283" y="485"/>
                  </a:lnTo>
                  <a:lnTo>
                    <a:pt x="1270" y="478"/>
                  </a:lnTo>
                  <a:lnTo>
                    <a:pt x="1257" y="473"/>
                  </a:lnTo>
                  <a:lnTo>
                    <a:pt x="1246" y="468"/>
                  </a:lnTo>
                  <a:lnTo>
                    <a:pt x="1236" y="465"/>
                  </a:lnTo>
                  <a:lnTo>
                    <a:pt x="1230" y="464"/>
                  </a:lnTo>
                  <a:lnTo>
                    <a:pt x="1229" y="462"/>
                  </a:lnTo>
                  <a:lnTo>
                    <a:pt x="1228" y="460"/>
                  </a:lnTo>
                  <a:lnTo>
                    <a:pt x="1227" y="460"/>
                  </a:lnTo>
                  <a:lnTo>
                    <a:pt x="1225" y="459"/>
                  </a:lnTo>
                  <a:lnTo>
                    <a:pt x="1220" y="459"/>
                  </a:lnTo>
                  <a:lnTo>
                    <a:pt x="1216" y="459"/>
                  </a:lnTo>
                  <a:lnTo>
                    <a:pt x="1216" y="449"/>
                  </a:lnTo>
                  <a:lnTo>
                    <a:pt x="1211" y="448"/>
                  </a:lnTo>
                  <a:lnTo>
                    <a:pt x="1207" y="446"/>
                  </a:lnTo>
                  <a:lnTo>
                    <a:pt x="1202" y="443"/>
                  </a:lnTo>
                  <a:lnTo>
                    <a:pt x="1201" y="439"/>
                  </a:lnTo>
                  <a:lnTo>
                    <a:pt x="1191" y="439"/>
                  </a:lnTo>
                  <a:lnTo>
                    <a:pt x="1187" y="430"/>
                  </a:lnTo>
                  <a:lnTo>
                    <a:pt x="1183" y="429"/>
                  </a:lnTo>
                  <a:lnTo>
                    <a:pt x="1180" y="429"/>
                  </a:lnTo>
                  <a:lnTo>
                    <a:pt x="1178" y="428"/>
                  </a:lnTo>
                  <a:lnTo>
                    <a:pt x="1177" y="425"/>
                  </a:lnTo>
                  <a:lnTo>
                    <a:pt x="1162" y="425"/>
                  </a:lnTo>
                  <a:lnTo>
                    <a:pt x="1162" y="424"/>
                  </a:lnTo>
                  <a:lnTo>
                    <a:pt x="1160" y="421"/>
                  </a:lnTo>
                  <a:lnTo>
                    <a:pt x="1158" y="420"/>
                  </a:lnTo>
                  <a:lnTo>
                    <a:pt x="1154" y="418"/>
                  </a:lnTo>
                  <a:lnTo>
                    <a:pt x="1148" y="416"/>
                  </a:lnTo>
                  <a:lnTo>
                    <a:pt x="1143" y="416"/>
                  </a:lnTo>
                  <a:lnTo>
                    <a:pt x="1135" y="410"/>
                  </a:lnTo>
                  <a:lnTo>
                    <a:pt x="1129" y="406"/>
                  </a:lnTo>
                  <a:lnTo>
                    <a:pt x="1114" y="406"/>
                  </a:lnTo>
                  <a:lnTo>
                    <a:pt x="1112" y="400"/>
                  </a:lnTo>
                  <a:lnTo>
                    <a:pt x="1109" y="396"/>
                  </a:lnTo>
                  <a:lnTo>
                    <a:pt x="1100" y="396"/>
                  </a:lnTo>
                  <a:lnTo>
                    <a:pt x="1090" y="387"/>
                  </a:lnTo>
                  <a:lnTo>
                    <a:pt x="1080" y="377"/>
                  </a:lnTo>
                  <a:lnTo>
                    <a:pt x="1075" y="375"/>
                  </a:lnTo>
                  <a:lnTo>
                    <a:pt x="1068" y="369"/>
                  </a:lnTo>
                  <a:lnTo>
                    <a:pt x="1063" y="362"/>
                  </a:lnTo>
                  <a:lnTo>
                    <a:pt x="1061" y="357"/>
                  </a:lnTo>
                  <a:lnTo>
                    <a:pt x="1056" y="354"/>
                  </a:lnTo>
                  <a:lnTo>
                    <a:pt x="1051" y="352"/>
                  </a:lnTo>
                  <a:lnTo>
                    <a:pt x="1048" y="346"/>
                  </a:lnTo>
                  <a:lnTo>
                    <a:pt x="1046" y="338"/>
                  </a:lnTo>
                  <a:lnTo>
                    <a:pt x="1042" y="333"/>
                  </a:lnTo>
                  <a:lnTo>
                    <a:pt x="1037" y="332"/>
                  </a:lnTo>
                  <a:lnTo>
                    <a:pt x="1033" y="330"/>
                  </a:lnTo>
                  <a:lnTo>
                    <a:pt x="1028" y="327"/>
                  </a:lnTo>
                  <a:lnTo>
                    <a:pt x="1027" y="323"/>
                  </a:lnTo>
                  <a:lnTo>
                    <a:pt x="1017" y="323"/>
                  </a:lnTo>
                  <a:lnTo>
                    <a:pt x="1016" y="320"/>
                  </a:lnTo>
                  <a:lnTo>
                    <a:pt x="1014" y="317"/>
                  </a:lnTo>
                  <a:lnTo>
                    <a:pt x="1011" y="314"/>
                  </a:lnTo>
                  <a:lnTo>
                    <a:pt x="1007" y="313"/>
                  </a:lnTo>
                  <a:lnTo>
                    <a:pt x="1000" y="305"/>
                  </a:lnTo>
                  <a:lnTo>
                    <a:pt x="993" y="294"/>
                  </a:lnTo>
                  <a:lnTo>
                    <a:pt x="987" y="290"/>
                  </a:lnTo>
                  <a:lnTo>
                    <a:pt x="978" y="284"/>
                  </a:lnTo>
                  <a:lnTo>
                    <a:pt x="978" y="275"/>
                  </a:lnTo>
                  <a:lnTo>
                    <a:pt x="976" y="274"/>
                  </a:lnTo>
                  <a:lnTo>
                    <a:pt x="975" y="272"/>
                  </a:lnTo>
                  <a:lnTo>
                    <a:pt x="974" y="269"/>
                  </a:lnTo>
                  <a:lnTo>
                    <a:pt x="974" y="265"/>
                  </a:lnTo>
                  <a:lnTo>
                    <a:pt x="972" y="265"/>
                  </a:lnTo>
                  <a:lnTo>
                    <a:pt x="970" y="264"/>
                  </a:lnTo>
                  <a:lnTo>
                    <a:pt x="970" y="262"/>
                  </a:lnTo>
                  <a:lnTo>
                    <a:pt x="969" y="260"/>
                  </a:lnTo>
                  <a:lnTo>
                    <a:pt x="969" y="255"/>
                  </a:lnTo>
                  <a:lnTo>
                    <a:pt x="969" y="251"/>
                  </a:lnTo>
                  <a:lnTo>
                    <a:pt x="959" y="251"/>
                  </a:lnTo>
                  <a:lnTo>
                    <a:pt x="959" y="241"/>
                  </a:lnTo>
                  <a:lnTo>
                    <a:pt x="955" y="238"/>
                  </a:lnTo>
                  <a:lnTo>
                    <a:pt x="949" y="236"/>
                  </a:lnTo>
                  <a:lnTo>
                    <a:pt x="949" y="226"/>
                  </a:lnTo>
                  <a:lnTo>
                    <a:pt x="940" y="222"/>
                  </a:lnTo>
                  <a:lnTo>
                    <a:pt x="940" y="215"/>
                  </a:lnTo>
                  <a:lnTo>
                    <a:pt x="940" y="207"/>
                  </a:lnTo>
                  <a:lnTo>
                    <a:pt x="938" y="207"/>
                  </a:lnTo>
                  <a:lnTo>
                    <a:pt x="937" y="206"/>
                  </a:lnTo>
                  <a:lnTo>
                    <a:pt x="936" y="204"/>
                  </a:lnTo>
                  <a:lnTo>
                    <a:pt x="936" y="202"/>
                  </a:lnTo>
                  <a:lnTo>
                    <a:pt x="934" y="197"/>
                  </a:lnTo>
                  <a:lnTo>
                    <a:pt x="934" y="193"/>
                  </a:lnTo>
                  <a:lnTo>
                    <a:pt x="932" y="192"/>
                  </a:lnTo>
                  <a:lnTo>
                    <a:pt x="931" y="189"/>
                  </a:lnTo>
                  <a:lnTo>
                    <a:pt x="930" y="187"/>
                  </a:lnTo>
                  <a:lnTo>
                    <a:pt x="930" y="183"/>
                  </a:lnTo>
                  <a:lnTo>
                    <a:pt x="928" y="183"/>
                  </a:lnTo>
                  <a:lnTo>
                    <a:pt x="927" y="180"/>
                  </a:lnTo>
                  <a:lnTo>
                    <a:pt x="924" y="177"/>
                  </a:lnTo>
                  <a:lnTo>
                    <a:pt x="923" y="173"/>
                  </a:lnTo>
                  <a:lnTo>
                    <a:pt x="921" y="165"/>
                  </a:lnTo>
                  <a:lnTo>
                    <a:pt x="920" y="159"/>
                  </a:lnTo>
                  <a:lnTo>
                    <a:pt x="915" y="147"/>
                  </a:lnTo>
                  <a:lnTo>
                    <a:pt x="911" y="135"/>
                  </a:lnTo>
                  <a:lnTo>
                    <a:pt x="910" y="125"/>
                  </a:lnTo>
                  <a:lnTo>
                    <a:pt x="910" y="111"/>
                  </a:lnTo>
                  <a:lnTo>
                    <a:pt x="908" y="106"/>
                  </a:lnTo>
                  <a:lnTo>
                    <a:pt x="907" y="100"/>
                  </a:lnTo>
                  <a:lnTo>
                    <a:pt x="904" y="97"/>
                  </a:lnTo>
                  <a:lnTo>
                    <a:pt x="901" y="96"/>
                  </a:lnTo>
                  <a:lnTo>
                    <a:pt x="900" y="90"/>
                  </a:lnTo>
                  <a:lnTo>
                    <a:pt x="898" y="82"/>
                  </a:lnTo>
                  <a:lnTo>
                    <a:pt x="897" y="78"/>
                  </a:lnTo>
                  <a:lnTo>
                    <a:pt x="894" y="74"/>
                  </a:lnTo>
                  <a:lnTo>
                    <a:pt x="893" y="72"/>
                  </a:lnTo>
                  <a:lnTo>
                    <a:pt x="891" y="72"/>
                  </a:lnTo>
                  <a:lnTo>
                    <a:pt x="891" y="58"/>
                  </a:lnTo>
                  <a:lnTo>
                    <a:pt x="882" y="48"/>
                  </a:lnTo>
                  <a:lnTo>
                    <a:pt x="882" y="38"/>
                  </a:lnTo>
                  <a:lnTo>
                    <a:pt x="872" y="38"/>
                  </a:lnTo>
                  <a:lnTo>
                    <a:pt x="870" y="41"/>
                  </a:lnTo>
                  <a:lnTo>
                    <a:pt x="866" y="44"/>
                  </a:lnTo>
                  <a:lnTo>
                    <a:pt x="862" y="46"/>
                  </a:lnTo>
                  <a:lnTo>
                    <a:pt x="857" y="48"/>
                  </a:lnTo>
                  <a:lnTo>
                    <a:pt x="856" y="51"/>
                  </a:lnTo>
                  <a:lnTo>
                    <a:pt x="855" y="53"/>
                  </a:lnTo>
                  <a:lnTo>
                    <a:pt x="853" y="56"/>
                  </a:lnTo>
                  <a:lnTo>
                    <a:pt x="850" y="58"/>
                  </a:lnTo>
                  <a:lnTo>
                    <a:pt x="842" y="61"/>
                  </a:lnTo>
                  <a:lnTo>
                    <a:pt x="833" y="64"/>
                  </a:lnTo>
                  <a:lnTo>
                    <a:pt x="824" y="67"/>
                  </a:lnTo>
                  <a:lnTo>
                    <a:pt x="816" y="69"/>
                  </a:lnTo>
                  <a:lnTo>
                    <a:pt x="814" y="70"/>
                  </a:lnTo>
                  <a:lnTo>
                    <a:pt x="811" y="72"/>
                  </a:lnTo>
                  <a:lnTo>
                    <a:pt x="809" y="74"/>
                  </a:lnTo>
                  <a:lnTo>
                    <a:pt x="809" y="77"/>
                  </a:lnTo>
                  <a:lnTo>
                    <a:pt x="692" y="81"/>
                  </a:lnTo>
                  <a:lnTo>
                    <a:pt x="692" y="79"/>
                  </a:lnTo>
                  <a:lnTo>
                    <a:pt x="690" y="77"/>
                  </a:lnTo>
                  <a:lnTo>
                    <a:pt x="687" y="77"/>
                  </a:lnTo>
                  <a:lnTo>
                    <a:pt x="683" y="77"/>
                  </a:lnTo>
                  <a:lnTo>
                    <a:pt x="663" y="58"/>
                  </a:lnTo>
                  <a:lnTo>
                    <a:pt x="654" y="58"/>
                  </a:lnTo>
                  <a:lnTo>
                    <a:pt x="654" y="50"/>
                  </a:lnTo>
                  <a:lnTo>
                    <a:pt x="654" y="43"/>
                  </a:lnTo>
                  <a:lnTo>
                    <a:pt x="652" y="42"/>
                  </a:lnTo>
                  <a:lnTo>
                    <a:pt x="651" y="41"/>
                  </a:lnTo>
                  <a:lnTo>
                    <a:pt x="650" y="40"/>
                  </a:lnTo>
                  <a:lnTo>
                    <a:pt x="650" y="38"/>
                  </a:lnTo>
                  <a:lnTo>
                    <a:pt x="649" y="32"/>
                  </a:lnTo>
                  <a:lnTo>
                    <a:pt x="649" y="29"/>
                  </a:lnTo>
                  <a:lnTo>
                    <a:pt x="644" y="23"/>
                  </a:lnTo>
                  <a:lnTo>
                    <a:pt x="640" y="19"/>
                  </a:lnTo>
                  <a:lnTo>
                    <a:pt x="630" y="19"/>
                  </a:lnTo>
                  <a:lnTo>
                    <a:pt x="629" y="16"/>
                  </a:lnTo>
                  <a:lnTo>
                    <a:pt x="627" y="15"/>
                  </a:lnTo>
                  <a:lnTo>
                    <a:pt x="624" y="15"/>
                  </a:lnTo>
                  <a:lnTo>
                    <a:pt x="621" y="14"/>
                  </a:lnTo>
                  <a:lnTo>
                    <a:pt x="612" y="14"/>
                  </a:lnTo>
                  <a:lnTo>
                    <a:pt x="601" y="15"/>
                  </a:lnTo>
                  <a:lnTo>
                    <a:pt x="581" y="17"/>
                  </a:lnTo>
                  <a:lnTo>
                    <a:pt x="572" y="19"/>
                  </a:lnTo>
                  <a:lnTo>
                    <a:pt x="555" y="17"/>
                  </a:lnTo>
                  <a:lnTo>
                    <a:pt x="536" y="16"/>
                  </a:lnTo>
                  <a:lnTo>
                    <a:pt x="518" y="14"/>
                  </a:lnTo>
                  <a:lnTo>
                    <a:pt x="504" y="14"/>
                  </a:lnTo>
                  <a:lnTo>
                    <a:pt x="499" y="11"/>
                  </a:lnTo>
                  <a:lnTo>
                    <a:pt x="491" y="7"/>
                  </a:lnTo>
                  <a:lnTo>
                    <a:pt x="481" y="5"/>
                  </a:lnTo>
                  <a:lnTo>
                    <a:pt x="471" y="3"/>
                  </a:lnTo>
                  <a:lnTo>
                    <a:pt x="450" y="0"/>
                  </a:lnTo>
                  <a:lnTo>
                    <a:pt x="431" y="0"/>
                  </a:lnTo>
                  <a:lnTo>
                    <a:pt x="431" y="1"/>
                  </a:lnTo>
                  <a:lnTo>
                    <a:pt x="429" y="2"/>
                  </a:lnTo>
                  <a:lnTo>
                    <a:pt x="427" y="3"/>
                  </a:lnTo>
                  <a:lnTo>
                    <a:pt x="423" y="4"/>
                  </a:lnTo>
                  <a:lnTo>
                    <a:pt x="415" y="6"/>
                  </a:lnTo>
                  <a:lnTo>
                    <a:pt x="408" y="8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8" name="Freeform 41">
              <a:extLst>
                <a:ext uri="{FF2B5EF4-FFF2-40B4-BE49-F238E27FC236}">
                  <a16:creationId xmlns:a16="http://schemas.microsoft.com/office/drawing/2014/main" id="{A5143979-6430-4120-A248-128BA55C3212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 rot="355651">
              <a:off x="7067550" y="3159125"/>
              <a:ext cx="320736" cy="163513"/>
            </a:xfrm>
            <a:custGeom>
              <a:avLst/>
              <a:gdLst/>
              <a:ahLst/>
              <a:cxnLst>
                <a:cxn ang="0">
                  <a:pos x="154" y="208"/>
                </a:cxn>
                <a:cxn ang="0">
                  <a:pos x="389" y="208"/>
                </a:cxn>
                <a:cxn ang="0">
                  <a:pos x="424" y="189"/>
                </a:cxn>
                <a:cxn ang="0">
                  <a:pos x="451" y="176"/>
                </a:cxn>
                <a:cxn ang="0">
                  <a:pos x="491" y="164"/>
                </a:cxn>
                <a:cxn ang="0">
                  <a:pos x="574" y="131"/>
                </a:cxn>
                <a:cxn ang="0">
                  <a:pos x="615" y="109"/>
                </a:cxn>
                <a:cxn ang="0">
                  <a:pos x="639" y="23"/>
                </a:cxn>
                <a:cxn ang="0">
                  <a:pos x="657" y="11"/>
                </a:cxn>
                <a:cxn ang="0">
                  <a:pos x="759" y="0"/>
                </a:cxn>
                <a:cxn ang="0">
                  <a:pos x="885" y="11"/>
                </a:cxn>
                <a:cxn ang="0">
                  <a:pos x="952" y="28"/>
                </a:cxn>
                <a:cxn ang="0">
                  <a:pos x="974" y="38"/>
                </a:cxn>
                <a:cxn ang="0">
                  <a:pos x="1007" y="51"/>
                </a:cxn>
                <a:cxn ang="0">
                  <a:pos x="1028" y="67"/>
                </a:cxn>
                <a:cxn ang="0">
                  <a:pos x="1057" y="90"/>
                </a:cxn>
                <a:cxn ang="0">
                  <a:pos x="1080" y="103"/>
                </a:cxn>
                <a:cxn ang="0">
                  <a:pos x="1214" y="133"/>
                </a:cxn>
                <a:cxn ang="0">
                  <a:pos x="1269" y="183"/>
                </a:cxn>
                <a:cxn ang="0">
                  <a:pos x="1299" y="219"/>
                </a:cxn>
                <a:cxn ang="0">
                  <a:pos x="1319" y="231"/>
                </a:cxn>
                <a:cxn ang="0">
                  <a:pos x="1342" y="243"/>
                </a:cxn>
                <a:cxn ang="0">
                  <a:pos x="1358" y="261"/>
                </a:cxn>
                <a:cxn ang="0">
                  <a:pos x="1405" y="292"/>
                </a:cxn>
                <a:cxn ang="0">
                  <a:pos x="1455" y="323"/>
                </a:cxn>
                <a:cxn ang="0">
                  <a:pos x="1506" y="352"/>
                </a:cxn>
                <a:cxn ang="0">
                  <a:pos x="1548" y="377"/>
                </a:cxn>
                <a:cxn ang="0">
                  <a:pos x="1596" y="462"/>
                </a:cxn>
                <a:cxn ang="0">
                  <a:pos x="1611" y="540"/>
                </a:cxn>
                <a:cxn ang="0">
                  <a:pos x="1578" y="573"/>
                </a:cxn>
                <a:cxn ang="0">
                  <a:pos x="1573" y="699"/>
                </a:cxn>
                <a:cxn ang="0">
                  <a:pos x="1595" y="719"/>
                </a:cxn>
                <a:cxn ang="0">
                  <a:pos x="1713" y="741"/>
                </a:cxn>
                <a:cxn ang="0">
                  <a:pos x="1752" y="879"/>
                </a:cxn>
                <a:cxn ang="0">
                  <a:pos x="1700" y="1000"/>
                </a:cxn>
                <a:cxn ang="0">
                  <a:pos x="1669" y="1013"/>
                </a:cxn>
                <a:cxn ang="0">
                  <a:pos x="1450" y="992"/>
                </a:cxn>
                <a:cxn ang="0">
                  <a:pos x="1183" y="954"/>
                </a:cxn>
                <a:cxn ang="0">
                  <a:pos x="1128" y="934"/>
                </a:cxn>
                <a:cxn ang="0">
                  <a:pos x="1085" y="911"/>
                </a:cxn>
                <a:cxn ang="0">
                  <a:pos x="823" y="958"/>
                </a:cxn>
                <a:cxn ang="0">
                  <a:pos x="752" y="962"/>
                </a:cxn>
                <a:cxn ang="0">
                  <a:pos x="686" y="958"/>
                </a:cxn>
                <a:cxn ang="0">
                  <a:pos x="649" y="965"/>
                </a:cxn>
                <a:cxn ang="0">
                  <a:pos x="590" y="927"/>
                </a:cxn>
                <a:cxn ang="0">
                  <a:pos x="486" y="895"/>
                </a:cxn>
                <a:cxn ang="0">
                  <a:pos x="357" y="886"/>
                </a:cxn>
                <a:cxn ang="0">
                  <a:pos x="254" y="860"/>
                </a:cxn>
                <a:cxn ang="0">
                  <a:pos x="224" y="804"/>
                </a:cxn>
                <a:cxn ang="0">
                  <a:pos x="185" y="735"/>
                </a:cxn>
                <a:cxn ang="0">
                  <a:pos x="161" y="670"/>
                </a:cxn>
                <a:cxn ang="0">
                  <a:pos x="138" y="604"/>
                </a:cxn>
                <a:cxn ang="0">
                  <a:pos x="109" y="565"/>
                </a:cxn>
                <a:cxn ang="0">
                  <a:pos x="146" y="490"/>
                </a:cxn>
                <a:cxn ang="0">
                  <a:pos x="169" y="454"/>
                </a:cxn>
                <a:cxn ang="0">
                  <a:pos x="78" y="420"/>
                </a:cxn>
                <a:cxn ang="0">
                  <a:pos x="5" y="353"/>
                </a:cxn>
                <a:cxn ang="0">
                  <a:pos x="10" y="270"/>
                </a:cxn>
                <a:cxn ang="0">
                  <a:pos x="21" y="231"/>
                </a:cxn>
              </a:cxnLst>
              <a:rect l="0" t="0" r="r" b="b"/>
              <a:pathLst>
                <a:path w="1764" h="1018">
                  <a:moveTo>
                    <a:pt x="28" y="200"/>
                  </a:moveTo>
                  <a:lnTo>
                    <a:pt x="33" y="204"/>
                  </a:lnTo>
                  <a:lnTo>
                    <a:pt x="36" y="206"/>
                  </a:lnTo>
                  <a:lnTo>
                    <a:pt x="60" y="208"/>
                  </a:lnTo>
                  <a:lnTo>
                    <a:pt x="85" y="210"/>
                  </a:lnTo>
                  <a:lnTo>
                    <a:pt x="110" y="212"/>
                  </a:lnTo>
                  <a:lnTo>
                    <a:pt x="134" y="212"/>
                  </a:lnTo>
                  <a:lnTo>
                    <a:pt x="136" y="211"/>
                  </a:lnTo>
                  <a:lnTo>
                    <a:pt x="143" y="209"/>
                  </a:lnTo>
                  <a:lnTo>
                    <a:pt x="154" y="208"/>
                  </a:lnTo>
                  <a:lnTo>
                    <a:pt x="168" y="208"/>
                  </a:lnTo>
                  <a:lnTo>
                    <a:pt x="204" y="208"/>
                  </a:lnTo>
                  <a:lnTo>
                    <a:pt x="248" y="208"/>
                  </a:lnTo>
                  <a:lnTo>
                    <a:pt x="291" y="210"/>
                  </a:lnTo>
                  <a:lnTo>
                    <a:pt x="331" y="211"/>
                  </a:lnTo>
                  <a:lnTo>
                    <a:pt x="364" y="212"/>
                  </a:lnTo>
                  <a:lnTo>
                    <a:pt x="384" y="212"/>
                  </a:lnTo>
                  <a:lnTo>
                    <a:pt x="384" y="211"/>
                  </a:lnTo>
                  <a:lnTo>
                    <a:pt x="386" y="209"/>
                  </a:lnTo>
                  <a:lnTo>
                    <a:pt x="389" y="208"/>
                  </a:lnTo>
                  <a:lnTo>
                    <a:pt x="394" y="208"/>
                  </a:lnTo>
                  <a:lnTo>
                    <a:pt x="402" y="206"/>
                  </a:lnTo>
                  <a:lnTo>
                    <a:pt x="408" y="206"/>
                  </a:lnTo>
                  <a:lnTo>
                    <a:pt x="414" y="201"/>
                  </a:lnTo>
                  <a:lnTo>
                    <a:pt x="420" y="194"/>
                  </a:lnTo>
                  <a:lnTo>
                    <a:pt x="421" y="191"/>
                  </a:lnTo>
                  <a:lnTo>
                    <a:pt x="421" y="189"/>
                  </a:lnTo>
                  <a:lnTo>
                    <a:pt x="422" y="189"/>
                  </a:lnTo>
                  <a:lnTo>
                    <a:pt x="423" y="189"/>
                  </a:lnTo>
                  <a:lnTo>
                    <a:pt x="424" y="189"/>
                  </a:lnTo>
                  <a:lnTo>
                    <a:pt x="425" y="187"/>
                  </a:lnTo>
                  <a:lnTo>
                    <a:pt x="426" y="185"/>
                  </a:lnTo>
                  <a:lnTo>
                    <a:pt x="426" y="182"/>
                  </a:lnTo>
                  <a:lnTo>
                    <a:pt x="438" y="182"/>
                  </a:lnTo>
                  <a:lnTo>
                    <a:pt x="438" y="180"/>
                  </a:lnTo>
                  <a:lnTo>
                    <a:pt x="440" y="179"/>
                  </a:lnTo>
                  <a:lnTo>
                    <a:pt x="441" y="177"/>
                  </a:lnTo>
                  <a:lnTo>
                    <a:pt x="442" y="176"/>
                  </a:lnTo>
                  <a:lnTo>
                    <a:pt x="446" y="176"/>
                  </a:lnTo>
                  <a:lnTo>
                    <a:pt x="451" y="176"/>
                  </a:lnTo>
                  <a:lnTo>
                    <a:pt x="452" y="174"/>
                  </a:lnTo>
                  <a:lnTo>
                    <a:pt x="454" y="173"/>
                  </a:lnTo>
                  <a:lnTo>
                    <a:pt x="459" y="172"/>
                  </a:lnTo>
                  <a:lnTo>
                    <a:pt x="463" y="171"/>
                  </a:lnTo>
                  <a:lnTo>
                    <a:pt x="473" y="170"/>
                  </a:lnTo>
                  <a:lnTo>
                    <a:pt x="481" y="170"/>
                  </a:lnTo>
                  <a:lnTo>
                    <a:pt x="482" y="167"/>
                  </a:lnTo>
                  <a:lnTo>
                    <a:pt x="484" y="166"/>
                  </a:lnTo>
                  <a:lnTo>
                    <a:pt x="488" y="165"/>
                  </a:lnTo>
                  <a:lnTo>
                    <a:pt x="491" y="164"/>
                  </a:lnTo>
                  <a:lnTo>
                    <a:pt x="499" y="164"/>
                  </a:lnTo>
                  <a:lnTo>
                    <a:pt x="505" y="164"/>
                  </a:lnTo>
                  <a:lnTo>
                    <a:pt x="513" y="160"/>
                  </a:lnTo>
                  <a:lnTo>
                    <a:pt x="530" y="152"/>
                  </a:lnTo>
                  <a:lnTo>
                    <a:pt x="549" y="143"/>
                  </a:lnTo>
                  <a:lnTo>
                    <a:pt x="560" y="140"/>
                  </a:lnTo>
                  <a:lnTo>
                    <a:pt x="561" y="137"/>
                  </a:lnTo>
                  <a:lnTo>
                    <a:pt x="565" y="135"/>
                  </a:lnTo>
                  <a:lnTo>
                    <a:pt x="568" y="133"/>
                  </a:lnTo>
                  <a:lnTo>
                    <a:pt x="574" y="131"/>
                  </a:lnTo>
                  <a:lnTo>
                    <a:pt x="584" y="128"/>
                  </a:lnTo>
                  <a:lnTo>
                    <a:pt x="590" y="127"/>
                  </a:lnTo>
                  <a:lnTo>
                    <a:pt x="591" y="125"/>
                  </a:lnTo>
                  <a:lnTo>
                    <a:pt x="591" y="124"/>
                  </a:lnTo>
                  <a:lnTo>
                    <a:pt x="593" y="123"/>
                  </a:lnTo>
                  <a:lnTo>
                    <a:pt x="595" y="122"/>
                  </a:lnTo>
                  <a:lnTo>
                    <a:pt x="598" y="122"/>
                  </a:lnTo>
                  <a:lnTo>
                    <a:pt x="603" y="122"/>
                  </a:lnTo>
                  <a:lnTo>
                    <a:pt x="609" y="115"/>
                  </a:lnTo>
                  <a:lnTo>
                    <a:pt x="615" y="109"/>
                  </a:lnTo>
                  <a:lnTo>
                    <a:pt x="615" y="99"/>
                  </a:lnTo>
                  <a:lnTo>
                    <a:pt x="615" y="90"/>
                  </a:lnTo>
                  <a:lnTo>
                    <a:pt x="617" y="88"/>
                  </a:lnTo>
                  <a:lnTo>
                    <a:pt x="618" y="83"/>
                  </a:lnTo>
                  <a:lnTo>
                    <a:pt x="619" y="73"/>
                  </a:lnTo>
                  <a:lnTo>
                    <a:pt x="620" y="62"/>
                  </a:lnTo>
                  <a:lnTo>
                    <a:pt x="622" y="42"/>
                  </a:lnTo>
                  <a:lnTo>
                    <a:pt x="622" y="30"/>
                  </a:lnTo>
                  <a:lnTo>
                    <a:pt x="634" y="30"/>
                  </a:lnTo>
                  <a:lnTo>
                    <a:pt x="639" y="23"/>
                  </a:lnTo>
                  <a:lnTo>
                    <a:pt x="639" y="20"/>
                  </a:lnTo>
                  <a:lnTo>
                    <a:pt x="641" y="18"/>
                  </a:lnTo>
                  <a:lnTo>
                    <a:pt x="642" y="18"/>
                  </a:lnTo>
                  <a:lnTo>
                    <a:pt x="643" y="18"/>
                  </a:lnTo>
                  <a:lnTo>
                    <a:pt x="644" y="18"/>
                  </a:lnTo>
                  <a:lnTo>
                    <a:pt x="645" y="17"/>
                  </a:lnTo>
                  <a:lnTo>
                    <a:pt x="645" y="15"/>
                  </a:lnTo>
                  <a:lnTo>
                    <a:pt x="645" y="11"/>
                  </a:lnTo>
                  <a:lnTo>
                    <a:pt x="651" y="11"/>
                  </a:lnTo>
                  <a:lnTo>
                    <a:pt x="657" y="11"/>
                  </a:lnTo>
                  <a:lnTo>
                    <a:pt x="660" y="10"/>
                  </a:lnTo>
                  <a:lnTo>
                    <a:pt x="662" y="9"/>
                  </a:lnTo>
                  <a:lnTo>
                    <a:pt x="663" y="8"/>
                  </a:lnTo>
                  <a:lnTo>
                    <a:pt x="664" y="6"/>
                  </a:lnTo>
                  <a:lnTo>
                    <a:pt x="706" y="6"/>
                  </a:lnTo>
                  <a:lnTo>
                    <a:pt x="709" y="3"/>
                  </a:lnTo>
                  <a:lnTo>
                    <a:pt x="713" y="2"/>
                  </a:lnTo>
                  <a:lnTo>
                    <a:pt x="722" y="1"/>
                  </a:lnTo>
                  <a:lnTo>
                    <a:pt x="732" y="0"/>
                  </a:lnTo>
                  <a:lnTo>
                    <a:pt x="759" y="0"/>
                  </a:lnTo>
                  <a:lnTo>
                    <a:pt x="789" y="1"/>
                  </a:lnTo>
                  <a:lnTo>
                    <a:pt x="820" y="2"/>
                  </a:lnTo>
                  <a:lnTo>
                    <a:pt x="848" y="3"/>
                  </a:lnTo>
                  <a:lnTo>
                    <a:pt x="868" y="4"/>
                  </a:lnTo>
                  <a:lnTo>
                    <a:pt x="877" y="6"/>
                  </a:lnTo>
                  <a:lnTo>
                    <a:pt x="877" y="8"/>
                  </a:lnTo>
                  <a:lnTo>
                    <a:pt x="878" y="9"/>
                  </a:lnTo>
                  <a:lnTo>
                    <a:pt x="879" y="10"/>
                  </a:lnTo>
                  <a:lnTo>
                    <a:pt x="881" y="11"/>
                  </a:lnTo>
                  <a:lnTo>
                    <a:pt x="885" y="11"/>
                  </a:lnTo>
                  <a:lnTo>
                    <a:pt x="889" y="11"/>
                  </a:lnTo>
                  <a:lnTo>
                    <a:pt x="892" y="13"/>
                  </a:lnTo>
                  <a:lnTo>
                    <a:pt x="897" y="16"/>
                  </a:lnTo>
                  <a:lnTo>
                    <a:pt x="905" y="18"/>
                  </a:lnTo>
                  <a:lnTo>
                    <a:pt x="915" y="20"/>
                  </a:lnTo>
                  <a:lnTo>
                    <a:pt x="935" y="22"/>
                  </a:lnTo>
                  <a:lnTo>
                    <a:pt x="950" y="23"/>
                  </a:lnTo>
                  <a:lnTo>
                    <a:pt x="951" y="26"/>
                  </a:lnTo>
                  <a:lnTo>
                    <a:pt x="951" y="27"/>
                  </a:lnTo>
                  <a:lnTo>
                    <a:pt x="952" y="28"/>
                  </a:lnTo>
                  <a:lnTo>
                    <a:pt x="954" y="29"/>
                  </a:lnTo>
                  <a:lnTo>
                    <a:pt x="958" y="30"/>
                  </a:lnTo>
                  <a:lnTo>
                    <a:pt x="962" y="30"/>
                  </a:lnTo>
                  <a:lnTo>
                    <a:pt x="963" y="33"/>
                  </a:lnTo>
                  <a:lnTo>
                    <a:pt x="964" y="35"/>
                  </a:lnTo>
                  <a:lnTo>
                    <a:pt x="967" y="36"/>
                  </a:lnTo>
                  <a:lnTo>
                    <a:pt x="969" y="36"/>
                  </a:lnTo>
                  <a:lnTo>
                    <a:pt x="971" y="36"/>
                  </a:lnTo>
                  <a:lnTo>
                    <a:pt x="973" y="37"/>
                  </a:lnTo>
                  <a:lnTo>
                    <a:pt x="974" y="38"/>
                  </a:lnTo>
                  <a:lnTo>
                    <a:pt x="974" y="42"/>
                  </a:lnTo>
                  <a:lnTo>
                    <a:pt x="993" y="42"/>
                  </a:lnTo>
                  <a:lnTo>
                    <a:pt x="993" y="44"/>
                  </a:lnTo>
                  <a:lnTo>
                    <a:pt x="994" y="46"/>
                  </a:lnTo>
                  <a:lnTo>
                    <a:pt x="996" y="47"/>
                  </a:lnTo>
                  <a:lnTo>
                    <a:pt x="997" y="47"/>
                  </a:lnTo>
                  <a:lnTo>
                    <a:pt x="1001" y="48"/>
                  </a:lnTo>
                  <a:lnTo>
                    <a:pt x="1006" y="48"/>
                  </a:lnTo>
                  <a:lnTo>
                    <a:pt x="1006" y="50"/>
                  </a:lnTo>
                  <a:lnTo>
                    <a:pt x="1007" y="51"/>
                  </a:lnTo>
                  <a:lnTo>
                    <a:pt x="1008" y="52"/>
                  </a:lnTo>
                  <a:lnTo>
                    <a:pt x="1009" y="54"/>
                  </a:lnTo>
                  <a:lnTo>
                    <a:pt x="1013" y="54"/>
                  </a:lnTo>
                  <a:lnTo>
                    <a:pt x="1018" y="55"/>
                  </a:lnTo>
                  <a:lnTo>
                    <a:pt x="1023" y="60"/>
                  </a:lnTo>
                  <a:lnTo>
                    <a:pt x="1023" y="64"/>
                  </a:lnTo>
                  <a:lnTo>
                    <a:pt x="1025" y="66"/>
                  </a:lnTo>
                  <a:lnTo>
                    <a:pt x="1026" y="66"/>
                  </a:lnTo>
                  <a:lnTo>
                    <a:pt x="1027" y="66"/>
                  </a:lnTo>
                  <a:lnTo>
                    <a:pt x="1028" y="67"/>
                  </a:lnTo>
                  <a:lnTo>
                    <a:pt x="1029" y="67"/>
                  </a:lnTo>
                  <a:lnTo>
                    <a:pt x="1029" y="69"/>
                  </a:lnTo>
                  <a:lnTo>
                    <a:pt x="1029" y="73"/>
                  </a:lnTo>
                  <a:lnTo>
                    <a:pt x="1039" y="76"/>
                  </a:lnTo>
                  <a:lnTo>
                    <a:pt x="1048" y="78"/>
                  </a:lnTo>
                  <a:lnTo>
                    <a:pt x="1054" y="85"/>
                  </a:lnTo>
                  <a:lnTo>
                    <a:pt x="1055" y="88"/>
                  </a:lnTo>
                  <a:lnTo>
                    <a:pt x="1055" y="90"/>
                  </a:lnTo>
                  <a:lnTo>
                    <a:pt x="1056" y="90"/>
                  </a:lnTo>
                  <a:lnTo>
                    <a:pt x="1057" y="90"/>
                  </a:lnTo>
                  <a:lnTo>
                    <a:pt x="1058" y="90"/>
                  </a:lnTo>
                  <a:lnTo>
                    <a:pt x="1059" y="92"/>
                  </a:lnTo>
                  <a:lnTo>
                    <a:pt x="1060" y="94"/>
                  </a:lnTo>
                  <a:lnTo>
                    <a:pt x="1060" y="97"/>
                  </a:lnTo>
                  <a:lnTo>
                    <a:pt x="1073" y="97"/>
                  </a:lnTo>
                  <a:lnTo>
                    <a:pt x="1073" y="99"/>
                  </a:lnTo>
                  <a:lnTo>
                    <a:pt x="1074" y="100"/>
                  </a:lnTo>
                  <a:lnTo>
                    <a:pt x="1075" y="102"/>
                  </a:lnTo>
                  <a:lnTo>
                    <a:pt x="1076" y="103"/>
                  </a:lnTo>
                  <a:lnTo>
                    <a:pt x="1080" y="103"/>
                  </a:lnTo>
                  <a:lnTo>
                    <a:pt x="1085" y="103"/>
                  </a:lnTo>
                  <a:lnTo>
                    <a:pt x="1090" y="115"/>
                  </a:lnTo>
                  <a:lnTo>
                    <a:pt x="1099" y="118"/>
                  </a:lnTo>
                  <a:lnTo>
                    <a:pt x="1108" y="122"/>
                  </a:lnTo>
                  <a:lnTo>
                    <a:pt x="1133" y="122"/>
                  </a:lnTo>
                  <a:lnTo>
                    <a:pt x="1145" y="125"/>
                  </a:lnTo>
                  <a:lnTo>
                    <a:pt x="1159" y="128"/>
                  </a:lnTo>
                  <a:lnTo>
                    <a:pt x="1172" y="131"/>
                  </a:lnTo>
                  <a:lnTo>
                    <a:pt x="1185" y="132"/>
                  </a:lnTo>
                  <a:lnTo>
                    <a:pt x="1214" y="133"/>
                  </a:lnTo>
                  <a:lnTo>
                    <a:pt x="1243" y="134"/>
                  </a:lnTo>
                  <a:lnTo>
                    <a:pt x="1244" y="138"/>
                  </a:lnTo>
                  <a:lnTo>
                    <a:pt x="1249" y="142"/>
                  </a:lnTo>
                  <a:lnTo>
                    <a:pt x="1253" y="144"/>
                  </a:lnTo>
                  <a:lnTo>
                    <a:pt x="1255" y="145"/>
                  </a:lnTo>
                  <a:lnTo>
                    <a:pt x="1257" y="155"/>
                  </a:lnTo>
                  <a:lnTo>
                    <a:pt x="1261" y="164"/>
                  </a:lnTo>
                  <a:lnTo>
                    <a:pt x="1266" y="173"/>
                  </a:lnTo>
                  <a:lnTo>
                    <a:pt x="1267" y="182"/>
                  </a:lnTo>
                  <a:lnTo>
                    <a:pt x="1269" y="183"/>
                  </a:lnTo>
                  <a:lnTo>
                    <a:pt x="1271" y="184"/>
                  </a:lnTo>
                  <a:lnTo>
                    <a:pt x="1273" y="186"/>
                  </a:lnTo>
                  <a:lnTo>
                    <a:pt x="1276" y="189"/>
                  </a:lnTo>
                  <a:lnTo>
                    <a:pt x="1278" y="195"/>
                  </a:lnTo>
                  <a:lnTo>
                    <a:pt x="1279" y="201"/>
                  </a:lnTo>
                  <a:lnTo>
                    <a:pt x="1291" y="206"/>
                  </a:lnTo>
                  <a:lnTo>
                    <a:pt x="1298" y="212"/>
                  </a:lnTo>
                  <a:lnTo>
                    <a:pt x="1298" y="217"/>
                  </a:lnTo>
                  <a:lnTo>
                    <a:pt x="1299" y="218"/>
                  </a:lnTo>
                  <a:lnTo>
                    <a:pt x="1299" y="219"/>
                  </a:lnTo>
                  <a:lnTo>
                    <a:pt x="1300" y="219"/>
                  </a:lnTo>
                  <a:lnTo>
                    <a:pt x="1301" y="219"/>
                  </a:lnTo>
                  <a:lnTo>
                    <a:pt x="1303" y="220"/>
                  </a:lnTo>
                  <a:lnTo>
                    <a:pt x="1304" y="221"/>
                  </a:lnTo>
                  <a:lnTo>
                    <a:pt x="1304" y="224"/>
                  </a:lnTo>
                  <a:lnTo>
                    <a:pt x="1316" y="224"/>
                  </a:lnTo>
                  <a:lnTo>
                    <a:pt x="1316" y="229"/>
                  </a:lnTo>
                  <a:lnTo>
                    <a:pt x="1317" y="230"/>
                  </a:lnTo>
                  <a:lnTo>
                    <a:pt x="1318" y="231"/>
                  </a:lnTo>
                  <a:lnTo>
                    <a:pt x="1319" y="231"/>
                  </a:lnTo>
                  <a:lnTo>
                    <a:pt x="1320" y="231"/>
                  </a:lnTo>
                  <a:lnTo>
                    <a:pt x="1321" y="232"/>
                  </a:lnTo>
                  <a:lnTo>
                    <a:pt x="1321" y="233"/>
                  </a:lnTo>
                  <a:lnTo>
                    <a:pt x="1323" y="237"/>
                  </a:lnTo>
                  <a:lnTo>
                    <a:pt x="1334" y="237"/>
                  </a:lnTo>
                  <a:lnTo>
                    <a:pt x="1335" y="239"/>
                  </a:lnTo>
                  <a:lnTo>
                    <a:pt x="1335" y="240"/>
                  </a:lnTo>
                  <a:lnTo>
                    <a:pt x="1336" y="241"/>
                  </a:lnTo>
                  <a:lnTo>
                    <a:pt x="1338" y="242"/>
                  </a:lnTo>
                  <a:lnTo>
                    <a:pt x="1342" y="243"/>
                  </a:lnTo>
                  <a:lnTo>
                    <a:pt x="1346" y="243"/>
                  </a:lnTo>
                  <a:lnTo>
                    <a:pt x="1353" y="249"/>
                  </a:lnTo>
                  <a:lnTo>
                    <a:pt x="1353" y="252"/>
                  </a:lnTo>
                  <a:lnTo>
                    <a:pt x="1354" y="254"/>
                  </a:lnTo>
                  <a:lnTo>
                    <a:pt x="1355" y="256"/>
                  </a:lnTo>
                  <a:lnTo>
                    <a:pt x="1356" y="256"/>
                  </a:lnTo>
                  <a:lnTo>
                    <a:pt x="1357" y="256"/>
                  </a:lnTo>
                  <a:lnTo>
                    <a:pt x="1357" y="256"/>
                  </a:lnTo>
                  <a:lnTo>
                    <a:pt x="1358" y="258"/>
                  </a:lnTo>
                  <a:lnTo>
                    <a:pt x="1358" y="261"/>
                  </a:lnTo>
                  <a:lnTo>
                    <a:pt x="1371" y="261"/>
                  </a:lnTo>
                  <a:lnTo>
                    <a:pt x="1377" y="270"/>
                  </a:lnTo>
                  <a:lnTo>
                    <a:pt x="1383" y="280"/>
                  </a:lnTo>
                  <a:lnTo>
                    <a:pt x="1395" y="280"/>
                  </a:lnTo>
                  <a:lnTo>
                    <a:pt x="1402" y="286"/>
                  </a:lnTo>
                  <a:lnTo>
                    <a:pt x="1402" y="289"/>
                  </a:lnTo>
                  <a:lnTo>
                    <a:pt x="1402" y="291"/>
                  </a:lnTo>
                  <a:lnTo>
                    <a:pt x="1403" y="291"/>
                  </a:lnTo>
                  <a:lnTo>
                    <a:pt x="1404" y="291"/>
                  </a:lnTo>
                  <a:lnTo>
                    <a:pt x="1405" y="292"/>
                  </a:lnTo>
                  <a:lnTo>
                    <a:pt x="1406" y="292"/>
                  </a:lnTo>
                  <a:lnTo>
                    <a:pt x="1407" y="295"/>
                  </a:lnTo>
                  <a:lnTo>
                    <a:pt x="1407" y="298"/>
                  </a:lnTo>
                  <a:lnTo>
                    <a:pt x="1416" y="301"/>
                  </a:lnTo>
                  <a:lnTo>
                    <a:pt x="1431" y="308"/>
                  </a:lnTo>
                  <a:lnTo>
                    <a:pt x="1439" y="311"/>
                  </a:lnTo>
                  <a:lnTo>
                    <a:pt x="1444" y="316"/>
                  </a:lnTo>
                  <a:lnTo>
                    <a:pt x="1449" y="319"/>
                  </a:lnTo>
                  <a:lnTo>
                    <a:pt x="1450" y="323"/>
                  </a:lnTo>
                  <a:lnTo>
                    <a:pt x="1455" y="323"/>
                  </a:lnTo>
                  <a:lnTo>
                    <a:pt x="1462" y="325"/>
                  </a:lnTo>
                  <a:lnTo>
                    <a:pt x="1469" y="327"/>
                  </a:lnTo>
                  <a:lnTo>
                    <a:pt x="1476" y="330"/>
                  </a:lnTo>
                  <a:lnTo>
                    <a:pt x="1482" y="334"/>
                  </a:lnTo>
                  <a:lnTo>
                    <a:pt x="1488" y="338"/>
                  </a:lnTo>
                  <a:lnTo>
                    <a:pt x="1491" y="343"/>
                  </a:lnTo>
                  <a:lnTo>
                    <a:pt x="1492" y="347"/>
                  </a:lnTo>
                  <a:lnTo>
                    <a:pt x="1505" y="347"/>
                  </a:lnTo>
                  <a:lnTo>
                    <a:pt x="1506" y="350"/>
                  </a:lnTo>
                  <a:lnTo>
                    <a:pt x="1506" y="352"/>
                  </a:lnTo>
                  <a:lnTo>
                    <a:pt x="1507" y="353"/>
                  </a:lnTo>
                  <a:lnTo>
                    <a:pt x="1508" y="353"/>
                  </a:lnTo>
                  <a:lnTo>
                    <a:pt x="1509" y="353"/>
                  </a:lnTo>
                  <a:lnTo>
                    <a:pt x="1510" y="354"/>
                  </a:lnTo>
                  <a:lnTo>
                    <a:pt x="1511" y="355"/>
                  </a:lnTo>
                  <a:lnTo>
                    <a:pt x="1511" y="359"/>
                  </a:lnTo>
                  <a:lnTo>
                    <a:pt x="1524" y="359"/>
                  </a:lnTo>
                  <a:lnTo>
                    <a:pt x="1529" y="371"/>
                  </a:lnTo>
                  <a:lnTo>
                    <a:pt x="1538" y="374"/>
                  </a:lnTo>
                  <a:lnTo>
                    <a:pt x="1548" y="377"/>
                  </a:lnTo>
                  <a:lnTo>
                    <a:pt x="1554" y="383"/>
                  </a:lnTo>
                  <a:lnTo>
                    <a:pt x="1555" y="387"/>
                  </a:lnTo>
                  <a:lnTo>
                    <a:pt x="1557" y="392"/>
                  </a:lnTo>
                  <a:lnTo>
                    <a:pt x="1561" y="394"/>
                  </a:lnTo>
                  <a:lnTo>
                    <a:pt x="1566" y="395"/>
                  </a:lnTo>
                  <a:lnTo>
                    <a:pt x="1572" y="411"/>
                  </a:lnTo>
                  <a:lnTo>
                    <a:pt x="1578" y="426"/>
                  </a:lnTo>
                  <a:lnTo>
                    <a:pt x="1587" y="435"/>
                  </a:lnTo>
                  <a:lnTo>
                    <a:pt x="1596" y="444"/>
                  </a:lnTo>
                  <a:lnTo>
                    <a:pt x="1596" y="462"/>
                  </a:lnTo>
                  <a:lnTo>
                    <a:pt x="1598" y="463"/>
                  </a:lnTo>
                  <a:lnTo>
                    <a:pt x="1601" y="467"/>
                  </a:lnTo>
                  <a:lnTo>
                    <a:pt x="1602" y="470"/>
                  </a:lnTo>
                  <a:lnTo>
                    <a:pt x="1603" y="474"/>
                  </a:lnTo>
                  <a:lnTo>
                    <a:pt x="1605" y="479"/>
                  </a:lnTo>
                  <a:lnTo>
                    <a:pt x="1607" y="483"/>
                  </a:lnTo>
                  <a:lnTo>
                    <a:pt x="1611" y="485"/>
                  </a:lnTo>
                  <a:lnTo>
                    <a:pt x="1615" y="487"/>
                  </a:lnTo>
                  <a:lnTo>
                    <a:pt x="1615" y="536"/>
                  </a:lnTo>
                  <a:lnTo>
                    <a:pt x="1611" y="540"/>
                  </a:lnTo>
                  <a:lnTo>
                    <a:pt x="1605" y="544"/>
                  </a:lnTo>
                  <a:lnTo>
                    <a:pt x="1601" y="547"/>
                  </a:lnTo>
                  <a:lnTo>
                    <a:pt x="1596" y="548"/>
                  </a:lnTo>
                  <a:lnTo>
                    <a:pt x="1596" y="560"/>
                  </a:lnTo>
                  <a:lnTo>
                    <a:pt x="1593" y="561"/>
                  </a:lnTo>
                  <a:lnTo>
                    <a:pt x="1589" y="566"/>
                  </a:lnTo>
                  <a:lnTo>
                    <a:pt x="1587" y="568"/>
                  </a:lnTo>
                  <a:lnTo>
                    <a:pt x="1585" y="570"/>
                  </a:lnTo>
                  <a:lnTo>
                    <a:pt x="1582" y="571"/>
                  </a:lnTo>
                  <a:lnTo>
                    <a:pt x="1578" y="573"/>
                  </a:lnTo>
                  <a:lnTo>
                    <a:pt x="1576" y="599"/>
                  </a:lnTo>
                  <a:lnTo>
                    <a:pt x="1572" y="631"/>
                  </a:lnTo>
                  <a:lnTo>
                    <a:pt x="1568" y="664"/>
                  </a:lnTo>
                  <a:lnTo>
                    <a:pt x="1566" y="694"/>
                  </a:lnTo>
                  <a:lnTo>
                    <a:pt x="1569" y="694"/>
                  </a:lnTo>
                  <a:lnTo>
                    <a:pt x="1572" y="695"/>
                  </a:lnTo>
                  <a:lnTo>
                    <a:pt x="1572" y="696"/>
                  </a:lnTo>
                  <a:lnTo>
                    <a:pt x="1572" y="698"/>
                  </a:lnTo>
                  <a:lnTo>
                    <a:pt x="1573" y="699"/>
                  </a:lnTo>
                  <a:lnTo>
                    <a:pt x="1573" y="699"/>
                  </a:lnTo>
                  <a:lnTo>
                    <a:pt x="1575" y="700"/>
                  </a:lnTo>
                  <a:lnTo>
                    <a:pt x="1578" y="700"/>
                  </a:lnTo>
                  <a:lnTo>
                    <a:pt x="1578" y="712"/>
                  </a:lnTo>
                  <a:lnTo>
                    <a:pt x="1591" y="712"/>
                  </a:lnTo>
                  <a:lnTo>
                    <a:pt x="1591" y="715"/>
                  </a:lnTo>
                  <a:lnTo>
                    <a:pt x="1592" y="718"/>
                  </a:lnTo>
                  <a:lnTo>
                    <a:pt x="1593" y="719"/>
                  </a:lnTo>
                  <a:lnTo>
                    <a:pt x="1594" y="719"/>
                  </a:lnTo>
                  <a:lnTo>
                    <a:pt x="1595" y="719"/>
                  </a:lnTo>
                  <a:lnTo>
                    <a:pt x="1595" y="719"/>
                  </a:lnTo>
                  <a:lnTo>
                    <a:pt x="1596" y="721"/>
                  </a:lnTo>
                  <a:lnTo>
                    <a:pt x="1596" y="724"/>
                  </a:lnTo>
                  <a:lnTo>
                    <a:pt x="1621" y="724"/>
                  </a:lnTo>
                  <a:lnTo>
                    <a:pt x="1622" y="727"/>
                  </a:lnTo>
                  <a:lnTo>
                    <a:pt x="1625" y="729"/>
                  </a:lnTo>
                  <a:lnTo>
                    <a:pt x="1631" y="731"/>
                  </a:lnTo>
                  <a:lnTo>
                    <a:pt x="1637" y="732"/>
                  </a:lnTo>
                  <a:lnTo>
                    <a:pt x="1654" y="735"/>
                  </a:lnTo>
                  <a:lnTo>
                    <a:pt x="1674" y="738"/>
                  </a:lnTo>
                  <a:lnTo>
                    <a:pt x="1713" y="741"/>
                  </a:lnTo>
                  <a:lnTo>
                    <a:pt x="1737" y="743"/>
                  </a:lnTo>
                  <a:lnTo>
                    <a:pt x="1749" y="746"/>
                  </a:lnTo>
                  <a:lnTo>
                    <a:pt x="1764" y="750"/>
                  </a:lnTo>
                  <a:lnTo>
                    <a:pt x="1762" y="778"/>
                  </a:lnTo>
                  <a:lnTo>
                    <a:pt x="1761" y="806"/>
                  </a:lnTo>
                  <a:lnTo>
                    <a:pt x="1760" y="834"/>
                  </a:lnTo>
                  <a:lnTo>
                    <a:pt x="1760" y="860"/>
                  </a:lnTo>
                  <a:lnTo>
                    <a:pt x="1757" y="863"/>
                  </a:lnTo>
                  <a:lnTo>
                    <a:pt x="1755" y="869"/>
                  </a:lnTo>
                  <a:lnTo>
                    <a:pt x="1752" y="879"/>
                  </a:lnTo>
                  <a:lnTo>
                    <a:pt x="1750" y="893"/>
                  </a:lnTo>
                  <a:lnTo>
                    <a:pt x="1745" y="929"/>
                  </a:lnTo>
                  <a:lnTo>
                    <a:pt x="1740" y="971"/>
                  </a:lnTo>
                  <a:lnTo>
                    <a:pt x="1735" y="971"/>
                  </a:lnTo>
                  <a:lnTo>
                    <a:pt x="1720" y="981"/>
                  </a:lnTo>
                  <a:lnTo>
                    <a:pt x="1716" y="990"/>
                  </a:lnTo>
                  <a:lnTo>
                    <a:pt x="1711" y="996"/>
                  </a:lnTo>
                  <a:lnTo>
                    <a:pt x="1701" y="996"/>
                  </a:lnTo>
                  <a:lnTo>
                    <a:pt x="1701" y="998"/>
                  </a:lnTo>
                  <a:lnTo>
                    <a:pt x="1700" y="1000"/>
                  </a:lnTo>
                  <a:lnTo>
                    <a:pt x="1698" y="1002"/>
                  </a:lnTo>
                  <a:lnTo>
                    <a:pt x="1695" y="1003"/>
                  </a:lnTo>
                  <a:lnTo>
                    <a:pt x="1691" y="1004"/>
                  </a:lnTo>
                  <a:lnTo>
                    <a:pt x="1688" y="1004"/>
                  </a:lnTo>
                  <a:lnTo>
                    <a:pt x="1687" y="1007"/>
                  </a:lnTo>
                  <a:lnTo>
                    <a:pt x="1685" y="1008"/>
                  </a:lnTo>
                  <a:lnTo>
                    <a:pt x="1682" y="1009"/>
                  </a:lnTo>
                  <a:lnTo>
                    <a:pt x="1680" y="1011"/>
                  </a:lnTo>
                  <a:lnTo>
                    <a:pt x="1673" y="1013"/>
                  </a:lnTo>
                  <a:lnTo>
                    <a:pt x="1669" y="1013"/>
                  </a:lnTo>
                  <a:lnTo>
                    <a:pt x="1668" y="1016"/>
                  </a:lnTo>
                  <a:lnTo>
                    <a:pt x="1665" y="1017"/>
                  </a:lnTo>
                  <a:lnTo>
                    <a:pt x="1662" y="1018"/>
                  </a:lnTo>
                  <a:lnTo>
                    <a:pt x="1658" y="1018"/>
                  </a:lnTo>
                  <a:lnTo>
                    <a:pt x="1646" y="1018"/>
                  </a:lnTo>
                  <a:lnTo>
                    <a:pt x="1631" y="1018"/>
                  </a:lnTo>
                  <a:lnTo>
                    <a:pt x="1591" y="1013"/>
                  </a:lnTo>
                  <a:lnTo>
                    <a:pt x="1544" y="1007"/>
                  </a:lnTo>
                  <a:lnTo>
                    <a:pt x="1496" y="1000"/>
                  </a:lnTo>
                  <a:lnTo>
                    <a:pt x="1450" y="992"/>
                  </a:lnTo>
                  <a:lnTo>
                    <a:pt x="1414" y="988"/>
                  </a:lnTo>
                  <a:lnTo>
                    <a:pt x="1391" y="985"/>
                  </a:lnTo>
                  <a:lnTo>
                    <a:pt x="1364" y="984"/>
                  </a:lnTo>
                  <a:lnTo>
                    <a:pt x="1336" y="981"/>
                  </a:lnTo>
                  <a:lnTo>
                    <a:pt x="1307" y="975"/>
                  </a:lnTo>
                  <a:lnTo>
                    <a:pt x="1277" y="969"/>
                  </a:lnTo>
                  <a:lnTo>
                    <a:pt x="1246" y="963"/>
                  </a:lnTo>
                  <a:lnTo>
                    <a:pt x="1214" y="958"/>
                  </a:lnTo>
                  <a:lnTo>
                    <a:pt x="1199" y="955"/>
                  </a:lnTo>
                  <a:lnTo>
                    <a:pt x="1183" y="954"/>
                  </a:lnTo>
                  <a:lnTo>
                    <a:pt x="1167" y="953"/>
                  </a:lnTo>
                  <a:lnTo>
                    <a:pt x="1152" y="953"/>
                  </a:lnTo>
                  <a:lnTo>
                    <a:pt x="1151" y="951"/>
                  </a:lnTo>
                  <a:lnTo>
                    <a:pt x="1150" y="950"/>
                  </a:lnTo>
                  <a:lnTo>
                    <a:pt x="1148" y="950"/>
                  </a:lnTo>
                  <a:lnTo>
                    <a:pt x="1146" y="949"/>
                  </a:lnTo>
                  <a:lnTo>
                    <a:pt x="1142" y="949"/>
                  </a:lnTo>
                  <a:lnTo>
                    <a:pt x="1137" y="948"/>
                  </a:lnTo>
                  <a:lnTo>
                    <a:pt x="1133" y="943"/>
                  </a:lnTo>
                  <a:lnTo>
                    <a:pt x="1128" y="934"/>
                  </a:lnTo>
                  <a:lnTo>
                    <a:pt x="1121" y="932"/>
                  </a:lnTo>
                  <a:lnTo>
                    <a:pt x="1114" y="930"/>
                  </a:lnTo>
                  <a:lnTo>
                    <a:pt x="1112" y="924"/>
                  </a:lnTo>
                  <a:lnTo>
                    <a:pt x="1109" y="920"/>
                  </a:lnTo>
                  <a:lnTo>
                    <a:pt x="1099" y="917"/>
                  </a:lnTo>
                  <a:lnTo>
                    <a:pt x="1090" y="915"/>
                  </a:lnTo>
                  <a:lnTo>
                    <a:pt x="1090" y="914"/>
                  </a:lnTo>
                  <a:lnTo>
                    <a:pt x="1089" y="913"/>
                  </a:lnTo>
                  <a:lnTo>
                    <a:pt x="1087" y="912"/>
                  </a:lnTo>
                  <a:lnTo>
                    <a:pt x="1085" y="911"/>
                  </a:lnTo>
                  <a:lnTo>
                    <a:pt x="1080" y="911"/>
                  </a:lnTo>
                  <a:lnTo>
                    <a:pt x="1076" y="911"/>
                  </a:lnTo>
                  <a:lnTo>
                    <a:pt x="860" y="877"/>
                  </a:lnTo>
                  <a:lnTo>
                    <a:pt x="850" y="889"/>
                  </a:lnTo>
                  <a:lnTo>
                    <a:pt x="841" y="906"/>
                  </a:lnTo>
                  <a:lnTo>
                    <a:pt x="833" y="911"/>
                  </a:lnTo>
                  <a:lnTo>
                    <a:pt x="830" y="921"/>
                  </a:lnTo>
                  <a:lnTo>
                    <a:pt x="827" y="934"/>
                  </a:lnTo>
                  <a:lnTo>
                    <a:pt x="824" y="948"/>
                  </a:lnTo>
                  <a:lnTo>
                    <a:pt x="823" y="958"/>
                  </a:lnTo>
                  <a:lnTo>
                    <a:pt x="814" y="958"/>
                  </a:lnTo>
                  <a:lnTo>
                    <a:pt x="812" y="960"/>
                  </a:lnTo>
                  <a:lnTo>
                    <a:pt x="811" y="962"/>
                  </a:lnTo>
                  <a:lnTo>
                    <a:pt x="809" y="964"/>
                  </a:lnTo>
                  <a:lnTo>
                    <a:pt x="807" y="965"/>
                  </a:lnTo>
                  <a:lnTo>
                    <a:pt x="799" y="968"/>
                  </a:lnTo>
                  <a:lnTo>
                    <a:pt x="791" y="970"/>
                  </a:lnTo>
                  <a:lnTo>
                    <a:pt x="773" y="971"/>
                  </a:lnTo>
                  <a:lnTo>
                    <a:pt x="761" y="971"/>
                  </a:lnTo>
                  <a:lnTo>
                    <a:pt x="752" y="962"/>
                  </a:lnTo>
                  <a:lnTo>
                    <a:pt x="743" y="962"/>
                  </a:lnTo>
                  <a:lnTo>
                    <a:pt x="738" y="953"/>
                  </a:lnTo>
                  <a:lnTo>
                    <a:pt x="725" y="951"/>
                  </a:lnTo>
                  <a:lnTo>
                    <a:pt x="711" y="948"/>
                  </a:lnTo>
                  <a:lnTo>
                    <a:pt x="703" y="948"/>
                  </a:lnTo>
                  <a:lnTo>
                    <a:pt x="696" y="949"/>
                  </a:lnTo>
                  <a:lnTo>
                    <a:pt x="693" y="950"/>
                  </a:lnTo>
                  <a:lnTo>
                    <a:pt x="691" y="952"/>
                  </a:lnTo>
                  <a:lnTo>
                    <a:pt x="689" y="954"/>
                  </a:lnTo>
                  <a:lnTo>
                    <a:pt x="686" y="958"/>
                  </a:lnTo>
                  <a:lnTo>
                    <a:pt x="672" y="958"/>
                  </a:lnTo>
                  <a:lnTo>
                    <a:pt x="672" y="959"/>
                  </a:lnTo>
                  <a:lnTo>
                    <a:pt x="671" y="960"/>
                  </a:lnTo>
                  <a:lnTo>
                    <a:pt x="670" y="961"/>
                  </a:lnTo>
                  <a:lnTo>
                    <a:pt x="667" y="962"/>
                  </a:lnTo>
                  <a:lnTo>
                    <a:pt x="663" y="962"/>
                  </a:lnTo>
                  <a:lnTo>
                    <a:pt x="658" y="962"/>
                  </a:lnTo>
                  <a:lnTo>
                    <a:pt x="657" y="963"/>
                  </a:lnTo>
                  <a:lnTo>
                    <a:pt x="654" y="965"/>
                  </a:lnTo>
                  <a:lnTo>
                    <a:pt x="649" y="965"/>
                  </a:lnTo>
                  <a:lnTo>
                    <a:pt x="644" y="967"/>
                  </a:lnTo>
                  <a:lnTo>
                    <a:pt x="633" y="967"/>
                  </a:lnTo>
                  <a:lnTo>
                    <a:pt x="625" y="967"/>
                  </a:lnTo>
                  <a:lnTo>
                    <a:pt x="623" y="965"/>
                  </a:lnTo>
                  <a:lnTo>
                    <a:pt x="617" y="964"/>
                  </a:lnTo>
                  <a:lnTo>
                    <a:pt x="608" y="963"/>
                  </a:lnTo>
                  <a:lnTo>
                    <a:pt x="599" y="962"/>
                  </a:lnTo>
                  <a:lnTo>
                    <a:pt x="598" y="950"/>
                  </a:lnTo>
                  <a:lnTo>
                    <a:pt x="598" y="941"/>
                  </a:lnTo>
                  <a:lnTo>
                    <a:pt x="590" y="927"/>
                  </a:lnTo>
                  <a:lnTo>
                    <a:pt x="581" y="913"/>
                  </a:lnTo>
                  <a:lnTo>
                    <a:pt x="581" y="902"/>
                  </a:lnTo>
                  <a:lnTo>
                    <a:pt x="570" y="892"/>
                  </a:lnTo>
                  <a:lnTo>
                    <a:pt x="552" y="892"/>
                  </a:lnTo>
                  <a:lnTo>
                    <a:pt x="532" y="892"/>
                  </a:lnTo>
                  <a:lnTo>
                    <a:pt x="512" y="892"/>
                  </a:lnTo>
                  <a:lnTo>
                    <a:pt x="493" y="892"/>
                  </a:lnTo>
                  <a:lnTo>
                    <a:pt x="493" y="893"/>
                  </a:lnTo>
                  <a:lnTo>
                    <a:pt x="491" y="894"/>
                  </a:lnTo>
                  <a:lnTo>
                    <a:pt x="486" y="895"/>
                  </a:lnTo>
                  <a:lnTo>
                    <a:pt x="482" y="896"/>
                  </a:lnTo>
                  <a:lnTo>
                    <a:pt x="470" y="896"/>
                  </a:lnTo>
                  <a:lnTo>
                    <a:pt x="455" y="895"/>
                  </a:lnTo>
                  <a:lnTo>
                    <a:pt x="428" y="893"/>
                  </a:lnTo>
                  <a:lnTo>
                    <a:pt x="417" y="892"/>
                  </a:lnTo>
                  <a:lnTo>
                    <a:pt x="414" y="889"/>
                  </a:lnTo>
                  <a:lnTo>
                    <a:pt x="406" y="888"/>
                  </a:lnTo>
                  <a:lnTo>
                    <a:pt x="395" y="887"/>
                  </a:lnTo>
                  <a:lnTo>
                    <a:pt x="383" y="886"/>
                  </a:lnTo>
                  <a:lnTo>
                    <a:pt x="357" y="886"/>
                  </a:lnTo>
                  <a:lnTo>
                    <a:pt x="340" y="886"/>
                  </a:lnTo>
                  <a:lnTo>
                    <a:pt x="329" y="885"/>
                  </a:lnTo>
                  <a:lnTo>
                    <a:pt x="319" y="883"/>
                  </a:lnTo>
                  <a:lnTo>
                    <a:pt x="309" y="881"/>
                  </a:lnTo>
                  <a:lnTo>
                    <a:pt x="299" y="877"/>
                  </a:lnTo>
                  <a:lnTo>
                    <a:pt x="289" y="875"/>
                  </a:lnTo>
                  <a:lnTo>
                    <a:pt x="278" y="872"/>
                  </a:lnTo>
                  <a:lnTo>
                    <a:pt x="268" y="869"/>
                  </a:lnTo>
                  <a:lnTo>
                    <a:pt x="258" y="869"/>
                  </a:lnTo>
                  <a:lnTo>
                    <a:pt x="254" y="860"/>
                  </a:lnTo>
                  <a:lnTo>
                    <a:pt x="252" y="853"/>
                  </a:lnTo>
                  <a:lnTo>
                    <a:pt x="249" y="852"/>
                  </a:lnTo>
                  <a:lnTo>
                    <a:pt x="245" y="847"/>
                  </a:lnTo>
                  <a:lnTo>
                    <a:pt x="244" y="845"/>
                  </a:lnTo>
                  <a:lnTo>
                    <a:pt x="242" y="844"/>
                  </a:lnTo>
                  <a:lnTo>
                    <a:pt x="239" y="843"/>
                  </a:lnTo>
                  <a:lnTo>
                    <a:pt x="235" y="842"/>
                  </a:lnTo>
                  <a:lnTo>
                    <a:pt x="233" y="825"/>
                  </a:lnTo>
                  <a:lnTo>
                    <a:pt x="230" y="809"/>
                  </a:lnTo>
                  <a:lnTo>
                    <a:pt x="224" y="804"/>
                  </a:lnTo>
                  <a:lnTo>
                    <a:pt x="219" y="798"/>
                  </a:lnTo>
                  <a:lnTo>
                    <a:pt x="219" y="781"/>
                  </a:lnTo>
                  <a:lnTo>
                    <a:pt x="216" y="781"/>
                  </a:lnTo>
                  <a:lnTo>
                    <a:pt x="214" y="779"/>
                  </a:lnTo>
                  <a:lnTo>
                    <a:pt x="212" y="777"/>
                  </a:lnTo>
                  <a:lnTo>
                    <a:pt x="209" y="773"/>
                  </a:lnTo>
                  <a:lnTo>
                    <a:pt x="202" y="766"/>
                  </a:lnTo>
                  <a:lnTo>
                    <a:pt x="196" y="756"/>
                  </a:lnTo>
                  <a:lnTo>
                    <a:pt x="190" y="744"/>
                  </a:lnTo>
                  <a:lnTo>
                    <a:pt x="185" y="735"/>
                  </a:lnTo>
                  <a:lnTo>
                    <a:pt x="182" y="727"/>
                  </a:lnTo>
                  <a:lnTo>
                    <a:pt x="181" y="721"/>
                  </a:lnTo>
                  <a:lnTo>
                    <a:pt x="175" y="719"/>
                  </a:lnTo>
                  <a:lnTo>
                    <a:pt x="169" y="715"/>
                  </a:lnTo>
                  <a:lnTo>
                    <a:pt x="169" y="693"/>
                  </a:lnTo>
                  <a:lnTo>
                    <a:pt x="167" y="693"/>
                  </a:lnTo>
                  <a:lnTo>
                    <a:pt x="166" y="690"/>
                  </a:lnTo>
                  <a:lnTo>
                    <a:pt x="165" y="686"/>
                  </a:lnTo>
                  <a:lnTo>
                    <a:pt x="163" y="682"/>
                  </a:lnTo>
                  <a:lnTo>
                    <a:pt x="161" y="670"/>
                  </a:lnTo>
                  <a:lnTo>
                    <a:pt x="158" y="655"/>
                  </a:lnTo>
                  <a:lnTo>
                    <a:pt x="155" y="641"/>
                  </a:lnTo>
                  <a:lnTo>
                    <a:pt x="152" y="628"/>
                  </a:lnTo>
                  <a:lnTo>
                    <a:pt x="149" y="624"/>
                  </a:lnTo>
                  <a:lnTo>
                    <a:pt x="147" y="621"/>
                  </a:lnTo>
                  <a:lnTo>
                    <a:pt x="145" y="617"/>
                  </a:lnTo>
                  <a:lnTo>
                    <a:pt x="143" y="617"/>
                  </a:lnTo>
                  <a:lnTo>
                    <a:pt x="143" y="606"/>
                  </a:lnTo>
                  <a:lnTo>
                    <a:pt x="140" y="605"/>
                  </a:lnTo>
                  <a:lnTo>
                    <a:pt x="138" y="604"/>
                  </a:lnTo>
                  <a:lnTo>
                    <a:pt x="136" y="602"/>
                  </a:lnTo>
                  <a:lnTo>
                    <a:pt x="135" y="599"/>
                  </a:lnTo>
                  <a:lnTo>
                    <a:pt x="133" y="594"/>
                  </a:lnTo>
                  <a:lnTo>
                    <a:pt x="132" y="589"/>
                  </a:lnTo>
                  <a:lnTo>
                    <a:pt x="127" y="588"/>
                  </a:lnTo>
                  <a:lnTo>
                    <a:pt x="123" y="586"/>
                  </a:lnTo>
                  <a:lnTo>
                    <a:pt x="119" y="583"/>
                  </a:lnTo>
                  <a:lnTo>
                    <a:pt x="115" y="578"/>
                  </a:lnTo>
                  <a:lnTo>
                    <a:pt x="115" y="567"/>
                  </a:lnTo>
                  <a:lnTo>
                    <a:pt x="109" y="565"/>
                  </a:lnTo>
                  <a:lnTo>
                    <a:pt x="104" y="561"/>
                  </a:lnTo>
                  <a:lnTo>
                    <a:pt x="104" y="540"/>
                  </a:lnTo>
                  <a:lnTo>
                    <a:pt x="109" y="535"/>
                  </a:lnTo>
                  <a:lnTo>
                    <a:pt x="115" y="531"/>
                  </a:lnTo>
                  <a:lnTo>
                    <a:pt x="120" y="529"/>
                  </a:lnTo>
                  <a:lnTo>
                    <a:pt x="120" y="518"/>
                  </a:lnTo>
                  <a:lnTo>
                    <a:pt x="132" y="518"/>
                  </a:lnTo>
                  <a:lnTo>
                    <a:pt x="137" y="504"/>
                  </a:lnTo>
                  <a:lnTo>
                    <a:pt x="143" y="490"/>
                  </a:lnTo>
                  <a:lnTo>
                    <a:pt x="146" y="490"/>
                  </a:lnTo>
                  <a:lnTo>
                    <a:pt x="149" y="487"/>
                  </a:lnTo>
                  <a:lnTo>
                    <a:pt x="153" y="483"/>
                  </a:lnTo>
                  <a:lnTo>
                    <a:pt x="153" y="480"/>
                  </a:lnTo>
                  <a:lnTo>
                    <a:pt x="158" y="477"/>
                  </a:lnTo>
                  <a:lnTo>
                    <a:pt x="164" y="474"/>
                  </a:lnTo>
                  <a:lnTo>
                    <a:pt x="164" y="463"/>
                  </a:lnTo>
                  <a:lnTo>
                    <a:pt x="166" y="462"/>
                  </a:lnTo>
                  <a:lnTo>
                    <a:pt x="167" y="460"/>
                  </a:lnTo>
                  <a:lnTo>
                    <a:pt x="168" y="458"/>
                  </a:lnTo>
                  <a:lnTo>
                    <a:pt x="169" y="454"/>
                  </a:lnTo>
                  <a:lnTo>
                    <a:pt x="169" y="446"/>
                  </a:lnTo>
                  <a:lnTo>
                    <a:pt x="169" y="441"/>
                  </a:lnTo>
                  <a:lnTo>
                    <a:pt x="164" y="435"/>
                  </a:lnTo>
                  <a:lnTo>
                    <a:pt x="154" y="435"/>
                  </a:lnTo>
                  <a:lnTo>
                    <a:pt x="142" y="433"/>
                  </a:lnTo>
                  <a:lnTo>
                    <a:pt x="129" y="431"/>
                  </a:lnTo>
                  <a:lnTo>
                    <a:pt x="117" y="427"/>
                  </a:lnTo>
                  <a:lnTo>
                    <a:pt x="104" y="424"/>
                  </a:lnTo>
                  <a:lnTo>
                    <a:pt x="91" y="422"/>
                  </a:lnTo>
                  <a:lnTo>
                    <a:pt x="78" y="420"/>
                  </a:lnTo>
                  <a:lnTo>
                    <a:pt x="66" y="419"/>
                  </a:lnTo>
                  <a:lnTo>
                    <a:pt x="62" y="401"/>
                  </a:lnTo>
                  <a:lnTo>
                    <a:pt x="60" y="386"/>
                  </a:lnTo>
                  <a:lnTo>
                    <a:pt x="49" y="386"/>
                  </a:lnTo>
                  <a:lnTo>
                    <a:pt x="41" y="378"/>
                  </a:lnTo>
                  <a:lnTo>
                    <a:pt x="32" y="369"/>
                  </a:lnTo>
                  <a:lnTo>
                    <a:pt x="21" y="369"/>
                  </a:lnTo>
                  <a:lnTo>
                    <a:pt x="15" y="364"/>
                  </a:lnTo>
                  <a:lnTo>
                    <a:pt x="11" y="358"/>
                  </a:lnTo>
                  <a:lnTo>
                    <a:pt x="5" y="353"/>
                  </a:lnTo>
                  <a:lnTo>
                    <a:pt x="0" y="347"/>
                  </a:lnTo>
                  <a:lnTo>
                    <a:pt x="0" y="330"/>
                  </a:lnTo>
                  <a:lnTo>
                    <a:pt x="2" y="312"/>
                  </a:lnTo>
                  <a:lnTo>
                    <a:pt x="4" y="296"/>
                  </a:lnTo>
                  <a:lnTo>
                    <a:pt x="5" y="281"/>
                  </a:lnTo>
                  <a:lnTo>
                    <a:pt x="6" y="281"/>
                  </a:lnTo>
                  <a:lnTo>
                    <a:pt x="8" y="280"/>
                  </a:lnTo>
                  <a:lnTo>
                    <a:pt x="9" y="278"/>
                  </a:lnTo>
                  <a:lnTo>
                    <a:pt x="10" y="276"/>
                  </a:lnTo>
                  <a:lnTo>
                    <a:pt x="10" y="270"/>
                  </a:lnTo>
                  <a:lnTo>
                    <a:pt x="11" y="266"/>
                  </a:lnTo>
                  <a:lnTo>
                    <a:pt x="12" y="265"/>
                  </a:lnTo>
                  <a:lnTo>
                    <a:pt x="13" y="262"/>
                  </a:lnTo>
                  <a:lnTo>
                    <a:pt x="14" y="258"/>
                  </a:lnTo>
                  <a:lnTo>
                    <a:pt x="15" y="253"/>
                  </a:lnTo>
                  <a:lnTo>
                    <a:pt x="15" y="244"/>
                  </a:lnTo>
                  <a:lnTo>
                    <a:pt x="15" y="238"/>
                  </a:lnTo>
                  <a:lnTo>
                    <a:pt x="18" y="237"/>
                  </a:lnTo>
                  <a:lnTo>
                    <a:pt x="20" y="234"/>
                  </a:lnTo>
                  <a:lnTo>
                    <a:pt x="21" y="231"/>
                  </a:lnTo>
                  <a:lnTo>
                    <a:pt x="23" y="227"/>
                  </a:lnTo>
                  <a:lnTo>
                    <a:pt x="25" y="214"/>
                  </a:lnTo>
                  <a:lnTo>
                    <a:pt x="28" y="200"/>
                  </a:lnTo>
                  <a:close/>
                  <a:moveTo>
                    <a:pt x="594" y="962"/>
                  </a:moveTo>
                  <a:lnTo>
                    <a:pt x="587" y="962"/>
                  </a:lnTo>
                  <a:lnTo>
                    <a:pt x="584" y="962"/>
                  </a:lnTo>
                  <a:lnTo>
                    <a:pt x="587" y="962"/>
                  </a:lnTo>
                  <a:lnTo>
                    <a:pt x="594" y="96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89" name="Freeform 42">
              <a:extLst>
                <a:ext uri="{FF2B5EF4-FFF2-40B4-BE49-F238E27FC236}">
                  <a16:creationId xmlns:a16="http://schemas.microsoft.com/office/drawing/2014/main" id="{D7E012FC-F29A-40CD-8E51-710AA82E0378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169150" y="3303588"/>
              <a:ext cx="4763" cy="4763"/>
            </a:xfrm>
            <a:custGeom>
              <a:avLst/>
              <a:gdLst/>
              <a:ahLst/>
              <a:cxnLst>
                <a:cxn ang="0">
                  <a:pos x="10" y="0"/>
                </a:cxn>
                <a:cxn ang="0">
                  <a:pos x="3" y="0"/>
                </a:cxn>
                <a:cxn ang="0">
                  <a:pos x="0" y="0"/>
                </a:cxn>
                <a:cxn ang="0">
                  <a:pos x="3" y="0"/>
                </a:cxn>
                <a:cxn ang="0">
                  <a:pos x="10" y="0"/>
                </a:cxn>
              </a:cxnLst>
              <a:rect l="0" t="0" r="r" b="b"/>
              <a:pathLst>
                <a:path w="10">
                  <a:moveTo>
                    <a:pt x="10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10" y="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0" name="Freeform 43">
              <a:extLst>
                <a:ext uri="{FF2B5EF4-FFF2-40B4-BE49-F238E27FC236}">
                  <a16:creationId xmlns:a16="http://schemas.microsoft.com/office/drawing/2014/main" id="{466BD856-00E5-458B-8D4C-ABA8BB98E420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016750" y="2935288"/>
              <a:ext cx="257175" cy="247124"/>
            </a:xfrm>
            <a:custGeom>
              <a:avLst/>
              <a:gdLst/>
              <a:ahLst/>
              <a:cxnLst>
                <a:cxn ang="0">
                  <a:pos x="516" y="365"/>
                </a:cxn>
                <a:cxn ang="0">
                  <a:pos x="469" y="432"/>
                </a:cxn>
                <a:cxn ang="0">
                  <a:pos x="446" y="459"/>
                </a:cxn>
                <a:cxn ang="0">
                  <a:pos x="401" y="516"/>
                </a:cxn>
                <a:cxn ang="0">
                  <a:pos x="341" y="564"/>
                </a:cxn>
                <a:cxn ang="0">
                  <a:pos x="311" y="609"/>
                </a:cxn>
                <a:cxn ang="0">
                  <a:pos x="268" y="637"/>
                </a:cxn>
                <a:cxn ang="0">
                  <a:pos x="201" y="661"/>
                </a:cxn>
                <a:cxn ang="0">
                  <a:pos x="150" y="690"/>
                </a:cxn>
                <a:cxn ang="0">
                  <a:pos x="103" y="708"/>
                </a:cxn>
                <a:cxn ang="0">
                  <a:pos x="73" y="721"/>
                </a:cxn>
                <a:cxn ang="0">
                  <a:pos x="45" y="749"/>
                </a:cxn>
                <a:cxn ang="0">
                  <a:pos x="27" y="799"/>
                </a:cxn>
                <a:cxn ang="0">
                  <a:pos x="2" y="995"/>
                </a:cxn>
                <a:cxn ang="0">
                  <a:pos x="7" y="1013"/>
                </a:cxn>
                <a:cxn ang="0">
                  <a:pos x="95" y="1018"/>
                </a:cxn>
                <a:cxn ang="0">
                  <a:pos x="128" y="1055"/>
                </a:cxn>
                <a:cxn ang="0">
                  <a:pos x="159" y="1093"/>
                </a:cxn>
                <a:cxn ang="0">
                  <a:pos x="229" y="1111"/>
                </a:cxn>
                <a:cxn ang="0">
                  <a:pos x="283" y="1130"/>
                </a:cxn>
                <a:cxn ang="0">
                  <a:pos x="349" y="1191"/>
                </a:cxn>
                <a:cxn ang="0">
                  <a:pos x="388" y="1325"/>
                </a:cxn>
                <a:cxn ang="0">
                  <a:pos x="399" y="1372"/>
                </a:cxn>
                <a:cxn ang="0">
                  <a:pos x="419" y="1493"/>
                </a:cxn>
                <a:cxn ang="0">
                  <a:pos x="524" y="1537"/>
                </a:cxn>
                <a:cxn ang="0">
                  <a:pos x="617" y="1507"/>
                </a:cxn>
                <a:cxn ang="0">
                  <a:pos x="603" y="1488"/>
                </a:cxn>
                <a:cxn ang="0">
                  <a:pos x="554" y="1431"/>
                </a:cxn>
                <a:cxn ang="0">
                  <a:pos x="542" y="1402"/>
                </a:cxn>
                <a:cxn ang="0">
                  <a:pos x="534" y="1345"/>
                </a:cxn>
                <a:cxn ang="0">
                  <a:pos x="508" y="1294"/>
                </a:cxn>
                <a:cxn ang="0">
                  <a:pos x="480" y="1223"/>
                </a:cxn>
                <a:cxn ang="0">
                  <a:pos x="488" y="1147"/>
                </a:cxn>
                <a:cxn ang="0">
                  <a:pos x="591" y="1111"/>
                </a:cxn>
                <a:cxn ang="0">
                  <a:pos x="656" y="1094"/>
                </a:cxn>
                <a:cxn ang="0">
                  <a:pos x="852" y="947"/>
                </a:cxn>
                <a:cxn ang="0">
                  <a:pos x="872" y="934"/>
                </a:cxn>
                <a:cxn ang="0">
                  <a:pos x="888" y="924"/>
                </a:cxn>
                <a:cxn ang="0">
                  <a:pos x="952" y="930"/>
                </a:cxn>
                <a:cxn ang="0">
                  <a:pos x="1002" y="902"/>
                </a:cxn>
                <a:cxn ang="0">
                  <a:pos x="1083" y="897"/>
                </a:cxn>
                <a:cxn ang="0">
                  <a:pos x="1144" y="921"/>
                </a:cxn>
                <a:cxn ang="0">
                  <a:pos x="1284" y="939"/>
                </a:cxn>
                <a:cxn ang="0">
                  <a:pos x="1344" y="929"/>
                </a:cxn>
                <a:cxn ang="0">
                  <a:pos x="1370" y="868"/>
                </a:cxn>
                <a:cxn ang="0">
                  <a:pos x="1377" y="712"/>
                </a:cxn>
                <a:cxn ang="0">
                  <a:pos x="1395" y="524"/>
                </a:cxn>
                <a:cxn ang="0">
                  <a:pos x="1416" y="425"/>
                </a:cxn>
                <a:cxn ang="0">
                  <a:pos x="1260" y="382"/>
                </a:cxn>
                <a:cxn ang="0">
                  <a:pos x="1216" y="326"/>
                </a:cxn>
                <a:cxn ang="0">
                  <a:pos x="1219" y="193"/>
                </a:cxn>
                <a:cxn ang="0">
                  <a:pos x="1171" y="164"/>
                </a:cxn>
                <a:cxn ang="0">
                  <a:pos x="1125" y="141"/>
                </a:cxn>
                <a:cxn ang="0">
                  <a:pos x="1004" y="97"/>
                </a:cxn>
                <a:cxn ang="0">
                  <a:pos x="984" y="35"/>
                </a:cxn>
                <a:cxn ang="0">
                  <a:pos x="970" y="0"/>
                </a:cxn>
                <a:cxn ang="0">
                  <a:pos x="937" y="46"/>
                </a:cxn>
                <a:cxn ang="0">
                  <a:pos x="912" y="87"/>
                </a:cxn>
                <a:cxn ang="0">
                  <a:pos x="886" y="161"/>
                </a:cxn>
                <a:cxn ang="0">
                  <a:pos x="872" y="207"/>
                </a:cxn>
                <a:cxn ang="0">
                  <a:pos x="829" y="232"/>
                </a:cxn>
                <a:cxn ang="0">
                  <a:pos x="734" y="327"/>
                </a:cxn>
                <a:cxn ang="0">
                  <a:pos x="619" y="314"/>
                </a:cxn>
              </a:cxnLst>
              <a:rect l="0" t="0" r="r" b="b"/>
              <a:pathLst>
                <a:path w="1416" h="1538">
                  <a:moveTo>
                    <a:pt x="564" y="341"/>
                  </a:moveTo>
                  <a:lnTo>
                    <a:pt x="551" y="345"/>
                  </a:lnTo>
                  <a:lnTo>
                    <a:pt x="542" y="348"/>
                  </a:lnTo>
                  <a:lnTo>
                    <a:pt x="538" y="349"/>
                  </a:lnTo>
                  <a:lnTo>
                    <a:pt x="536" y="353"/>
                  </a:lnTo>
                  <a:lnTo>
                    <a:pt x="533" y="356"/>
                  </a:lnTo>
                  <a:lnTo>
                    <a:pt x="531" y="361"/>
                  </a:lnTo>
                  <a:lnTo>
                    <a:pt x="517" y="361"/>
                  </a:lnTo>
                  <a:lnTo>
                    <a:pt x="516" y="365"/>
                  </a:lnTo>
                  <a:lnTo>
                    <a:pt x="514" y="370"/>
                  </a:lnTo>
                  <a:lnTo>
                    <a:pt x="509" y="375"/>
                  </a:lnTo>
                  <a:lnTo>
                    <a:pt x="504" y="378"/>
                  </a:lnTo>
                  <a:lnTo>
                    <a:pt x="493" y="387"/>
                  </a:lnTo>
                  <a:lnTo>
                    <a:pt x="485" y="393"/>
                  </a:lnTo>
                  <a:lnTo>
                    <a:pt x="485" y="406"/>
                  </a:lnTo>
                  <a:lnTo>
                    <a:pt x="472" y="413"/>
                  </a:lnTo>
                  <a:lnTo>
                    <a:pt x="472" y="432"/>
                  </a:lnTo>
                  <a:lnTo>
                    <a:pt x="469" y="432"/>
                  </a:lnTo>
                  <a:lnTo>
                    <a:pt x="468" y="433"/>
                  </a:lnTo>
                  <a:lnTo>
                    <a:pt x="467" y="434"/>
                  </a:lnTo>
                  <a:lnTo>
                    <a:pt x="466" y="436"/>
                  </a:lnTo>
                  <a:lnTo>
                    <a:pt x="466" y="441"/>
                  </a:lnTo>
                  <a:lnTo>
                    <a:pt x="465" y="445"/>
                  </a:lnTo>
                  <a:lnTo>
                    <a:pt x="460" y="450"/>
                  </a:lnTo>
                  <a:lnTo>
                    <a:pt x="456" y="454"/>
                  </a:lnTo>
                  <a:lnTo>
                    <a:pt x="450" y="458"/>
                  </a:lnTo>
                  <a:lnTo>
                    <a:pt x="446" y="459"/>
                  </a:lnTo>
                  <a:lnTo>
                    <a:pt x="446" y="471"/>
                  </a:lnTo>
                  <a:lnTo>
                    <a:pt x="436" y="474"/>
                  </a:lnTo>
                  <a:lnTo>
                    <a:pt x="426" y="478"/>
                  </a:lnTo>
                  <a:lnTo>
                    <a:pt x="419" y="484"/>
                  </a:lnTo>
                  <a:lnTo>
                    <a:pt x="416" y="498"/>
                  </a:lnTo>
                  <a:lnTo>
                    <a:pt x="412" y="511"/>
                  </a:lnTo>
                  <a:lnTo>
                    <a:pt x="410" y="511"/>
                  </a:lnTo>
                  <a:lnTo>
                    <a:pt x="406" y="514"/>
                  </a:lnTo>
                  <a:lnTo>
                    <a:pt x="401" y="516"/>
                  </a:lnTo>
                  <a:lnTo>
                    <a:pt x="397" y="519"/>
                  </a:lnTo>
                  <a:lnTo>
                    <a:pt x="393" y="524"/>
                  </a:lnTo>
                  <a:lnTo>
                    <a:pt x="390" y="528"/>
                  </a:lnTo>
                  <a:lnTo>
                    <a:pt x="388" y="532"/>
                  </a:lnTo>
                  <a:lnTo>
                    <a:pt x="387" y="537"/>
                  </a:lnTo>
                  <a:lnTo>
                    <a:pt x="373" y="537"/>
                  </a:lnTo>
                  <a:lnTo>
                    <a:pt x="363" y="550"/>
                  </a:lnTo>
                  <a:lnTo>
                    <a:pt x="354" y="564"/>
                  </a:lnTo>
                  <a:lnTo>
                    <a:pt x="341" y="564"/>
                  </a:lnTo>
                  <a:lnTo>
                    <a:pt x="340" y="566"/>
                  </a:lnTo>
                  <a:lnTo>
                    <a:pt x="339" y="568"/>
                  </a:lnTo>
                  <a:lnTo>
                    <a:pt x="336" y="570"/>
                  </a:lnTo>
                  <a:lnTo>
                    <a:pt x="334" y="573"/>
                  </a:lnTo>
                  <a:lnTo>
                    <a:pt x="330" y="575"/>
                  </a:lnTo>
                  <a:lnTo>
                    <a:pt x="327" y="576"/>
                  </a:lnTo>
                  <a:lnTo>
                    <a:pt x="327" y="589"/>
                  </a:lnTo>
                  <a:lnTo>
                    <a:pt x="314" y="596"/>
                  </a:lnTo>
                  <a:lnTo>
                    <a:pt x="311" y="609"/>
                  </a:lnTo>
                  <a:lnTo>
                    <a:pt x="309" y="622"/>
                  </a:lnTo>
                  <a:lnTo>
                    <a:pt x="302" y="624"/>
                  </a:lnTo>
                  <a:lnTo>
                    <a:pt x="295" y="626"/>
                  </a:lnTo>
                  <a:lnTo>
                    <a:pt x="293" y="628"/>
                  </a:lnTo>
                  <a:lnTo>
                    <a:pt x="291" y="631"/>
                  </a:lnTo>
                  <a:lnTo>
                    <a:pt x="288" y="633"/>
                  </a:lnTo>
                  <a:lnTo>
                    <a:pt x="288" y="635"/>
                  </a:lnTo>
                  <a:lnTo>
                    <a:pt x="278" y="636"/>
                  </a:lnTo>
                  <a:lnTo>
                    <a:pt x="268" y="637"/>
                  </a:lnTo>
                  <a:lnTo>
                    <a:pt x="258" y="640"/>
                  </a:lnTo>
                  <a:lnTo>
                    <a:pt x="249" y="642"/>
                  </a:lnTo>
                  <a:lnTo>
                    <a:pt x="239" y="644"/>
                  </a:lnTo>
                  <a:lnTo>
                    <a:pt x="229" y="646"/>
                  </a:lnTo>
                  <a:lnTo>
                    <a:pt x="219" y="647"/>
                  </a:lnTo>
                  <a:lnTo>
                    <a:pt x="209" y="649"/>
                  </a:lnTo>
                  <a:lnTo>
                    <a:pt x="208" y="653"/>
                  </a:lnTo>
                  <a:lnTo>
                    <a:pt x="206" y="657"/>
                  </a:lnTo>
                  <a:lnTo>
                    <a:pt x="201" y="661"/>
                  </a:lnTo>
                  <a:lnTo>
                    <a:pt x="197" y="662"/>
                  </a:lnTo>
                  <a:lnTo>
                    <a:pt x="196" y="664"/>
                  </a:lnTo>
                  <a:lnTo>
                    <a:pt x="192" y="668"/>
                  </a:lnTo>
                  <a:lnTo>
                    <a:pt x="188" y="671"/>
                  </a:lnTo>
                  <a:lnTo>
                    <a:pt x="182" y="674"/>
                  </a:lnTo>
                  <a:lnTo>
                    <a:pt x="171" y="682"/>
                  </a:lnTo>
                  <a:lnTo>
                    <a:pt x="163" y="688"/>
                  </a:lnTo>
                  <a:lnTo>
                    <a:pt x="157" y="689"/>
                  </a:lnTo>
                  <a:lnTo>
                    <a:pt x="150" y="690"/>
                  </a:lnTo>
                  <a:lnTo>
                    <a:pt x="143" y="692"/>
                  </a:lnTo>
                  <a:lnTo>
                    <a:pt x="138" y="694"/>
                  </a:lnTo>
                  <a:lnTo>
                    <a:pt x="131" y="697"/>
                  </a:lnTo>
                  <a:lnTo>
                    <a:pt x="125" y="699"/>
                  </a:lnTo>
                  <a:lnTo>
                    <a:pt x="119" y="700"/>
                  </a:lnTo>
                  <a:lnTo>
                    <a:pt x="111" y="701"/>
                  </a:lnTo>
                  <a:lnTo>
                    <a:pt x="110" y="703"/>
                  </a:lnTo>
                  <a:lnTo>
                    <a:pt x="108" y="705"/>
                  </a:lnTo>
                  <a:lnTo>
                    <a:pt x="103" y="708"/>
                  </a:lnTo>
                  <a:lnTo>
                    <a:pt x="98" y="710"/>
                  </a:lnTo>
                  <a:lnTo>
                    <a:pt x="86" y="713"/>
                  </a:lnTo>
                  <a:lnTo>
                    <a:pt x="79" y="714"/>
                  </a:lnTo>
                  <a:lnTo>
                    <a:pt x="79" y="718"/>
                  </a:lnTo>
                  <a:lnTo>
                    <a:pt x="77" y="720"/>
                  </a:lnTo>
                  <a:lnTo>
                    <a:pt x="76" y="720"/>
                  </a:lnTo>
                  <a:lnTo>
                    <a:pt x="75" y="721"/>
                  </a:lnTo>
                  <a:lnTo>
                    <a:pt x="74" y="721"/>
                  </a:lnTo>
                  <a:lnTo>
                    <a:pt x="73" y="721"/>
                  </a:lnTo>
                  <a:lnTo>
                    <a:pt x="72" y="723"/>
                  </a:lnTo>
                  <a:lnTo>
                    <a:pt x="72" y="727"/>
                  </a:lnTo>
                  <a:lnTo>
                    <a:pt x="58" y="727"/>
                  </a:lnTo>
                  <a:lnTo>
                    <a:pt x="58" y="740"/>
                  </a:lnTo>
                  <a:lnTo>
                    <a:pt x="54" y="741"/>
                  </a:lnTo>
                  <a:lnTo>
                    <a:pt x="51" y="742"/>
                  </a:lnTo>
                  <a:lnTo>
                    <a:pt x="48" y="745"/>
                  </a:lnTo>
                  <a:lnTo>
                    <a:pt x="46" y="747"/>
                  </a:lnTo>
                  <a:lnTo>
                    <a:pt x="45" y="749"/>
                  </a:lnTo>
                  <a:lnTo>
                    <a:pt x="43" y="751"/>
                  </a:lnTo>
                  <a:lnTo>
                    <a:pt x="42" y="752"/>
                  </a:lnTo>
                  <a:lnTo>
                    <a:pt x="39" y="753"/>
                  </a:lnTo>
                  <a:lnTo>
                    <a:pt x="39" y="767"/>
                  </a:lnTo>
                  <a:lnTo>
                    <a:pt x="37" y="768"/>
                  </a:lnTo>
                  <a:lnTo>
                    <a:pt x="34" y="771"/>
                  </a:lnTo>
                  <a:lnTo>
                    <a:pt x="32" y="778"/>
                  </a:lnTo>
                  <a:lnTo>
                    <a:pt x="31" y="785"/>
                  </a:lnTo>
                  <a:lnTo>
                    <a:pt x="27" y="799"/>
                  </a:lnTo>
                  <a:lnTo>
                    <a:pt x="26" y="813"/>
                  </a:lnTo>
                  <a:lnTo>
                    <a:pt x="13" y="819"/>
                  </a:lnTo>
                  <a:lnTo>
                    <a:pt x="13" y="843"/>
                  </a:lnTo>
                  <a:lnTo>
                    <a:pt x="12" y="866"/>
                  </a:lnTo>
                  <a:lnTo>
                    <a:pt x="9" y="892"/>
                  </a:lnTo>
                  <a:lnTo>
                    <a:pt x="7" y="918"/>
                  </a:lnTo>
                  <a:lnTo>
                    <a:pt x="5" y="943"/>
                  </a:lnTo>
                  <a:lnTo>
                    <a:pt x="3" y="969"/>
                  </a:lnTo>
                  <a:lnTo>
                    <a:pt x="2" y="995"/>
                  </a:lnTo>
                  <a:lnTo>
                    <a:pt x="0" y="1020"/>
                  </a:lnTo>
                  <a:lnTo>
                    <a:pt x="2" y="1020"/>
                  </a:lnTo>
                  <a:lnTo>
                    <a:pt x="3" y="1020"/>
                  </a:lnTo>
                  <a:lnTo>
                    <a:pt x="2" y="1017"/>
                  </a:lnTo>
                  <a:lnTo>
                    <a:pt x="2" y="1016"/>
                  </a:lnTo>
                  <a:lnTo>
                    <a:pt x="3" y="1015"/>
                  </a:lnTo>
                  <a:lnTo>
                    <a:pt x="4" y="1015"/>
                  </a:lnTo>
                  <a:lnTo>
                    <a:pt x="5" y="1015"/>
                  </a:lnTo>
                  <a:lnTo>
                    <a:pt x="7" y="1013"/>
                  </a:lnTo>
                  <a:lnTo>
                    <a:pt x="8" y="1012"/>
                  </a:lnTo>
                  <a:lnTo>
                    <a:pt x="8" y="1009"/>
                  </a:lnTo>
                  <a:lnTo>
                    <a:pt x="27" y="1009"/>
                  </a:lnTo>
                  <a:lnTo>
                    <a:pt x="56" y="1010"/>
                  </a:lnTo>
                  <a:lnTo>
                    <a:pt x="72" y="1012"/>
                  </a:lnTo>
                  <a:lnTo>
                    <a:pt x="84" y="1013"/>
                  </a:lnTo>
                  <a:lnTo>
                    <a:pt x="90" y="1015"/>
                  </a:lnTo>
                  <a:lnTo>
                    <a:pt x="93" y="1017"/>
                  </a:lnTo>
                  <a:lnTo>
                    <a:pt x="95" y="1018"/>
                  </a:lnTo>
                  <a:lnTo>
                    <a:pt x="96" y="1020"/>
                  </a:lnTo>
                  <a:lnTo>
                    <a:pt x="113" y="1020"/>
                  </a:lnTo>
                  <a:lnTo>
                    <a:pt x="113" y="1025"/>
                  </a:lnTo>
                  <a:lnTo>
                    <a:pt x="113" y="1028"/>
                  </a:lnTo>
                  <a:lnTo>
                    <a:pt x="115" y="1030"/>
                  </a:lnTo>
                  <a:lnTo>
                    <a:pt x="119" y="1031"/>
                  </a:lnTo>
                  <a:lnTo>
                    <a:pt x="120" y="1039"/>
                  </a:lnTo>
                  <a:lnTo>
                    <a:pt x="124" y="1049"/>
                  </a:lnTo>
                  <a:lnTo>
                    <a:pt x="128" y="1055"/>
                  </a:lnTo>
                  <a:lnTo>
                    <a:pt x="130" y="1059"/>
                  </a:lnTo>
                  <a:lnTo>
                    <a:pt x="132" y="1063"/>
                  </a:lnTo>
                  <a:lnTo>
                    <a:pt x="134" y="1064"/>
                  </a:lnTo>
                  <a:lnTo>
                    <a:pt x="134" y="1075"/>
                  </a:lnTo>
                  <a:lnTo>
                    <a:pt x="140" y="1080"/>
                  </a:lnTo>
                  <a:lnTo>
                    <a:pt x="146" y="1086"/>
                  </a:lnTo>
                  <a:lnTo>
                    <a:pt x="157" y="1086"/>
                  </a:lnTo>
                  <a:lnTo>
                    <a:pt x="157" y="1089"/>
                  </a:lnTo>
                  <a:lnTo>
                    <a:pt x="159" y="1093"/>
                  </a:lnTo>
                  <a:lnTo>
                    <a:pt x="160" y="1095"/>
                  </a:lnTo>
                  <a:lnTo>
                    <a:pt x="162" y="1096"/>
                  </a:lnTo>
                  <a:lnTo>
                    <a:pt x="166" y="1099"/>
                  </a:lnTo>
                  <a:lnTo>
                    <a:pt x="168" y="1103"/>
                  </a:lnTo>
                  <a:lnTo>
                    <a:pt x="182" y="1104"/>
                  </a:lnTo>
                  <a:lnTo>
                    <a:pt x="198" y="1105"/>
                  </a:lnTo>
                  <a:lnTo>
                    <a:pt x="214" y="1107"/>
                  </a:lnTo>
                  <a:lnTo>
                    <a:pt x="228" y="1108"/>
                  </a:lnTo>
                  <a:lnTo>
                    <a:pt x="229" y="1111"/>
                  </a:lnTo>
                  <a:lnTo>
                    <a:pt x="231" y="1112"/>
                  </a:lnTo>
                  <a:lnTo>
                    <a:pt x="235" y="1114"/>
                  </a:lnTo>
                  <a:lnTo>
                    <a:pt x="239" y="1115"/>
                  </a:lnTo>
                  <a:lnTo>
                    <a:pt x="249" y="1118"/>
                  </a:lnTo>
                  <a:lnTo>
                    <a:pt x="256" y="1120"/>
                  </a:lnTo>
                  <a:lnTo>
                    <a:pt x="258" y="1121"/>
                  </a:lnTo>
                  <a:lnTo>
                    <a:pt x="265" y="1124"/>
                  </a:lnTo>
                  <a:lnTo>
                    <a:pt x="274" y="1128"/>
                  </a:lnTo>
                  <a:lnTo>
                    <a:pt x="283" y="1130"/>
                  </a:lnTo>
                  <a:lnTo>
                    <a:pt x="288" y="1141"/>
                  </a:lnTo>
                  <a:lnTo>
                    <a:pt x="292" y="1142"/>
                  </a:lnTo>
                  <a:lnTo>
                    <a:pt x="295" y="1143"/>
                  </a:lnTo>
                  <a:lnTo>
                    <a:pt x="300" y="1145"/>
                  </a:lnTo>
                  <a:lnTo>
                    <a:pt x="304" y="1149"/>
                  </a:lnTo>
                  <a:lnTo>
                    <a:pt x="313" y="1156"/>
                  </a:lnTo>
                  <a:lnTo>
                    <a:pt x="323" y="1165"/>
                  </a:lnTo>
                  <a:lnTo>
                    <a:pt x="340" y="1183"/>
                  </a:lnTo>
                  <a:lnTo>
                    <a:pt x="349" y="1191"/>
                  </a:lnTo>
                  <a:lnTo>
                    <a:pt x="377" y="1267"/>
                  </a:lnTo>
                  <a:lnTo>
                    <a:pt x="377" y="1276"/>
                  </a:lnTo>
                  <a:lnTo>
                    <a:pt x="377" y="1288"/>
                  </a:lnTo>
                  <a:lnTo>
                    <a:pt x="378" y="1295"/>
                  </a:lnTo>
                  <a:lnTo>
                    <a:pt x="379" y="1300"/>
                  </a:lnTo>
                  <a:lnTo>
                    <a:pt x="380" y="1305"/>
                  </a:lnTo>
                  <a:lnTo>
                    <a:pt x="382" y="1306"/>
                  </a:lnTo>
                  <a:lnTo>
                    <a:pt x="382" y="1323"/>
                  </a:lnTo>
                  <a:lnTo>
                    <a:pt x="388" y="1325"/>
                  </a:lnTo>
                  <a:lnTo>
                    <a:pt x="393" y="1328"/>
                  </a:lnTo>
                  <a:lnTo>
                    <a:pt x="393" y="1333"/>
                  </a:lnTo>
                  <a:lnTo>
                    <a:pt x="393" y="1338"/>
                  </a:lnTo>
                  <a:lnTo>
                    <a:pt x="394" y="1341"/>
                  </a:lnTo>
                  <a:lnTo>
                    <a:pt x="396" y="1343"/>
                  </a:lnTo>
                  <a:lnTo>
                    <a:pt x="397" y="1344"/>
                  </a:lnTo>
                  <a:lnTo>
                    <a:pt x="399" y="1344"/>
                  </a:lnTo>
                  <a:lnTo>
                    <a:pt x="399" y="1358"/>
                  </a:lnTo>
                  <a:lnTo>
                    <a:pt x="399" y="1372"/>
                  </a:lnTo>
                  <a:lnTo>
                    <a:pt x="409" y="1432"/>
                  </a:lnTo>
                  <a:lnTo>
                    <a:pt x="410" y="1438"/>
                  </a:lnTo>
                  <a:lnTo>
                    <a:pt x="412" y="1451"/>
                  </a:lnTo>
                  <a:lnTo>
                    <a:pt x="415" y="1459"/>
                  </a:lnTo>
                  <a:lnTo>
                    <a:pt x="417" y="1464"/>
                  </a:lnTo>
                  <a:lnTo>
                    <a:pt x="418" y="1469"/>
                  </a:lnTo>
                  <a:lnTo>
                    <a:pt x="420" y="1470"/>
                  </a:lnTo>
                  <a:lnTo>
                    <a:pt x="420" y="1480"/>
                  </a:lnTo>
                  <a:lnTo>
                    <a:pt x="419" y="1493"/>
                  </a:lnTo>
                  <a:lnTo>
                    <a:pt x="418" y="1509"/>
                  </a:lnTo>
                  <a:lnTo>
                    <a:pt x="416" y="1526"/>
                  </a:lnTo>
                  <a:lnTo>
                    <a:pt x="421" y="1530"/>
                  </a:lnTo>
                  <a:lnTo>
                    <a:pt x="424" y="1532"/>
                  </a:lnTo>
                  <a:lnTo>
                    <a:pt x="448" y="1534"/>
                  </a:lnTo>
                  <a:lnTo>
                    <a:pt x="473" y="1536"/>
                  </a:lnTo>
                  <a:lnTo>
                    <a:pt x="498" y="1538"/>
                  </a:lnTo>
                  <a:lnTo>
                    <a:pt x="522" y="1538"/>
                  </a:lnTo>
                  <a:lnTo>
                    <a:pt x="524" y="1537"/>
                  </a:lnTo>
                  <a:lnTo>
                    <a:pt x="531" y="1535"/>
                  </a:lnTo>
                  <a:lnTo>
                    <a:pt x="542" y="1534"/>
                  </a:lnTo>
                  <a:lnTo>
                    <a:pt x="556" y="1534"/>
                  </a:lnTo>
                  <a:lnTo>
                    <a:pt x="593" y="1534"/>
                  </a:lnTo>
                  <a:lnTo>
                    <a:pt x="637" y="1534"/>
                  </a:lnTo>
                  <a:lnTo>
                    <a:pt x="636" y="1534"/>
                  </a:lnTo>
                  <a:lnTo>
                    <a:pt x="629" y="1527"/>
                  </a:lnTo>
                  <a:lnTo>
                    <a:pt x="617" y="1520"/>
                  </a:lnTo>
                  <a:lnTo>
                    <a:pt x="617" y="1507"/>
                  </a:lnTo>
                  <a:lnTo>
                    <a:pt x="612" y="1507"/>
                  </a:lnTo>
                  <a:lnTo>
                    <a:pt x="610" y="1506"/>
                  </a:lnTo>
                  <a:lnTo>
                    <a:pt x="610" y="1505"/>
                  </a:lnTo>
                  <a:lnTo>
                    <a:pt x="610" y="1503"/>
                  </a:lnTo>
                  <a:lnTo>
                    <a:pt x="610" y="1502"/>
                  </a:lnTo>
                  <a:lnTo>
                    <a:pt x="609" y="1501"/>
                  </a:lnTo>
                  <a:lnTo>
                    <a:pt x="607" y="1501"/>
                  </a:lnTo>
                  <a:lnTo>
                    <a:pt x="603" y="1500"/>
                  </a:lnTo>
                  <a:lnTo>
                    <a:pt x="603" y="1488"/>
                  </a:lnTo>
                  <a:lnTo>
                    <a:pt x="599" y="1487"/>
                  </a:lnTo>
                  <a:lnTo>
                    <a:pt x="595" y="1484"/>
                  </a:lnTo>
                  <a:lnTo>
                    <a:pt x="591" y="1482"/>
                  </a:lnTo>
                  <a:lnTo>
                    <a:pt x="588" y="1478"/>
                  </a:lnTo>
                  <a:lnTo>
                    <a:pt x="580" y="1469"/>
                  </a:lnTo>
                  <a:lnTo>
                    <a:pt x="572" y="1458"/>
                  </a:lnTo>
                  <a:lnTo>
                    <a:pt x="565" y="1448"/>
                  </a:lnTo>
                  <a:lnTo>
                    <a:pt x="559" y="1438"/>
                  </a:lnTo>
                  <a:lnTo>
                    <a:pt x="554" y="1431"/>
                  </a:lnTo>
                  <a:lnTo>
                    <a:pt x="551" y="1429"/>
                  </a:lnTo>
                  <a:lnTo>
                    <a:pt x="551" y="1415"/>
                  </a:lnTo>
                  <a:lnTo>
                    <a:pt x="549" y="1415"/>
                  </a:lnTo>
                  <a:lnTo>
                    <a:pt x="546" y="1414"/>
                  </a:lnTo>
                  <a:lnTo>
                    <a:pt x="545" y="1413"/>
                  </a:lnTo>
                  <a:lnTo>
                    <a:pt x="545" y="1411"/>
                  </a:lnTo>
                  <a:lnTo>
                    <a:pt x="544" y="1407"/>
                  </a:lnTo>
                  <a:lnTo>
                    <a:pt x="544" y="1402"/>
                  </a:lnTo>
                  <a:lnTo>
                    <a:pt x="542" y="1402"/>
                  </a:lnTo>
                  <a:lnTo>
                    <a:pt x="540" y="1401"/>
                  </a:lnTo>
                  <a:lnTo>
                    <a:pt x="538" y="1399"/>
                  </a:lnTo>
                  <a:lnTo>
                    <a:pt x="537" y="1396"/>
                  </a:lnTo>
                  <a:lnTo>
                    <a:pt x="536" y="1390"/>
                  </a:lnTo>
                  <a:lnTo>
                    <a:pt x="536" y="1382"/>
                  </a:lnTo>
                  <a:lnTo>
                    <a:pt x="536" y="1366"/>
                  </a:lnTo>
                  <a:lnTo>
                    <a:pt x="537" y="1356"/>
                  </a:lnTo>
                  <a:lnTo>
                    <a:pt x="536" y="1352"/>
                  </a:lnTo>
                  <a:lnTo>
                    <a:pt x="534" y="1345"/>
                  </a:lnTo>
                  <a:lnTo>
                    <a:pt x="531" y="1339"/>
                  </a:lnTo>
                  <a:lnTo>
                    <a:pt x="527" y="1333"/>
                  </a:lnTo>
                  <a:lnTo>
                    <a:pt x="524" y="1326"/>
                  </a:lnTo>
                  <a:lnTo>
                    <a:pt x="521" y="1318"/>
                  </a:lnTo>
                  <a:lnTo>
                    <a:pt x="518" y="1311"/>
                  </a:lnTo>
                  <a:lnTo>
                    <a:pt x="517" y="1304"/>
                  </a:lnTo>
                  <a:lnTo>
                    <a:pt x="515" y="1303"/>
                  </a:lnTo>
                  <a:lnTo>
                    <a:pt x="512" y="1299"/>
                  </a:lnTo>
                  <a:lnTo>
                    <a:pt x="508" y="1294"/>
                  </a:lnTo>
                  <a:lnTo>
                    <a:pt x="505" y="1287"/>
                  </a:lnTo>
                  <a:lnTo>
                    <a:pt x="501" y="1274"/>
                  </a:lnTo>
                  <a:lnTo>
                    <a:pt x="498" y="1265"/>
                  </a:lnTo>
                  <a:lnTo>
                    <a:pt x="495" y="1263"/>
                  </a:lnTo>
                  <a:lnTo>
                    <a:pt x="492" y="1261"/>
                  </a:lnTo>
                  <a:lnTo>
                    <a:pt x="489" y="1257"/>
                  </a:lnTo>
                  <a:lnTo>
                    <a:pt x="487" y="1252"/>
                  </a:lnTo>
                  <a:lnTo>
                    <a:pt x="483" y="1239"/>
                  </a:lnTo>
                  <a:lnTo>
                    <a:pt x="480" y="1223"/>
                  </a:lnTo>
                  <a:lnTo>
                    <a:pt x="478" y="1190"/>
                  </a:lnTo>
                  <a:lnTo>
                    <a:pt x="478" y="1166"/>
                  </a:lnTo>
                  <a:lnTo>
                    <a:pt x="483" y="1165"/>
                  </a:lnTo>
                  <a:lnTo>
                    <a:pt x="484" y="1163"/>
                  </a:lnTo>
                  <a:lnTo>
                    <a:pt x="485" y="1160"/>
                  </a:lnTo>
                  <a:lnTo>
                    <a:pt x="485" y="1156"/>
                  </a:lnTo>
                  <a:lnTo>
                    <a:pt x="485" y="1153"/>
                  </a:lnTo>
                  <a:lnTo>
                    <a:pt x="486" y="1150"/>
                  </a:lnTo>
                  <a:lnTo>
                    <a:pt x="488" y="1147"/>
                  </a:lnTo>
                  <a:lnTo>
                    <a:pt x="492" y="1146"/>
                  </a:lnTo>
                  <a:lnTo>
                    <a:pt x="492" y="1127"/>
                  </a:lnTo>
                  <a:lnTo>
                    <a:pt x="498" y="1121"/>
                  </a:lnTo>
                  <a:lnTo>
                    <a:pt x="505" y="1114"/>
                  </a:lnTo>
                  <a:lnTo>
                    <a:pt x="525" y="1114"/>
                  </a:lnTo>
                  <a:lnTo>
                    <a:pt x="547" y="1114"/>
                  </a:lnTo>
                  <a:lnTo>
                    <a:pt x="569" y="1114"/>
                  </a:lnTo>
                  <a:lnTo>
                    <a:pt x="590" y="1114"/>
                  </a:lnTo>
                  <a:lnTo>
                    <a:pt x="591" y="1111"/>
                  </a:lnTo>
                  <a:lnTo>
                    <a:pt x="593" y="1108"/>
                  </a:lnTo>
                  <a:lnTo>
                    <a:pt x="597" y="1107"/>
                  </a:lnTo>
                  <a:lnTo>
                    <a:pt x="600" y="1107"/>
                  </a:lnTo>
                  <a:lnTo>
                    <a:pt x="603" y="1107"/>
                  </a:lnTo>
                  <a:lnTo>
                    <a:pt x="607" y="1106"/>
                  </a:lnTo>
                  <a:lnTo>
                    <a:pt x="609" y="1105"/>
                  </a:lnTo>
                  <a:lnTo>
                    <a:pt x="610" y="1101"/>
                  </a:lnTo>
                  <a:lnTo>
                    <a:pt x="642" y="1101"/>
                  </a:lnTo>
                  <a:lnTo>
                    <a:pt x="656" y="1094"/>
                  </a:lnTo>
                  <a:lnTo>
                    <a:pt x="677" y="1079"/>
                  </a:lnTo>
                  <a:lnTo>
                    <a:pt x="725" y="1045"/>
                  </a:lnTo>
                  <a:lnTo>
                    <a:pt x="774" y="1011"/>
                  </a:lnTo>
                  <a:lnTo>
                    <a:pt x="800" y="996"/>
                  </a:lnTo>
                  <a:lnTo>
                    <a:pt x="813" y="980"/>
                  </a:lnTo>
                  <a:lnTo>
                    <a:pt x="825" y="963"/>
                  </a:lnTo>
                  <a:lnTo>
                    <a:pt x="839" y="957"/>
                  </a:lnTo>
                  <a:lnTo>
                    <a:pt x="852" y="950"/>
                  </a:lnTo>
                  <a:lnTo>
                    <a:pt x="852" y="947"/>
                  </a:lnTo>
                  <a:lnTo>
                    <a:pt x="853" y="944"/>
                  </a:lnTo>
                  <a:lnTo>
                    <a:pt x="854" y="943"/>
                  </a:lnTo>
                  <a:lnTo>
                    <a:pt x="856" y="943"/>
                  </a:lnTo>
                  <a:lnTo>
                    <a:pt x="857" y="943"/>
                  </a:lnTo>
                  <a:lnTo>
                    <a:pt x="858" y="943"/>
                  </a:lnTo>
                  <a:lnTo>
                    <a:pt x="859" y="941"/>
                  </a:lnTo>
                  <a:lnTo>
                    <a:pt x="859" y="936"/>
                  </a:lnTo>
                  <a:lnTo>
                    <a:pt x="872" y="936"/>
                  </a:lnTo>
                  <a:lnTo>
                    <a:pt x="872" y="934"/>
                  </a:lnTo>
                  <a:lnTo>
                    <a:pt x="873" y="933"/>
                  </a:lnTo>
                  <a:lnTo>
                    <a:pt x="874" y="932"/>
                  </a:lnTo>
                  <a:lnTo>
                    <a:pt x="876" y="931"/>
                  </a:lnTo>
                  <a:lnTo>
                    <a:pt x="880" y="931"/>
                  </a:lnTo>
                  <a:lnTo>
                    <a:pt x="885" y="930"/>
                  </a:lnTo>
                  <a:lnTo>
                    <a:pt x="886" y="926"/>
                  </a:lnTo>
                  <a:lnTo>
                    <a:pt x="886" y="924"/>
                  </a:lnTo>
                  <a:lnTo>
                    <a:pt x="887" y="924"/>
                  </a:lnTo>
                  <a:lnTo>
                    <a:pt x="888" y="924"/>
                  </a:lnTo>
                  <a:lnTo>
                    <a:pt x="889" y="924"/>
                  </a:lnTo>
                  <a:lnTo>
                    <a:pt x="890" y="923"/>
                  </a:lnTo>
                  <a:lnTo>
                    <a:pt x="891" y="921"/>
                  </a:lnTo>
                  <a:lnTo>
                    <a:pt x="891" y="918"/>
                  </a:lnTo>
                  <a:lnTo>
                    <a:pt x="907" y="919"/>
                  </a:lnTo>
                  <a:lnTo>
                    <a:pt x="929" y="922"/>
                  </a:lnTo>
                  <a:lnTo>
                    <a:pt x="939" y="925"/>
                  </a:lnTo>
                  <a:lnTo>
                    <a:pt x="948" y="929"/>
                  </a:lnTo>
                  <a:lnTo>
                    <a:pt x="952" y="930"/>
                  </a:lnTo>
                  <a:lnTo>
                    <a:pt x="955" y="932"/>
                  </a:lnTo>
                  <a:lnTo>
                    <a:pt x="956" y="934"/>
                  </a:lnTo>
                  <a:lnTo>
                    <a:pt x="957" y="936"/>
                  </a:lnTo>
                  <a:lnTo>
                    <a:pt x="970" y="936"/>
                  </a:lnTo>
                  <a:lnTo>
                    <a:pt x="979" y="924"/>
                  </a:lnTo>
                  <a:lnTo>
                    <a:pt x="989" y="911"/>
                  </a:lnTo>
                  <a:lnTo>
                    <a:pt x="995" y="910"/>
                  </a:lnTo>
                  <a:lnTo>
                    <a:pt x="998" y="906"/>
                  </a:lnTo>
                  <a:lnTo>
                    <a:pt x="1002" y="902"/>
                  </a:lnTo>
                  <a:lnTo>
                    <a:pt x="1003" y="897"/>
                  </a:lnTo>
                  <a:lnTo>
                    <a:pt x="1016" y="897"/>
                  </a:lnTo>
                  <a:lnTo>
                    <a:pt x="1017" y="895"/>
                  </a:lnTo>
                  <a:lnTo>
                    <a:pt x="1020" y="894"/>
                  </a:lnTo>
                  <a:lnTo>
                    <a:pt x="1025" y="893"/>
                  </a:lnTo>
                  <a:lnTo>
                    <a:pt x="1031" y="892"/>
                  </a:lnTo>
                  <a:lnTo>
                    <a:pt x="1048" y="893"/>
                  </a:lnTo>
                  <a:lnTo>
                    <a:pt x="1065" y="894"/>
                  </a:lnTo>
                  <a:lnTo>
                    <a:pt x="1083" y="897"/>
                  </a:lnTo>
                  <a:lnTo>
                    <a:pt x="1099" y="901"/>
                  </a:lnTo>
                  <a:lnTo>
                    <a:pt x="1106" y="903"/>
                  </a:lnTo>
                  <a:lnTo>
                    <a:pt x="1110" y="906"/>
                  </a:lnTo>
                  <a:lnTo>
                    <a:pt x="1113" y="909"/>
                  </a:lnTo>
                  <a:lnTo>
                    <a:pt x="1114" y="911"/>
                  </a:lnTo>
                  <a:lnTo>
                    <a:pt x="1133" y="911"/>
                  </a:lnTo>
                  <a:lnTo>
                    <a:pt x="1137" y="914"/>
                  </a:lnTo>
                  <a:lnTo>
                    <a:pt x="1140" y="918"/>
                  </a:lnTo>
                  <a:lnTo>
                    <a:pt x="1144" y="921"/>
                  </a:lnTo>
                  <a:lnTo>
                    <a:pt x="1148" y="923"/>
                  </a:lnTo>
                  <a:lnTo>
                    <a:pt x="1158" y="928"/>
                  </a:lnTo>
                  <a:lnTo>
                    <a:pt x="1169" y="931"/>
                  </a:lnTo>
                  <a:lnTo>
                    <a:pt x="1181" y="934"/>
                  </a:lnTo>
                  <a:lnTo>
                    <a:pt x="1196" y="936"/>
                  </a:lnTo>
                  <a:lnTo>
                    <a:pt x="1211" y="938"/>
                  </a:lnTo>
                  <a:lnTo>
                    <a:pt x="1225" y="939"/>
                  </a:lnTo>
                  <a:lnTo>
                    <a:pt x="1255" y="939"/>
                  </a:lnTo>
                  <a:lnTo>
                    <a:pt x="1284" y="939"/>
                  </a:lnTo>
                  <a:lnTo>
                    <a:pt x="1310" y="938"/>
                  </a:lnTo>
                  <a:lnTo>
                    <a:pt x="1331" y="936"/>
                  </a:lnTo>
                  <a:lnTo>
                    <a:pt x="1331" y="934"/>
                  </a:lnTo>
                  <a:lnTo>
                    <a:pt x="1332" y="933"/>
                  </a:lnTo>
                  <a:lnTo>
                    <a:pt x="1333" y="932"/>
                  </a:lnTo>
                  <a:lnTo>
                    <a:pt x="1334" y="931"/>
                  </a:lnTo>
                  <a:lnTo>
                    <a:pt x="1339" y="931"/>
                  </a:lnTo>
                  <a:lnTo>
                    <a:pt x="1343" y="930"/>
                  </a:lnTo>
                  <a:lnTo>
                    <a:pt x="1344" y="929"/>
                  </a:lnTo>
                  <a:lnTo>
                    <a:pt x="1344" y="926"/>
                  </a:lnTo>
                  <a:lnTo>
                    <a:pt x="1346" y="925"/>
                  </a:lnTo>
                  <a:lnTo>
                    <a:pt x="1348" y="924"/>
                  </a:lnTo>
                  <a:lnTo>
                    <a:pt x="1352" y="924"/>
                  </a:lnTo>
                  <a:lnTo>
                    <a:pt x="1357" y="924"/>
                  </a:lnTo>
                  <a:lnTo>
                    <a:pt x="1363" y="918"/>
                  </a:lnTo>
                  <a:lnTo>
                    <a:pt x="1370" y="911"/>
                  </a:lnTo>
                  <a:lnTo>
                    <a:pt x="1370" y="891"/>
                  </a:lnTo>
                  <a:lnTo>
                    <a:pt x="1370" y="868"/>
                  </a:lnTo>
                  <a:lnTo>
                    <a:pt x="1370" y="845"/>
                  </a:lnTo>
                  <a:lnTo>
                    <a:pt x="1370" y="822"/>
                  </a:lnTo>
                  <a:lnTo>
                    <a:pt x="1370" y="797"/>
                  </a:lnTo>
                  <a:lnTo>
                    <a:pt x="1370" y="774"/>
                  </a:lnTo>
                  <a:lnTo>
                    <a:pt x="1370" y="750"/>
                  </a:lnTo>
                  <a:lnTo>
                    <a:pt x="1370" y="727"/>
                  </a:lnTo>
                  <a:lnTo>
                    <a:pt x="1372" y="726"/>
                  </a:lnTo>
                  <a:lnTo>
                    <a:pt x="1375" y="720"/>
                  </a:lnTo>
                  <a:lnTo>
                    <a:pt x="1377" y="712"/>
                  </a:lnTo>
                  <a:lnTo>
                    <a:pt x="1379" y="701"/>
                  </a:lnTo>
                  <a:lnTo>
                    <a:pt x="1382" y="673"/>
                  </a:lnTo>
                  <a:lnTo>
                    <a:pt x="1385" y="641"/>
                  </a:lnTo>
                  <a:lnTo>
                    <a:pt x="1387" y="607"/>
                  </a:lnTo>
                  <a:lnTo>
                    <a:pt x="1388" y="575"/>
                  </a:lnTo>
                  <a:lnTo>
                    <a:pt x="1389" y="548"/>
                  </a:lnTo>
                  <a:lnTo>
                    <a:pt x="1389" y="530"/>
                  </a:lnTo>
                  <a:lnTo>
                    <a:pt x="1392" y="529"/>
                  </a:lnTo>
                  <a:lnTo>
                    <a:pt x="1395" y="524"/>
                  </a:lnTo>
                  <a:lnTo>
                    <a:pt x="1397" y="516"/>
                  </a:lnTo>
                  <a:lnTo>
                    <a:pt x="1399" y="507"/>
                  </a:lnTo>
                  <a:lnTo>
                    <a:pt x="1401" y="489"/>
                  </a:lnTo>
                  <a:lnTo>
                    <a:pt x="1403" y="478"/>
                  </a:lnTo>
                  <a:lnTo>
                    <a:pt x="1416" y="466"/>
                  </a:lnTo>
                  <a:lnTo>
                    <a:pt x="1416" y="457"/>
                  </a:lnTo>
                  <a:lnTo>
                    <a:pt x="1416" y="445"/>
                  </a:lnTo>
                  <a:lnTo>
                    <a:pt x="1416" y="433"/>
                  </a:lnTo>
                  <a:lnTo>
                    <a:pt x="1416" y="425"/>
                  </a:lnTo>
                  <a:lnTo>
                    <a:pt x="1409" y="419"/>
                  </a:lnTo>
                  <a:lnTo>
                    <a:pt x="1403" y="413"/>
                  </a:lnTo>
                  <a:lnTo>
                    <a:pt x="1378" y="410"/>
                  </a:lnTo>
                  <a:lnTo>
                    <a:pt x="1328" y="401"/>
                  </a:lnTo>
                  <a:lnTo>
                    <a:pt x="1302" y="396"/>
                  </a:lnTo>
                  <a:lnTo>
                    <a:pt x="1280" y="391"/>
                  </a:lnTo>
                  <a:lnTo>
                    <a:pt x="1271" y="387"/>
                  </a:lnTo>
                  <a:lnTo>
                    <a:pt x="1264" y="385"/>
                  </a:lnTo>
                  <a:lnTo>
                    <a:pt x="1260" y="382"/>
                  </a:lnTo>
                  <a:lnTo>
                    <a:pt x="1259" y="380"/>
                  </a:lnTo>
                  <a:lnTo>
                    <a:pt x="1250" y="375"/>
                  </a:lnTo>
                  <a:lnTo>
                    <a:pt x="1242" y="370"/>
                  </a:lnTo>
                  <a:lnTo>
                    <a:pt x="1235" y="363"/>
                  </a:lnTo>
                  <a:lnTo>
                    <a:pt x="1229" y="356"/>
                  </a:lnTo>
                  <a:lnTo>
                    <a:pt x="1225" y="349"/>
                  </a:lnTo>
                  <a:lnTo>
                    <a:pt x="1221" y="343"/>
                  </a:lnTo>
                  <a:lnTo>
                    <a:pt x="1218" y="335"/>
                  </a:lnTo>
                  <a:lnTo>
                    <a:pt x="1216" y="326"/>
                  </a:lnTo>
                  <a:lnTo>
                    <a:pt x="1213" y="309"/>
                  </a:lnTo>
                  <a:lnTo>
                    <a:pt x="1213" y="290"/>
                  </a:lnTo>
                  <a:lnTo>
                    <a:pt x="1213" y="270"/>
                  </a:lnTo>
                  <a:lnTo>
                    <a:pt x="1213" y="249"/>
                  </a:lnTo>
                  <a:lnTo>
                    <a:pt x="1215" y="246"/>
                  </a:lnTo>
                  <a:lnTo>
                    <a:pt x="1216" y="239"/>
                  </a:lnTo>
                  <a:lnTo>
                    <a:pt x="1217" y="229"/>
                  </a:lnTo>
                  <a:lnTo>
                    <a:pt x="1218" y="218"/>
                  </a:lnTo>
                  <a:lnTo>
                    <a:pt x="1219" y="193"/>
                  </a:lnTo>
                  <a:lnTo>
                    <a:pt x="1219" y="176"/>
                  </a:lnTo>
                  <a:lnTo>
                    <a:pt x="1213" y="170"/>
                  </a:lnTo>
                  <a:lnTo>
                    <a:pt x="1205" y="170"/>
                  </a:lnTo>
                  <a:lnTo>
                    <a:pt x="1193" y="170"/>
                  </a:lnTo>
                  <a:lnTo>
                    <a:pt x="1181" y="170"/>
                  </a:lnTo>
                  <a:lnTo>
                    <a:pt x="1174" y="170"/>
                  </a:lnTo>
                  <a:lnTo>
                    <a:pt x="1173" y="166"/>
                  </a:lnTo>
                  <a:lnTo>
                    <a:pt x="1173" y="164"/>
                  </a:lnTo>
                  <a:lnTo>
                    <a:pt x="1171" y="164"/>
                  </a:lnTo>
                  <a:lnTo>
                    <a:pt x="1170" y="163"/>
                  </a:lnTo>
                  <a:lnTo>
                    <a:pt x="1169" y="163"/>
                  </a:lnTo>
                  <a:lnTo>
                    <a:pt x="1168" y="163"/>
                  </a:lnTo>
                  <a:lnTo>
                    <a:pt x="1167" y="161"/>
                  </a:lnTo>
                  <a:lnTo>
                    <a:pt x="1167" y="157"/>
                  </a:lnTo>
                  <a:lnTo>
                    <a:pt x="1150" y="154"/>
                  </a:lnTo>
                  <a:lnTo>
                    <a:pt x="1133" y="151"/>
                  </a:lnTo>
                  <a:lnTo>
                    <a:pt x="1129" y="145"/>
                  </a:lnTo>
                  <a:lnTo>
                    <a:pt x="1125" y="141"/>
                  </a:lnTo>
                  <a:lnTo>
                    <a:pt x="1122" y="135"/>
                  </a:lnTo>
                  <a:lnTo>
                    <a:pt x="1121" y="131"/>
                  </a:lnTo>
                  <a:lnTo>
                    <a:pt x="1099" y="130"/>
                  </a:lnTo>
                  <a:lnTo>
                    <a:pt x="1074" y="127"/>
                  </a:lnTo>
                  <a:lnTo>
                    <a:pt x="1048" y="125"/>
                  </a:lnTo>
                  <a:lnTo>
                    <a:pt x="1023" y="124"/>
                  </a:lnTo>
                  <a:lnTo>
                    <a:pt x="1015" y="116"/>
                  </a:lnTo>
                  <a:lnTo>
                    <a:pt x="1010" y="107"/>
                  </a:lnTo>
                  <a:lnTo>
                    <a:pt x="1004" y="97"/>
                  </a:lnTo>
                  <a:lnTo>
                    <a:pt x="998" y="86"/>
                  </a:lnTo>
                  <a:lnTo>
                    <a:pt x="995" y="75"/>
                  </a:lnTo>
                  <a:lnTo>
                    <a:pt x="992" y="64"/>
                  </a:lnTo>
                  <a:lnTo>
                    <a:pt x="991" y="51"/>
                  </a:lnTo>
                  <a:lnTo>
                    <a:pt x="989" y="39"/>
                  </a:lnTo>
                  <a:lnTo>
                    <a:pt x="987" y="39"/>
                  </a:lnTo>
                  <a:lnTo>
                    <a:pt x="986" y="38"/>
                  </a:lnTo>
                  <a:lnTo>
                    <a:pt x="985" y="37"/>
                  </a:lnTo>
                  <a:lnTo>
                    <a:pt x="984" y="35"/>
                  </a:lnTo>
                  <a:lnTo>
                    <a:pt x="983" y="30"/>
                  </a:lnTo>
                  <a:lnTo>
                    <a:pt x="983" y="26"/>
                  </a:lnTo>
                  <a:lnTo>
                    <a:pt x="981" y="26"/>
                  </a:lnTo>
                  <a:lnTo>
                    <a:pt x="979" y="24"/>
                  </a:lnTo>
                  <a:lnTo>
                    <a:pt x="978" y="21"/>
                  </a:lnTo>
                  <a:lnTo>
                    <a:pt x="977" y="18"/>
                  </a:lnTo>
                  <a:lnTo>
                    <a:pt x="977" y="12"/>
                  </a:lnTo>
                  <a:lnTo>
                    <a:pt x="976" y="6"/>
                  </a:lnTo>
                  <a:lnTo>
                    <a:pt x="970" y="0"/>
                  </a:lnTo>
                  <a:lnTo>
                    <a:pt x="957" y="0"/>
                  </a:lnTo>
                  <a:lnTo>
                    <a:pt x="954" y="9"/>
                  </a:lnTo>
                  <a:lnTo>
                    <a:pt x="950" y="19"/>
                  </a:lnTo>
                  <a:lnTo>
                    <a:pt x="948" y="20"/>
                  </a:lnTo>
                  <a:lnTo>
                    <a:pt x="946" y="22"/>
                  </a:lnTo>
                  <a:lnTo>
                    <a:pt x="944" y="26"/>
                  </a:lnTo>
                  <a:lnTo>
                    <a:pt x="941" y="30"/>
                  </a:lnTo>
                  <a:lnTo>
                    <a:pt x="938" y="39"/>
                  </a:lnTo>
                  <a:lnTo>
                    <a:pt x="937" y="46"/>
                  </a:lnTo>
                  <a:lnTo>
                    <a:pt x="933" y="50"/>
                  </a:lnTo>
                  <a:lnTo>
                    <a:pt x="928" y="56"/>
                  </a:lnTo>
                  <a:lnTo>
                    <a:pt x="927" y="59"/>
                  </a:lnTo>
                  <a:lnTo>
                    <a:pt x="926" y="63"/>
                  </a:lnTo>
                  <a:lnTo>
                    <a:pt x="925" y="67"/>
                  </a:lnTo>
                  <a:lnTo>
                    <a:pt x="925" y="72"/>
                  </a:lnTo>
                  <a:lnTo>
                    <a:pt x="918" y="85"/>
                  </a:lnTo>
                  <a:lnTo>
                    <a:pt x="915" y="86"/>
                  </a:lnTo>
                  <a:lnTo>
                    <a:pt x="912" y="87"/>
                  </a:lnTo>
                  <a:lnTo>
                    <a:pt x="910" y="91"/>
                  </a:lnTo>
                  <a:lnTo>
                    <a:pt x="908" y="94"/>
                  </a:lnTo>
                  <a:lnTo>
                    <a:pt x="904" y="104"/>
                  </a:lnTo>
                  <a:lnTo>
                    <a:pt x="899" y="116"/>
                  </a:lnTo>
                  <a:lnTo>
                    <a:pt x="893" y="141"/>
                  </a:lnTo>
                  <a:lnTo>
                    <a:pt x="891" y="157"/>
                  </a:lnTo>
                  <a:lnTo>
                    <a:pt x="889" y="157"/>
                  </a:lnTo>
                  <a:lnTo>
                    <a:pt x="887" y="159"/>
                  </a:lnTo>
                  <a:lnTo>
                    <a:pt x="886" y="161"/>
                  </a:lnTo>
                  <a:lnTo>
                    <a:pt x="883" y="163"/>
                  </a:lnTo>
                  <a:lnTo>
                    <a:pt x="881" y="170"/>
                  </a:lnTo>
                  <a:lnTo>
                    <a:pt x="880" y="178"/>
                  </a:lnTo>
                  <a:lnTo>
                    <a:pt x="879" y="193"/>
                  </a:lnTo>
                  <a:lnTo>
                    <a:pt x="878" y="203"/>
                  </a:lnTo>
                  <a:lnTo>
                    <a:pt x="874" y="203"/>
                  </a:lnTo>
                  <a:lnTo>
                    <a:pt x="872" y="204"/>
                  </a:lnTo>
                  <a:lnTo>
                    <a:pt x="872" y="205"/>
                  </a:lnTo>
                  <a:lnTo>
                    <a:pt x="872" y="207"/>
                  </a:lnTo>
                  <a:lnTo>
                    <a:pt x="871" y="208"/>
                  </a:lnTo>
                  <a:lnTo>
                    <a:pt x="871" y="209"/>
                  </a:lnTo>
                  <a:lnTo>
                    <a:pt x="869" y="209"/>
                  </a:lnTo>
                  <a:lnTo>
                    <a:pt x="866" y="210"/>
                  </a:lnTo>
                  <a:lnTo>
                    <a:pt x="859" y="222"/>
                  </a:lnTo>
                  <a:lnTo>
                    <a:pt x="851" y="223"/>
                  </a:lnTo>
                  <a:lnTo>
                    <a:pt x="844" y="226"/>
                  </a:lnTo>
                  <a:lnTo>
                    <a:pt x="837" y="229"/>
                  </a:lnTo>
                  <a:lnTo>
                    <a:pt x="829" y="232"/>
                  </a:lnTo>
                  <a:lnTo>
                    <a:pt x="822" y="236"/>
                  </a:lnTo>
                  <a:lnTo>
                    <a:pt x="814" y="239"/>
                  </a:lnTo>
                  <a:lnTo>
                    <a:pt x="808" y="241"/>
                  </a:lnTo>
                  <a:lnTo>
                    <a:pt x="800" y="242"/>
                  </a:lnTo>
                  <a:lnTo>
                    <a:pt x="761" y="281"/>
                  </a:lnTo>
                  <a:lnTo>
                    <a:pt x="757" y="298"/>
                  </a:lnTo>
                  <a:lnTo>
                    <a:pt x="754" y="314"/>
                  </a:lnTo>
                  <a:lnTo>
                    <a:pt x="747" y="327"/>
                  </a:lnTo>
                  <a:lnTo>
                    <a:pt x="734" y="327"/>
                  </a:lnTo>
                  <a:lnTo>
                    <a:pt x="733" y="328"/>
                  </a:lnTo>
                  <a:lnTo>
                    <a:pt x="730" y="328"/>
                  </a:lnTo>
                  <a:lnTo>
                    <a:pt x="726" y="328"/>
                  </a:lnTo>
                  <a:lnTo>
                    <a:pt x="719" y="327"/>
                  </a:lnTo>
                  <a:lnTo>
                    <a:pt x="705" y="324"/>
                  </a:lnTo>
                  <a:lnTo>
                    <a:pt x="687" y="320"/>
                  </a:lnTo>
                  <a:lnTo>
                    <a:pt x="651" y="311"/>
                  </a:lnTo>
                  <a:lnTo>
                    <a:pt x="629" y="308"/>
                  </a:lnTo>
                  <a:lnTo>
                    <a:pt x="619" y="314"/>
                  </a:lnTo>
                  <a:lnTo>
                    <a:pt x="603" y="320"/>
                  </a:lnTo>
                  <a:lnTo>
                    <a:pt x="603" y="334"/>
                  </a:lnTo>
                  <a:lnTo>
                    <a:pt x="590" y="334"/>
                  </a:lnTo>
                  <a:lnTo>
                    <a:pt x="583" y="341"/>
                  </a:lnTo>
                  <a:lnTo>
                    <a:pt x="564" y="34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1" name="Freeform 44">
              <a:extLst>
                <a:ext uri="{FF2B5EF4-FFF2-40B4-BE49-F238E27FC236}">
                  <a16:creationId xmlns:a16="http://schemas.microsoft.com/office/drawing/2014/main" id="{6CE8267C-6CBF-4029-92F9-02A08DAF2E13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089775" y="2867025"/>
              <a:ext cx="325817" cy="176213"/>
            </a:xfrm>
            <a:custGeom>
              <a:avLst/>
              <a:gdLst/>
              <a:ahLst/>
              <a:cxnLst>
                <a:cxn ang="0">
                  <a:pos x="223" y="715"/>
                </a:cxn>
                <a:cxn ang="0">
                  <a:pos x="198" y="674"/>
                </a:cxn>
                <a:cxn ang="0">
                  <a:pos x="172" y="627"/>
                </a:cxn>
                <a:cxn ang="0">
                  <a:pos x="129" y="536"/>
                </a:cxn>
                <a:cxn ang="0">
                  <a:pos x="107" y="482"/>
                </a:cxn>
                <a:cxn ang="0">
                  <a:pos x="73" y="431"/>
                </a:cxn>
                <a:cxn ang="0">
                  <a:pos x="12" y="347"/>
                </a:cxn>
                <a:cxn ang="0">
                  <a:pos x="6" y="254"/>
                </a:cxn>
                <a:cxn ang="0">
                  <a:pos x="33" y="226"/>
                </a:cxn>
                <a:cxn ang="0">
                  <a:pos x="76" y="209"/>
                </a:cxn>
                <a:cxn ang="0">
                  <a:pos x="251" y="193"/>
                </a:cxn>
                <a:cxn ang="0">
                  <a:pos x="339" y="173"/>
                </a:cxn>
                <a:cxn ang="0">
                  <a:pos x="408" y="147"/>
                </a:cxn>
                <a:cxn ang="0">
                  <a:pos x="530" y="154"/>
                </a:cxn>
                <a:cxn ang="0">
                  <a:pos x="674" y="160"/>
                </a:cxn>
                <a:cxn ang="0">
                  <a:pos x="869" y="132"/>
                </a:cxn>
                <a:cxn ang="0">
                  <a:pos x="1123" y="94"/>
                </a:cxn>
                <a:cxn ang="0">
                  <a:pos x="1374" y="65"/>
                </a:cxn>
                <a:cxn ang="0">
                  <a:pos x="1530" y="39"/>
                </a:cxn>
                <a:cxn ang="0">
                  <a:pos x="1619" y="11"/>
                </a:cxn>
                <a:cxn ang="0">
                  <a:pos x="1789" y="14"/>
                </a:cxn>
                <a:cxn ang="0">
                  <a:pos x="1794" y="68"/>
                </a:cxn>
                <a:cxn ang="0">
                  <a:pos x="1774" y="120"/>
                </a:cxn>
                <a:cxn ang="0">
                  <a:pos x="1763" y="142"/>
                </a:cxn>
                <a:cxn ang="0">
                  <a:pos x="1705" y="305"/>
                </a:cxn>
                <a:cxn ang="0">
                  <a:pos x="1648" y="347"/>
                </a:cxn>
                <a:cxn ang="0">
                  <a:pos x="1611" y="378"/>
                </a:cxn>
                <a:cxn ang="0">
                  <a:pos x="1582" y="448"/>
                </a:cxn>
                <a:cxn ang="0">
                  <a:pos x="1619" y="532"/>
                </a:cxn>
                <a:cxn ang="0">
                  <a:pos x="1650" y="609"/>
                </a:cxn>
                <a:cxn ang="0">
                  <a:pos x="1646" y="681"/>
                </a:cxn>
                <a:cxn ang="0">
                  <a:pos x="1627" y="708"/>
                </a:cxn>
                <a:cxn ang="0">
                  <a:pos x="1618" y="745"/>
                </a:cxn>
                <a:cxn ang="0">
                  <a:pos x="1598" y="876"/>
                </a:cxn>
                <a:cxn ang="0">
                  <a:pos x="1550" y="891"/>
                </a:cxn>
                <a:cxn ang="0">
                  <a:pos x="1391" y="885"/>
                </a:cxn>
                <a:cxn ang="0">
                  <a:pos x="1312" y="916"/>
                </a:cxn>
                <a:cxn ang="0">
                  <a:pos x="1247" y="969"/>
                </a:cxn>
                <a:cxn ang="0">
                  <a:pos x="1220" y="1010"/>
                </a:cxn>
                <a:cxn ang="0">
                  <a:pos x="1166" y="1053"/>
                </a:cxn>
                <a:cxn ang="0">
                  <a:pos x="1141" y="1071"/>
                </a:cxn>
                <a:cxn ang="0">
                  <a:pos x="1110" y="1084"/>
                </a:cxn>
                <a:cxn ang="0">
                  <a:pos x="1091" y="1034"/>
                </a:cxn>
                <a:cxn ang="0">
                  <a:pos x="1115" y="938"/>
                </a:cxn>
                <a:cxn ang="0">
                  <a:pos x="963" y="890"/>
                </a:cxn>
                <a:cxn ang="0">
                  <a:pos x="917" y="840"/>
                </a:cxn>
                <a:cxn ang="0">
                  <a:pos x="917" y="723"/>
                </a:cxn>
                <a:cxn ang="0">
                  <a:pos x="872" y="669"/>
                </a:cxn>
                <a:cxn ang="0">
                  <a:pos x="828" y="650"/>
                </a:cxn>
                <a:cxn ang="0">
                  <a:pos x="709" y="612"/>
                </a:cxn>
                <a:cxn ang="0">
                  <a:pos x="684" y="542"/>
                </a:cxn>
                <a:cxn ang="0">
                  <a:pos x="675" y="511"/>
                </a:cxn>
                <a:cxn ang="0">
                  <a:pos x="637" y="544"/>
                </a:cxn>
                <a:cxn ang="0">
                  <a:pos x="614" y="591"/>
                </a:cxn>
                <a:cxn ang="0">
                  <a:pos x="586" y="664"/>
                </a:cxn>
                <a:cxn ang="0">
                  <a:pos x="571" y="710"/>
                </a:cxn>
                <a:cxn ang="0">
                  <a:pos x="536" y="734"/>
                </a:cxn>
                <a:cxn ang="0">
                  <a:pos x="446" y="832"/>
                </a:cxn>
                <a:cxn ang="0">
                  <a:pos x="328" y="813"/>
                </a:cxn>
              </a:cxnLst>
              <a:rect l="0" t="0" r="r" b="b"/>
              <a:pathLst>
                <a:path w="1797" h="1094">
                  <a:moveTo>
                    <a:pt x="263" y="846"/>
                  </a:moveTo>
                  <a:lnTo>
                    <a:pt x="263" y="825"/>
                  </a:lnTo>
                  <a:lnTo>
                    <a:pt x="263" y="805"/>
                  </a:lnTo>
                  <a:lnTo>
                    <a:pt x="263" y="786"/>
                  </a:lnTo>
                  <a:lnTo>
                    <a:pt x="263" y="766"/>
                  </a:lnTo>
                  <a:lnTo>
                    <a:pt x="250" y="754"/>
                  </a:lnTo>
                  <a:lnTo>
                    <a:pt x="250" y="741"/>
                  </a:lnTo>
                  <a:lnTo>
                    <a:pt x="236" y="727"/>
                  </a:lnTo>
                  <a:lnTo>
                    <a:pt x="223" y="715"/>
                  </a:lnTo>
                  <a:lnTo>
                    <a:pt x="223" y="707"/>
                  </a:lnTo>
                  <a:lnTo>
                    <a:pt x="221" y="702"/>
                  </a:lnTo>
                  <a:lnTo>
                    <a:pt x="217" y="697"/>
                  </a:lnTo>
                  <a:lnTo>
                    <a:pt x="213" y="693"/>
                  </a:lnTo>
                  <a:lnTo>
                    <a:pt x="210" y="688"/>
                  </a:lnTo>
                  <a:lnTo>
                    <a:pt x="206" y="684"/>
                  </a:lnTo>
                  <a:lnTo>
                    <a:pt x="204" y="679"/>
                  </a:lnTo>
                  <a:lnTo>
                    <a:pt x="204" y="675"/>
                  </a:lnTo>
                  <a:lnTo>
                    <a:pt x="198" y="674"/>
                  </a:lnTo>
                  <a:lnTo>
                    <a:pt x="194" y="671"/>
                  </a:lnTo>
                  <a:lnTo>
                    <a:pt x="188" y="667"/>
                  </a:lnTo>
                  <a:lnTo>
                    <a:pt x="184" y="662"/>
                  </a:lnTo>
                  <a:lnTo>
                    <a:pt x="184" y="649"/>
                  </a:lnTo>
                  <a:lnTo>
                    <a:pt x="179" y="644"/>
                  </a:lnTo>
                  <a:lnTo>
                    <a:pt x="175" y="638"/>
                  </a:lnTo>
                  <a:lnTo>
                    <a:pt x="173" y="635"/>
                  </a:lnTo>
                  <a:lnTo>
                    <a:pt x="172" y="631"/>
                  </a:lnTo>
                  <a:lnTo>
                    <a:pt x="172" y="627"/>
                  </a:lnTo>
                  <a:lnTo>
                    <a:pt x="171" y="622"/>
                  </a:lnTo>
                  <a:lnTo>
                    <a:pt x="164" y="622"/>
                  </a:lnTo>
                  <a:lnTo>
                    <a:pt x="159" y="621"/>
                  </a:lnTo>
                  <a:lnTo>
                    <a:pt x="158" y="617"/>
                  </a:lnTo>
                  <a:lnTo>
                    <a:pt x="158" y="610"/>
                  </a:lnTo>
                  <a:lnTo>
                    <a:pt x="145" y="603"/>
                  </a:lnTo>
                  <a:lnTo>
                    <a:pt x="141" y="583"/>
                  </a:lnTo>
                  <a:lnTo>
                    <a:pt x="134" y="552"/>
                  </a:lnTo>
                  <a:lnTo>
                    <a:pt x="129" y="536"/>
                  </a:lnTo>
                  <a:lnTo>
                    <a:pt x="125" y="524"/>
                  </a:lnTo>
                  <a:lnTo>
                    <a:pt x="121" y="515"/>
                  </a:lnTo>
                  <a:lnTo>
                    <a:pt x="118" y="511"/>
                  </a:lnTo>
                  <a:lnTo>
                    <a:pt x="118" y="506"/>
                  </a:lnTo>
                  <a:lnTo>
                    <a:pt x="116" y="502"/>
                  </a:lnTo>
                  <a:lnTo>
                    <a:pt x="115" y="496"/>
                  </a:lnTo>
                  <a:lnTo>
                    <a:pt x="111" y="492"/>
                  </a:lnTo>
                  <a:lnTo>
                    <a:pt x="109" y="486"/>
                  </a:lnTo>
                  <a:lnTo>
                    <a:pt x="107" y="482"/>
                  </a:lnTo>
                  <a:lnTo>
                    <a:pt x="106" y="477"/>
                  </a:lnTo>
                  <a:lnTo>
                    <a:pt x="106" y="472"/>
                  </a:lnTo>
                  <a:lnTo>
                    <a:pt x="102" y="471"/>
                  </a:lnTo>
                  <a:lnTo>
                    <a:pt x="98" y="466"/>
                  </a:lnTo>
                  <a:lnTo>
                    <a:pt x="92" y="460"/>
                  </a:lnTo>
                  <a:lnTo>
                    <a:pt x="87" y="454"/>
                  </a:lnTo>
                  <a:lnTo>
                    <a:pt x="81" y="446"/>
                  </a:lnTo>
                  <a:lnTo>
                    <a:pt x="77" y="439"/>
                  </a:lnTo>
                  <a:lnTo>
                    <a:pt x="73" y="431"/>
                  </a:lnTo>
                  <a:lnTo>
                    <a:pt x="72" y="426"/>
                  </a:lnTo>
                  <a:lnTo>
                    <a:pt x="59" y="419"/>
                  </a:lnTo>
                  <a:lnTo>
                    <a:pt x="53" y="407"/>
                  </a:lnTo>
                  <a:lnTo>
                    <a:pt x="47" y="394"/>
                  </a:lnTo>
                  <a:lnTo>
                    <a:pt x="33" y="387"/>
                  </a:lnTo>
                  <a:lnTo>
                    <a:pt x="26" y="370"/>
                  </a:lnTo>
                  <a:lnTo>
                    <a:pt x="20" y="354"/>
                  </a:lnTo>
                  <a:lnTo>
                    <a:pt x="15" y="351"/>
                  </a:lnTo>
                  <a:lnTo>
                    <a:pt x="12" y="347"/>
                  </a:lnTo>
                  <a:lnTo>
                    <a:pt x="9" y="342"/>
                  </a:lnTo>
                  <a:lnTo>
                    <a:pt x="6" y="337"/>
                  </a:lnTo>
                  <a:lnTo>
                    <a:pt x="2" y="324"/>
                  </a:lnTo>
                  <a:lnTo>
                    <a:pt x="1" y="310"/>
                  </a:lnTo>
                  <a:lnTo>
                    <a:pt x="0" y="280"/>
                  </a:lnTo>
                  <a:lnTo>
                    <a:pt x="1" y="255"/>
                  </a:lnTo>
                  <a:lnTo>
                    <a:pt x="4" y="255"/>
                  </a:lnTo>
                  <a:lnTo>
                    <a:pt x="6" y="255"/>
                  </a:lnTo>
                  <a:lnTo>
                    <a:pt x="6" y="254"/>
                  </a:lnTo>
                  <a:lnTo>
                    <a:pt x="8" y="253"/>
                  </a:lnTo>
                  <a:lnTo>
                    <a:pt x="8" y="251"/>
                  </a:lnTo>
                  <a:lnTo>
                    <a:pt x="8" y="250"/>
                  </a:lnTo>
                  <a:lnTo>
                    <a:pt x="10" y="250"/>
                  </a:lnTo>
                  <a:lnTo>
                    <a:pt x="13" y="250"/>
                  </a:lnTo>
                  <a:lnTo>
                    <a:pt x="13" y="236"/>
                  </a:lnTo>
                  <a:lnTo>
                    <a:pt x="26" y="236"/>
                  </a:lnTo>
                  <a:lnTo>
                    <a:pt x="33" y="229"/>
                  </a:lnTo>
                  <a:lnTo>
                    <a:pt x="33" y="226"/>
                  </a:lnTo>
                  <a:lnTo>
                    <a:pt x="34" y="224"/>
                  </a:lnTo>
                  <a:lnTo>
                    <a:pt x="35" y="223"/>
                  </a:lnTo>
                  <a:lnTo>
                    <a:pt x="37" y="223"/>
                  </a:lnTo>
                  <a:lnTo>
                    <a:pt x="38" y="223"/>
                  </a:lnTo>
                  <a:lnTo>
                    <a:pt x="39" y="222"/>
                  </a:lnTo>
                  <a:lnTo>
                    <a:pt x="40" y="221"/>
                  </a:lnTo>
                  <a:lnTo>
                    <a:pt x="40" y="216"/>
                  </a:lnTo>
                  <a:lnTo>
                    <a:pt x="53" y="209"/>
                  </a:lnTo>
                  <a:lnTo>
                    <a:pt x="76" y="209"/>
                  </a:lnTo>
                  <a:lnTo>
                    <a:pt x="98" y="208"/>
                  </a:lnTo>
                  <a:lnTo>
                    <a:pt x="121" y="206"/>
                  </a:lnTo>
                  <a:lnTo>
                    <a:pt x="146" y="203"/>
                  </a:lnTo>
                  <a:lnTo>
                    <a:pt x="169" y="200"/>
                  </a:lnTo>
                  <a:lnTo>
                    <a:pt x="194" y="198"/>
                  </a:lnTo>
                  <a:lnTo>
                    <a:pt x="219" y="197"/>
                  </a:lnTo>
                  <a:lnTo>
                    <a:pt x="243" y="197"/>
                  </a:lnTo>
                  <a:lnTo>
                    <a:pt x="246" y="195"/>
                  </a:lnTo>
                  <a:lnTo>
                    <a:pt x="251" y="193"/>
                  </a:lnTo>
                  <a:lnTo>
                    <a:pt x="256" y="191"/>
                  </a:lnTo>
                  <a:lnTo>
                    <a:pt x="263" y="190"/>
                  </a:lnTo>
                  <a:lnTo>
                    <a:pt x="277" y="187"/>
                  </a:lnTo>
                  <a:lnTo>
                    <a:pt x="289" y="184"/>
                  </a:lnTo>
                  <a:lnTo>
                    <a:pt x="321" y="184"/>
                  </a:lnTo>
                  <a:lnTo>
                    <a:pt x="325" y="179"/>
                  </a:lnTo>
                  <a:lnTo>
                    <a:pt x="329" y="176"/>
                  </a:lnTo>
                  <a:lnTo>
                    <a:pt x="333" y="174"/>
                  </a:lnTo>
                  <a:lnTo>
                    <a:pt x="339" y="173"/>
                  </a:lnTo>
                  <a:lnTo>
                    <a:pt x="350" y="170"/>
                  </a:lnTo>
                  <a:lnTo>
                    <a:pt x="361" y="170"/>
                  </a:lnTo>
                  <a:lnTo>
                    <a:pt x="370" y="167"/>
                  </a:lnTo>
                  <a:lnTo>
                    <a:pt x="380" y="164"/>
                  </a:lnTo>
                  <a:lnTo>
                    <a:pt x="387" y="150"/>
                  </a:lnTo>
                  <a:lnTo>
                    <a:pt x="397" y="150"/>
                  </a:lnTo>
                  <a:lnTo>
                    <a:pt x="407" y="150"/>
                  </a:lnTo>
                  <a:lnTo>
                    <a:pt x="407" y="148"/>
                  </a:lnTo>
                  <a:lnTo>
                    <a:pt x="408" y="147"/>
                  </a:lnTo>
                  <a:lnTo>
                    <a:pt x="409" y="145"/>
                  </a:lnTo>
                  <a:lnTo>
                    <a:pt x="413" y="144"/>
                  </a:lnTo>
                  <a:lnTo>
                    <a:pt x="418" y="141"/>
                  </a:lnTo>
                  <a:lnTo>
                    <a:pt x="426" y="140"/>
                  </a:lnTo>
                  <a:lnTo>
                    <a:pt x="446" y="139"/>
                  </a:lnTo>
                  <a:lnTo>
                    <a:pt x="470" y="141"/>
                  </a:lnTo>
                  <a:lnTo>
                    <a:pt x="493" y="146"/>
                  </a:lnTo>
                  <a:lnTo>
                    <a:pt x="514" y="150"/>
                  </a:lnTo>
                  <a:lnTo>
                    <a:pt x="530" y="154"/>
                  </a:lnTo>
                  <a:lnTo>
                    <a:pt x="538" y="157"/>
                  </a:lnTo>
                  <a:lnTo>
                    <a:pt x="556" y="158"/>
                  </a:lnTo>
                  <a:lnTo>
                    <a:pt x="577" y="160"/>
                  </a:lnTo>
                  <a:lnTo>
                    <a:pt x="600" y="161"/>
                  </a:lnTo>
                  <a:lnTo>
                    <a:pt x="626" y="164"/>
                  </a:lnTo>
                  <a:lnTo>
                    <a:pt x="638" y="164"/>
                  </a:lnTo>
                  <a:lnTo>
                    <a:pt x="651" y="162"/>
                  </a:lnTo>
                  <a:lnTo>
                    <a:pt x="662" y="161"/>
                  </a:lnTo>
                  <a:lnTo>
                    <a:pt x="674" y="160"/>
                  </a:lnTo>
                  <a:lnTo>
                    <a:pt x="684" y="158"/>
                  </a:lnTo>
                  <a:lnTo>
                    <a:pt x="693" y="155"/>
                  </a:lnTo>
                  <a:lnTo>
                    <a:pt x="702" y="150"/>
                  </a:lnTo>
                  <a:lnTo>
                    <a:pt x="709" y="145"/>
                  </a:lnTo>
                  <a:lnTo>
                    <a:pt x="741" y="145"/>
                  </a:lnTo>
                  <a:lnTo>
                    <a:pt x="754" y="131"/>
                  </a:lnTo>
                  <a:lnTo>
                    <a:pt x="793" y="131"/>
                  </a:lnTo>
                  <a:lnTo>
                    <a:pt x="831" y="131"/>
                  </a:lnTo>
                  <a:lnTo>
                    <a:pt x="869" y="132"/>
                  </a:lnTo>
                  <a:lnTo>
                    <a:pt x="906" y="131"/>
                  </a:lnTo>
                  <a:lnTo>
                    <a:pt x="943" y="129"/>
                  </a:lnTo>
                  <a:lnTo>
                    <a:pt x="979" y="126"/>
                  </a:lnTo>
                  <a:lnTo>
                    <a:pt x="997" y="123"/>
                  </a:lnTo>
                  <a:lnTo>
                    <a:pt x="1014" y="120"/>
                  </a:lnTo>
                  <a:lnTo>
                    <a:pt x="1032" y="116"/>
                  </a:lnTo>
                  <a:lnTo>
                    <a:pt x="1049" y="111"/>
                  </a:lnTo>
                  <a:lnTo>
                    <a:pt x="1085" y="102"/>
                  </a:lnTo>
                  <a:lnTo>
                    <a:pt x="1123" y="94"/>
                  </a:lnTo>
                  <a:lnTo>
                    <a:pt x="1162" y="88"/>
                  </a:lnTo>
                  <a:lnTo>
                    <a:pt x="1202" y="82"/>
                  </a:lnTo>
                  <a:lnTo>
                    <a:pt x="1242" y="78"/>
                  </a:lnTo>
                  <a:lnTo>
                    <a:pt x="1283" y="74"/>
                  </a:lnTo>
                  <a:lnTo>
                    <a:pt x="1324" y="73"/>
                  </a:lnTo>
                  <a:lnTo>
                    <a:pt x="1364" y="72"/>
                  </a:lnTo>
                  <a:lnTo>
                    <a:pt x="1365" y="70"/>
                  </a:lnTo>
                  <a:lnTo>
                    <a:pt x="1368" y="68"/>
                  </a:lnTo>
                  <a:lnTo>
                    <a:pt x="1374" y="65"/>
                  </a:lnTo>
                  <a:lnTo>
                    <a:pt x="1381" y="63"/>
                  </a:lnTo>
                  <a:lnTo>
                    <a:pt x="1397" y="60"/>
                  </a:lnTo>
                  <a:lnTo>
                    <a:pt x="1419" y="58"/>
                  </a:lnTo>
                  <a:lnTo>
                    <a:pt x="1458" y="54"/>
                  </a:lnTo>
                  <a:lnTo>
                    <a:pt x="1482" y="52"/>
                  </a:lnTo>
                  <a:lnTo>
                    <a:pt x="1488" y="50"/>
                  </a:lnTo>
                  <a:lnTo>
                    <a:pt x="1499" y="46"/>
                  </a:lnTo>
                  <a:lnTo>
                    <a:pt x="1513" y="43"/>
                  </a:lnTo>
                  <a:lnTo>
                    <a:pt x="1530" y="39"/>
                  </a:lnTo>
                  <a:lnTo>
                    <a:pt x="1548" y="34"/>
                  </a:lnTo>
                  <a:lnTo>
                    <a:pt x="1566" y="30"/>
                  </a:lnTo>
                  <a:lnTo>
                    <a:pt x="1582" y="24"/>
                  </a:lnTo>
                  <a:lnTo>
                    <a:pt x="1594" y="20"/>
                  </a:lnTo>
                  <a:lnTo>
                    <a:pt x="1613" y="20"/>
                  </a:lnTo>
                  <a:lnTo>
                    <a:pt x="1614" y="17"/>
                  </a:lnTo>
                  <a:lnTo>
                    <a:pt x="1615" y="15"/>
                  </a:lnTo>
                  <a:lnTo>
                    <a:pt x="1617" y="13"/>
                  </a:lnTo>
                  <a:lnTo>
                    <a:pt x="1619" y="11"/>
                  </a:lnTo>
                  <a:lnTo>
                    <a:pt x="1624" y="7"/>
                  </a:lnTo>
                  <a:lnTo>
                    <a:pt x="1626" y="6"/>
                  </a:lnTo>
                  <a:lnTo>
                    <a:pt x="1662" y="5"/>
                  </a:lnTo>
                  <a:lnTo>
                    <a:pt x="1699" y="3"/>
                  </a:lnTo>
                  <a:lnTo>
                    <a:pt x="1738" y="1"/>
                  </a:lnTo>
                  <a:lnTo>
                    <a:pt x="1777" y="0"/>
                  </a:lnTo>
                  <a:lnTo>
                    <a:pt x="1784" y="13"/>
                  </a:lnTo>
                  <a:lnTo>
                    <a:pt x="1787" y="13"/>
                  </a:lnTo>
                  <a:lnTo>
                    <a:pt x="1789" y="14"/>
                  </a:lnTo>
                  <a:lnTo>
                    <a:pt x="1790" y="15"/>
                  </a:lnTo>
                  <a:lnTo>
                    <a:pt x="1790" y="16"/>
                  </a:lnTo>
                  <a:lnTo>
                    <a:pt x="1790" y="17"/>
                  </a:lnTo>
                  <a:lnTo>
                    <a:pt x="1791" y="19"/>
                  </a:lnTo>
                  <a:lnTo>
                    <a:pt x="1793" y="20"/>
                  </a:lnTo>
                  <a:lnTo>
                    <a:pt x="1797" y="20"/>
                  </a:lnTo>
                  <a:lnTo>
                    <a:pt x="1796" y="35"/>
                  </a:lnTo>
                  <a:lnTo>
                    <a:pt x="1795" y="58"/>
                  </a:lnTo>
                  <a:lnTo>
                    <a:pt x="1794" y="68"/>
                  </a:lnTo>
                  <a:lnTo>
                    <a:pt x="1791" y="77"/>
                  </a:lnTo>
                  <a:lnTo>
                    <a:pt x="1789" y="80"/>
                  </a:lnTo>
                  <a:lnTo>
                    <a:pt x="1788" y="83"/>
                  </a:lnTo>
                  <a:lnTo>
                    <a:pt x="1786" y="84"/>
                  </a:lnTo>
                  <a:lnTo>
                    <a:pt x="1784" y="85"/>
                  </a:lnTo>
                  <a:lnTo>
                    <a:pt x="1780" y="101"/>
                  </a:lnTo>
                  <a:lnTo>
                    <a:pt x="1777" y="118"/>
                  </a:lnTo>
                  <a:lnTo>
                    <a:pt x="1775" y="119"/>
                  </a:lnTo>
                  <a:lnTo>
                    <a:pt x="1774" y="120"/>
                  </a:lnTo>
                  <a:lnTo>
                    <a:pt x="1772" y="122"/>
                  </a:lnTo>
                  <a:lnTo>
                    <a:pt x="1771" y="126"/>
                  </a:lnTo>
                  <a:lnTo>
                    <a:pt x="1770" y="132"/>
                  </a:lnTo>
                  <a:lnTo>
                    <a:pt x="1770" y="138"/>
                  </a:lnTo>
                  <a:lnTo>
                    <a:pt x="1767" y="138"/>
                  </a:lnTo>
                  <a:lnTo>
                    <a:pt x="1765" y="139"/>
                  </a:lnTo>
                  <a:lnTo>
                    <a:pt x="1763" y="140"/>
                  </a:lnTo>
                  <a:lnTo>
                    <a:pt x="1763" y="141"/>
                  </a:lnTo>
                  <a:lnTo>
                    <a:pt x="1763" y="142"/>
                  </a:lnTo>
                  <a:lnTo>
                    <a:pt x="1763" y="144"/>
                  </a:lnTo>
                  <a:lnTo>
                    <a:pt x="1761" y="144"/>
                  </a:lnTo>
                  <a:lnTo>
                    <a:pt x="1757" y="145"/>
                  </a:lnTo>
                  <a:lnTo>
                    <a:pt x="1757" y="269"/>
                  </a:lnTo>
                  <a:lnTo>
                    <a:pt x="1751" y="275"/>
                  </a:lnTo>
                  <a:lnTo>
                    <a:pt x="1746" y="277"/>
                  </a:lnTo>
                  <a:lnTo>
                    <a:pt x="1734" y="284"/>
                  </a:lnTo>
                  <a:lnTo>
                    <a:pt x="1721" y="294"/>
                  </a:lnTo>
                  <a:lnTo>
                    <a:pt x="1705" y="305"/>
                  </a:lnTo>
                  <a:lnTo>
                    <a:pt x="1691" y="318"/>
                  </a:lnTo>
                  <a:lnTo>
                    <a:pt x="1678" y="328"/>
                  </a:lnTo>
                  <a:lnTo>
                    <a:pt x="1669" y="337"/>
                  </a:lnTo>
                  <a:lnTo>
                    <a:pt x="1665" y="341"/>
                  </a:lnTo>
                  <a:lnTo>
                    <a:pt x="1661" y="341"/>
                  </a:lnTo>
                  <a:lnTo>
                    <a:pt x="1656" y="342"/>
                  </a:lnTo>
                  <a:lnTo>
                    <a:pt x="1653" y="343"/>
                  </a:lnTo>
                  <a:lnTo>
                    <a:pt x="1651" y="344"/>
                  </a:lnTo>
                  <a:lnTo>
                    <a:pt x="1648" y="347"/>
                  </a:lnTo>
                  <a:lnTo>
                    <a:pt x="1647" y="349"/>
                  </a:lnTo>
                  <a:lnTo>
                    <a:pt x="1646" y="351"/>
                  </a:lnTo>
                  <a:lnTo>
                    <a:pt x="1646" y="354"/>
                  </a:lnTo>
                  <a:lnTo>
                    <a:pt x="1636" y="357"/>
                  </a:lnTo>
                  <a:lnTo>
                    <a:pt x="1626" y="360"/>
                  </a:lnTo>
                  <a:lnTo>
                    <a:pt x="1619" y="373"/>
                  </a:lnTo>
                  <a:lnTo>
                    <a:pt x="1617" y="375"/>
                  </a:lnTo>
                  <a:lnTo>
                    <a:pt x="1614" y="376"/>
                  </a:lnTo>
                  <a:lnTo>
                    <a:pt x="1611" y="378"/>
                  </a:lnTo>
                  <a:lnTo>
                    <a:pt x="1607" y="381"/>
                  </a:lnTo>
                  <a:lnTo>
                    <a:pt x="1605" y="385"/>
                  </a:lnTo>
                  <a:lnTo>
                    <a:pt x="1602" y="388"/>
                  </a:lnTo>
                  <a:lnTo>
                    <a:pt x="1600" y="390"/>
                  </a:lnTo>
                  <a:lnTo>
                    <a:pt x="1599" y="394"/>
                  </a:lnTo>
                  <a:lnTo>
                    <a:pt x="1587" y="400"/>
                  </a:lnTo>
                  <a:lnTo>
                    <a:pt x="1586" y="412"/>
                  </a:lnTo>
                  <a:lnTo>
                    <a:pt x="1584" y="430"/>
                  </a:lnTo>
                  <a:lnTo>
                    <a:pt x="1582" y="448"/>
                  </a:lnTo>
                  <a:lnTo>
                    <a:pt x="1580" y="465"/>
                  </a:lnTo>
                  <a:lnTo>
                    <a:pt x="1580" y="469"/>
                  </a:lnTo>
                  <a:lnTo>
                    <a:pt x="1583" y="474"/>
                  </a:lnTo>
                  <a:lnTo>
                    <a:pt x="1585" y="478"/>
                  </a:lnTo>
                  <a:lnTo>
                    <a:pt x="1587" y="484"/>
                  </a:lnTo>
                  <a:lnTo>
                    <a:pt x="1595" y="496"/>
                  </a:lnTo>
                  <a:lnTo>
                    <a:pt x="1603" y="508"/>
                  </a:lnTo>
                  <a:lnTo>
                    <a:pt x="1612" y="520"/>
                  </a:lnTo>
                  <a:lnTo>
                    <a:pt x="1619" y="532"/>
                  </a:lnTo>
                  <a:lnTo>
                    <a:pt x="1622" y="537"/>
                  </a:lnTo>
                  <a:lnTo>
                    <a:pt x="1624" y="542"/>
                  </a:lnTo>
                  <a:lnTo>
                    <a:pt x="1626" y="546"/>
                  </a:lnTo>
                  <a:lnTo>
                    <a:pt x="1626" y="551"/>
                  </a:lnTo>
                  <a:lnTo>
                    <a:pt x="1636" y="561"/>
                  </a:lnTo>
                  <a:lnTo>
                    <a:pt x="1646" y="570"/>
                  </a:lnTo>
                  <a:lnTo>
                    <a:pt x="1646" y="583"/>
                  </a:lnTo>
                  <a:lnTo>
                    <a:pt x="1647" y="596"/>
                  </a:lnTo>
                  <a:lnTo>
                    <a:pt x="1650" y="609"/>
                  </a:lnTo>
                  <a:lnTo>
                    <a:pt x="1652" y="622"/>
                  </a:lnTo>
                  <a:lnTo>
                    <a:pt x="1655" y="636"/>
                  </a:lnTo>
                  <a:lnTo>
                    <a:pt x="1656" y="649"/>
                  </a:lnTo>
                  <a:lnTo>
                    <a:pt x="1659" y="662"/>
                  </a:lnTo>
                  <a:lnTo>
                    <a:pt x="1659" y="675"/>
                  </a:lnTo>
                  <a:lnTo>
                    <a:pt x="1654" y="676"/>
                  </a:lnTo>
                  <a:lnTo>
                    <a:pt x="1651" y="677"/>
                  </a:lnTo>
                  <a:lnTo>
                    <a:pt x="1648" y="679"/>
                  </a:lnTo>
                  <a:lnTo>
                    <a:pt x="1646" y="681"/>
                  </a:lnTo>
                  <a:lnTo>
                    <a:pt x="1645" y="684"/>
                  </a:lnTo>
                  <a:lnTo>
                    <a:pt x="1643" y="686"/>
                  </a:lnTo>
                  <a:lnTo>
                    <a:pt x="1642" y="688"/>
                  </a:lnTo>
                  <a:lnTo>
                    <a:pt x="1640" y="688"/>
                  </a:lnTo>
                  <a:lnTo>
                    <a:pt x="1640" y="702"/>
                  </a:lnTo>
                  <a:lnTo>
                    <a:pt x="1635" y="702"/>
                  </a:lnTo>
                  <a:lnTo>
                    <a:pt x="1632" y="704"/>
                  </a:lnTo>
                  <a:lnTo>
                    <a:pt x="1630" y="706"/>
                  </a:lnTo>
                  <a:lnTo>
                    <a:pt x="1627" y="708"/>
                  </a:lnTo>
                  <a:lnTo>
                    <a:pt x="1625" y="710"/>
                  </a:lnTo>
                  <a:lnTo>
                    <a:pt x="1624" y="713"/>
                  </a:lnTo>
                  <a:lnTo>
                    <a:pt x="1622" y="714"/>
                  </a:lnTo>
                  <a:lnTo>
                    <a:pt x="1619" y="715"/>
                  </a:lnTo>
                  <a:lnTo>
                    <a:pt x="1619" y="727"/>
                  </a:lnTo>
                  <a:lnTo>
                    <a:pt x="1618" y="728"/>
                  </a:lnTo>
                  <a:lnTo>
                    <a:pt x="1618" y="733"/>
                  </a:lnTo>
                  <a:lnTo>
                    <a:pt x="1617" y="738"/>
                  </a:lnTo>
                  <a:lnTo>
                    <a:pt x="1618" y="745"/>
                  </a:lnTo>
                  <a:lnTo>
                    <a:pt x="1618" y="764"/>
                  </a:lnTo>
                  <a:lnTo>
                    <a:pt x="1621" y="785"/>
                  </a:lnTo>
                  <a:lnTo>
                    <a:pt x="1624" y="830"/>
                  </a:lnTo>
                  <a:lnTo>
                    <a:pt x="1626" y="859"/>
                  </a:lnTo>
                  <a:lnTo>
                    <a:pt x="1619" y="866"/>
                  </a:lnTo>
                  <a:lnTo>
                    <a:pt x="1613" y="871"/>
                  </a:lnTo>
                  <a:lnTo>
                    <a:pt x="1599" y="871"/>
                  </a:lnTo>
                  <a:lnTo>
                    <a:pt x="1599" y="873"/>
                  </a:lnTo>
                  <a:lnTo>
                    <a:pt x="1598" y="876"/>
                  </a:lnTo>
                  <a:lnTo>
                    <a:pt x="1597" y="877"/>
                  </a:lnTo>
                  <a:lnTo>
                    <a:pt x="1596" y="878"/>
                  </a:lnTo>
                  <a:lnTo>
                    <a:pt x="1592" y="878"/>
                  </a:lnTo>
                  <a:lnTo>
                    <a:pt x="1587" y="878"/>
                  </a:lnTo>
                  <a:lnTo>
                    <a:pt x="1586" y="881"/>
                  </a:lnTo>
                  <a:lnTo>
                    <a:pt x="1582" y="885"/>
                  </a:lnTo>
                  <a:lnTo>
                    <a:pt x="1576" y="887"/>
                  </a:lnTo>
                  <a:lnTo>
                    <a:pt x="1569" y="889"/>
                  </a:lnTo>
                  <a:lnTo>
                    <a:pt x="1550" y="891"/>
                  </a:lnTo>
                  <a:lnTo>
                    <a:pt x="1529" y="892"/>
                  </a:lnTo>
                  <a:lnTo>
                    <a:pt x="1484" y="892"/>
                  </a:lnTo>
                  <a:lnTo>
                    <a:pt x="1455" y="891"/>
                  </a:lnTo>
                  <a:lnTo>
                    <a:pt x="1453" y="889"/>
                  </a:lnTo>
                  <a:lnTo>
                    <a:pt x="1446" y="888"/>
                  </a:lnTo>
                  <a:lnTo>
                    <a:pt x="1436" y="887"/>
                  </a:lnTo>
                  <a:lnTo>
                    <a:pt x="1425" y="886"/>
                  </a:lnTo>
                  <a:lnTo>
                    <a:pt x="1403" y="885"/>
                  </a:lnTo>
                  <a:lnTo>
                    <a:pt x="1391" y="885"/>
                  </a:lnTo>
                  <a:lnTo>
                    <a:pt x="1390" y="887"/>
                  </a:lnTo>
                  <a:lnTo>
                    <a:pt x="1386" y="889"/>
                  </a:lnTo>
                  <a:lnTo>
                    <a:pt x="1382" y="890"/>
                  </a:lnTo>
                  <a:lnTo>
                    <a:pt x="1376" y="890"/>
                  </a:lnTo>
                  <a:lnTo>
                    <a:pt x="1365" y="891"/>
                  </a:lnTo>
                  <a:lnTo>
                    <a:pt x="1357" y="891"/>
                  </a:lnTo>
                  <a:lnTo>
                    <a:pt x="1345" y="899"/>
                  </a:lnTo>
                  <a:lnTo>
                    <a:pt x="1324" y="910"/>
                  </a:lnTo>
                  <a:lnTo>
                    <a:pt x="1312" y="916"/>
                  </a:lnTo>
                  <a:lnTo>
                    <a:pt x="1301" y="920"/>
                  </a:lnTo>
                  <a:lnTo>
                    <a:pt x="1292" y="923"/>
                  </a:lnTo>
                  <a:lnTo>
                    <a:pt x="1286" y="924"/>
                  </a:lnTo>
                  <a:lnTo>
                    <a:pt x="1279" y="937"/>
                  </a:lnTo>
                  <a:lnTo>
                    <a:pt x="1266" y="937"/>
                  </a:lnTo>
                  <a:lnTo>
                    <a:pt x="1259" y="944"/>
                  </a:lnTo>
                  <a:lnTo>
                    <a:pt x="1252" y="950"/>
                  </a:lnTo>
                  <a:lnTo>
                    <a:pt x="1252" y="964"/>
                  </a:lnTo>
                  <a:lnTo>
                    <a:pt x="1247" y="969"/>
                  </a:lnTo>
                  <a:lnTo>
                    <a:pt x="1240" y="976"/>
                  </a:lnTo>
                  <a:lnTo>
                    <a:pt x="1235" y="984"/>
                  </a:lnTo>
                  <a:lnTo>
                    <a:pt x="1233" y="989"/>
                  </a:lnTo>
                  <a:lnTo>
                    <a:pt x="1230" y="991"/>
                  </a:lnTo>
                  <a:lnTo>
                    <a:pt x="1228" y="992"/>
                  </a:lnTo>
                  <a:lnTo>
                    <a:pt x="1225" y="994"/>
                  </a:lnTo>
                  <a:lnTo>
                    <a:pt x="1224" y="997"/>
                  </a:lnTo>
                  <a:lnTo>
                    <a:pt x="1221" y="1004"/>
                  </a:lnTo>
                  <a:lnTo>
                    <a:pt x="1220" y="1010"/>
                  </a:lnTo>
                  <a:lnTo>
                    <a:pt x="1206" y="1016"/>
                  </a:lnTo>
                  <a:lnTo>
                    <a:pt x="1203" y="1025"/>
                  </a:lnTo>
                  <a:lnTo>
                    <a:pt x="1200" y="1035"/>
                  </a:lnTo>
                  <a:lnTo>
                    <a:pt x="1195" y="1036"/>
                  </a:lnTo>
                  <a:lnTo>
                    <a:pt x="1190" y="1040"/>
                  </a:lnTo>
                  <a:lnTo>
                    <a:pt x="1185" y="1044"/>
                  </a:lnTo>
                  <a:lnTo>
                    <a:pt x="1181" y="1049"/>
                  </a:lnTo>
                  <a:lnTo>
                    <a:pt x="1167" y="1049"/>
                  </a:lnTo>
                  <a:lnTo>
                    <a:pt x="1166" y="1053"/>
                  </a:lnTo>
                  <a:lnTo>
                    <a:pt x="1165" y="1056"/>
                  </a:lnTo>
                  <a:lnTo>
                    <a:pt x="1163" y="1059"/>
                  </a:lnTo>
                  <a:lnTo>
                    <a:pt x="1161" y="1061"/>
                  </a:lnTo>
                  <a:lnTo>
                    <a:pt x="1158" y="1063"/>
                  </a:lnTo>
                  <a:lnTo>
                    <a:pt x="1156" y="1064"/>
                  </a:lnTo>
                  <a:lnTo>
                    <a:pt x="1155" y="1066"/>
                  </a:lnTo>
                  <a:lnTo>
                    <a:pt x="1154" y="1069"/>
                  </a:lnTo>
                  <a:lnTo>
                    <a:pt x="1141" y="1069"/>
                  </a:lnTo>
                  <a:lnTo>
                    <a:pt x="1141" y="1071"/>
                  </a:lnTo>
                  <a:lnTo>
                    <a:pt x="1138" y="1072"/>
                  </a:lnTo>
                  <a:lnTo>
                    <a:pt x="1136" y="1073"/>
                  </a:lnTo>
                  <a:lnTo>
                    <a:pt x="1134" y="1074"/>
                  </a:lnTo>
                  <a:lnTo>
                    <a:pt x="1127" y="1074"/>
                  </a:lnTo>
                  <a:lnTo>
                    <a:pt x="1122" y="1075"/>
                  </a:lnTo>
                  <a:lnTo>
                    <a:pt x="1120" y="1078"/>
                  </a:lnTo>
                  <a:lnTo>
                    <a:pt x="1118" y="1080"/>
                  </a:lnTo>
                  <a:lnTo>
                    <a:pt x="1115" y="1082"/>
                  </a:lnTo>
                  <a:lnTo>
                    <a:pt x="1110" y="1084"/>
                  </a:lnTo>
                  <a:lnTo>
                    <a:pt x="1102" y="1087"/>
                  </a:lnTo>
                  <a:lnTo>
                    <a:pt x="1095" y="1088"/>
                  </a:lnTo>
                  <a:lnTo>
                    <a:pt x="1091" y="1091"/>
                  </a:lnTo>
                  <a:lnTo>
                    <a:pt x="1087" y="1094"/>
                  </a:lnTo>
                  <a:lnTo>
                    <a:pt x="1087" y="1075"/>
                  </a:lnTo>
                  <a:lnTo>
                    <a:pt x="1088" y="1059"/>
                  </a:lnTo>
                  <a:lnTo>
                    <a:pt x="1088" y="1045"/>
                  </a:lnTo>
                  <a:lnTo>
                    <a:pt x="1088" y="1035"/>
                  </a:lnTo>
                  <a:lnTo>
                    <a:pt x="1091" y="1034"/>
                  </a:lnTo>
                  <a:lnTo>
                    <a:pt x="1094" y="1029"/>
                  </a:lnTo>
                  <a:lnTo>
                    <a:pt x="1096" y="1021"/>
                  </a:lnTo>
                  <a:lnTo>
                    <a:pt x="1098" y="1012"/>
                  </a:lnTo>
                  <a:lnTo>
                    <a:pt x="1100" y="994"/>
                  </a:lnTo>
                  <a:lnTo>
                    <a:pt x="1102" y="983"/>
                  </a:lnTo>
                  <a:lnTo>
                    <a:pt x="1115" y="971"/>
                  </a:lnTo>
                  <a:lnTo>
                    <a:pt x="1115" y="962"/>
                  </a:lnTo>
                  <a:lnTo>
                    <a:pt x="1115" y="950"/>
                  </a:lnTo>
                  <a:lnTo>
                    <a:pt x="1115" y="938"/>
                  </a:lnTo>
                  <a:lnTo>
                    <a:pt x="1115" y="930"/>
                  </a:lnTo>
                  <a:lnTo>
                    <a:pt x="1108" y="924"/>
                  </a:lnTo>
                  <a:lnTo>
                    <a:pt x="1102" y="918"/>
                  </a:lnTo>
                  <a:lnTo>
                    <a:pt x="1077" y="915"/>
                  </a:lnTo>
                  <a:lnTo>
                    <a:pt x="1027" y="906"/>
                  </a:lnTo>
                  <a:lnTo>
                    <a:pt x="1001" y="901"/>
                  </a:lnTo>
                  <a:lnTo>
                    <a:pt x="979" y="896"/>
                  </a:lnTo>
                  <a:lnTo>
                    <a:pt x="970" y="892"/>
                  </a:lnTo>
                  <a:lnTo>
                    <a:pt x="963" y="890"/>
                  </a:lnTo>
                  <a:lnTo>
                    <a:pt x="959" y="887"/>
                  </a:lnTo>
                  <a:lnTo>
                    <a:pt x="958" y="885"/>
                  </a:lnTo>
                  <a:lnTo>
                    <a:pt x="949" y="880"/>
                  </a:lnTo>
                  <a:lnTo>
                    <a:pt x="941" y="875"/>
                  </a:lnTo>
                  <a:lnTo>
                    <a:pt x="934" y="868"/>
                  </a:lnTo>
                  <a:lnTo>
                    <a:pt x="928" y="861"/>
                  </a:lnTo>
                  <a:lnTo>
                    <a:pt x="924" y="854"/>
                  </a:lnTo>
                  <a:lnTo>
                    <a:pt x="920" y="848"/>
                  </a:lnTo>
                  <a:lnTo>
                    <a:pt x="917" y="840"/>
                  </a:lnTo>
                  <a:lnTo>
                    <a:pt x="915" y="831"/>
                  </a:lnTo>
                  <a:lnTo>
                    <a:pt x="912" y="814"/>
                  </a:lnTo>
                  <a:lnTo>
                    <a:pt x="912" y="795"/>
                  </a:lnTo>
                  <a:lnTo>
                    <a:pt x="912" y="775"/>
                  </a:lnTo>
                  <a:lnTo>
                    <a:pt x="912" y="754"/>
                  </a:lnTo>
                  <a:lnTo>
                    <a:pt x="914" y="751"/>
                  </a:lnTo>
                  <a:lnTo>
                    <a:pt x="915" y="744"/>
                  </a:lnTo>
                  <a:lnTo>
                    <a:pt x="916" y="734"/>
                  </a:lnTo>
                  <a:lnTo>
                    <a:pt x="917" y="723"/>
                  </a:lnTo>
                  <a:lnTo>
                    <a:pt x="918" y="698"/>
                  </a:lnTo>
                  <a:lnTo>
                    <a:pt x="918" y="681"/>
                  </a:lnTo>
                  <a:lnTo>
                    <a:pt x="912" y="675"/>
                  </a:lnTo>
                  <a:lnTo>
                    <a:pt x="904" y="675"/>
                  </a:lnTo>
                  <a:lnTo>
                    <a:pt x="892" y="675"/>
                  </a:lnTo>
                  <a:lnTo>
                    <a:pt x="880" y="675"/>
                  </a:lnTo>
                  <a:lnTo>
                    <a:pt x="873" y="675"/>
                  </a:lnTo>
                  <a:lnTo>
                    <a:pt x="872" y="671"/>
                  </a:lnTo>
                  <a:lnTo>
                    <a:pt x="872" y="669"/>
                  </a:lnTo>
                  <a:lnTo>
                    <a:pt x="870" y="669"/>
                  </a:lnTo>
                  <a:lnTo>
                    <a:pt x="869" y="668"/>
                  </a:lnTo>
                  <a:lnTo>
                    <a:pt x="868" y="668"/>
                  </a:lnTo>
                  <a:lnTo>
                    <a:pt x="867" y="668"/>
                  </a:lnTo>
                  <a:lnTo>
                    <a:pt x="866" y="666"/>
                  </a:lnTo>
                  <a:lnTo>
                    <a:pt x="866" y="662"/>
                  </a:lnTo>
                  <a:lnTo>
                    <a:pt x="849" y="659"/>
                  </a:lnTo>
                  <a:lnTo>
                    <a:pt x="832" y="656"/>
                  </a:lnTo>
                  <a:lnTo>
                    <a:pt x="828" y="650"/>
                  </a:lnTo>
                  <a:lnTo>
                    <a:pt x="824" y="646"/>
                  </a:lnTo>
                  <a:lnTo>
                    <a:pt x="821" y="640"/>
                  </a:lnTo>
                  <a:lnTo>
                    <a:pt x="820" y="636"/>
                  </a:lnTo>
                  <a:lnTo>
                    <a:pt x="798" y="635"/>
                  </a:lnTo>
                  <a:lnTo>
                    <a:pt x="773" y="632"/>
                  </a:lnTo>
                  <a:lnTo>
                    <a:pt x="747" y="630"/>
                  </a:lnTo>
                  <a:lnTo>
                    <a:pt x="722" y="629"/>
                  </a:lnTo>
                  <a:lnTo>
                    <a:pt x="714" y="621"/>
                  </a:lnTo>
                  <a:lnTo>
                    <a:pt x="709" y="612"/>
                  </a:lnTo>
                  <a:lnTo>
                    <a:pt x="703" y="602"/>
                  </a:lnTo>
                  <a:lnTo>
                    <a:pt x="697" y="591"/>
                  </a:lnTo>
                  <a:lnTo>
                    <a:pt x="694" y="580"/>
                  </a:lnTo>
                  <a:lnTo>
                    <a:pt x="691" y="569"/>
                  </a:lnTo>
                  <a:lnTo>
                    <a:pt x="690" y="556"/>
                  </a:lnTo>
                  <a:lnTo>
                    <a:pt x="688" y="544"/>
                  </a:lnTo>
                  <a:lnTo>
                    <a:pt x="686" y="544"/>
                  </a:lnTo>
                  <a:lnTo>
                    <a:pt x="685" y="543"/>
                  </a:lnTo>
                  <a:lnTo>
                    <a:pt x="684" y="542"/>
                  </a:lnTo>
                  <a:lnTo>
                    <a:pt x="683" y="540"/>
                  </a:lnTo>
                  <a:lnTo>
                    <a:pt x="682" y="535"/>
                  </a:lnTo>
                  <a:lnTo>
                    <a:pt x="682" y="531"/>
                  </a:lnTo>
                  <a:lnTo>
                    <a:pt x="680" y="531"/>
                  </a:lnTo>
                  <a:lnTo>
                    <a:pt x="678" y="529"/>
                  </a:lnTo>
                  <a:lnTo>
                    <a:pt x="677" y="526"/>
                  </a:lnTo>
                  <a:lnTo>
                    <a:pt x="676" y="523"/>
                  </a:lnTo>
                  <a:lnTo>
                    <a:pt x="676" y="517"/>
                  </a:lnTo>
                  <a:lnTo>
                    <a:pt x="675" y="511"/>
                  </a:lnTo>
                  <a:lnTo>
                    <a:pt x="669" y="505"/>
                  </a:lnTo>
                  <a:lnTo>
                    <a:pt x="656" y="505"/>
                  </a:lnTo>
                  <a:lnTo>
                    <a:pt x="653" y="514"/>
                  </a:lnTo>
                  <a:lnTo>
                    <a:pt x="649" y="524"/>
                  </a:lnTo>
                  <a:lnTo>
                    <a:pt x="647" y="525"/>
                  </a:lnTo>
                  <a:lnTo>
                    <a:pt x="645" y="527"/>
                  </a:lnTo>
                  <a:lnTo>
                    <a:pt x="643" y="531"/>
                  </a:lnTo>
                  <a:lnTo>
                    <a:pt x="640" y="535"/>
                  </a:lnTo>
                  <a:lnTo>
                    <a:pt x="637" y="544"/>
                  </a:lnTo>
                  <a:lnTo>
                    <a:pt x="636" y="551"/>
                  </a:lnTo>
                  <a:lnTo>
                    <a:pt x="632" y="555"/>
                  </a:lnTo>
                  <a:lnTo>
                    <a:pt x="627" y="561"/>
                  </a:lnTo>
                  <a:lnTo>
                    <a:pt x="626" y="564"/>
                  </a:lnTo>
                  <a:lnTo>
                    <a:pt x="625" y="568"/>
                  </a:lnTo>
                  <a:lnTo>
                    <a:pt x="624" y="572"/>
                  </a:lnTo>
                  <a:lnTo>
                    <a:pt x="624" y="577"/>
                  </a:lnTo>
                  <a:lnTo>
                    <a:pt x="617" y="590"/>
                  </a:lnTo>
                  <a:lnTo>
                    <a:pt x="614" y="591"/>
                  </a:lnTo>
                  <a:lnTo>
                    <a:pt x="611" y="592"/>
                  </a:lnTo>
                  <a:lnTo>
                    <a:pt x="609" y="596"/>
                  </a:lnTo>
                  <a:lnTo>
                    <a:pt x="607" y="599"/>
                  </a:lnTo>
                  <a:lnTo>
                    <a:pt x="603" y="609"/>
                  </a:lnTo>
                  <a:lnTo>
                    <a:pt x="598" y="621"/>
                  </a:lnTo>
                  <a:lnTo>
                    <a:pt x="592" y="646"/>
                  </a:lnTo>
                  <a:lnTo>
                    <a:pt x="590" y="662"/>
                  </a:lnTo>
                  <a:lnTo>
                    <a:pt x="588" y="662"/>
                  </a:lnTo>
                  <a:lnTo>
                    <a:pt x="586" y="664"/>
                  </a:lnTo>
                  <a:lnTo>
                    <a:pt x="585" y="666"/>
                  </a:lnTo>
                  <a:lnTo>
                    <a:pt x="582" y="668"/>
                  </a:lnTo>
                  <a:lnTo>
                    <a:pt x="580" y="675"/>
                  </a:lnTo>
                  <a:lnTo>
                    <a:pt x="579" y="683"/>
                  </a:lnTo>
                  <a:lnTo>
                    <a:pt x="578" y="698"/>
                  </a:lnTo>
                  <a:lnTo>
                    <a:pt x="577" y="708"/>
                  </a:lnTo>
                  <a:lnTo>
                    <a:pt x="573" y="708"/>
                  </a:lnTo>
                  <a:lnTo>
                    <a:pt x="571" y="709"/>
                  </a:lnTo>
                  <a:lnTo>
                    <a:pt x="571" y="710"/>
                  </a:lnTo>
                  <a:lnTo>
                    <a:pt x="571" y="712"/>
                  </a:lnTo>
                  <a:lnTo>
                    <a:pt x="570" y="713"/>
                  </a:lnTo>
                  <a:lnTo>
                    <a:pt x="570" y="714"/>
                  </a:lnTo>
                  <a:lnTo>
                    <a:pt x="568" y="714"/>
                  </a:lnTo>
                  <a:lnTo>
                    <a:pt x="565" y="715"/>
                  </a:lnTo>
                  <a:lnTo>
                    <a:pt x="558" y="727"/>
                  </a:lnTo>
                  <a:lnTo>
                    <a:pt x="550" y="728"/>
                  </a:lnTo>
                  <a:lnTo>
                    <a:pt x="543" y="731"/>
                  </a:lnTo>
                  <a:lnTo>
                    <a:pt x="536" y="734"/>
                  </a:lnTo>
                  <a:lnTo>
                    <a:pt x="528" y="737"/>
                  </a:lnTo>
                  <a:lnTo>
                    <a:pt x="521" y="741"/>
                  </a:lnTo>
                  <a:lnTo>
                    <a:pt x="513" y="744"/>
                  </a:lnTo>
                  <a:lnTo>
                    <a:pt x="507" y="746"/>
                  </a:lnTo>
                  <a:lnTo>
                    <a:pt x="499" y="747"/>
                  </a:lnTo>
                  <a:lnTo>
                    <a:pt x="460" y="786"/>
                  </a:lnTo>
                  <a:lnTo>
                    <a:pt x="456" y="803"/>
                  </a:lnTo>
                  <a:lnTo>
                    <a:pt x="453" y="819"/>
                  </a:lnTo>
                  <a:lnTo>
                    <a:pt x="446" y="832"/>
                  </a:lnTo>
                  <a:lnTo>
                    <a:pt x="433" y="832"/>
                  </a:lnTo>
                  <a:lnTo>
                    <a:pt x="432" y="833"/>
                  </a:lnTo>
                  <a:lnTo>
                    <a:pt x="429" y="833"/>
                  </a:lnTo>
                  <a:lnTo>
                    <a:pt x="425" y="833"/>
                  </a:lnTo>
                  <a:lnTo>
                    <a:pt x="418" y="832"/>
                  </a:lnTo>
                  <a:lnTo>
                    <a:pt x="404" y="829"/>
                  </a:lnTo>
                  <a:lnTo>
                    <a:pt x="386" y="825"/>
                  </a:lnTo>
                  <a:lnTo>
                    <a:pt x="350" y="816"/>
                  </a:lnTo>
                  <a:lnTo>
                    <a:pt x="328" y="813"/>
                  </a:lnTo>
                  <a:lnTo>
                    <a:pt x="318" y="819"/>
                  </a:lnTo>
                  <a:lnTo>
                    <a:pt x="302" y="825"/>
                  </a:lnTo>
                  <a:lnTo>
                    <a:pt x="302" y="839"/>
                  </a:lnTo>
                  <a:lnTo>
                    <a:pt x="289" y="839"/>
                  </a:lnTo>
                  <a:lnTo>
                    <a:pt x="282" y="846"/>
                  </a:lnTo>
                  <a:lnTo>
                    <a:pt x="263" y="8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2" name="Freeform 45">
              <a:extLst>
                <a:ext uri="{FF2B5EF4-FFF2-40B4-BE49-F238E27FC236}">
                  <a16:creationId xmlns:a16="http://schemas.microsoft.com/office/drawing/2014/main" id="{B672314A-3EBE-4755-960A-3B4960BBFD2F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094538" y="2978150"/>
              <a:ext cx="408082" cy="306388"/>
            </a:xfrm>
            <a:custGeom>
              <a:avLst/>
              <a:gdLst/>
              <a:ahLst/>
              <a:cxnLst>
                <a:cxn ang="0">
                  <a:pos x="1743" y="1"/>
                </a:cxn>
                <a:cxn ang="0">
                  <a:pos x="1699" y="96"/>
                </a:cxn>
                <a:cxn ang="0">
                  <a:pos x="1679" y="303"/>
                </a:cxn>
                <a:cxn ang="0">
                  <a:pos x="1714" y="384"/>
                </a:cxn>
                <a:cxn ang="0">
                  <a:pos x="1745" y="511"/>
                </a:cxn>
                <a:cxn ang="0">
                  <a:pos x="1829" y="600"/>
                </a:cxn>
                <a:cxn ang="0">
                  <a:pos x="1876" y="650"/>
                </a:cxn>
                <a:cxn ang="0">
                  <a:pos x="1966" y="702"/>
                </a:cxn>
                <a:cxn ang="0">
                  <a:pos x="2079" y="755"/>
                </a:cxn>
                <a:cxn ang="0">
                  <a:pos x="2193" y="989"/>
                </a:cxn>
                <a:cxn ang="0">
                  <a:pos x="2246" y="1071"/>
                </a:cxn>
                <a:cxn ang="0">
                  <a:pos x="2129" y="1224"/>
                </a:cxn>
                <a:cxn ang="0">
                  <a:pos x="2087" y="1335"/>
                </a:cxn>
                <a:cxn ang="0">
                  <a:pos x="2036" y="1405"/>
                </a:cxn>
                <a:cxn ang="0">
                  <a:pos x="1994" y="1486"/>
                </a:cxn>
                <a:cxn ang="0">
                  <a:pos x="1953" y="1570"/>
                </a:cxn>
                <a:cxn ang="0">
                  <a:pos x="1892" y="1637"/>
                </a:cxn>
                <a:cxn ang="0">
                  <a:pos x="1824" y="1723"/>
                </a:cxn>
                <a:cxn ang="0">
                  <a:pos x="1778" y="1778"/>
                </a:cxn>
                <a:cxn ang="0">
                  <a:pos x="1714" y="1835"/>
                </a:cxn>
                <a:cxn ang="0">
                  <a:pos x="1647" y="1906"/>
                </a:cxn>
                <a:cxn ang="0">
                  <a:pos x="1502" y="1881"/>
                </a:cxn>
                <a:cxn ang="0">
                  <a:pos x="1486" y="1762"/>
                </a:cxn>
                <a:cxn ang="0">
                  <a:pos x="1517" y="1646"/>
                </a:cxn>
                <a:cxn ang="0">
                  <a:pos x="1464" y="1546"/>
                </a:cxn>
                <a:cxn ang="0">
                  <a:pos x="1401" y="1506"/>
                </a:cxn>
                <a:cxn ang="0">
                  <a:pos x="1316" y="1455"/>
                </a:cxn>
                <a:cxn ang="0">
                  <a:pos x="1266" y="1419"/>
                </a:cxn>
                <a:cxn ang="0">
                  <a:pos x="1230" y="1394"/>
                </a:cxn>
                <a:cxn ang="0">
                  <a:pos x="1201" y="1369"/>
                </a:cxn>
                <a:cxn ang="0">
                  <a:pos x="1153" y="1297"/>
                </a:cxn>
                <a:cxn ang="0">
                  <a:pos x="983" y="1262"/>
                </a:cxn>
                <a:cxn ang="0">
                  <a:pos x="939" y="1230"/>
                </a:cxn>
                <a:cxn ang="0">
                  <a:pos x="907" y="1210"/>
                </a:cxn>
                <a:cxn ang="0">
                  <a:pos x="864" y="1192"/>
                </a:cxn>
                <a:cxn ang="0">
                  <a:pos x="787" y="1171"/>
                </a:cxn>
                <a:cxn ang="0">
                  <a:pos x="570" y="1173"/>
                </a:cxn>
                <a:cxn ang="0">
                  <a:pos x="530" y="1225"/>
                </a:cxn>
                <a:cxn ang="0">
                  <a:pos x="494" y="1291"/>
                </a:cxn>
                <a:cxn ang="0">
                  <a:pos x="391" y="1333"/>
                </a:cxn>
                <a:cxn ang="0">
                  <a:pos x="335" y="1350"/>
                </a:cxn>
                <a:cxn ang="0">
                  <a:pos x="274" y="1375"/>
                </a:cxn>
                <a:cxn ang="0">
                  <a:pos x="129" y="1338"/>
                </a:cxn>
                <a:cxn ang="0">
                  <a:pos x="68" y="1251"/>
                </a:cxn>
                <a:cxn ang="0">
                  <a:pos x="53" y="1176"/>
                </a:cxn>
                <a:cxn ang="0">
                  <a:pos x="9" y="1089"/>
                </a:cxn>
                <a:cxn ang="0">
                  <a:pos x="27" y="951"/>
                </a:cxn>
                <a:cxn ang="0">
                  <a:pos x="199" y="916"/>
                </a:cxn>
                <a:cxn ang="0">
                  <a:pos x="381" y="773"/>
                </a:cxn>
                <a:cxn ang="0">
                  <a:pos x="413" y="755"/>
                </a:cxn>
                <a:cxn ang="0">
                  <a:pos x="525" y="734"/>
                </a:cxn>
                <a:cxn ang="0">
                  <a:pos x="659" y="751"/>
                </a:cxn>
                <a:cxn ang="0">
                  <a:pos x="854" y="770"/>
                </a:cxn>
                <a:cxn ang="0">
                  <a:pos x="892" y="682"/>
                </a:cxn>
                <a:cxn ang="0">
                  <a:pos x="918" y="420"/>
                </a:cxn>
                <a:cxn ang="0">
                  <a:pos x="979" y="396"/>
                </a:cxn>
                <a:cxn ang="0">
                  <a:pos x="1044" y="336"/>
                </a:cxn>
                <a:cxn ang="0">
                  <a:pos x="1115" y="255"/>
                </a:cxn>
                <a:cxn ang="0">
                  <a:pos x="1269" y="220"/>
                </a:cxn>
                <a:cxn ang="0">
                  <a:pos x="1422" y="205"/>
                </a:cxn>
                <a:cxn ang="0">
                  <a:pos x="1447" y="45"/>
                </a:cxn>
              </a:cxnLst>
              <a:rect l="0" t="0" r="r" b="b"/>
              <a:pathLst>
                <a:path w="2248" h="1913">
                  <a:moveTo>
                    <a:pt x="1469" y="15"/>
                  </a:moveTo>
                  <a:lnTo>
                    <a:pt x="1473" y="13"/>
                  </a:lnTo>
                  <a:lnTo>
                    <a:pt x="1475" y="13"/>
                  </a:lnTo>
                  <a:lnTo>
                    <a:pt x="1478" y="11"/>
                  </a:lnTo>
                  <a:lnTo>
                    <a:pt x="1485" y="10"/>
                  </a:lnTo>
                  <a:lnTo>
                    <a:pt x="1494" y="9"/>
                  </a:lnTo>
                  <a:lnTo>
                    <a:pt x="1506" y="8"/>
                  </a:lnTo>
                  <a:lnTo>
                    <a:pt x="1528" y="7"/>
                  </a:lnTo>
                  <a:lnTo>
                    <a:pt x="1541" y="7"/>
                  </a:lnTo>
                  <a:lnTo>
                    <a:pt x="1551" y="5"/>
                  </a:lnTo>
                  <a:lnTo>
                    <a:pt x="1576" y="3"/>
                  </a:lnTo>
                  <a:lnTo>
                    <a:pt x="1613" y="2"/>
                  </a:lnTo>
                  <a:lnTo>
                    <a:pt x="1657" y="1"/>
                  </a:lnTo>
                  <a:lnTo>
                    <a:pt x="1701" y="1"/>
                  </a:lnTo>
                  <a:lnTo>
                    <a:pt x="1743" y="1"/>
                  </a:lnTo>
                  <a:lnTo>
                    <a:pt x="1776" y="0"/>
                  </a:lnTo>
                  <a:lnTo>
                    <a:pt x="1796" y="0"/>
                  </a:lnTo>
                  <a:lnTo>
                    <a:pt x="1796" y="20"/>
                  </a:lnTo>
                  <a:lnTo>
                    <a:pt x="1790" y="27"/>
                  </a:lnTo>
                  <a:lnTo>
                    <a:pt x="1777" y="27"/>
                  </a:lnTo>
                  <a:lnTo>
                    <a:pt x="1767" y="40"/>
                  </a:lnTo>
                  <a:lnTo>
                    <a:pt x="1757" y="53"/>
                  </a:lnTo>
                  <a:lnTo>
                    <a:pt x="1744" y="53"/>
                  </a:lnTo>
                  <a:lnTo>
                    <a:pt x="1744" y="57"/>
                  </a:lnTo>
                  <a:lnTo>
                    <a:pt x="1742" y="60"/>
                  </a:lnTo>
                  <a:lnTo>
                    <a:pt x="1738" y="64"/>
                  </a:lnTo>
                  <a:lnTo>
                    <a:pt x="1734" y="68"/>
                  </a:lnTo>
                  <a:lnTo>
                    <a:pt x="1724" y="76"/>
                  </a:lnTo>
                  <a:lnTo>
                    <a:pt x="1712" y="86"/>
                  </a:lnTo>
                  <a:lnTo>
                    <a:pt x="1699" y="96"/>
                  </a:lnTo>
                  <a:lnTo>
                    <a:pt x="1689" y="108"/>
                  </a:lnTo>
                  <a:lnTo>
                    <a:pt x="1685" y="115"/>
                  </a:lnTo>
                  <a:lnTo>
                    <a:pt x="1681" y="122"/>
                  </a:lnTo>
                  <a:lnTo>
                    <a:pt x="1679" y="130"/>
                  </a:lnTo>
                  <a:lnTo>
                    <a:pt x="1679" y="138"/>
                  </a:lnTo>
                  <a:lnTo>
                    <a:pt x="1678" y="173"/>
                  </a:lnTo>
                  <a:lnTo>
                    <a:pt x="1676" y="210"/>
                  </a:lnTo>
                  <a:lnTo>
                    <a:pt x="1674" y="247"/>
                  </a:lnTo>
                  <a:lnTo>
                    <a:pt x="1672" y="282"/>
                  </a:lnTo>
                  <a:lnTo>
                    <a:pt x="1675" y="282"/>
                  </a:lnTo>
                  <a:lnTo>
                    <a:pt x="1676" y="285"/>
                  </a:lnTo>
                  <a:lnTo>
                    <a:pt x="1677" y="287"/>
                  </a:lnTo>
                  <a:lnTo>
                    <a:pt x="1678" y="290"/>
                  </a:lnTo>
                  <a:lnTo>
                    <a:pt x="1678" y="296"/>
                  </a:lnTo>
                  <a:lnTo>
                    <a:pt x="1679" y="303"/>
                  </a:lnTo>
                  <a:lnTo>
                    <a:pt x="1680" y="303"/>
                  </a:lnTo>
                  <a:lnTo>
                    <a:pt x="1682" y="304"/>
                  </a:lnTo>
                  <a:lnTo>
                    <a:pt x="1684" y="307"/>
                  </a:lnTo>
                  <a:lnTo>
                    <a:pt x="1685" y="309"/>
                  </a:lnTo>
                  <a:lnTo>
                    <a:pt x="1685" y="316"/>
                  </a:lnTo>
                  <a:lnTo>
                    <a:pt x="1685" y="321"/>
                  </a:lnTo>
                  <a:lnTo>
                    <a:pt x="1688" y="324"/>
                  </a:lnTo>
                  <a:lnTo>
                    <a:pt x="1693" y="329"/>
                  </a:lnTo>
                  <a:lnTo>
                    <a:pt x="1696" y="337"/>
                  </a:lnTo>
                  <a:lnTo>
                    <a:pt x="1700" y="346"/>
                  </a:lnTo>
                  <a:lnTo>
                    <a:pt x="1705" y="356"/>
                  </a:lnTo>
                  <a:lnTo>
                    <a:pt x="1708" y="366"/>
                  </a:lnTo>
                  <a:lnTo>
                    <a:pt x="1710" y="374"/>
                  </a:lnTo>
                  <a:lnTo>
                    <a:pt x="1712" y="381"/>
                  </a:lnTo>
                  <a:lnTo>
                    <a:pt x="1714" y="384"/>
                  </a:lnTo>
                  <a:lnTo>
                    <a:pt x="1715" y="392"/>
                  </a:lnTo>
                  <a:lnTo>
                    <a:pt x="1716" y="404"/>
                  </a:lnTo>
                  <a:lnTo>
                    <a:pt x="1717" y="419"/>
                  </a:lnTo>
                  <a:lnTo>
                    <a:pt x="1718" y="446"/>
                  </a:lnTo>
                  <a:lnTo>
                    <a:pt x="1718" y="465"/>
                  </a:lnTo>
                  <a:lnTo>
                    <a:pt x="1720" y="467"/>
                  </a:lnTo>
                  <a:lnTo>
                    <a:pt x="1723" y="469"/>
                  </a:lnTo>
                  <a:lnTo>
                    <a:pt x="1725" y="472"/>
                  </a:lnTo>
                  <a:lnTo>
                    <a:pt x="1727" y="477"/>
                  </a:lnTo>
                  <a:lnTo>
                    <a:pt x="1729" y="486"/>
                  </a:lnTo>
                  <a:lnTo>
                    <a:pt x="1730" y="492"/>
                  </a:lnTo>
                  <a:lnTo>
                    <a:pt x="1734" y="493"/>
                  </a:lnTo>
                  <a:lnTo>
                    <a:pt x="1737" y="498"/>
                  </a:lnTo>
                  <a:lnTo>
                    <a:pt x="1741" y="505"/>
                  </a:lnTo>
                  <a:lnTo>
                    <a:pt x="1745" y="511"/>
                  </a:lnTo>
                  <a:lnTo>
                    <a:pt x="1749" y="519"/>
                  </a:lnTo>
                  <a:lnTo>
                    <a:pt x="1754" y="526"/>
                  </a:lnTo>
                  <a:lnTo>
                    <a:pt x="1756" y="528"/>
                  </a:lnTo>
                  <a:lnTo>
                    <a:pt x="1758" y="530"/>
                  </a:lnTo>
                  <a:lnTo>
                    <a:pt x="1762" y="531"/>
                  </a:lnTo>
                  <a:lnTo>
                    <a:pt x="1764" y="531"/>
                  </a:lnTo>
                  <a:lnTo>
                    <a:pt x="1764" y="545"/>
                  </a:lnTo>
                  <a:lnTo>
                    <a:pt x="1767" y="546"/>
                  </a:lnTo>
                  <a:lnTo>
                    <a:pt x="1773" y="550"/>
                  </a:lnTo>
                  <a:lnTo>
                    <a:pt x="1780" y="557"/>
                  </a:lnTo>
                  <a:lnTo>
                    <a:pt x="1786" y="564"/>
                  </a:lnTo>
                  <a:lnTo>
                    <a:pt x="1797" y="578"/>
                  </a:lnTo>
                  <a:lnTo>
                    <a:pt x="1803" y="584"/>
                  </a:lnTo>
                  <a:lnTo>
                    <a:pt x="1813" y="590"/>
                  </a:lnTo>
                  <a:lnTo>
                    <a:pt x="1829" y="600"/>
                  </a:lnTo>
                  <a:lnTo>
                    <a:pt x="1837" y="605"/>
                  </a:lnTo>
                  <a:lnTo>
                    <a:pt x="1843" y="609"/>
                  </a:lnTo>
                  <a:lnTo>
                    <a:pt x="1848" y="614"/>
                  </a:lnTo>
                  <a:lnTo>
                    <a:pt x="1849" y="616"/>
                  </a:lnTo>
                  <a:lnTo>
                    <a:pt x="1862" y="616"/>
                  </a:lnTo>
                  <a:lnTo>
                    <a:pt x="1862" y="630"/>
                  </a:lnTo>
                  <a:lnTo>
                    <a:pt x="1866" y="630"/>
                  </a:lnTo>
                  <a:lnTo>
                    <a:pt x="1868" y="631"/>
                  </a:lnTo>
                  <a:lnTo>
                    <a:pt x="1869" y="632"/>
                  </a:lnTo>
                  <a:lnTo>
                    <a:pt x="1869" y="633"/>
                  </a:lnTo>
                  <a:lnTo>
                    <a:pt x="1869" y="634"/>
                  </a:lnTo>
                  <a:lnTo>
                    <a:pt x="1870" y="635"/>
                  </a:lnTo>
                  <a:lnTo>
                    <a:pt x="1871" y="636"/>
                  </a:lnTo>
                  <a:lnTo>
                    <a:pt x="1876" y="636"/>
                  </a:lnTo>
                  <a:lnTo>
                    <a:pt x="1876" y="650"/>
                  </a:lnTo>
                  <a:lnTo>
                    <a:pt x="1880" y="650"/>
                  </a:lnTo>
                  <a:lnTo>
                    <a:pt x="1885" y="652"/>
                  </a:lnTo>
                  <a:lnTo>
                    <a:pt x="1888" y="654"/>
                  </a:lnTo>
                  <a:lnTo>
                    <a:pt x="1891" y="657"/>
                  </a:lnTo>
                  <a:lnTo>
                    <a:pt x="1898" y="666"/>
                  </a:lnTo>
                  <a:lnTo>
                    <a:pt x="1905" y="675"/>
                  </a:lnTo>
                  <a:lnTo>
                    <a:pt x="1909" y="681"/>
                  </a:lnTo>
                  <a:lnTo>
                    <a:pt x="1912" y="685"/>
                  </a:lnTo>
                  <a:lnTo>
                    <a:pt x="1918" y="690"/>
                  </a:lnTo>
                  <a:lnTo>
                    <a:pt x="1924" y="693"/>
                  </a:lnTo>
                  <a:lnTo>
                    <a:pt x="1929" y="696"/>
                  </a:lnTo>
                  <a:lnTo>
                    <a:pt x="1937" y="700"/>
                  </a:lnTo>
                  <a:lnTo>
                    <a:pt x="1945" y="701"/>
                  </a:lnTo>
                  <a:lnTo>
                    <a:pt x="1954" y="702"/>
                  </a:lnTo>
                  <a:lnTo>
                    <a:pt x="1966" y="702"/>
                  </a:lnTo>
                  <a:lnTo>
                    <a:pt x="1979" y="704"/>
                  </a:lnTo>
                  <a:lnTo>
                    <a:pt x="1993" y="707"/>
                  </a:lnTo>
                  <a:lnTo>
                    <a:pt x="2006" y="709"/>
                  </a:lnTo>
                  <a:lnTo>
                    <a:pt x="2020" y="711"/>
                  </a:lnTo>
                  <a:lnTo>
                    <a:pt x="2033" y="713"/>
                  </a:lnTo>
                  <a:lnTo>
                    <a:pt x="2046" y="714"/>
                  </a:lnTo>
                  <a:lnTo>
                    <a:pt x="2059" y="715"/>
                  </a:lnTo>
                  <a:lnTo>
                    <a:pt x="2072" y="728"/>
                  </a:lnTo>
                  <a:lnTo>
                    <a:pt x="2072" y="741"/>
                  </a:lnTo>
                  <a:lnTo>
                    <a:pt x="2074" y="741"/>
                  </a:lnTo>
                  <a:lnTo>
                    <a:pt x="2075" y="742"/>
                  </a:lnTo>
                  <a:lnTo>
                    <a:pt x="2077" y="743"/>
                  </a:lnTo>
                  <a:lnTo>
                    <a:pt x="2078" y="746"/>
                  </a:lnTo>
                  <a:lnTo>
                    <a:pt x="2079" y="749"/>
                  </a:lnTo>
                  <a:lnTo>
                    <a:pt x="2079" y="755"/>
                  </a:lnTo>
                  <a:lnTo>
                    <a:pt x="2082" y="760"/>
                  </a:lnTo>
                  <a:lnTo>
                    <a:pt x="2089" y="777"/>
                  </a:lnTo>
                  <a:lnTo>
                    <a:pt x="2096" y="800"/>
                  </a:lnTo>
                  <a:lnTo>
                    <a:pt x="2103" y="826"/>
                  </a:lnTo>
                  <a:lnTo>
                    <a:pt x="2118" y="876"/>
                  </a:lnTo>
                  <a:lnTo>
                    <a:pt x="2125" y="898"/>
                  </a:lnTo>
                  <a:lnTo>
                    <a:pt x="2129" y="902"/>
                  </a:lnTo>
                  <a:lnTo>
                    <a:pt x="2136" y="913"/>
                  </a:lnTo>
                  <a:lnTo>
                    <a:pt x="2145" y="928"/>
                  </a:lnTo>
                  <a:lnTo>
                    <a:pt x="2156" y="944"/>
                  </a:lnTo>
                  <a:lnTo>
                    <a:pt x="2167" y="961"/>
                  </a:lnTo>
                  <a:lnTo>
                    <a:pt x="2178" y="975"/>
                  </a:lnTo>
                  <a:lnTo>
                    <a:pt x="2183" y="982"/>
                  </a:lnTo>
                  <a:lnTo>
                    <a:pt x="2188" y="987"/>
                  </a:lnTo>
                  <a:lnTo>
                    <a:pt x="2193" y="989"/>
                  </a:lnTo>
                  <a:lnTo>
                    <a:pt x="2196" y="990"/>
                  </a:lnTo>
                  <a:lnTo>
                    <a:pt x="2196" y="1003"/>
                  </a:lnTo>
                  <a:lnTo>
                    <a:pt x="2199" y="1003"/>
                  </a:lnTo>
                  <a:lnTo>
                    <a:pt x="2202" y="1006"/>
                  </a:lnTo>
                  <a:lnTo>
                    <a:pt x="2205" y="1008"/>
                  </a:lnTo>
                  <a:lnTo>
                    <a:pt x="2208" y="1011"/>
                  </a:lnTo>
                  <a:lnTo>
                    <a:pt x="2215" y="1020"/>
                  </a:lnTo>
                  <a:lnTo>
                    <a:pt x="2222" y="1029"/>
                  </a:lnTo>
                  <a:lnTo>
                    <a:pt x="2228" y="1039"/>
                  </a:lnTo>
                  <a:lnTo>
                    <a:pt x="2234" y="1048"/>
                  </a:lnTo>
                  <a:lnTo>
                    <a:pt x="2240" y="1054"/>
                  </a:lnTo>
                  <a:lnTo>
                    <a:pt x="2243" y="1056"/>
                  </a:lnTo>
                  <a:lnTo>
                    <a:pt x="2243" y="1069"/>
                  </a:lnTo>
                  <a:lnTo>
                    <a:pt x="2244" y="1069"/>
                  </a:lnTo>
                  <a:lnTo>
                    <a:pt x="2246" y="1071"/>
                  </a:lnTo>
                  <a:lnTo>
                    <a:pt x="2247" y="1076"/>
                  </a:lnTo>
                  <a:lnTo>
                    <a:pt x="2248" y="1079"/>
                  </a:lnTo>
                  <a:lnTo>
                    <a:pt x="2248" y="1088"/>
                  </a:lnTo>
                  <a:lnTo>
                    <a:pt x="2248" y="1095"/>
                  </a:lnTo>
                  <a:lnTo>
                    <a:pt x="2243" y="1096"/>
                  </a:lnTo>
                  <a:lnTo>
                    <a:pt x="2237" y="1100"/>
                  </a:lnTo>
                  <a:lnTo>
                    <a:pt x="2229" y="1107"/>
                  </a:lnTo>
                  <a:lnTo>
                    <a:pt x="2222" y="1115"/>
                  </a:lnTo>
                  <a:lnTo>
                    <a:pt x="2203" y="1136"/>
                  </a:lnTo>
                  <a:lnTo>
                    <a:pt x="2184" y="1161"/>
                  </a:lnTo>
                  <a:lnTo>
                    <a:pt x="2166" y="1184"/>
                  </a:lnTo>
                  <a:lnTo>
                    <a:pt x="2148" y="1205"/>
                  </a:lnTo>
                  <a:lnTo>
                    <a:pt x="2141" y="1214"/>
                  </a:lnTo>
                  <a:lnTo>
                    <a:pt x="2135" y="1221"/>
                  </a:lnTo>
                  <a:lnTo>
                    <a:pt x="2129" y="1224"/>
                  </a:lnTo>
                  <a:lnTo>
                    <a:pt x="2125" y="1227"/>
                  </a:lnTo>
                  <a:lnTo>
                    <a:pt x="2125" y="1239"/>
                  </a:lnTo>
                  <a:lnTo>
                    <a:pt x="2114" y="1246"/>
                  </a:lnTo>
                  <a:lnTo>
                    <a:pt x="2104" y="1252"/>
                  </a:lnTo>
                  <a:lnTo>
                    <a:pt x="2104" y="1266"/>
                  </a:lnTo>
                  <a:lnTo>
                    <a:pt x="2102" y="1266"/>
                  </a:lnTo>
                  <a:lnTo>
                    <a:pt x="2101" y="1268"/>
                  </a:lnTo>
                  <a:lnTo>
                    <a:pt x="2099" y="1270"/>
                  </a:lnTo>
                  <a:lnTo>
                    <a:pt x="2098" y="1272"/>
                  </a:lnTo>
                  <a:lnTo>
                    <a:pt x="2096" y="1275"/>
                  </a:lnTo>
                  <a:lnTo>
                    <a:pt x="2092" y="1277"/>
                  </a:lnTo>
                  <a:lnTo>
                    <a:pt x="2089" y="1278"/>
                  </a:lnTo>
                  <a:lnTo>
                    <a:pt x="2085" y="1279"/>
                  </a:lnTo>
                  <a:lnTo>
                    <a:pt x="2085" y="1307"/>
                  </a:lnTo>
                  <a:lnTo>
                    <a:pt x="2087" y="1335"/>
                  </a:lnTo>
                  <a:lnTo>
                    <a:pt x="2089" y="1362"/>
                  </a:lnTo>
                  <a:lnTo>
                    <a:pt x="2092" y="1390"/>
                  </a:lnTo>
                  <a:lnTo>
                    <a:pt x="2087" y="1390"/>
                  </a:lnTo>
                  <a:lnTo>
                    <a:pt x="2081" y="1390"/>
                  </a:lnTo>
                  <a:lnTo>
                    <a:pt x="2081" y="1391"/>
                  </a:lnTo>
                  <a:lnTo>
                    <a:pt x="2079" y="1392"/>
                  </a:lnTo>
                  <a:lnTo>
                    <a:pt x="2077" y="1393"/>
                  </a:lnTo>
                  <a:lnTo>
                    <a:pt x="2073" y="1394"/>
                  </a:lnTo>
                  <a:lnTo>
                    <a:pt x="2065" y="1396"/>
                  </a:lnTo>
                  <a:lnTo>
                    <a:pt x="2058" y="1398"/>
                  </a:lnTo>
                  <a:lnTo>
                    <a:pt x="2052" y="1398"/>
                  </a:lnTo>
                  <a:lnTo>
                    <a:pt x="2048" y="1400"/>
                  </a:lnTo>
                  <a:lnTo>
                    <a:pt x="2043" y="1401"/>
                  </a:lnTo>
                  <a:lnTo>
                    <a:pt x="2040" y="1403"/>
                  </a:lnTo>
                  <a:lnTo>
                    <a:pt x="2036" y="1405"/>
                  </a:lnTo>
                  <a:lnTo>
                    <a:pt x="2034" y="1409"/>
                  </a:lnTo>
                  <a:lnTo>
                    <a:pt x="2033" y="1413"/>
                  </a:lnTo>
                  <a:lnTo>
                    <a:pt x="2033" y="1419"/>
                  </a:lnTo>
                  <a:lnTo>
                    <a:pt x="2029" y="1423"/>
                  </a:lnTo>
                  <a:lnTo>
                    <a:pt x="2023" y="1425"/>
                  </a:lnTo>
                  <a:lnTo>
                    <a:pt x="2018" y="1428"/>
                  </a:lnTo>
                  <a:lnTo>
                    <a:pt x="2017" y="1432"/>
                  </a:lnTo>
                  <a:lnTo>
                    <a:pt x="2015" y="1435"/>
                  </a:lnTo>
                  <a:lnTo>
                    <a:pt x="2012" y="1439"/>
                  </a:lnTo>
                  <a:lnTo>
                    <a:pt x="2008" y="1442"/>
                  </a:lnTo>
                  <a:lnTo>
                    <a:pt x="2008" y="1457"/>
                  </a:lnTo>
                  <a:lnTo>
                    <a:pt x="2004" y="1459"/>
                  </a:lnTo>
                  <a:lnTo>
                    <a:pt x="2000" y="1462"/>
                  </a:lnTo>
                  <a:lnTo>
                    <a:pt x="1996" y="1473"/>
                  </a:lnTo>
                  <a:lnTo>
                    <a:pt x="1994" y="1486"/>
                  </a:lnTo>
                  <a:lnTo>
                    <a:pt x="1975" y="1510"/>
                  </a:lnTo>
                  <a:lnTo>
                    <a:pt x="1975" y="1525"/>
                  </a:lnTo>
                  <a:lnTo>
                    <a:pt x="1970" y="1527"/>
                  </a:lnTo>
                  <a:lnTo>
                    <a:pt x="1965" y="1529"/>
                  </a:lnTo>
                  <a:lnTo>
                    <a:pt x="1965" y="1544"/>
                  </a:lnTo>
                  <a:lnTo>
                    <a:pt x="1964" y="1545"/>
                  </a:lnTo>
                  <a:lnTo>
                    <a:pt x="1963" y="1546"/>
                  </a:lnTo>
                  <a:lnTo>
                    <a:pt x="1962" y="1547"/>
                  </a:lnTo>
                  <a:lnTo>
                    <a:pt x="1960" y="1549"/>
                  </a:lnTo>
                  <a:lnTo>
                    <a:pt x="1960" y="1554"/>
                  </a:lnTo>
                  <a:lnTo>
                    <a:pt x="1960" y="1558"/>
                  </a:lnTo>
                  <a:lnTo>
                    <a:pt x="1957" y="1559"/>
                  </a:lnTo>
                  <a:lnTo>
                    <a:pt x="1955" y="1563"/>
                  </a:lnTo>
                  <a:lnTo>
                    <a:pt x="1954" y="1566"/>
                  </a:lnTo>
                  <a:lnTo>
                    <a:pt x="1953" y="1570"/>
                  </a:lnTo>
                  <a:lnTo>
                    <a:pt x="1950" y="1575"/>
                  </a:lnTo>
                  <a:lnTo>
                    <a:pt x="1948" y="1579"/>
                  </a:lnTo>
                  <a:lnTo>
                    <a:pt x="1946" y="1582"/>
                  </a:lnTo>
                  <a:lnTo>
                    <a:pt x="1941" y="1583"/>
                  </a:lnTo>
                  <a:lnTo>
                    <a:pt x="1936" y="1587"/>
                  </a:lnTo>
                  <a:lnTo>
                    <a:pt x="1935" y="1593"/>
                  </a:lnTo>
                  <a:lnTo>
                    <a:pt x="1930" y="1599"/>
                  </a:lnTo>
                  <a:lnTo>
                    <a:pt x="1926" y="1605"/>
                  </a:lnTo>
                  <a:lnTo>
                    <a:pt x="1921" y="1607"/>
                  </a:lnTo>
                  <a:lnTo>
                    <a:pt x="1921" y="1616"/>
                  </a:lnTo>
                  <a:lnTo>
                    <a:pt x="1917" y="1622"/>
                  </a:lnTo>
                  <a:lnTo>
                    <a:pt x="1911" y="1626"/>
                  </a:lnTo>
                  <a:lnTo>
                    <a:pt x="1902" y="1626"/>
                  </a:lnTo>
                  <a:lnTo>
                    <a:pt x="1899" y="1632"/>
                  </a:lnTo>
                  <a:lnTo>
                    <a:pt x="1892" y="1637"/>
                  </a:lnTo>
                  <a:lnTo>
                    <a:pt x="1883" y="1643"/>
                  </a:lnTo>
                  <a:lnTo>
                    <a:pt x="1878" y="1645"/>
                  </a:lnTo>
                  <a:lnTo>
                    <a:pt x="1877" y="1650"/>
                  </a:lnTo>
                  <a:lnTo>
                    <a:pt x="1872" y="1655"/>
                  </a:lnTo>
                  <a:lnTo>
                    <a:pt x="1868" y="1661"/>
                  </a:lnTo>
                  <a:lnTo>
                    <a:pt x="1863" y="1665"/>
                  </a:lnTo>
                  <a:lnTo>
                    <a:pt x="1863" y="1674"/>
                  </a:lnTo>
                  <a:lnTo>
                    <a:pt x="1858" y="1680"/>
                  </a:lnTo>
                  <a:lnTo>
                    <a:pt x="1849" y="1684"/>
                  </a:lnTo>
                  <a:lnTo>
                    <a:pt x="1849" y="1694"/>
                  </a:lnTo>
                  <a:lnTo>
                    <a:pt x="1844" y="1698"/>
                  </a:lnTo>
                  <a:lnTo>
                    <a:pt x="1838" y="1704"/>
                  </a:lnTo>
                  <a:lnTo>
                    <a:pt x="1832" y="1712"/>
                  </a:lnTo>
                  <a:lnTo>
                    <a:pt x="1830" y="1718"/>
                  </a:lnTo>
                  <a:lnTo>
                    <a:pt x="1824" y="1723"/>
                  </a:lnTo>
                  <a:lnTo>
                    <a:pt x="1815" y="1728"/>
                  </a:lnTo>
                  <a:lnTo>
                    <a:pt x="1813" y="1733"/>
                  </a:lnTo>
                  <a:lnTo>
                    <a:pt x="1808" y="1742"/>
                  </a:lnTo>
                  <a:lnTo>
                    <a:pt x="1801" y="1749"/>
                  </a:lnTo>
                  <a:lnTo>
                    <a:pt x="1795" y="1752"/>
                  </a:lnTo>
                  <a:lnTo>
                    <a:pt x="1795" y="1757"/>
                  </a:lnTo>
                  <a:lnTo>
                    <a:pt x="1792" y="1761"/>
                  </a:lnTo>
                  <a:lnTo>
                    <a:pt x="1790" y="1763"/>
                  </a:lnTo>
                  <a:lnTo>
                    <a:pt x="1787" y="1765"/>
                  </a:lnTo>
                  <a:lnTo>
                    <a:pt x="1784" y="1766"/>
                  </a:lnTo>
                  <a:lnTo>
                    <a:pt x="1781" y="1767"/>
                  </a:lnTo>
                  <a:lnTo>
                    <a:pt x="1781" y="1772"/>
                  </a:lnTo>
                  <a:lnTo>
                    <a:pt x="1781" y="1776"/>
                  </a:lnTo>
                  <a:lnTo>
                    <a:pt x="1780" y="1777"/>
                  </a:lnTo>
                  <a:lnTo>
                    <a:pt x="1778" y="1778"/>
                  </a:lnTo>
                  <a:lnTo>
                    <a:pt x="1777" y="1777"/>
                  </a:lnTo>
                  <a:lnTo>
                    <a:pt x="1777" y="1778"/>
                  </a:lnTo>
                  <a:lnTo>
                    <a:pt x="1776" y="1779"/>
                  </a:lnTo>
                  <a:lnTo>
                    <a:pt x="1776" y="1781"/>
                  </a:lnTo>
                  <a:lnTo>
                    <a:pt x="1772" y="1784"/>
                  </a:lnTo>
                  <a:lnTo>
                    <a:pt x="1767" y="1789"/>
                  </a:lnTo>
                  <a:lnTo>
                    <a:pt x="1763" y="1796"/>
                  </a:lnTo>
                  <a:lnTo>
                    <a:pt x="1762" y="1800"/>
                  </a:lnTo>
                  <a:lnTo>
                    <a:pt x="1757" y="1802"/>
                  </a:lnTo>
                  <a:lnTo>
                    <a:pt x="1752" y="1806"/>
                  </a:lnTo>
                  <a:lnTo>
                    <a:pt x="1743" y="1815"/>
                  </a:lnTo>
                  <a:lnTo>
                    <a:pt x="1733" y="1825"/>
                  </a:lnTo>
                  <a:lnTo>
                    <a:pt x="1723" y="1825"/>
                  </a:lnTo>
                  <a:lnTo>
                    <a:pt x="1723" y="1835"/>
                  </a:lnTo>
                  <a:lnTo>
                    <a:pt x="1714" y="1835"/>
                  </a:lnTo>
                  <a:lnTo>
                    <a:pt x="1712" y="1838"/>
                  </a:lnTo>
                  <a:lnTo>
                    <a:pt x="1708" y="1842"/>
                  </a:lnTo>
                  <a:lnTo>
                    <a:pt x="1704" y="1843"/>
                  </a:lnTo>
                  <a:lnTo>
                    <a:pt x="1699" y="1844"/>
                  </a:lnTo>
                  <a:lnTo>
                    <a:pt x="1698" y="1847"/>
                  </a:lnTo>
                  <a:lnTo>
                    <a:pt x="1696" y="1850"/>
                  </a:lnTo>
                  <a:lnTo>
                    <a:pt x="1693" y="1853"/>
                  </a:lnTo>
                  <a:lnTo>
                    <a:pt x="1689" y="1854"/>
                  </a:lnTo>
                  <a:lnTo>
                    <a:pt x="1675" y="1868"/>
                  </a:lnTo>
                  <a:lnTo>
                    <a:pt x="1675" y="1878"/>
                  </a:lnTo>
                  <a:lnTo>
                    <a:pt x="1675" y="1890"/>
                  </a:lnTo>
                  <a:lnTo>
                    <a:pt x="1674" y="1901"/>
                  </a:lnTo>
                  <a:lnTo>
                    <a:pt x="1674" y="1913"/>
                  </a:lnTo>
                  <a:lnTo>
                    <a:pt x="1659" y="1909"/>
                  </a:lnTo>
                  <a:lnTo>
                    <a:pt x="1647" y="1906"/>
                  </a:lnTo>
                  <a:lnTo>
                    <a:pt x="1623" y="1904"/>
                  </a:lnTo>
                  <a:lnTo>
                    <a:pt x="1584" y="1901"/>
                  </a:lnTo>
                  <a:lnTo>
                    <a:pt x="1564" y="1898"/>
                  </a:lnTo>
                  <a:lnTo>
                    <a:pt x="1547" y="1895"/>
                  </a:lnTo>
                  <a:lnTo>
                    <a:pt x="1541" y="1894"/>
                  </a:lnTo>
                  <a:lnTo>
                    <a:pt x="1535" y="1892"/>
                  </a:lnTo>
                  <a:lnTo>
                    <a:pt x="1532" y="1890"/>
                  </a:lnTo>
                  <a:lnTo>
                    <a:pt x="1531" y="1887"/>
                  </a:lnTo>
                  <a:lnTo>
                    <a:pt x="1506" y="1887"/>
                  </a:lnTo>
                  <a:lnTo>
                    <a:pt x="1506" y="1884"/>
                  </a:lnTo>
                  <a:lnTo>
                    <a:pt x="1505" y="1882"/>
                  </a:lnTo>
                  <a:lnTo>
                    <a:pt x="1505" y="1882"/>
                  </a:lnTo>
                  <a:lnTo>
                    <a:pt x="1504" y="1882"/>
                  </a:lnTo>
                  <a:lnTo>
                    <a:pt x="1503" y="1882"/>
                  </a:lnTo>
                  <a:lnTo>
                    <a:pt x="1502" y="1881"/>
                  </a:lnTo>
                  <a:lnTo>
                    <a:pt x="1501" y="1878"/>
                  </a:lnTo>
                  <a:lnTo>
                    <a:pt x="1501" y="1875"/>
                  </a:lnTo>
                  <a:lnTo>
                    <a:pt x="1488" y="1875"/>
                  </a:lnTo>
                  <a:lnTo>
                    <a:pt x="1488" y="1863"/>
                  </a:lnTo>
                  <a:lnTo>
                    <a:pt x="1485" y="1863"/>
                  </a:lnTo>
                  <a:lnTo>
                    <a:pt x="1483" y="1862"/>
                  </a:lnTo>
                  <a:lnTo>
                    <a:pt x="1483" y="1862"/>
                  </a:lnTo>
                  <a:lnTo>
                    <a:pt x="1482" y="1861"/>
                  </a:lnTo>
                  <a:lnTo>
                    <a:pt x="1482" y="1859"/>
                  </a:lnTo>
                  <a:lnTo>
                    <a:pt x="1482" y="1858"/>
                  </a:lnTo>
                  <a:lnTo>
                    <a:pt x="1479" y="1857"/>
                  </a:lnTo>
                  <a:lnTo>
                    <a:pt x="1476" y="1857"/>
                  </a:lnTo>
                  <a:lnTo>
                    <a:pt x="1478" y="1827"/>
                  </a:lnTo>
                  <a:lnTo>
                    <a:pt x="1482" y="1794"/>
                  </a:lnTo>
                  <a:lnTo>
                    <a:pt x="1486" y="1762"/>
                  </a:lnTo>
                  <a:lnTo>
                    <a:pt x="1488" y="1736"/>
                  </a:lnTo>
                  <a:lnTo>
                    <a:pt x="1492" y="1734"/>
                  </a:lnTo>
                  <a:lnTo>
                    <a:pt x="1495" y="1733"/>
                  </a:lnTo>
                  <a:lnTo>
                    <a:pt x="1497" y="1731"/>
                  </a:lnTo>
                  <a:lnTo>
                    <a:pt x="1499" y="1729"/>
                  </a:lnTo>
                  <a:lnTo>
                    <a:pt x="1503" y="1724"/>
                  </a:lnTo>
                  <a:lnTo>
                    <a:pt x="1506" y="1723"/>
                  </a:lnTo>
                  <a:lnTo>
                    <a:pt x="1506" y="1711"/>
                  </a:lnTo>
                  <a:lnTo>
                    <a:pt x="1511" y="1710"/>
                  </a:lnTo>
                  <a:lnTo>
                    <a:pt x="1515" y="1707"/>
                  </a:lnTo>
                  <a:lnTo>
                    <a:pt x="1521" y="1703"/>
                  </a:lnTo>
                  <a:lnTo>
                    <a:pt x="1525" y="1699"/>
                  </a:lnTo>
                  <a:lnTo>
                    <a:pt x="1525" y="1650"/>
                  </a:lnTo>
                  <a:lnTo>
                    <a:pt x="1521" y="1648"/>
                  </a:lnTo>
                  <a:lnTo>
                    <a:pt x="1517" y="1646"/>
                  </a:lnTo>
                  <a:lnTo>
                    <a:pt x="1515" y="1642"/>
                  </a:lnTo>
                  <a:lnTo>
                    <a:pt x="1513" y="1637"/>
                  </a:lnTo>
                  <a:lnTo>
                    <a:pt x="1512" y="1633"/>
                  </a:lnTo>
                  <a:lnTo>
                    <a:pt x="1511" y="1630"/>
                  </a:lnTo>
                  <a:lnTo>
                    <a:pt x="1508" y="1626"/>
                  </a:lnTo>
                  <a:lnTo>
                    <a:pt x="1506" y="1625"/>
                  </a:lnTo>
                  <a:lnTo>
                    <a:pt x="1506" y="1607"/>
                  </a:lnTo>
                  <a:lnTo>
                    <a:pt x="1497" y="1598"/>
                  </a:lnTo>
                  <a:lnTo>
                    <a:pt x="1488" y="1589"/>
                  </a:lnTo>
                  <a:lnTo>
                    <a:pt x="1482" y="1574"/>
                  </a:lnTo>
                  <a:lnTo>
                    <a:pt x="1476" y="1558"/>
                  </a:lnTo>
                  <a:lnTo>
                    <a:pt x="1471" y="1557"/>
                  </a:lnTo>
                  <a:lnTo>
                    <a:pt x="1467" y="1555"/>
                  </a:lnTo>
                  <a:lnTo>
                    <a:pt x="1465" y="1550"/>
                  </a:lnTo>
                  <a:lnTo>
                    <a:pt x="1464" y="1546"/>
                  </a:lnTo>
                  <a:lnTo>
                    <a:pt x="1458" y="1540"/>
                  </a:lnTo>
                  <a:lnTo>
                    <a:pt x="1448" y="1537"/>
                  </a:lnTo>
                  <a:lnTo>
                    <a:pt x="1439" y="1534"/>
                  </a:lnTo>
                  <a:lnTo>
                    <a:pt x="1434" y="1522"/>
                  </a:lnTo>
                  <a:lnTo>
                    <a:pt x="1421" y="1522"/>
                  </a:lnTo>
                  <a:lnTo>
                    <a:pt x="1421" y="1518"/>
                  </a:lnTo>
                  <a:lnTo>
                    <a:pt x="1420" y="1517"/>
                  </a:lnTo>
                  <a:lnTo>
                    <a:pt x="1419" y="1516"/>
                  </a:lnTo>
                  <a:lnTo>
                    <a:pt x="1418" y="1516"/>
                  </a:lnTo>
                  <a:lnTo>
                    <a:pt x="1417" y="1516"/>
                  </a:lnTo>
                  <a:lnTo>
                    <a:pt x="1416" y="1515"/>
                  </a:lnTo>
                  <a:lnTo>
                    <a:pt x="1416" y="1513"/>
                  </a:lnTo>
                  <a:lnTo>
                    <a:pt x="1415" y="1510"/>
                  </a:lnTo>
                  <a:lnTo>
                    <a:pt x="1402" y="1510"/>
                  </a:lnTo>
                  <a:lnTo>
                    <a:pt x="1401" y="1506"/>
                  </a:lnTo>
                  <a:lnTo>
                    <a:pt x="1398" y="1501"/>
                  </a:lnTo>
                  <a:lnTo>
                    <a:pt x="1392" y="1497"/>
                  </a:lnTo>
                  <a:lnTo>
                    <a:pt x="1386" y="1493"/>
                  </a:lnTo>
                  <a:lnTo>
                    <a:pt x="1379" y="1490"/>
                  </a:lnTo>
                  <a:lnTo>
                    <a:pt x="1372" y="1488"/>
                  </a:lnTo>
                  <a:lnTo>
                    <a:pt x="1365" y="1486"/>
                  </a:lnTo>
                  <a:lnTo>
                    <a:pt x="1360" y="1486"/>
                  </a:lnTo>
                  <a:lnTo>
                    <a:pt x="1359" y="1482"/>
                  </a:lnTo>
                  <a:lnTo>
                    <a:pt x="1354" y="1479"/>
                  </a:lnTo>
                  <a:lnTo>
                    <a:pt x="1349" y="1474"/>
                  </a:lnTo>
                  <a:lnTo>
                    <a:pt x="1341" y="1471"/>
                  </a:lnTo>
                  <a:lnTo>
                    <a:pt x="1326" y="1464"/>
                  </a:lnTo>
                  <a:lnTo>
                    <a:pt x="1317" y="1461"/>
                  </a:lnTo>
                  <a:lnTo>
                    <a:pt x="1317" y="1458"/>
                  </a:lnTo>
                  <a:lnTo>
                    <a:pt x="1316" y="1455"/>
                  </a:lnTo>
                  <a:lnTo>
                    <a:pt x="1315" y="1455"/>
                  </a:lnTo>
                  <a:lnTo>
                    <a:pt x="1314" y="1454"/>
                  </a:lnTo>
                  <a:lnTo>
                    <a:pt x="1313" y="1454"/>
                  </a:lnTo>
                  <a:lnTo>
                    <a:pt x="1312" y="1454"/>
                  </a:lnTo>
                  <a:lnTo>
                    <a:pt x="1312" y="1452"/>
                  </a:lnTo>
                  <a:lnTo>
                    <a:pt x="1312" y="1449"/>
                  </a:lnTo>
                  <a:lnTo>
                    <a:pt x="1305" y="1443"/>
                  </a:lnTo>
                  <a:lnTo>
                    <a:pt x="1293" y="1443"/>
                  </a:lnTo>
                  <a:lnTo>
                    <a:pt x="1287" y="1433"/>
                  </a:lnTo>
                  <a:lnTo>
                    <a:pt x="1281" y="1424"/>
                  </a:lnTo>
                  <a:lnTo>
                    <a:pt x="1268" y="1424"/>
                  </a:lnTo>
                  <a:lnTo>
                    <a:pt x="1268" y="1421"/>
                  </a:lnTo>
                  <a:lnTo>
                    <a:pt x="1267" y="1419"/>
                  </a:lnTo>
                  <a:lnTo>
                    <a:pt x="1267" y="1419"/>
                  </a:lnTo>
                  <a:lnTo>
                    <a:pt x="1266" y="1419"/>
                  </a:lnTo>
                  <a:lnTo>
                    <a:pt x="1265" y="1419"/>
                  </a:lnTo>
                  <a:lnTo>
                    <a:pt x="1264" y="1417"/>
                  </a:lnTo>
                  <a:lnTo>
                    <a:pt x="1263" y="1415"/>
                  </a:lnTo>
                  <a:lnTo>
                    <a:pt x="1263" y="1412"/>
                  </a:lnTo>
                  <a:lnTo>
                    <a:pt x="1256" y="1406"/>
                  </a:lnTo>
                  <a:lnTo>
                    <a:pt x="1252" y="1406"/>
                  </a:lnTo>
                  <a:lnTo>
                    <a:pt x="1248" y="1405"/>
                  </a:lnTo>
                  <a:lnTo>
                    <a:pt x="1246" y="1404"/>
                  </a:lnTo>
                  <a:lnTo>
                    <a:pt x="1245" y="1403"/>
                  </a:lnTo>
                  <a:lnTo>
                    <a:pt x="1245" y="1402"/>
                  </a:lnTo>
                  <a:lnTo>
                    <a:pt x="1244" y="1400"/>
                  </a:lnTo>
                  <a:lnTo>
                    <a:pt x="1233" y="1400"/>
                  </a:lnTo>
                  <a:lnTo>
                    <a:pt x="1231" y="1396"/>
                  </a:lnTo>
                  <a:lnTo>
                    <a:pt x="1231" y="1395"/>
                  </a:lnTo>
                  <a:lnTo>
                    <a:pt x="1230" y="1394"/>
                  </a:lnTo>
                  <a:lnTo>
                    <a:pt x="1229" y="1394"/>
                  </a:lnTo>
                  <a:lnTo>
                    <a:pt x="1228" y="1394"/>
                  </a:lnTo>
                  <a:lnTo>
                    <a:pt x="1227" y="1393"/>
                  </a:lnTo>
                  <a:lnTo>
                    <a:pt x="1226" y="1392"/>
                  </a:lnTo>
                  <a:lnTo>
                    <a:pt x="1226" y="1387"/>
                  </a:lnTo>
                  <a:lnTo>
                    <a:pt x="1214" y="1387"/>
                  </a:lnTo>
                  <a:lnTo>
                    <a:pt x="1214" y="1384"/>
                  </a:lnTo>
                  <a:lnTo>
                    <a:pt x="1213" y="1383"/>
                  </a:lnTo>
                  <a:lnTo>
                    <a:pt x="1211" y="1382"/>
                  </a:lnTo>
                  <a:lnTo>
                    <a:pt x="1210" y="1382"/>
                  </a:lnTo>
                  <a:lnTo>
                    <a:pt x="1209" y="1382"/>
                  </a:lnTo>
                  <a:lnTo>
                    <a:pt x="1209" y="1381"/>
                  </a:lnTo>
                  <a:lnTo>
                    <a:pt x="1208" y="1380"/>
                  </a:lnTo>
                  <a:lnTo>
                    <a:pt x="1208" y="1375"/>
                  </a:lnTo>
                  <a:lnTo>
                    <a:pt x="1201" y="1369"/>
                  </a:lnTo>
                  <a:lnTo>
                    <a:pt x="1189" y="1364"/>
                  </a:lnTo>
                  <a:lnTo>
                    <a:pt x="1188" y="1358"/>
                  </a:lnTo>
                  <a:lnTo>
                    <a:pt x="1186" y="1352"/>
                  </a:lnTo>
                  <a:lnTo>
                    <a:pt x="1183" y="1349"/>
                  </a:lnTo>
                  <a:lnTo>
                    <a:pt x="1181" y="1347"/>
                  </a:lnTo>
                  <a:lnTo>
                    <a:pt x="1179" y="1346"/>
                  </a:lnTo>
                  <a:lnTo>
                    <a:pt x="1177" y="1345"/>
                  </a:lnTo>
                  <a:lnTo>
                    <a:pt x="1176" y="1336"/>
                  </a:lnTo>
                  <a:lnTo>
                    <a:pt x="1171" y="1327"/>
                  </a:lnTo>
                  <a:lnTo>
                    <a:pt x="1167" y="1318"/>
                  </a:lnTo>
                  <a:lnTo>
                    <a:pt x="1165" y="1308"/>
                  </a:lnTo>
                  <a:lnTo>
                    <a:pt x="1163" y="1307"/>
                  </a:lnTo>
                  <a:lnTo>
                    <a:pt x="1159" y="1305"/>
                  </a:lnTo>
                  <a:lnTo>
                    <a:pt x="1154" y="1301"/>
                  </a:lnTo>
                  <a:lnTo>
                    <a:pt x="1153" y="1297"/>
                  </a:lnTo>
                  <a:lnTo>
                    <a:pt x="1124" y="1296"/>
                  </a:lnTo>
                  <a:lnTo>
                    <a:pt x="1095" y="1295"/>
                  </a:lnTo>
                  <a:lnTo>
                    <a:pt x="1082" y="1294"/>
                  </a:lnTo>
                  <a:lnTo>
                    <a:pt x="1069" y="1291"/>
                  </a:lnTo>
                  <a:lnTo>
                    <a:pt x="1055" y="1288"/>
                  </a:lnTo>
                  <a:lnTo>
                    <a:pt x="1043" y="1285"/>
                  </a:lnTo>
                  <a:lnTo>
                    <a:pt x="1018" y="1285"/>
                  </a:lnTo>
                  <a:lnTo>
                    <a:pt x="1009" y="1281"/>
                  </a:lnTo>
                  <a:lnTo>
                    <a:pt x="1000" y="1278"/>
                  </a:lnTo>
                  <a:lnTo>
                    <a:pt x="995" y="1266"/>
                  </a:lnTo>
                  <a:lnTo>
                    <a:pt x="990" y="1266"/>
                  </a:lnTo>
                  <a:lnTo>
                    <a:pt x="986" y="1266"/>
                  </a:lnTo>
                  <a:lnTo>
                    <a:pt x="985" y="1265"/>
                  </a:lnTo>
                  <a:lnTo>
                    <a:pt x="984" y="1263"/>
                  </a:lnTo>
                  <a:lnTo>
                    <a:pt x="983" y="1262"/>
                  </a:lnTo>
                  <a:lnTo>
                    <a:pt x="983" y="1260"/>
                  </a:lnTo>
                  <a:lnTo>
                    <a:pt x="970" y="1260"/>
                  </a:lnTo>
                  <a:lnTo>
                    <a:pt x="970" y="1257"/>
                  </a:lnTo>
                  <a:lnTo>
                    <a:pt x="969" y="1255"/>
                  </a:lnTo>
                  <a:lnTo>
                    <a:pt x="968" y="1253"/>
                  </a:lnTo>
                  <a:lnTo>
                    <a:pt x="967" y="1253"/>
                  </a:lnTo>
                  <a:lnTo>
                    <a:pt x="966" y="1253"/>
                  </a:lnTo>
                  <a:lnTo>
                    <a:pt x="965" y="1253"/>
                  </a:lnTo>
                  <a:lnTo>
                    <a:pt x="965" y="1251"/>
                  </a:lnTo>
                  <a:lnTo>
                    <a:pt x="964" y="1248"/>
                  </a:lnTo>
                  <a:lnTo>
                    <a:pt x="958" y="1241"/>
                  </a:lnTo>
                  <a:lnTo>
                    <a:pt x="949" y="1239"/>
                  </a:lnTo>
                  <a:lnTo>
                    <a:pt x="939" y="1236"/>
                  </a:lnTo>
                  <a:lnTo>
                    <a:pt x="939" y="1232"/>
                  </a:lnTo>
                  <a:lnTo>
                    <a:pt x="939" y="1230"/>
                  </a:lnTo>
                  <a:lnTo>
                    <a:pt x="938" y="1230"/>
                  </a:lnTo>
                  <a:lnTo>
                    <a:pt x="937" y="1229"/>
                  </a:lnTo>
                  <a:lnTo>
                    <a:pt x="936" y="1229"/>
                  </a:lnTo>
                  <a:lnTo>
                    <a:pt x="935" y="1229"/>
                  </a:lnTo>
                  <a:lnTo>
                    <a:pt x="933" y="1227"/>
                  </a:lnTo>
                  <a:lnTo>
                    <a:pt x="933" y="1223"/>
                  </a:lnTo>
                  <a:lnTo>
                    <a:pt x="928" y="1218"/>
                  </a:lnTo>
                  <a:lnTo>
                    <a:pt x="923" y="1217"/>
                  </a:lnTo>
                  <a:lnTo>
                    <a:pt x="919" y="1217"/>
                  </a:lnTo>
                  <a:lnTo>
                    <a:pt x="918" y="1215"/>
                  </a:lnTo>
                  <a:lnTo>
                    <a:pt x="917" y="1214"/>
                  </a:lnTo>
                  <a:lnTo>
                    <a:pt x="916" y="1213"/>
                  </a:lnTo>
                  <a:lnTo>
                    <a:pt x="916" y="1211"/>
                  </a:lnTo>
                  <a:lnTo>
                    <a:pt x="911" y="1211"/>
                  </a:lnTo>
                  <a:lnTo>
                    <a:pt x="907" y="1210"/>
                  </a:lnTo>
                  <a:lnTo>
                    <a:pt x="906" y="1210"/>
                  </a:lnTo>
                  <a:lnTo>
                    <a:pt x="904" y="1209"/>
                  </a:lnTo>
                  <a:lnTo>
                    <a:pt x="903" y="1207"/>
                  </a:lnTo>
                  <a:lnTo>
                    <a:pt x="903" y="1205"/>
                  </a:lnTo>
                  <a:lnTo>
                    <a:pt x="884" y="1205"/>
                  </a:lnTo>
                  <a:lnTo>
                    <a:pt x="884" y="1201"/>
                  </a:lnTo>
                  <a:lnTo>
                    <a:pt x="883" y="1200"/>
                  </a:lnTo>
                  <a:lnTo>
                    <a:pt x="881" y="1199"/>
                  </a:lnTo>
                  <a:lnTo>
                    <a:pt x="879" y="1199"/>
                  </a:lnTo>
                  <a:lnTo>
                    <a:pt x="877" y="1199"/>
                  </a:lnTo>
                  <a:lnTo>
                    <a:pt x="874" y="1198"/>
                  </a:lnTo>
                  <a:lnTo>
                    <a:pt x="873" y="1196"/>
                  </a:lnTo>
                  <a:lnTo>
                    <a:pt x="872" y="1193"/>
                  </a:lnTo>
                  <a:lnTo>
                    <a:pt x="868" y="1193"/>
                  </a:lnTo>
                  <a:lnTo>
                    <a:pt x="864" y="1192"/>
                  </a:lnTo>
                  <a:lnTo>
                    <a:pt x="862" y="1191"/>
                  </a:lnTo>
                  <a:lnTo>
                    <a:pt x="861" y="1190"/>
                  </a:lnTo>
                  <a:lnTo>
                    <a:pt x="861" y="1189"/>
                  </a:lnTo>
                  <a:lnTo>
                    <a:pt x="860" y="1186"/>
                  </a:lnTo>
                  <a:lnTo>
                    <a:pt x="845" y="1185"/>
                  </a:lnTo>
                  <a:lnTo>
                    <a:pt x="825" y="1183"/>
                  </a:lnTo>
                  <a:lnTo>
                    <a:pt x="815" y="1181"/>
                  </a:lnTo>
                  <a:lnTo>
                    <a:pt x="807" y="1179"/>
                  </a:lnTo>
                  <a:lnTo>
                    <a:pt x="802" y="1176"/>
                  </a:lnTo>
                  <a:lnTo>
                    <a:pt x="799" y="1174"/>
                  </a:lnTo>
                  <a:lnTo>
                    <a:pt x="795" y="1174"/>
                  </a:lnTo>
                  <a:lnTo>
                    <a:pt x="791" y="1174"/>
                  </a:lnTo>
                  <a:lnTo>
                    <a:pt x="789" y="1173"/>
                  </a:lnTo>
                  <a:lnTo>
                    <a:pt x="788" y="1172"/>
                  </a:lnTo>
                  <a:lnTo>
                    <a:pt x="787" y="1171"/>
                  </a:lnTo>
                  <a:lnTo>
                    <a:pt x="787" y="1169"/>
                  </a:lnTo>
                  <a:lnTo>
                    <a:pt x="778" y="1167"/>
                  </a:lnTo>
                  <a:lnTo>
                    <a:pt x="758" y="1166"/>
                  </a:lnTo>
                  <a:lnTo>
                    <a:pt x="730" y="1165"/>
                  </a:lnTo>
                  <a:lnTo>
                    <a:pt x="699" y="1164"/>
                  </a:lnTo>
                  <a:lnTo>
                    <a:pt x="669" y="1163"/>
                  </a:lnTo>
                  <a:lnTo>
                    <a:pt x="642" y="1163"/>
                  </a:lnTo>
                  <a:lnTo>
                    <a:pt x="632" y="1164"/>
                  </a:lnTo>
                  <a:lnTo>
                    <a:pt x="623" y="1165"/>
                  </a:lnTo>
                  <a:lnTo>
                    <a:pt x="619" y="1166"/>
                  </a:lnTo>
                  <a:lnTo>
                    <a:pt x="616" y="1169"/>
                  </a:lnTo>
                  <a:lnTo>
                    <a:pt x="574" y="1169"/>
                  </a:lnTo>
                  <a:lnTo>
                    <a:pt x="573" y="1171"/>
                  </a:lnTo>
                  <a:lnTo>
                    <a:pt x="572" y="1172"/>
                  </a:lnTo>
                  <a:lnTo>
                    <a:pt x="570" y="1173"/>
                  </a:lnTo>
                  <a:lnTo>
                    <a:pt x="567" y="1174"/>
                  </a:lnTo>
                  <a:lnTo>
                    <a:pt x="561" y="1174"/>
                  </a:lnTo>
                  <a:lnTo>
                    <a:pt x="555" y="1174"/>
                  </a:lnTo>
                  <a:lnTo>
                    <a:pt x="555" y="1178"/>
                  </a:lnTo>
                  <a:lnTo>
                    <a:pt x="555" y="1180"/>
                  </a:lnTo>
                  <a:lnTo>
                    <a:pt x="554" y="1181"/>
                  </a:lnTo>
                  <a:lnTo>
                    <a:pt x="553" y="1181"/>
                  </a:lnTo>
                  <a:lnTo>
                    <a:pt x="552" y="1181"/>
                  </a:lnTo>
                  <a:lnTo>
                    <a:pt x="551" y="1181"/>
                  </a:lnTo>
                  <a:lnTo>
                    <a:pt x="549" y="1183"/>
                  </a:lnTo>
                  <a:lnTo>
                    <a:pt x="549" y="1186"/>
                  </a:lnTo>
                  <a:lnTo>
                    <a:pt x="544" y="1193"/>
                  </a:lnTo>
                  <a:lnTo>
                    <a:pt x="532" y="1193"/>
                  </a:lnTo>
                  <a:lnTo>
                    <a:pt x="532" y="1205"/>
                  </a:lnTo>
                  <a:lnTo>
                    <a:pt x="530" y="1225"/>
                  </a:lnTo>
                  <a:lnTo>
                    <a:pt x="529" y="1236"/>
                  </a:lnTo>
                  <a:lnTo>
                    <a:pt x="528" y="1246"/>
                  </a:lnTo>
                  <a:lnTo>
                    <a:pt x="527" y="1251"/>
                  </a:lnTo>
                  <a:lnTo>
                    <a:pt x="525" y="1253"/>
                  </a:lnTo>
                  <a:lnTo>
                    <a:pt x="525" y="1262"/>
                  </a:lnTo>
                  <a:lnTo>
                    <a:pt x="525" y="1272"/>
                  </a:lnTo>
                  <a:lnTo>
                    <a:pt x="519" y="1278"/>
                  </a:lnTo>
                  <a:lnTo>
                    <a:pt x="513" y="1285"/>
                  </a:lnTo>
                  <a:lnTo>
                    <a:pt x="508" y="1285"/>
                  </a:lnTo>
                  <a:lnTo>
                    <a:pt x="505" y="1285"/>
                  </a:lnTo>
                  <a:lnTo>
                    <a:pt x="503" y="1286"/>
                  </a:lnTo>
                  <a:lnTo>
                    <a:pt x="501" y="1287"/>
                  </a:lnTo>
                  <a:lnTo>
                    <a:pt x="501" y="1288"/>
                  </a:lnTo>
                  <a:lnTo>
                    <a:pt x="500" y="1290"/>
                  </a:lnTo>
                  <a:lnTo>
                    <a:pt x="494" y="1291"/>
                  </a:lnTo>
                  <a:lnTo>
                    <a:pt x="484" y="1294"/>
                  </a:lnTo>
                  <a:lnTo>
                    <a:pt x="478" y="1296"/>
                  </a:lnTo>
                  <a:lnTo>
                    <a:pt x="475" y="1298"/>
                  </a:lnTo>
                  <a:lnTo>
                    <a:pt x="471" y="1300"/>
                  </a:lnTo>
                  <a:lnTo>
                    <a:pt x="470" y="1303"/>
                  </a:lnTo>
                  <a:lnTo>
                    <a:pt x="459" y="1306"/>
                  </a:lnTo>
                  <a:lnTo>
                    <a:pt x="440" y="1315"/>
                  </a:lnTo>
                  <a:lnTo>
                    <a:pt x="423" y="1323"/>
                  </a:lnTo>
                  <a:lnTo>
                    <a:pt x="415" y="1327"/>
                  </a:lnTo>
                  <a:lnTo>
                    <a:pt x="409" y="1327"/>
                  </a:lnTo>
                  <a:lnTo>
                    <a:pt x="401" y="1327"/>
                  </a:lnTo>
                  <a:lnTo>
                    <a:pt x="398" y="1328"/>
                  </a:lnTo>
                  <a:lnTo>
                    <a:pt x="394" y="1329"/>
                  </a:lnTo>
                  <a:lnTo>
                    <a:pt x="392" y="1330"/>
                  </a:lnTo>
                  <a:lnTo>
                    <a:pt x="391" y="1333"/>
                  </a:lnTo>
                  <a:lnTo>
                    <a:pt x="383" y="1333"/>
                  </a:lnTo>
                  <a:lnTo>
                    <a:pt x="373" y="1334"/>
                  </a:lnTo>
                  <a:lnTo>
                    <a:pt x="369" y="1335"/>
                  </a:lnTo>
                  <a:lnTo>
                    <a:pt x="364" y="1336"/>
                  </a:lnTo>
                  <a:lnTo>
                    <a:pt x="362" y="1337"/>
                  </a:lnTo>
                  <a:lnTo>
                    <a:pt x="361" y="1339"/>
                  </a:lnTo>
                  <a:lnTo>
                    <a:pt x="356" y="1339"/>
                  </a:lnTo>
                  <a:lnTo>
                    <a:pt x="352" y="1339"/>
                  </a:lnTo>
                  <a:lnTo>
                    <a:pt x="351" y="1340"/>
                  </a:lnTo>
                  <a:lnTo>
                    <a:pt x="350" y="1342"/>
                  </a:lnTo>
                  <a:lnTo>
                    <a:pt x="348" y="1343"/>
                  </a:lnTo>
                  <a:lnTo>
                    <a:pt x="348" y="1345"/>
                  </a:lnTo>
                  <a:lnTo>
                    <a:pt x="336" y="1345"/>
                  </a:lnTo>
                  <a:lnTo>
                    <a:pt x="336" y="1348"/>
                  </a:lnTo>
                  <a:lnTo>
                    <a:pt x="335" y="1350"/>
                  </a:lnTo>
                  <a:lnTo>
                    <a:pt x="334" y="1352"/>
                  </a:lnTo>
                  <a:lnTo>
                    <a:pt x="333" y="1352"/>
                  </a:lnTo>
                  <a:lnTo>
                    <a:pt x="332" y="1352"/>
                  </a:lnTo>
                  <a:lnTo>
                    <a:pt x="331" y="1352"/>
                  </a:lnTo>
                  <a:lnTo>
                    <a:pt x="331" y="1354"/>
                  </a:lnTo>
                  <a:lnTo>
                    <a:pt x="330" y="1357"/>
                  </a:lnTo>
                  <a:lnTo>
                    <a:pt x="324" y="1364"/>
                  </a:lnTo>
                  <a:lnTo>
                    <a:pt x="318" y="1369"/>
                  </a:lnTo>
                  <a:lnTo>
                    <a:pt x="312" y="1369"/>
                  </a:lnTo>
                  <a:lnTo>
                    <a:pt x="304" y="1371"/>
                  </a:lnTo>
                  <a:lnTo>
                    <a:pt x="299" y="1371"/>
                  </a:lnTo>
                  <a:lnTo>
                    <a:pt x="296" y="1372"/>
                  </a:lnTo>
                  <a:lnTo>
                    <a:pt x="294" y="1374"/>
                  </a:lnTo>
                  <a:lnTo>
                    <a:pt x="294" y="1375"/>
                  </a:lnTo>
                  <a:lnTo>
                    <a:pt x="274" y="1375"/>
                  </a:lnTo>
                  <a:lnTo>
                    <a:pt x="242" y="1374"/>
                  </a:lnTo>
                  <a:lnTo>
                    <a:pt x="202" y="1373"/>
                  </a:lnTo>
                  <a:lnTo>
                    <a:pt x="159" y="1371"/>
                  </a:lnTo>
                  <a:lnTo>
                    <a:pt x="159" y="1371"/>
                  </a:lnTo>
                  <a:lnTo>
                    <a:pt x="158" y="1371"/>
                  </a:lnTo>
                  <a:lnTo>
                    <a:pt x="151" y="1364"/>
                  </a:lnTo>
                  <a:lnTo>
                    <a:pt x="139" y="1357"/>
                  </a:lnTo>
                  <a:lnTo>
                    <a:pt x="139" y="1344"/>
                  </a:lnTo>
                  <a:lnTo>
                    <a:pt x="134" y="1344"/>
                  </a:lnTo>
                  <a:lnTo>
                    <a:pt x="132" y="1343"/>
                  </a:lnTo>
                  <a:lnTo>
                    <a:pt x="132" y="1342"/>
                  </a:lnTo>
                  <a:lnTo>
                    <a:pt x="132" y="1340"/>
                  </a:lnTo>
                  <a:lnTo>
                    <a:pt x="132" y="1339"/>
                  </a:lnTo>
                  <a:lnTo>
                    <a:pt x="131" y="1338"/>
                  </a:lnTo>
                  <a:lnTo>
                    <a:pt x="129" y="1338"/>
                  </a:lnTo>
                  <a:lnTo>
                    <a:pt x="125" y="1337"/>
                  </a:lnTo>
                  <a:lnTo>
                    <a:pt x="125" y="1325"/>
                  </a:lnTo>
                  <a:lnTo>
                    <a:pt x="121" y="1324"/>
                  </a:lnTo>
                  <a:lnTo>
                    <a:pt x="117" y="1321"/>
                  </a:lnTo>
                  <a:lnTo>
                    <a:pt x="113" y="1319"/>
                  </a:lnTo>
                  <a:lnTo>
                    <a:pt x="110" y="1315"/>
                  </a:lnTo>
                  <a:lnTo>
                    <a:pt x="102" y="1306"/>
                  </a:lnTo>
                  <a:lnTo>
                    <a:pt x="94" y="1295"/>
                  </a:lnTo>
                  <a:lnTo>
                    <a:pt x="87" y="1285"/>
                  </a:lnTo>
                  <a:lnTo>
                    <a:pt x="81" y="1275"/>
                  </a:lnTo>
                  <a:lnTo>
                    <a:pt x="76" y="1268"/>
                  </a:lnTo>
                  <a:lnTo>
                    <a:pt x="73" y="1266"/>
                  </a:lnTo>
                  <a:lnTo>
                    <a:pt x="73" y="1252"/>
                  </a:lnTo>
                  <a:lnTo>
                    <a:pt x="71" y="1252"/>
                  </a:lnTo>
                  <a:lnTo>
                    <a:pt x="68" y="1251"/>
                  </a:lnTo>
                  <a:lnTo>
                    <a:pt x="67" y="1250"/>
                  </a:lnTo>
                  <a:lnTo>
                    <a:pt x="67" y="1248"/>
                  </a:lnTo>
                  <a:lnTo>
                    <a:pt x="66" y="1244"/>
                  </a:lnTo>
                  <a:lnTo>
                    <a:pt x="66" y="1239"/>
                  </a:lnTo>
                  <a:lnTo>
                    <a:pt x="64" y="1239"/>
                  </a:lnTo>
                  <a:lnTo>
                    <a:pt x="62" y="1238"/>
                  </a:lnTo>
                  <a:lnTo>
                    <a:pt x="60" y="1236"/>
                  </a:lnTo>
                  <a:lnTo>
                    <a:pt x="59" y="1233"/>
                  </a:lnTo>
                  <a:lnTo>
                    <a:pt x="58" y="1227"/>
                  </a:lnTo>
                  <a:lnTo>
                    <a:pt x="58" y="1219"/>
                  </a:lnTo>
                  <a:lnTo>
                    <a:pt x="58" y="1203"/>
                  </a:lnTo>
                  <a:lnTo>
                    <a:pt x="59" y="1193"/>
                  </a:lnTo>
                  <a:lnTo>
                    <a:pt x="58" y="1189"/>
                  </a:lnTo>
                  <a:lnTo>
                    <a:pt x="56" y="1182"/>
                  </a:lnTo>
                  <a:lnTo>
                    <a:pt x="53" y="1176"/>
                  </a:lnTo>
                  <a:lnTo>
                    <a:pt x="49" y="1170"/>
                  </a:lnTo>
                  <a:lnTo>
                    <a:pt x="46" y="1163"/>
                  </a:lnTo>
                  <a:lnTo>
                    <a:pt x="43" y="1155"/>
                  </a:lnTo>
                  <a:lnTo>
                    <a:pt x="40" y="1148"/>
                  </a:lnTo>
                  <a:lnTo>
                    <a:pt x="39" y="1141"/>
                  </a:lnTo>
                  <a:lnTo>
                    <a:pt x="37" y="1140"/>
                  </a:lnTo>
                  <a:lnTo>
                    <a:pt x="34" y="1136"/>
                  </a:lnTo>
                  <a:lnTo>
                    <a:pt x="30" y="1131"/>
                  </a:lnTo>
                  <a:lnTo>
                    <a:pt x="27" y="1124"/>
                  </a:lnTo>
                  <a:lnTo>
                    <a:pt x="23" y="1111"/>
                  </a:lnTo>
                  <a:lnTo>
                    <a:pt x="20" y="1102"/>
                  </a:lnTo>
                  <a:lnTo>
                    <a:pt x="17" y="1100"/>
                  </a:lnTo>
                  <a:lnTo>
                    <a:pt x="14" y="1098"/>
                  </a:lnTo>
                  <a:lnTo>
                    <a:pt x="11" y="1094"/>
                  </a:lnTo>
                  <a:lnTo>
                    <a:pt x="9" y="1089"/>
                  </a:lnTo>
                  <a:lnTo>
                    <a:pt x="5" y="1076"/>
                  </a:lnTo>
                  <a:lnTo>
                    <a:pt x="2" y="1060"/>
                  </a:lnTo>
                  <a:lnTo>
                    <a:pt x="0" y="1027"/>
                  </a:lnTo>
                  <a:lnTo>
                    <a:pt x="0" y="1003"/>
                  </a:lnTo>
                  <a:lnTo>
                    <a:pt x="5" y="1002"/>
                  </a:lnTo>
                  <a:lnTo>
                    <a:pt x="6" y="1000"/>
                  </a:lnTo>
                  <a:lnTo>
                    <a:pt x="7" y="997"/>
                  </a:lnTo>
                  <a:lnTo>
                    <a:pt x="7" y="993"/>
                  </a:lnTo>
                  <a:lnTo>
                    <a:pt x="7" y="990"/>
                  </a:lnTo>
                  <a:lnTo>
                    <a:pt x="8" y="987"/>
                  </a:lnTo>
                  <a:lnTo>
                    <a:pt x="10" y="984"/>
                  </a:lnTo>
                  <a:lnTo>
                    <a:pt x="14" y="983"/>
                  </a:lnTo>
                  <a:lnTo>
                    <a:pt x="14" y="964"/>
                  </a:lnTo>
                  <a:lnTo>
                    <a:pt x="20" y="958"/>
                  </a:lnTo>
                  <a:lnTo>
                    <a:pt x="27" y="951"/>
                  </a:lnTo>
                  <a:lnTo>
                    <a:pt x="47" y="951"/>
                  </a:lnTo>
                  <a:lnTo>
                    <a:pt x="69" y="951"/>
                  </a:lnTo>
                  <a:lnTo>
                    <a:pt x="91" y="951"/>
                  </a:lnTo>
                  <a:lnTo>
                    <a:pt x="112" y="951"/>
                  </a:lnTo>
                  <a:lnTo>
                    <a:pt x="113" y="948"/>
                  </a:lnTo>
                  <a:lnTo>
                    <a:pt x="115" y="945"/>
                  </a:lnTo>
                  <a:lnTo>
                    <a:pt x="119" y="944"/>
                  </a:lnTo>
                  <a:lnTo>
                    <a:pt x="122" y="944"/>
                  </a:lnTo>
                  <a:lnTo>
                    <a:pt x="125" y="944"/>
                  </a:lnTo>
                  <a:lnTo>
                    <a:pt x="129" y="943"/>
                  </a:lnTo>
                  <a:lnTo>
                    <a:pt x="131" y="942"/>
                  </a:lnTo>
                  <a:lnTo>
                    <a:pt x="132" y="938"/>
                  </a:lnTo>
                  <a:lnTo>
                    <a:pt x="164" y="938"/>
                  </a:lnTo>
                  <a:lnTo>
                    <a:pt x="178" y="931"/>
                  </a:lnTo>
                  <a:lnTo>
                    <a:pt x="199" y="916"/>
                  </a:lnTo>
                  <a:lnTo>
                    <a:pt x="247" y="882"/>
                  </a:lnTo>
                  <a:lnTo>
                    <a:pt x="296" y="848"/>
                  </a:lnTo>
                  <a:lnTo>
                    <a:pt x="322" y="833"/>
                  </a:lnTo>
                  <a:lnTo>
                    <a:pt x="335" y="817"/>
                  </a:lnTo>
                  <a:lnTo>
                    <a:pt x="347" y="800"/>
                  </a:lnTo>
                  <a:lnTo>
                    <a:pt x="361" y="794"/>
                  </a:lnTo>
                  <a:lnTo>
                    <a:pt x="374" y="787"/>
                  </a:lnTo>
                  <a:lnTo>
                    <a:pt x="374" y="784"/>
                  </a:lnTo>
                  <a:lnTo>
                    <a:pt x="375" y="781"/>
                  </a:lnTo>
                  <a:lnTo>
                    <a:pt x="376" y="780"/>
                  </a:lnTo>
                  <a:lnTo>
                    <a:pt x="378" y="780"/>
                  </a:lnTo>
                  <a:lnTo>
                    <a:pt x="379" y="780"/>
                  </a:lnTo>
                  <a:lnTo>
                    <a:pt x="380" y="780"/>
                  </a:lnTo>
                  <a:lnTo>
                    <a:pt x="381" y="778"/>
                  </a:lnTo>
                  <a:lnTo>
                    <a:pt x="381" y="773"/>
                  </a:lnTo>
                  <a:lnTo>
                    <a:pt x="394" y="773"/>
                  </a:lnTo>
                  <a:lnTo>
                    <a:pt x="394" y="771"/>
                  </a:lnTo>
                  <a:lnTo>
                    <a:pt x="395" y="770"/>
                  </a:lnTo>
                  <a:lnTo>
                    <a:pt x="396" y="769"/>
                  </a:lnTo>
                  <a:lnTo>
                    <a:pt x="398" y="768"/>
                  </a:lnTo>
                  <a:lnTo>
                    <a:pt x="402" y="768"/>
                  </a:lnTo>
                  <a:lnTo>
                    <a:pt x="407" y="767"/>
                  </a:lnTo>
                  <a:lnTo>
                    <a:pt x="408" y="763"/>
                  </a:lnTo>
                  <a:lnTo>
                    <a:pt x="408" y="761"/>
                  </a:lnTo>
                  <a:lnTo>
                    <a:pt x="409" y="761"/>
                  </a:lnTo>
                  <a:lnTo>
                    <a:pt x="410" y="761"/>
                  </a:lnTo>
                  <a:lnTo>
                    <a:pt x="411" y="761"/>
                  </a:lnTo>
                  <a:lnTo>
                    <a:pt x="412" y="760"/>
                  </a:lnTo>
                  <a:lnTo>
                    <a:pt x="413" y="758"/>
                  </a:lnTo>
                  <a:lnTo>
                    <a:pt x="413" y="755"/>
                  </a:lnTo>
                  <a:lnTo>
                    <a:pt x="429" y="756"/>
                  </a:lnTo>
                  <a:lnTo>
                    <a:pt x="451" y="759"/>
                  </a:lnTo>
                  <a:lnTo>
                    <a:pt x="461" y="762"/>
                  </a:lnTo>
                  <a:lnTo>
                    <a:pt x="470" y="766"/>
                  </a:lnTo>
                  <a:lnTo>
                    <a:pt x="474" y="767"/>
                  </a:lnTo>
                  <a:lnTo>
                    <a:pt x="477" y="769"/>
                  </a:lnTo>
                  <a:lnTo>
                    <a:pt x="478" y="771"/>
                  </a:lnTo>
                  <a:lnTo>
                    <a:pt x="479" y="773"/>
                  </a:lnTo>
                  <a:lnTo>
                    <a:pt x="492" y="773"/>
                  </a:lnTo>
                  <a:lnTo>
                    <a:pt x="501" y="761"/>
                  </a:lnTo>
                  <a:lnTo>
                    <a:pt x="511" y="748"/>
                  </a:lnTo>
                  <a:lnTo>
                    <a:pt x="517" y="747"/>
                  </a:lnTo>
                  <a:lnTo>
                    <a:pt x="520" y="743"/>
                  </a:lnTo>
                  <a:lnTo>
                    <a:pt x="524" y="739"/>
                  </a:lnTo>
                  <a:lnTo>
                    <a:pt x="525" y="734"/>
                  </a:lnTo>
                  <a:lnTo>
                    <a:pt x="538" y="734"/>
                  </a:lnTo>
                  <a:lnTo>
                    <a:pt x="539" y="732"/>
                  </a:lnTo>
                  <a:lnTo>
                    <a:pt x="542" y="731"/>
                  </a:lnTo>
                  <a:lnTo>
                    <a:pt x="547" y="730"/>
                  </a:lnTo>
                  <a:lnTo>
                    <a:pt x="553" y="729"/>
                  </a:lnTo>
                  <a:lnTo>
                    <a:pt x="570" y="730"/>
                  </a:lnTo>
                  <a:lnTo>
                    <a:pt x="587" y="731"/>
                  </a:lnTo>
                  <a:lnTo>
                    <a:pt x="605" y="734"/>
                  </a:lnTo>
                  <a:lnTo>
                    <a:pt x="621" y="738"/>
                  </a:lnTo>
                  <a:lnTo>
                    <a:pt x="628" y="740"/>
                  </a:lnTo>
                  <a:lnTo>
                    <a:pt x="632" y="743"/>
                  </a:lnTo>
                  <a:lnTo>
                    <a:pt x="635" y="746"/>
                  </a:lnTo>
                  <a:lnTo>
                    <a:pt x="636" y="748"/>
                  </a:lnTo>
                  <a:lnTo>
                    <a:pt x="655" y="748"/>
                  </a:lnTo>
                  <a:lnTo>
                    <a:pt x="659" y="751"/>
                  </a:lnTo>
                  <a:lnTo>
                    <a:pt x="662" y="755"/>
                  </a:lnTo>
                  <a:lnTo>
                    <a:pt x="666" y="758"/>
                  </a:lnTo>
                  <a:lnTo>
                    <a:pt x="670" y="760"/>
                  </a:lnTo>
                  <a:lnTo>
                    <a:pt x="680" y="765"/>
                  </a:lnTo>
                  <a:lnTo>
                    <a:pt x="691" y="768"/>
                  </a:lnTo>
                  <a:lnTo>
                    <a:pt x="703" y="771"/>
                  </a:lnTo>
                  <a:lnTo>
                    <a:pt x="718" y="773"/>
                  </a:lnTo>
                  <a:lnTo>
                    <a:pt x="733" y="775"/>
                  </a:lnTo>
                  <a:lnTo>
                    <a:pt x="747" y="776"/>
                  </a:lnTo>
                  <a:lnTo>
                    <a:pt x="777" y="776"/>
                  </a:lnTo>
                  <a:lnTo>
                    <a:pt x="806" y="776"/>
                  </a:lnTo>
                  <a:lnTo>
                    <a:pt x="832" y="775"/>
                  </a:lnTo>
                  <a:lnTo>
                    <a:pt x="853" y="773"/>
                  </a:lnTo>
                  <a:lnTo>
                    <a:pt x="853" y="771"/>
                  </a:lnTo>
                  <a:lnTo>
                    <a:pt x="854" y="770"/>
                  </a:lnTo>
                  <a:lnTo>
                    <a:pt x="855" y="769"/>
                  </a:lnTo>
                  <a:lnTo>
                    <a:pt x="856" y="768"/>
                  </a:lnTo>
                  <a:lnTo>
                    <a:pt x="861" y="768"/>
                  </a:lnTo>
                  <a:lnTo>
                    <a:pt x="865" y="767"/>
                  </a:lnTo>
                  <a:lnTo>
                    <a:pt x="866" y="766"/>
                  </a:lnTo>
                  <a:lnTo>
                    <a:pt x="866" y="763"/>
                  </a:lnTo>
                  <a:lnTo>
                    <a:pt x="868" y="762"/>
                  </a:lnTo>
                  <a:lnTo>
                    <a:pt x="870" y="761"/>
                  </a:lnTo>
                  <a:lnTo>
                    <a:pt x="874" y="761"/>
                  </a:lnTo>
                  <a:lnTo>
                    <a:pt x="879" y="761"/>
                  </a:lnTo>
                  <a:lnTo>
                    <a:pt x="885" y="755"/>
                  </a:lnTo>
                  <a:lnTo>
                    <a:pt x="892" y="748"/>
                  </a:lnTo>
                  <a:lnTo>
                    <a:pt x="892" y="728"/>
                  </a:lnTo>
                  <a:lnTo>
                    <a:pt x="892" y="705"/>
                  </a:lnTo>
                  <a:lnTo>
                    <a:pt x="892" y="682"/>
                  </a:lnTo>
                  <a:lnTo>
                    <a:pt x="892" y="659"/>
                  </a:lnTo>
                  <a:lnTo>
                    <a:pt x="892" y="634"/>
                  </a:lnTo>
                  <a:lnTo>
                    <a:pt x="892" y="611"/>
                  </a:lnTo>
                  <a:lnTo>
                    <a:pt x="892" y="587"/>
                  </a:lnTo>
                  <a:lnTo>
                    <a:pt x="892" y="564"/>
                  </a:lnTo>
                  <a:lnTo>
                    <a:pt x="893" y="564"/>
                  </a:lnTo>
                  <a:lnTo>
                    <a:pt x="895" y="560"/>
                  </a:lnTo>
                  <a:lnTo>
                    <a:pt x="897" y="557"/>
                  </a:lnTo>
                  <a:lnTo>
                    <a:pt x="898" y="551"/>
                  </a:lnTo>
                  <a:lnTo>
                    <a:pt x="901" y="536"/>
                  </a:lnTo>
                  <a:lnTo>
                    <a:pt x="903" y="518"/>
                  </a:lnTo>
                  <a:lnTo>
                    <a:pt x="907" y="473"/>
                  </a:lnTo>
                  <a:lnTo>
                    <a:pt x="910" y="426"/>
                  </a:lnTo>
                  <a:lnTo>
                    <a:pt x="914" y="423"/>
                  </a:lnTo>
                  <a:lnTo>
                    <a:pt x="918" y="420"/>
                  </a:lnTo>
                  <a:lnTo>
                    <a:pt x="925" y="419"/>
                  </a:lnTo>
                  <a:lnTo>
                    <a:pt x="933" y="416"/>
                  </a:lnTo>
                  <a:lnTo>
                    <a:pt x="938" y="414"/>
                  </a:lnTo>
                  <a:lnTo>
                    <a:pt x="941" y="412"/>
                  </a:lnTo>
                  <a:lnTo>
                    <a:pt x="943" y="410"/>
                  </a:lnTo>
                  <a:lnTo>
                    <a:pt x="945" y="407"/>
                  </a:lnTo>
                  <a:lnTo>
                    <a:pt x="950" y="406"/>
                  </a:lnTo>
                  <a:lnTo>
                    <a:pt x="957" y="406"/>
                  </a:lnTo>
                  <a:lnTo>
                    <a:pt x="959" y="405"/>
                  </a:lnTo>
                  <a:lnTo>
                    <a:pt x="961" y="404"/>
                  </a:lnTo>
                  <a:lnTo>
                    <a:pt x="964" y="403"/>
                  </a:lnTo>
                  <a:lnTo>
                    <a:pt x="964" y="401"/>
                  </a:lnTo>
                  <a:lnTo>
                    <a:pt x="977" y="401"/>
                  </a:lnTo>
                  <a:lnTo>
                    <a:pt x="978" y="398"/>
                  </a:lnTo>
                  <a:lnTo>
                    <a:pt x="979" y="396"/>
                  </a:lnTo>
                  <a:lnTo>
                    <a:pt x="981" y="395"/>
                  </a:lnTo>
                  <a:lnTo>
                    <a:pt x="984" y="393"/>
                  </a:lnTo>
                  <a:lnTo>
                    <a:pt x="986" y="391"/>
                  </a:lnTo>
                  <a:lnTo>
                    <a:pt x="988" y="388"/>
                  </a:lnTo>
                  <a:lnTo>
                    <a:pt x="989" y="385"/>
                  </a:lnTo>
                  <a:lnTo>
                    <a:pt x="990" y="381"/>
                  </a:lnTo>
                  <a:lnTo>
                    <a:pt x="1004" y="381"/>
                  </a:lnTo>
                  <a:lnTo>
                    <a:pt x="1008" y="376"/>
                  </a:lnTo>
                  <a:lnTo>
                    <a:pt x="1013" y="372"/>
                  </a:lnTo>
                  <a:lnTo>
                    <a:pt x="1018" y="368"/>
                  </a:lnTo>
                  <a:lnTo>
                    <a:pt x="1023" y="367"/>
                  </a:lnTo>
                  <a:lnTo>
                    <a:pt x="1026" y="357"/>
                  </a:lnTo>
                  <a:lnTo>
                    <a:pt x="1029" y="348"/>
                  </a:lnTo>
                  <a:lnTo>
                    <a:pt x="1043" y="342"/>
                  </a:lnTo>
                  <a:lnTo>
                    <a:pt x="1044" y="336"/>
                  </a:lnTo>
                  <a:lnTo>
                    <a:pt x="1047" y="329"/>
                  </a:lnTo>
                  <a:lnTo>
                    <a:pt x="1048" y="326"/>
                  </a:lnTo>
                  <a:lnTo>
                    <a:pt x="1051" y="324"/>
                  </a:lnTo>
                  <a:lnTo>
                    <a:pt x="1053" y="323"/>
                  </a:lnTo>
                  <a:lnTo>
                    <a:pt x="1056" y="321"/>
                  </a:lnTo>
                  <a:lnTo>
                    <a:pt x="1058" y="316"/>
                  </a:lnTo>
                  <a:lnTo>
                    <a:pt x="1063" y="308"/>
                  </a:lnTo>
                  <a:lnTo>
                    <a:pt x="1070" y="301"/>
                  </a:lnTo>
                  <a:lnTo>
                    <a:pt x="1075" y="296"/>
                  </a:lnTo>
                  <a:lnTo>
                    <a:pt x="1075" y="282"/>
                  </a:lnTo>
                  <a:lnTo>
                    <a:pt x="1082" y="276"/>
                  </a:lnTo>
                  <a:lnTo>
                    <a:pt x="1089" y="269"/>
                  </a:lnTo>
                  <a:lnTo>
                    <a:pt x="1102" y="269"/>
                  </a:lnTo>
                  <a:lnTo>
                    <a:pt x="1109" y="256"/>
                  </a:lnTo>
                  <a:lnTo>
                    <a:pt x="1115" y="255"/>
                  </a:lnTo>
                  <a:lnTo>
                    <a:pt x="1124" y="252"/>
                  </a:lnTo>
                  <a:lnTo>
                    <a:pt x="1135" y="248"/>
                  </a:lnTo>
                  <a:lnTo>
                    <a:pt x="1147" y="242"/>
                  </a:lnTo>
                  <a:lnTo>
                    <a:pt x="1168" y="231"/>
                  </a:lnTo>
                  <a:lnTo>
                    <a:pt x="1180" y="223"/>
                  </a:lnTo>
                  <a:lnTo>
                    <a:pt x="1188" y="223"/>
                  </a:lnTo>
                  <a:lnTo>
                    <a:pt x="1199" y="222"/>
                  </a:lnTo>
                  <a:lnTo>
                    <a:pt x="1205" y="222"/>
                  </a:lnTo>
                  <a:lnTo>
                    <a:pt x="1209" y="221"/>
                  </a:lnTo>
                  <a:lnTo>
                    <a:pt x="1213" y="219"/>
                  </a:lnTo>
                  <a:lnTo>
                    <a:pt x="1214" y="217"/>
                  </a:lnTo>
                  <a:lnTo>
                    <a:pt x="1226" y="217"/>
                  </a:lnTo>
                  <a:lnTo>
                    <a:pt x="1248" y="218"/>
                  </a:lnTo>
                  <a:lnTo>
                    <a:pt x="1259" y="219"/>
                  </a:lnTo>
                  <a:lnTo>
                    <a:pt x="1269" y="220"/>
                  </a:lnTo>
                  <a:lnTo>
                    <a:pt x="1276" y="221"/>
                  </a:lnTo>
                  <a:lnTo>
                    <a:pt x="1278" y="223"/>
                  </a:lnTo>
                  <a:lnTo>
                    <a:pt x="1307" y="224"/>
                  </a:lnTo>
                  <a:lnTo>
                    <a:pt x="1352" y="224"/>
                  </a:lnTo>
                  <a:lnTo>
                    <a:pt x="1373" y="223"/>
                  </a:lnTo>
                  <a:lnTo>
                    <a:pt x="1392" y="221"/>
                  </a:lnTo>
                  <a:lnTo>
                    <a:pt x="1399" y="219"/>
                  </a:lnTo>
                  <a:lnTo>
                    <a:pt x="1405" y="217"/>
                  </a:lnTo>
                  <a:lnTo>
                    <a:pt x="1409" y="213"/>
                  </a:lnTo>
                  <a:lnTo>
                    <a:pt x="1410" y="210"/>
                  </a:lnTo>
                  <a:lnTo>
                    <a:pt x="1415" y="210"/>
                  </a:lnTo>
                  <a:lnTo>
                    <a:pt x="1419" y="210"/>
                  </a:lnTo>
                  <a:lnTo>
                    <a:pt x="1420" y="209"/>
                  </a:lnTo>
                  <a:lnTo>
                    <a:pt x="1421" y="208"/>
                  </a:lnTo>
                  <a:lnTo>
                    <a:pt x="1422" y="205"/>
                  </a:lnTo>
                  <a:lnTo>
                    <a:pt x="1422" y="203"/>
                  </a:lnTo>
                  <a:lnTo>
                    <a:pt x="1436" y="203"/>
                  </a:lnTo>
                  <a:lnTo>
                    <a:pt x="1442" y="198"/>
                  </a:lnTo>
                  <a:lnTo>
                    <a:pt x="1449" y="191"/>
                  </a:lnTo>
                  <a:lnTo>
                    <a:pt x="1447" y="162"/>
                  </a:lnTo>
                  <a:lnTo>
                    <a:pt x="1444" y="117"/>
                  </a:lnTo>
                  <a:lnTo>
                    <a:pt x="1441" y="96"/>
                  </a:lnTo>
                  <a:lnTo>
                    <a:pt x="1441" y="77"/>
                  </a:lnTo>
                  <a:lnTo>
                    <a:pt x="1440" y="70"/>
                  </a:lnTo>
                  <a:lnTo>
                    <a:pt x="1441" y="65"/>
                  </a:lnTo>
                  <a:lnTo>
                    <a:pt x="1441" y="60"/>
                  </a:lnTo>
                  <a:lnTo>
                    <a:pt x="1442" y="59"/>
                  </a:lnTo>
                  <a:lnTo>
                    <a:pt x="1442" y="47"/>
                  </a:lnTo>
                  <a:lnTo>
                    <a:pt x="1445" y="46"/>
                  </a:lnTo>
                  <a:lnTo>
                    <a:pt x="1447" y="45"/>
                  </a:lnTo>
                  <a:lnTo>
                    <a:pt x="1448" y="42"/>
                  </a:lnTo>
                  <a:lnTo>
                    <a:pt x="1450" y="40"/>
                  </a:lnTo>
                  <a:lnTo>
                    <a:pt x="1453" y="38"/>
                  </a:lnTo>
                  <a:lnTo>
                    <a:pt x="1455" y="36"/>
                  </a:lnTo>
                  <a:lnTo>
                    <a:pt x="1458" y="34"/>
                  </a:lnTo>
                  <a:lnTo>
                    <a:pt x="1463" y="34"/>
                  </a:lnTo>
                  <a:lnTo>
                    <a:pt x="1463" y="20"/>
                  </a:lnTo>
                  <a:lnTo>
                    <a:pt x="1466" y="19"/>
                  </a:lnTo>
                  <a:lnTo>
                    <a:pt x="1469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3" name="Freeform 46">
              <a:extLst>
                <a:ext uri="{FF2B5EF4-FFF2-40B4-BE49-F238E27FC236}">
                  <a16:creationId xmlns:a16="http://schemas.microsoft.com/office/drawing/2014/main" id="{566152AE-E934-4838-B0FB-3E795BB22EC8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 rot="355651">
              <a:off x="7469188" y="3071813"/>
              <a:ext cx="197965" cy="242888"/>
            </a:xfrm>
            <a:custGeom>
              <a:avLst/>
              <a:gdLst/>
              <a:ahLst/>
              <a:cxnLst>
                <a:cxn ang="0">
                  <a:pos x="829" y="52"/>
                </a:cxn>
                <a:cxn ang="0">
                  <a:pos x="813" y="35"/>
                </a:cxn>
                <a:cxn ang="0">
                  <a:pos x="782" y="0"/>
                </a:cxn>
                <a:cxn ang="0">
                  <a:pos x="687" y="46"/>
                </a:cxn>
                <a:cxn ang="0">
                  <a:pos x="665" y="77"/>
                </a:cxn>
                <a:cxn ang="0">
                  <a:pos x="640" y="103"/>
                </a:cxn>
                <a:cxn ang="0">
                  <a:pos x="604" y="134"/>
                </a:cxn>
                <a:cxn ang="0">
                  <a:pos x="592" y="222"/>
                </a:cxn>
                <a:cxn ang="0">
                  <a:pos x="578" y="242"/>
                </a:cxn>
                <a:cxn ang="0">
                  <a:pos x="505" y="300"/>
                </a:cxn>
                <a:cxn ang="0">
                  <a:pos x="489" y="340"/>
                </a:cxn>
                <a:cxn ang="0">
                  <a:pos x="417" y="395"/>
                </a:cxn>
                <a:cxn ang="0">
                  <a:pos x="395" y="420"/>
                </a:cxn>
                <a:cxn ang="0">
                  <a:pos x="340" y="455"/>
                </a:cxn>
                <a:cxn ang="0">
                  <a:pos x="310" y="521"/>
                </a:cxn>
                <a:cxn ang="0">
                  <a:pos x="261" y="569"/>
                </a:cxn>
                <a:cxn ang="0">
                  <a:pos x="213" y="614"/>
                </a:cxn>
                <a:cxn ang="0">
                  <a:pos x="187" y="629"/>
                </a:cxn>
                <a:cxn ang="0">
                  <a:pos x="158" y="662"/>
                </a:cxn>
                <a:cxn ang="0">
                  <a:pos x="144" y="713"/>
                </a:cxn>
                <a:cxn ang="0">
                  <a:pos x="40" y="845"/>
                </a:cxn>
                <a:cxn ang="0">
                  <a:pos x="4" y="884"/>
                </a:cxn>
                <a:cxn ang="0">
                  <a:pos x="65" y="1007"/>
                </a:cxn>
                <a:cxn ang="0">
                  <a:pos x="189" y="1011"/>
                </a:cxn>
                <a:cxn ang="0">
                  <a:pos x="216" y="1037"/>
                </a:cxn>
                <a:cxn ang="0">
                  <a:pos x="257" y="1077"/>
                </a:cxn>
                <a:cxn ang="0">
                  <a:pos x="418" y="1052"/>
                </a:cxn>
                <a:cxn ang="0">
                  <a:pos x="456" y="1054"/>
                </a:cxn>
                <a:cxn ang="0">
                  <a:pos x="473" y="1102"/>
                </a:cxn>
                <a:cxn ang="0">
                  <a:pos x="493" y="1179"/>
                </a:cxn>
                <a:cxn ang="0">
                  <a:pos x="503" y="1203"/>
                </a:cxn>
                <a:cxn ang="0">
                  <a:pos x="534" y="1251"/>
                </a:cxn>
                <a:cxn ang="0">
                  <a:pos x="543" y="1280"/>
                </a:cxn>
                <a:cxn ang="0">
                  <a:pos x="593" y="1323"/>
                </a:cxn>
                <a:cxn ang="0">
                  <a:pos x="633" y="1365"/>
                </a:cxn>
                <a:cxn ang="0">
                  <a:pos x="708" y="1412"/>
                </a:cxn>
                <a:cxn ang="0">
                  <a:pos x="748" y="1425"/>
                </a:cxn>
                <a:cxn ang="0">
                  <a:pos x="790" y="1455"/>
                </a:cxn>
                <a:cxn ang="0">
                  <a:pos x="858" y="1487"/>
                </a:cxn>
                <a:cxn ang="0">
                  <a:pos x="986" y="1509"/>
                </a:cxn>
                <a:cxn ang="0">
                  <a:pos x="1079" y="1480"/>
                </a:cxn>
                <a:cxn ang="0">
                  <a:pos x="1035" y="1373"/>
                </a:cxn>
                <a:cxn ang="0">
                  <a:pos x="1021" y="1342"/>
                </a:cxn>
                <a:cxn ang="0">
                  <a:pos x="1007" y="1320"/>
                </a:cxn>
                <a:cxn ang="0">
                  <a:pos x="940" y="1246"/>
                </a:cxn>
                <a:cxn ang="0">
                  <a:pos x="929" y="1154"/>
                </a:cxn>
                <a:cxn ang="0">
                  <a:pos x="902" y="1114"/>
                </a:cxn>
                <a:cxn ang="0">
                  <a:pos x="838" y="1084"/>
                </a:cxn>
                <a:cxn ang="0">
                  <a:pos x="822" y="1012"/>
                </a:cxn>
                <a:cxn ang="0">
                  <a:pos x="880" y="952"/>
                </a:cxn>
                <a:cxn ang="0">
                  <a:pos x="877" y="877"/>
                </a:cxn>
                <a:cxn ang="0">
                  <a:pos x="861" y="815"/>
                </a:cxn>
                <a:cxn ang="0">
                  <a:pos x="857" y="721"/>
                </a:cxn>
                <a:cxn ang="0">
                  <a:pos x="919" y="642"/>
                </a:cxn>
                <a:cxn ang="0">
                  <a:pos x="966" y="606"/>
                </a:cxn>
                <a:cxn ang="0">
                  <a:pos x="1007" y="570"/>
                </a:cxn>
                <a:cxn ang="0">
                  <a:pos x="1025" y="451"/>
                </a:cxn>
                <a:cxn ang="0">
                  <a:pos x="1011" y="291"/>
                </a:cxn>
                <a:cxn ang="0">
                  <a:pos x="1025" y="240"/>
                </a:cxn>
                <a:cxn ang="0">
                  <a:pos x="1038" y="165"/>
                </a:cxn>
                <a:cxn ang="0">
                  <a:pos x="1042" y="79"/>
                </a:cxn>
              </a:cxnLst>
              <a:rect l="0" t="0" r="r" b="b"/>
              <a:pathLst>
                <a:path w="1115" h="1510">
                  <a:moveTo>
                    <a:pt x="1043" y="79"/>
                  </a:moveTo>
                  <a:lnTo>
                    <a:pt x="1016" y="78"/>
                  </a:lnTo>
                  <a:lnTo>
                    <a:pt x="988" y="76"/>
                  </a:lnTo>
                  <a:lnTo>
                    <a:pt x="962" y="73"/>
                  </a:lnTo>
                  <a:lnTo>
                    <a:pt x="940" y="71"/>
                  </a:lnTo>
                  <a:lnTo>
                    <a:pt x="838" y="71"/>
                  </a:lnTo>
                  <a:lnTo>
                    <a:pt x="838" y="56"/>
                  </a:lnTo>
                  <a:lnTo>
                    <a:pt x="834" y="56"/>
                  </a:lnTo>
                  <a:lnTo>
                    <a:pt x="831" y="55"/>
                  </a:lnTo>
                  <a:lnTo>
                    <a:pt x="829" y="52"/>
                  </a:lnTo>
                  <a:lnTo>
                    <a:pt x="827" y="51"/>
                  </a:lnTo>
                  <a:lnTo>
                    <a:pt x="824" y="48"/>
                  </a:lnTo>
                  <a:lnTo>
                    <a:pt x="823" y="46"/>
                  </a:lnTo>
                  <a:lnTo>
                    <a:pt x="822" y="42"/>
                  </a:lnTo>
                  <a:lnTo>
                    <a:pt x="822" y="40"/>
                  </a:lnTo>
                  <a:lnTo>
                    <a:pt x="816" y="40"/>
                  </a:lnTo>
                  <a:lnTo>
                    <a:pt x="814" y="39"/>
                  </a:lnTo>
                  <a:lnTo>
                    <a:pt x="814" y="38"/>
                  </a:lnTo>
                  <a:lnTo>
                    <a:pt x="813" y="36"/>
                  </a:lnTo>
                  <a:lnTo>
                    <a:pt x="813" y="35"/>
                  </a:lnTo>
                  <a:lnTo>
                    <a:pt x="813" y="34"/>
                  </a:lnTo>
                  <a:lnTo>
                    <a:pt x="810" y="32"/>
                  </a:lnTo>
                  <a:lnTo>
                    <a:pt x="805" y="32"/>
                  </a:lnTo>
                  <a:lnTo>
                    <a:pt x="805" y="17"/>
                  </a:lnTo>
                  <a:lnTo>
                    <a:pt x="799" y="15"/>
                  </a:lnTo>
                  <a:lnTo>
                    <a:pt x="791" y="11"/>
                  </a:lnTo>
                  <a:lnTo>
                    <a:pt x="787" y="9"/>
                  </a:lnTo>
                  <a:lnTo>
                    <a:pt x="784" y="7"/>
                  </a:lnTo>
                  <a:lnTo>
                    <a:pt x="783" y="3"/>
                  </a:lnTo>
                  <a:lnTo>
                    <a:pt x="782" y="0"/>
                  </a:lnTo>
                  <a:lnTo>
                    <a:pt x="718" y="0"/>
                  </a:lnTo>
                  <a:lnTo>
                    <a:pt x="710" y="8"/>
                  </a:lnTo>
                  <a:lnTo>
                    <a:pt x="703" y="17"/>
                  </a:lnTo>
                  <a:lnTo>
                    <a:pt x="695" y="25"/>
                  </a:lnTo>
                  <a:lnTo>
                    <a:pt x="695" y="40"/>
                  </a:lnTo>
                  <a:lnTo>
                    <a:pt x="690" y="40"/>
                  </a:lnTo>
                  <a:lnTo>
                    <a:pt x="688" y="41"/>
                  </a:lnTo>
                  <a:lnTo>
                    <a:pt x="687" y="42"/>
                  </a:lnTo>
                  <a:lnTo>
                    <a:pt x="687" y="44"/>
                  </a:lnTo>
                  <a:lnTo>
                    <a:pt x="687" y="46"/>
                  </a:lnTo>
                  <a:lnTo>
                    <a:pt x="686" y="47"/>
                  </a:lnTo>
                  <a:lnTo>
                    <a:pt x="684" y="48"/>
                  </a:lnTo>
                  <a:lnTo>
                    <a:pt x="679" y="48"/>
                  </a:lnTo>
                  <a:lnTo>
                    <a:pt x="679" y="64"/>
                  </a:lnTo>
                  <a:lnTo>
                    <a:pt x="677" y="65"/>
                  </a:lnTo>
                  <a:lnTo>
                    <a:pt x="675" y="66"/>
                  </a:lnTo>
                  <a:lnTo>
                    <a:pt x="672" y="69"/>
                  </a:lnTo>
                  <a:lnTo>
                    <a:pt x="670" y="71"/>
                  </a:lnTo>
                  <a:lnTo>
                    <a:pt x="668" y="75"/>
                  </a:lnTo>
                  <a:lnTo>
                    <a:pt x="665" y="77"/>
                  </a:lnTo>
                  <a:lnTo>
                    <a:pt x="661" y="79"/>
                  </a:lnTo>
                  <a:lnTo>
                    <a:pt x="656" y="79"/>
                  </a:lnTo>
                  <a:lnTo>
                    <a:pt x="655" y="85"/>
                  </a:lnTo>
                  <a:lnTo>
                    <a:pt x="654" y="89"/>
                  </a:lnTo>
                  <a:lnTo>
                    <a:pt x="650" y="92"/>
                  </a:lnTo>
                  <a:lnTo>
                    <a:pt x="648" y="94"/>
                  </a:lnTo>
                  <a:lnTo>
                    <a:pt x="645" y="96"/>
                  </a:lnTo>
                  <a:lnTo>
                    <a:pt x="642" y="98"/>
                  </a:lnTo>
                  <a:lnTo>
                    <a:pt x="640" y="100"/>
                  </a:lnTo>
                  <a:lnTo>
                    <a:pt x="640" y="103"/>
                  </a:lnTo>
                  <a:lnTo>
                    <a:pt x="624" y="103"/>
                  </a:lnTo>
                  <a:lnTo>
                    <a:pt x="616" y="112"/>
                  </a:lnTo>
                  <a:lnTo>
                    <a:pt x="616" y="127"/>
                  </a:lnTo>
                  <a:lnTo>
                    <a:pt x="611" y="127"/>
                  </a:lnTo>
                  <a:lnTo>
                    <a:pt x="609" y="128"/>
                  </a:lnTo>
                  <a:lnTo>
                    <a:pt x="608" y="129"/>
                  </a:lnTo>
                  <a:lnTo>
                    <a:pt x="608" y="131"/>
                  </a:lnTo>
                  <a:lnTo>
                    <a:pt x="608" y="133"/>
                  </a:lnTo>
                  <a:lnTo>
                    <a:pt x="607" y="134"/>
                  </a:lnTo>
                  <a:lnTo>
                    <a:pt x="604" y="134"/>
                  </a:lnTo>
                  <a:lnTo>
                    <a:pt x="600" y="135"/>
                  </a:lnTo>
                  <a:lnTo>
                    <a:pt x="600" y="166"/>
                  </a:lnTo>
                  <a:lnTo>
                    <a:pt x="599" y="167"/>
                  </a:lnTo>
                  <a:lnTo>
                    <a:pt x="598" y="169"/>
                  </a:lnTo>
                  <a:lnTo>
                    <a:pt x="597" y="171"/>
                  </a:lnTo>
                  <a:lnTo>
                    <a:pt x="595" y="174"/>
                  </a:lnTo>
                  <a:lnTo>
                    <a:pt x="594" y="182"/>
                  </a:lnTo>
                  <a:lnTo>
                    <a:pt x="593" y="191"/>
                  </a:lnTo>
                  <a:lnTo>
                    <a:pt x="592" y="210"/>
                  </a:lnTo>
                  <a:lnTo>
                    <a:pt x="592" y="222"/>
                  </a:lnTo>
                  <a:lnTo>
                    <a:pt x="590" y="222"/>
                  </a:lnTo>
                  <a:lnTo>
                    <a:pt x="588" y="223"/>
                  </a:lnTo>
                  <a:lnTo>
                    <a:pt x="587" y="224"/>
                  </a:lnTo>
                  <a:lnTo>
                    <a:pt x="585" y="227"/>
                  </a:lnTo>
                  <a:lnTo>
                    <a:pt x="584" y="232"/>
                  </a:lnTo>
                  <a:lnTo>
                    <a:pt x="584" y="238"/>
                  </a:lnTo>
                  <a:lnTo>
                    <a:pt x="582" y="238"/>
                  </a:lnTo>
                  <a:lnTo>
                    <a:pt x="580" y="239"/>
                  </a:lnTo>
                  <a:lnTo>
                    <a:pt x="579" y="240"/>
                  </a:lnTo>
                  <a:lnTo>
                    <a:pt x="578" y="242"/>
                  </a:lnTo>
                  <a:lnTo>
                    <a:pt x="576" y="248"/>
                  </a:lnTo>
                  <a:lnTo>
                    <a:pt x="576" y="253"/>
                  </a:lnTo>
                  <a:lnTo>
                    <a:pt x="561" y="253"/>
                  </a:lnTo>
                  <a:lnTo>
                    <a:pt x="553" y="261"/>
                  </a:lnTo>
                  <a:lnTo>
                    <a:pt x="545" y="269"/>
                  </a:lnTo>
                  <a:lnTo>
                    <a:pt x="545" y="285"/>
                  </a:lnTo>
                  <a:lnTo>
                    <a:pt x="533" y="285"/>
                  </a:lnTo>
                  <a:lnTo>
                    <a:pt x="521" y="285"/>
                  </a:lnTo>
                  <a:lnTo>
                    <a:pt x="513" y="292"/>
                  </a:lnTo>
                  <a:lnTo>
                    <a:pt x="505" y="300"/>
                  </a:lnTo>
                  <a:lnTo>
                    <a:pt x="505" y="313"/>
                  </a:lnTo>
                  <a:lnTo>
                    <a:pt x="505" y="325"/>
                  </a:lnTo>
                  <a:lnTo>
                    <a:pt x="503" y="325"/>
                  </a:lnTo>
                  <a:lnTo>
                    <a:pt x="499" y="326"/>
                  </a:lnTo>
                  <a:lnTo>
                    <a:pt x="497" y="327"/>
                  </a:lnTo>
                  <a:lnTo>
                    <a:pt x="495" y="329"/>
                  </a:lnTo>
                  <a:lnTo>
                    <a:pt x="493" y="331"/>
                  </a:lnTo>
                  <a:lnTo>
                    <a:pt x="491" y="335"/>
                  </a:lnTo>
                  <a:lnTo>
                    <a:pt x="489" y="337"/>
                  </a:lnTo>
                  <a:lnTo>
                    <a:pt x="489" y="340"/>
                  </a:lnTo>
                  <a:lnTo>
                    <a:pt x="482" y="348"/>
                  </a:lnTo>
                  <a:lnTo>
                    <a:pt x="469" y="353"/>
                  </a:lnTo>
                  <a:lnTo>
                    <a:pt x="458" y="356"/>
                  </a:lnTo>
                  <a:lnTo>
                    <a:pt x="450" y="364"/>
                  </a:lnTo>
                  <a:lnTo>
                    <a:pt x="448" y="367"/>
                  </a:lnTo>
                  <a:lnTo>
                    <a:pt x="444" y="373"/>
                  </a:lnTo>
                  <a:lnTo>
                    <a:pt x="437" y="378"/>
                  </a:lnTo>
                  <a:lnTo>
                    <a:pt x="430" y="384"/>
                  </a:lnTo>
                  <a:lnTo>
                    <a:pt x="422" y="390"/>
                  </a:lnTo>
                  <a:lnTo>
                    <a:pt x="417" y="395"/>
                  </a:lnTo>
                  <a:lnTo>
                    <a:pt x="412" y="400"/>
                  </a:lnTo>
                  <a:lnTo>
                    <a:pt x="410" y="404"/>
                  </a:lnTo>
                  <a:lnTo>
                    <a:pt x="408" y="404"/>
                  </a:lnTo>
                  <a:lnTo>
                    <a:pt x="405" y="405"/>
                  </a:lnTo>
                  <a:lnTo>
                    <a:pt x="402" y="406"/>
                  </a:lnTo>
                  <a:lnTo>
                    <a:pt x="400" y="409"/>
                  </a:lnTo>
                  <a:lnTo>
                    <a:pt x="398" y="411"/>
                  </a:lnTo>
                  <a:lnTo>
                    <a:pt x="396" y="414"/>
                  </a:lnTo>
                  <a:lnTo>
                    <a:pt x="395" y="416"/>
                  </a:lnTo>
                  <a:lnTo>
                    <a:pt x="395" y="420"/>
                  </a:lnTo>
                  <a:lnTo>
                    <a:pt x="379" y="420"/>
                  </a:lnTo>
                  <a:lnTo>
                    <a:pt x="371" y="435"/>
                  </a:lnTo>
                  <a:lnTo>
                    <a:pt x="355" y="443"/>
                  </a:lnTo>
                  <a:lnTo>
                    <a:pt x="352" y="443"/>
                  </a:lnTo>
                  <a:lnTo>
                    <a:pt x="350" y="444"/>
                  </a:lnTo>
                  <a:lnTo>
                    <a:pt x="347" y="446"/>
                  </a:lnTo>
                  <a:lnTo>
                    <a:pt x="344" y="448"/>
                  </a:lnTo>
                  <a:lnTo>
                    <a:pt x="342" y="451"/>
                  </a:lnTo>
                  <a:lnTo>
                    <a:pt x="341" y="453"/>
                  </a:lnTo>
                  <a:lnTo>
                    <a:pt x="340" y="455"/>
                  </a:lnTo>
                  <a:lnTo>
                    <a:pt x="340" y="459"/>
                  </a:lnTo>
                  <a:lnTo>
                    <a:pt x="336" y="460"/>
                  </a:lnTo>
                  <a:lnTo>
                    <a:pt x="333" y="464"/>
                  </a:lnTo>
                  <a:lnTo>
                    <a:pt x="331" y="469"/>
                  </a:lnTo>
                  <a:lnTo>
                    <a:pt x="329" y="475"/>
                  </a:lnTo>
                  <a:lnTo>
                    <a:pt x="325" y="489"/>
                  </a:lnTo>
                  <a:lnTo>
                    <a:pt x="323" y="499"/>
                  </a:lnTo>
                  <a:lnTo>
                    <a:pt x="321" y="502"/>
                  </a:lnTo>
                  <a:lnTo>
                    <a:pt x="315" y="511"/>
                  </a:lnTo>
                  <a:lnTo>
                    <a:pt x="310" y="521"/>
                  </a:lnTo>
                  <a:lnTo>
                    <a:pt x="307" y="530"/>
                  </a:lnTo>
                  <a:lnTo>
                    <a:pt x="304" y="531"/>
                  </a:lnTo>
                  <a:lnTo>
                    <a:pt x="300" y="535"/>
                  </a:lnTo>
                  <a:lnTo>
                    <a:pt x="294" y="540"/>
                  </a:lnTo>
                  <a:lnTo>
                    <a:pt x="288" y="546"/>
                  </a:lnTo>
                  <a:lnTo>
                    <a:pt x="282" y="551"/>
                  </a:lnTo>
                  <a:lnTo>
                    <a:pt x="276" y="557"/>
                  </a:lnTo>
                  <a:lnTo>
                    <a:pt x="272" y="560"/>
                  </a:lnTo>
                  <a:lnTo>
                    <a:pt x="268" y="561"/>
                  </a:lnTo>
                  <a:lnTo>
                    <a:pt x="261" y="569"/>
                  </a:lnTo>
                  <a:lnTo>
                    <a:pt x="253" y="577"/>
                  </a:lnTo>
                  <a:lnTo>
                    <a:pt x="251" y="581"/>
                  </a:lnTo>
                  <a:lnTo>
                    <a:pt x="247" y="586"/>
                  </a:lnTo>
                  <a:lnTo>
                    <a:pt x="242" y="590"/>
                  </a:lnTo>
                  <a:lnTo>
                    <a:pt x="236" y="596"/>
                  </a:lnTo>
                  <a:lnTo>
                    <a:pt x="229" y="602"/>
                  </a:lnTo>
                  <a:lnTo>
                    <a:pt x="223" y="605"/>
                  </a:lnTo>
                  <a:lnTo>
                    <a:pt x="217" y="608"/>
                  </a:lnTo>
                  <a:lnTo>
                    <a:pt x="213" y="609"/>
                  </a:lnTo>
                  <a:lnTo>
                    <a:pt x="213" y="614"/>
                  </a:lnTo>
                  <a:lnTo>
                    <a:pt x="211" y="616"/>
                  </a:lnTo>
                  <a:lnTo>
                    <a:pt x="210" y="617"/>
                  </a:lnTo>
                  <a:lnTo>
                    <a:pt x="209" y="617"/>
                  </a:lnTo>
                  <a:lnTo>
                    <a:pt x="207" y="617"/>
                  </a:lnTo>
                  <a:lnTo>
                    <a:pt x="206" y="618"/>
                  </a:lnTo>
                  <a:lnTo>
                    <a:pt x="205" y="621"/>
                  </a:lnTo>
                  <a:lnTo>
                    <a:pt x="205" y="625"/>
                  </a:lnTo>
                  <a:lnTo>
                    <a:pt x="189" y="625"/>
                  </a:lnTo>
                  <a:lnTo>
                    <a:pt x="188" y="627"/>
                  </a:lnTo>
                  <a:lnTo>
                    <a:pt x="187" y="629"/>
                  </a:lnTo>
                  <a:lnTo>
                    <a:pt x="185" y="632"/>
                  </a:lnTo>
                  <a:lnTo>
                    <a:pt x="181" y="634"/>
                  </a:lnTo>
                  <a:lnTo>
                    <a:pt x="178" y="636"/>
                  </a:lnTo>
                  <a:lnTo>
                    <a:pt x="176" y="640"/>
                  </a:lnTo>
                  <a:lnTo>
                    <a:pt x="173" y="643"/>
                  </a:lnTo>
                  <a:lnTo>
                    <a:pt x="173" y="648"/>
                  </a:lnTo>
                  <a:lnTo>
                    <a:pt x="162" y="651"/>
                  </a:lnTo>
                  <a:lnTo>
                    <a:pt x="150" y="655"/>
                  </a:lnTo>
                  <a:lnTo>
                    <a:pt x="155" y="660"/>
                  </a:lnTo>
                  <a:lnTo>
                    <a:pt x="158" y="662"/>
                  </a:lnTo>
                  <a:lnTo>
                    <a:pt x="158" y="675"/>
                  </a:lnTo>
                  <a:lnTo>
                    <a:pt x="159" y="675"/>
                  </a:lnTo>
                  <a:lnTo>
                    <a:pt x="161" y="677"/>
                  </a:lnTo>
                  <a:lnTo>
                    <a:pt x="162" y="682"/>
                  </a:lnTo>
                  <a:lnTo>
                    <a:pt x="163" y="685"/>
                  </a:lnTo>
                  <a:lnTo>
                    <a:pt x="163" y="694"/>
                  </a:lnTo>
                  <a:lnTo>
                    <a:pt x="163" y="701"/>
                  </a:lnTo>
                  <a:lnTo>
                    <a:pt x="158" y="702"/>
                  </a:lnTo>
                  <a:lnTo>
                    <a:pt x="152" y="706"/>
                  </a:lnTo>
                  <a:lnTo>
                    <a:pt x="144" y="713"/>
                  </a:lnTo>
                  <a:lnTo>
                    <a:pt x="137" y="721"/>
                  </a:lnTo>
                  <a:lnTo>
                    <a:pt x="118" y="742"/>
                  </a:lnTo>
                  <a:lnTo>
                    <a:pt x="99" y="767"/>
                  </a:lnTo>
                  <a:lnTo>
                    <a:pt x="81" y="790"/>
                  </a:lnTo>
                  <a:lnTo>
                    <a:pt x="63" y="811"/>
                  </a:lnTo>
                  <a:lnTo>
                    <a:pt x="56" y="820"/>
                  </a:lnTo>
                  <a:lnTo>
                    <a:pt x="50" y="827"/>
                  </a:lnTo>
                  <a:lnTo>
                    <a:pt x="44" y="830"/>
                  </a:lnTo>
                  <a:lnTo>
                    <a:pt x="40" y="833"/>
                  </a:lnTo>
                  <a:lnTo>
                    <a:pt x="40" y="845"/>
                  </a:lnTo>
                  <a:lnTo>
                    <a:pt x="29" y="852"/>
                  </a:lnTo>
                  <a:lnTo>
                    <a:pt x="19" y="858"/>
                  </a:lnTo>
                  <a:lnTo>
                    <a:pt x="19" y="872"/>
                  </a:lnTo>
                  <a:lnTo>
                    <a:pt x="17" y="872"/>
                  </a:lnTo>
                  <a:lnTo>
                    <a:pt x="16" y="874"/>
                  </a:lnTo>
                  <a:lnTo>
                    <a:pt x="14" y="876"/>
                  </a:lnTo>
                  <a:lnTo>
                    <a:pt x="13" y="878"/>
                  </a:lnTo>
                  <a:lnTo>
                    <a:pt x="11" y="881"/>
                  </a:lnTo>
                  <a:lnTo>
                    <a:pt x="7" y="883"/>
                  </a:lnTo>
                  <a:lnTo>
                    <a:pt x="4" y="884"/>
                  </a:lnTo>
                  <a:lnTo>
                    <a:pt x="0" y="885"/>
                  </a:lnTo>
                  <a:lnTo>
                    <a:pt x="0" y="913"/>
                  </a:lnTo>
                  <a:lnTo>
                    <a:pt x="2" y="941"/>
                  </a:lnTo>
                  <a:lnTo>
                    <a:pt x="4" y="968"/>
                  </a:lnTo>
                  <a:lnTo>
                    <a:pt x="7" y="996"/>
                  </a:lnTo>
                  <a:lnTo>
                    <a:pt x="25" y="997"/>
                  </a:lnTo>
                  <a:lnTo>
                    <a:pt x="43" y="1000"/>
                  </a:lnTo>
                  <a:lnTo>
                    <a:pt x="52" y="1002"/>
                  </a:lnTo>
                  <a:lnTo>
                    <a:pt x="59" y="1004"/>
                  </a:lnTo>
                  <a:lnTo>
                    <a:pt x="65" y="1007"/>
                  </a:lnTo>
                  <a:lnTo>
                    <a:pt x="69" y="1010"/>
                  </a:lnTo>
                  <a:lnTo>
                    <a:pt x="83" y="1010"/>
                  </a:lnTo>
                  <a:lnTo>
                    <a:pt x="101" y="1012"/>
                  </a:lnTo>
                  <a:lnTo>
                    <a:pt x="120" y="1013"/>
                  </a:lnTo>
                  <a:lnTo>
                    <a:pt x="137" y="1015"/>
                  </a:lnTo>
                  <a:lnTo>
                    <a:pt x="146" y="1013"/>
                  </a:lnTo>
                  <a:lnTo>
                    <a:pt x="166" y="1011"/>
                  </a:lnTo>
                  <a:lnTo>
                    <a:pt x="177" y="1010"/>
                  </a:lnTo>
                  <a:lnTo>
                    <a:pt x="186" y="1010"/>
                  </a:lnTo>
                  <a:lnTo>
                    <a:pt x="189" y="1011"/>
                  </a:lnTo>
                  <a:lnTo>
                    <a:pt x="192" y="1011"/>
                  </a:lnTo>
                  <a:lnTo>
                    <a:pt x="194" y="1012"/>
                  </a:lnTo>
                  <a:lnTo>
                    <a:pt x="195" y="1015"/>
                  </a:lnTo>
                  <a:lnTo>
                    <a:pt x="205" y="1015"/>
                  </a:lnTo>
                  <a:lnTo>
                    <a:pt x="209" y="1019"/>
                  </a:lnTo>
                  <a:lnTo>
                    <a:pt x="214" y="1025"/>
                  </a:lnTo>
                  <a:lnTo>
                    <a:pt x="214" y="1028"/>
                  </a:lnTo>
                  <a:lnTo>
                    <a:pt x="215" y="1034"/>
                  </a:lnTo>
                  <a:lnTo>
                    <a:pt x="215" y="1036"/>
                  </a:lnTo>
                  <a:lnTo>
                    <a:pt x="216" y="1037"/>
                  </a:lnTo>
                  <a:lnTo>
                    <a:pt x="217" y="1038"/>
                  </a:lnTo>
                  <a:lnTo>
                    <a:pt x="219" y="1039"/>
                  </a:lnTo>
                  <a:lnTo>
                    <a:pt x="219" y="1046"/>
                  </a:lnTo>
                  <a:lnTo>
                    <a:pt x="219" y="1054"/>
                  </a:lnTo>
                  <a:lnTo>
                    <a:pt x="228" y="1054"/>
                  </a:lnTo>
                  <a:lnTo>
                    <a:pt x="248" y="1073"/>
                  </a:lnTo>
                  <a:lnTo>
                    <a:pt x="252" y="1073"/>
                  </a:lnTo>
                  <a:lnTo>
                    <a:pt x="255" y="1073"/>
                  </a:lnTo>
                  <a:lnTo>
                    <a:pt x="257" y="1075"/>
                  </a:lnTo>
                  <a:lnTo>
                    <a:pt x="257" y="1077"/>
                  </a:lnTo>
                  <a:lnTo>
                    <a:pt x="374" y="1073"/>
                  </a:lnTo>
                  <a:lnTo>
                    <a:pt x="374" y="1070"/>
                  </a:lnTo>
                  <a:lnTo>
                    <a:pt x="376" y="1068"/>
                  </a:lnTo>
                  <a:lnTo>
                    <a:pt x="379" y="1066"/>
                  </a:lnTo>
                  <a:lnTo>
                    <a:pt x="381" y="1065"/>
                  </a:lnTo>
                  <a:lnTo>
                    <a:pt x="389" y="1063"/>
                  </a:lnTo>
                  <a:lnTo>
                    <a:pt x="398" y="1060"/>
                  </a:lnTo>
                  <a:lnTo>
                    <a:pt x="407" y="1057"/>
                  </a:lnTo>
                  <a:lnTo>
                    <a:pt x="415" y="1054"/>
                  </a:lnTo>
                  <a:lnTo>
                    <a:pt x="418" y="1052"/>
                  </a:lnTo>
                  <a:lnTo>
                    <a:pt x="420" y="1049"/>
                  </a:lnTo>
                  <a:lnTo>
                    <a:pt x="421" y="1047"/>
                  </a:lnTo>
                  <a:lnTo>
                    <a:pt x="422" y="1044"/>
                  </a:lnTo>
                  <a:lnTo>
                    <a:pt x="427" y="1042"/>
                  </a:lnTo>
                  <a:lnTo>
                    <a:pt x="431" y="1040"/>
                  </a:lnTo>
                  <a:lnTo>
                    <a:pt x="435" y="1037"/>
                  </a:lnTo>
                  <a:lnTo>
                    <a:pt x="437" y="1034"/>
                  </a:lnTo>
                  <a:lnTo>
                    <a:pt x="447" y="1034"/>
                  </a:lnTo>
                  <a:lnTo>
                    <a:pt x="447" y="1044"/>
                  </a:lnTo>
                  <a:lnTo>
                    <a:pt x="456" y="1054"/>
                  </a:lnTo>
                  <a:lnTo>
                    <a:pt x="456" y="1068"/>
                  </a:lnTo>
                  <a:lnTo>
                    <a:pt x="458" y="1068"/>
                  </a:lnTo>
                  <a:lnTo>
                    <a:pt x="459" y="1070"/>
                  </a:lnTo>
                  <a:lnTo>
                    <a:pt x="462" y="1074"/>
                  </a:lnTo>
                  <a:lnTo>
                    <a:pt x="463" y="1078"/>
                  </a:lnTo>
                  <a:lnTo>
                    <a:pt x="465" y="1086"/>
                  </a:lnTo>
                  <a:lnTo>
                    <a:pt x="466" y="1092"/>
                  </a:lnTo>
                  <a:lnTo>
                    <a:pt x="469" y="1093"/>
                  </a:lnTo>
                  <a:lnTo>
                    <a:pt x="472" y="1096"/>
                  </a:lnTo>
                  <a:lnTo>
                    <a:pt x="473" y="1102"/>
                  </a:lnTo>
                  <a:lnTo>
                    <a:pt x="475" y="1107"/>
                  </a:lnTo>
                  <a:lnTo>
                    <a:pt x="475" y="1121"/>
                  </a:lnTo>
                  <a:lnTo>
                    <a:pt x="476" y="1131"/>
                  </a:lnTo>
                  <a:lnTo>
                    <a:pt x="480" y="1143"/>
                  </a:lnTo>
                  <a:lnTo>
                    <a:pt x="485" y="1155"/>
                  </a:lnTo>
                  <a:lnTo>
                    <a:pt x="486" y="1161"/>
                  </a:lnTo>
                  <a:lnTo>
                    <a:pt x="488" y="1169"/>
                  </a:lnTo>
                  <a:lnTo>
                    <a:pt x="489" y="1173"/>
                  </a:lnTo>
                  <a:lnTo>
                    <a:pt x="492" y="1176"/>
                  </a:lnTo>
                  <a:lnTo>
                    <a:pt x="493" y="1179"/>
                  </a:lnTo>
                  <a:lnTo>
                    <a:pt x="495" y="1179"/>
                  </a:lnTo>
                  <a:lnTo>
                    <a:pt x="495" y="1183"/>
                  </a:lnTo>
                  <a:lnTo>
                    <a:pt x="496" y="1185"/>
                  </a:lnTo>
                  <a:lnTo>
                    <a:pt x="497" y="1188"/>
                  </a:lnTo>
                  <a:lnTo>
                    <a:pt x="499" y="1189"/>
                  </a:lnTo>
                  <a:lnTo>
                    <a:pt x="499" y="1193"/>
                  </a:lnTo>
                  <a:lnTo>
                    <a:pt x="501" y="1198"/>
                  </a:lnTo>
                  <a:lnTo>
                    <a:pt x="501" y="1200"/>
                  </a:lnTo>
                  <a:lnTo>
                    <a:pt x="502" y="1202"/>
                  </a:lnTo>
                  <a:lnTo>
                    <a:pt x="503" y="1203"/>
                  </a:lnTo>
                  <a:lnTo>
                    <a:pt x="505" y="1203"/>
                  </a:lnTo>
                  <a:lnTo>
                    <a:pt x="505" y="1211"/>
                  </a:lnTo>
                  <a:lnTo>
                    <a:pt x="505" y="1218"/>
                  </a:lnTo>
                  <a:lnTo>
                    <a:pt x="514" y="1222"/>
                  </a:lnTo>
                  <a:lnTo>
                    <a:pt x="514" y="1232"/>
                  </a:lnTo>
                  <a:lnTo>
                    <a:pt x="520" y="1234"/>
                  </a:lnTo>
                  <a:lnTo>
                    <a:pt x="524" y="1237"/>
                  </a:lnTo>
                  <a:lnTo>
                    <a:pt x="524" y="1247"/>
                  </a:lnTo>
                  <a:lnTo>
                    <a:pt x="534" y="1247"/>
                  </a:lnTo>
                  <a:lnTo>
                    <a:pt x="534" y="1251"/>
                  </a:lnTo>
                  <a:lnTo>
                    <a:pt x="534" y="1256"/>
                  </a:lnTo>
                  <a:lnTo>
                    <a:pt x="535" y="1258"/>
                  </a:lnTo>
                  <a:lnTo>
                    <a:pt x="535" y="1260"/>
                  </a:lnTo>
                  <a:lnTo>
                    <a:pt x="537" y="1261"/>
                  </a:lnTo>
                  <a:lnTo>
                    <a:pt x="539" y="1261"/>
                  </a:lnTo>
                  <a:lnTo>
                    <a:pt x="539" y="1265"/>
                  </a:lnTo>
                  <a:lnTo>
                    <a:pt x="540" y="1268"/>
                  </a:lnTo>
                  <a:lnTo>
                    <a:pt x="541" y="1270"/>
                  </a:lnTo>
                  <a:lnTo>
                    <a:pt x="543" y="1271"/>
                  </a:lnTo>
                  <a:lnTo>
                    <a:pt x="543" y="1280"/>
                  </a:lnTo>
                  <a:lnTo>
                    <a:pt x="552" y="1286"/>
                  </a:lnTo>
                  <a:lnTo>
                    <a:pt x="558" y="1290"/>
                  </a:lnTo>
                  <a:lnTo>
                    <a:pt x="565" y="1301"/>
                  </a:lnTo>
                  <a:lnTo>
                    <a:pt x="572" y="1309"/>
                  </a:lnTo>
                  <a:lnTo>
                    <a:pt x="576" y="1310"/>
                  </a:lnTo>
                  <a:lnTo>
                    <a:pt x="579" y="1313"/>
                  </a:lnTo>
                  <a:lnTo>
                    <a:pt x="581" y="1316"/>
                  </a:lnTo>
                  <a:lnTo>
                    <a:pt x="582" y="1319"/>
                  </a:lnTo>
                  <a:lnTo>
                    <a:pt x="592" y="1319"/>
                  </a:lnTo>
                  <a:lnTo>
                    <a:pt x="593" y="1323"/>
                  </a:lnTo>
                  <a:lnTo>
                    <a:pt x="598" y="1326"/>
                  </a:lnTo>
                  <a:lnTo>
                    <a:pt x="602" y="1328"/>
                  </a:lnTo>
                  <a:lnTo>
                    <a:pt x="607" y="1329"/>
                  </a:lnTo>
                  <a:lnTo>
                    <a:pt x="611" y="1334"/>
                  </a:lnTo>
                  <a:lnTo>
                    <a:pt x="613" y="1342"/>
                  </a:lnTo>
                  <a:lnTo>
                    <a:pt x="616" y="1348"/>
                  </a:lnTo>
                  <a:lnTo>
                    <a:pt x="621" y="1350"/>
                  </a:lnTo>
                  <a:lnTo>
                    <a:pt x="626" y="1353"/>
                  </a:lnTo>
                  <a:lnTo>
                    <a:pt x="628" y="1358"/>
                  </a:lnTo>
                  <a:lnTo>
                    <a:pt x="633" y="1365"/>
                  </a:lnTo>
                  <a:lnTo>
                    <a:pt x="640" y="1371"/>
                  </a:lnTo>
                  <a:lnTo>
                    <a:pt x="645" y="1373"/>
                  </a:lnTo>
                  <a:lnTo>
                    <a:pt x="655" y="1383"/>
                  </a:lnTo>
                  <a:lnTo>
                    <a:pt x="665" y="1392"/>
                  </a:lnTo>
                  <a:lnTo>
                    <a:pt x="674" y="1392"/>
                  </a:lnTo>
                  <a:lnTo>
                    <a:pt x="677" y="1396"/>
                  </a:lnTo>
                  <a:lnTo>
                    <a:pt x="679" y="1402"/>
                  </a:lnTo>
                  <a:lnTo>
                    <a:pt x="694" y="1402"/>
                  </a:lnTo>
                  <a:lnTo>
                    <a:pt x="700" y="1406"/>
                  </a:lnTo>
                  <a:lnTo>
                    <a:pt x="708" y="1412"/>
                  </a:lnTo>
                  <a:lnTo>
                    <a:pt x="713" y="1412"/>
                  </a:lnTo>
                  <a:lnTo>
                    <a:pt x="719" y="1414"/>
                  </a:lnTo>
                  <a:lnTo>
                    <a:pt x="723" y="1416"/>
                  </a:lnTo>
                  <a:lnTo>
                    <a:pt x="725" y="1417"/>
                  </a:lnTo>
                  <a:lnTo>
                    <a:pt x="727" y="1420"/>
                  </a:lnTo>
                  <a:lnTo>
                    <a:pt x="727" y="1421"/>
                  </a:lnTo>
                  <a:lnTo>
                    <a:pt x="742" y="1421"/>
                  </a:lnTo>
                  <a:lnTo>
                    <a:pt x="743" y="1424"/>
                  </a:lnTo>
                  <a:lnTo>
                    <a:pt x="745" y="1425"/>
                  </a:lnTo>
                  <a:lnTo>
                    <a:pt x="748" y="1425"/>
                  </a:lnTo>
                  <a:lnTo>
                    <a:pt x="752" y="1426"/>
                  </a:lnTo>
                  <a:lnTo>
                    <a:pt x="756" y="1435"/>
                  </a:lnTo>
                  <a:lnTo>
                    <a:pt x="766" y="1435"/>
                  </a:lnTo>
                  <a:lnTo>
                    <a:pt x="767" y="1439"/>
                  </a:lnTo>
                  <a:lnTo>
                    <a:pt x="772" y="1442"/>
                  </a:lnTo>
                  <a:lnTo>
                    <a:pt x="776" y="1444"/>
                  </a:lnTo>
                  <a:lnTo>
                    <a:pt x="781" y="1445"/>
                  </a:lnTo>
                  <a:lnTo>
                    <a:pt x="781" y="1455"/>
                  </a:lnTo>
                  <a:lnTo>
                    <a:pt x="785" y="1455"/>
                  </a:lnTo>
                  <a:lnTo>
                    <a:pt x="790" y="1455"/>
                  </a:lnTo>
                  <a:lnTo>
                    <a:pt x="792" y="1456"/>
                  </a:lnTo>
                  <a:lnTo>
                    <a:pt x="793" y="1456"/>
                  </a:lnTo>
                  <a:lnTo>
                    <a:pt x="794" y="1458"/>
                  </a:lnTo>
                  <a:lnTo>
                    <a:pt x="795" y="1460"/>
                  </a:lnTo>
                  <a:lnTo>
                    <a:pt x="801" y="1461"/>
                  </a:lnTo>
                  <a:lnTo>
                    <a:pt x="811" y="1464"/>
                  </a:lnTo>
                  <a:lnTo>
                    <a:pt x="822" y="1469"/>
                  </a:lnTo>
                  <a:lnTo>
                    <a:pt x="835" y="1474"/>
                  </a:lnTo>
                  <a:lnTo>
                    <a:pt x="848" y="1481"/>
                  </a:lnTo>
                  <a:lnTo>
                    <a:pt x="858" y="1487"/>
                  </a:lnTo>
                  <a:lnTo>
                    <a:pt x="864" y="1491"/>
                  </a:lnTo>
                  <a:lnTo>
                    <a:pt x="868" y="1493"/>
                  </a:lnTo>
                  <a:lnTo>
                    <a:pt x="878" y="1494"/>
                  </a:lnTo>
                  <a:lnTo>
                    <a:pt x="887" y="1496"/>
                  </a:lnTo>
                  <a:lnTo>
                    <a:pt x="896" y="1498"/>
                  </a:lnTo>
                  <a:lnTo>
                    <a:pt x="907" y="1499"/>
                  </a:lnTo>
                  <a:lnTo>
                    <a:pt x="911" y="1508"/>
                  </a:lnTo>
                  <a:lnTo>
                    <a:pt x="931" y="1509"/>
                  </a:lnTo>
                  <a:lnTo>
                    <a:pt x="968" y="1510"/>
                  </a:lnTo>
                  <a:lnTo>
                    <a:pt x="986" y="1509"/>
                  </a:lnTo>
                  <a:lnTo>
                    <a:pt x="1003" y="1506"/>
                  </a:lnTo>
                  <a:lnTo>
                    <a:pt x="1008" y="1504"/>
                  </a:lnTo>
                  <a:lnTo>
                    <a:pt x="1014" y="1501"/>
                  </a:lnTo>
                  <a:lnTo>
                    <a:pt x="1016" y="1498"/>
                  </a:lnTo>
                  <a:lnTo>
                    <a:pt x="1017" y="1493"/>
                  </a:lnTo>
                  <a:lnTo>
                    <a:pt x="1032" y="1492"/>
                  </a:lnTo>
                  <a:lnTo>
                    <a:pt x="1048" y="1489"/>
                  </a:lnTo>
                  <a:lnTo>
                    <a:pt x="1064" y="1486"/>
                  </a:lnTo>
                  <a:lnTo>
                    <a:pt x="1081" y="1481"/>
                  </a:lnTo>
                  <a:lnTo>
                    <a:pt x="1079" y="1480"/>
                  </a:lnTo>
                  <a:lnTo>
                    <a:pt x="1075" y="1479"/>
                  </a:lnTo>
                  <a:lnTo>
                    <a:pt x="1071" y="1479"/>
                  </a:lnTo>
                  <a:lnTo>
                    <a:pt x="1067" y="1479"/>
                  </a:lnTo>
                  <a:lnTo>
                    <a:pt x="1059" y="1470"/>
                  </a:lnTo>
                  <a:lnTo>
                    <a:pt x="1051" y="1462"/>
                  </a:lnTo>
                  <a:lnTo>
                    <a:pt x="1049" y="1441"/>
                  </a:lnTo>
                  <a:lnTo>
                    <a:pt x="1043" y="1414"/>
                  </a:lnTo>
                  <a:lnTo>
                    <a:pt x="1040" y="1400"/>
                  </a:lnTo>
                  <a:lnTo>
                    <a:pt x="1038" y="1386"/>
                  </a:lnTo>
                  <a:lnTo>
                    <a:pt x="1035" y="1373"/>
                  </a:lnTo>
                  <a:lnTo>
                    <a:pt x="1035" y="1359"/>
                  </a:lnTo>
                  <a:lnTo>
                    <a:pt x="1032" y="1359"/>
                  </a:lnTo>
                  <a:lnTo>
                    <a:pt x="1031" y="1358"/>
                  </a:lnTo>
                  <a:lnTo>
                    <a:pt x="1029" y="1357"/>
                  </a:lnTo>
                  <a:lnTo>
                    <a:pt x="1029" y="1355"/>
                  </a:lnTo>
                  <a:lnTo>
                    <a:pt x="1027" y="1349"/>
                  </a:lnTo>
                  <a:lnTo>
                    <a:pt x="1027" y="1344"/>
                  </a:lnTo>
                  <a:lnTo>
                    <a:pt x="1024" y="1344"/>
                  </a:lnTo>
                  <a:lnTo>
                    <a:pt x="1023" y="1343"/>
                  </a:lnTo>
                  <a:lnTo>
                    <a:pt x="1021" y="1342"/>
                  </a:lnTo>
                  <a:lnTo>
                    <a:pt x="1020" y="1339"/>
                  </a:lnTo>
                  <a:lnTo>
                    <a:pt x="1020" y="1334"/>
                  </a:lnTo>
                  <a:lnTo>
                    <a:pt x="1020" y="1328"/>
                  </a:lnTo>
                  <a:lnTo>
                    <a:pt x="1014" y="1328"/>
                  </a:lnTo>
                  <a:lnTo>
                    <a:pt x="1012" y="1327"/>
                  </a:lnTo>
                  <a:lnTo>
                    <a:pt x="1012" y="1326"/>
                  </a:lnTo>
                  <a:lnTo>
                    <a:pt x="1011" y="1325"/>
                  </a:lnTo>
                  <a:lnTo>
                    <a:pt x="1011" y="1323"/>
                  </a:lnTo>
                  <a:lnTo>
                    <a:pt x="1011" y="1321"/>
                  </a:lnTo>
                  <a:lnTo>
                    <a:pt x="1007" y="1320"/>
                  </a:lnTo>
                  <a:lnTo>
                    <a:pt x="1003" y="1320"/>
                  </a:lnTo>
                  <a:lnTo>
                    <a:pt x="1003" y="1305"/>
                  </a:lnTo>
                  <a:lnTo>
                    <a:pt x="995" y="1297"/>
                  </a:lnTo>
                  <a:lnTo>
                    <a:pt x="987" y="1289"/>
                  </a:lnTo>
                  <a:lnTo>
                    <a:pt x="979" y="1281"/>
                  </a:lnTo>
                  <a:lnTo>
                    <a:pt x="964" y="1281"/>
                  </a:lnTo>
                  <a:lnTo>
                    <a:pt x="956" y="1272"/>
                  </a:lnTo>
                  <a:lnTo>
                    <a:pt x="948" y="1265"/>
                  </a:lnTo>
                  <a:lnTo>
                    <a:pt x="940" y="1257"/>
                  </a:lnTo>
                  <a:lnTo>
                    <a:pt x="940" y="1246"/>
                  </a:lnTo>
                  <a:lnTo>
                    <a:pt x="940" y="1233"/>
                  </a:lnTo>
                  <a:lnTo>
                    <a:pt x="938" y="1232"/>
                  </a:lnTo>
                  <a:lnTo>
                    <a:pt x="937" y="1230"/>
                  </a:lnTo>
                  <a:lnTo>
                    <a:pt x="936" y="1227"/>
                  </a:lnTo>
                  <a:lnTo>
                    <a:pt x="936" y="1222"/>
                  </a:lnTo>
                  <a:lnTo>
                    <a:pt x="934" y="1211"/>
                  </a:lnTo>
                  <a:lnTo>
                    <a:pt x="934" y="1196"/>
                  </a:lnTo>
                  <a:lnTo>
                    <a:pt x="933" y="1170"/>
                  </a:lnTo>
                  <a:lnTo>
                    <a:pt x="933" y="1154"/>
                  </a:lnTo>
                  <a:lnTo>
                    <a:pt x="929" y="1154"/>
                  </a:lnTo>
                  <a:lnTo>
                    <a:pt x="926" y="1152"/>
                  </a:lnTo>
                  <a:lnTo>
                    <a:pt x="924" y="1148"/>
                  </a:lnTo>
                  <a:lnTo>
                    <a:pt x="921" y="1145"/>
                  </a:lnTo>
                  <a:lnTo>
                    <a:pt x="918" y="1137"/>
                  </a:lnTo>
                  <a:lnTo>
                    <a:pt x="917" y="1131"/>
                  </a:lnTo>
                  <a:lnTo>
                    <a:pt x="914" y="1129"/>
                  </a:lnTo>
                  <a:lnTo>
                    <a:pt x="910" y="1128"/>
                  </a:lnTo>
                  <a:lnTo>
                    <a:pt x="908" y="1125"/>
                  </a:lnTo>
                  <a:lnTo>
                    <a:pt x="906" y="1122"/>
                  </a:lnTo>
                  <a:lnTo>
                    <a:pt x="902" y="1114"/>
                  </a:lnTo>
                  <a:lnTo>
                    <a:pt x="900" y="1107"/>
                  </a:lnTo>
                  <a:lnTo>
                    <a:pt x="885" y="1107"/>
                  </a:lnTo>
                  <a:lnTo>
                    <a:pt x="883" y="1104"/>
                  </a:lnTo>
                  <a:lnTo>
                    <a:pt x="881" y="1103"/>
                  </a:lnTo>
                  <a:lnTo>
                    <a:pt x="877" y="1100"/>
                  </a:lnTo>
                  <a:lnTo>
                    <a:pt x="872" y="1100"/>
                  </a:lnTo>
                  <a:lnTo>
                    <a:pt x="861" y="1099"/>
                  </a:lnTo>
                  <a:lnTo>
                    <a:pt x="853" y="1099"/>
                  </a:lnTo>
                  <a:lnTo>
                    <a:pt x="846" y="1092"/>
                  </a:lnTo>
                  <a:lnTo>
                    <a:pt x="838" y="1084"/>
                  </a:lnTo>
                  <a:lnTo>
                    <a:pt x="838" y="1067"/>
                  </a:lnTo>
                  <a:lnTo>
                    <a:pt x="833" y="1067"/>
                  </a:lnTo>
                  <a:lnTo>
                    <a:pt x="830" y="1066"/>
                  </a:lnTo>
                  <a:lnTo>
                    <a:pt x="830" y="1065"/>
                  </a:lnTo>
                  <a:lnTo>
                    <a:pt x="830" y="1064"/>
                  </a:lnTo>
                  <a:lnTo>
                    <a:pt x="829" y="1063"/>
                  </a:lnTo>
                  <a:lnTo>
                    <a:pt x="829" y="1060"/>
                  </a:lnTo>
                  <a:lnTo>
                    <a:pt x="827" y="1060"/>
                  </a:lnTo>
                  <a:lnTo>
                    <a:pt x="822" y="1059"/>
                  </a:lnTo>
                  <a:lnTo>
                    <a:pt x="822" y="1012"/>
                  </a:lnTo>
                  <a:lnTo>
                    <a:pt x="830" y="1004"/>
                  </a:lnTo>
                  <a:lnTo>
                    <a:pt x="846" y="1004"/>
                  </a:lnTo>
                  <a:lnTo>
                    <a:pt x="853" y="997"/>
                  </a:lnTo>
                  <a:lnTo>
                    <a:pt x="861" y="989"/>
                  </a:lnTo>
                  <a:lnTo>
                    <a:pt x="869" y="980"/>
                  </a:lnTo>
                  <a:lnTo>
                    <a:pt x="877" y="972"/>
                  </a:lnTo>
                  <a:lnTo>
                    <a:pt x="877" y="956"/>
                  </a:lnTo>
                  <a:lnTo>
                    <a:pt x="878" y="956"/>
                  </a:lnTo>
                  <a:lnTo>
                    <a:pt x="879" y="954"/>
                  </a:lnTo>
                  <a:lnTo>
                    <a:pt x="880" y="952"/>
                  </a:lnTo>
                  <a:lnTo>
                    <a:pt x="881" y="948"/>
                  </a:lnTo>
                  <a:lnTo>
                    <a:pt x="882" y="939"/>
                  </a:lnTo>
                  <a:lnTo>
                    <a:pt x="883" y="929"/>
                  </a:lnTo>
                  <a:lnTo>
                    <a:pt x="885" y="906"/>
                  </a:lnTo>
                  <a:lnTo>
                    <a:pt x="885" y="894"/>
                  </a:lnTo>
                  <a:lnTo>
                    <a:pt x="882" y="893"/>
                  </a:lnTo>
                  <a:lnTo>
                    <a:pt x="880" y="891"/>
                  </a:lnTo>
                  <a:lnTo>
                    <a:pt x="879" y="888"/>
                  </a:lnTo>
                  <a:lnTo>
                    <a:pt x="878" y="885"/>
                  </a:lnTo>
                  <a:lnTo>
                    <a:pt x="877" y="877"/>
                  </a:lnTo>
                  <a:lnTo>
                    <a:pt x="877" y="869"/>
                  </a:lnTo>
                  <a:lnTo>
                    <a:pt x="872" y="869"/>
                  </a:lnTo>
                  <a:lnTo>
                    <a:pt x="870" y="868"/>
                  </a:lnTo>
                  <a:lnTo>
                    <a:pt x="869" y="867"/>
                  </a:lnTo>
                  <a:lnTo>
                    <a:pt x="869" y="866"/>
                  </a:lnTo>
                  <a:lnTo>
                    <a:pt x="869" y="865"/>
                  </a:lnTo>
                  <a:lnTo>
                    <a:pt x="868" y="863"/>
                  </a:lnTo>
                  <a:lnTo>
                    <a:pt x="866" y="863"/>
                  </a:lnTo>
                  <a:lnTo>
                    <a:pt x="861" y="862"/>
                  </a:lnTo>
                  <a:lnTo>
                    <a:pt x="861" y="815"/>
                  </a:lnTo>
                  <a:lnTo>
                    <a:pt x="860" y="814"/>
                  </a:lnTo>
                  <a:lnTo>
                    <a:pt x="859" y="813"/>
                  </a:lnTo>
                  <a:lnTo>
                    <a:pt x="858" y="810"/>
                  </a:lnTo>
                  <a:lnTo>
                    <a:pt x="857" y="807"/>
                  </a:lnTo>
                  <a:lnTo>
                    <a:pt x="856" y="799"/>
                  </a:lnTo>
                  <a:lnTo>
                    <a:pt x="854" y="790"/>
                  </a:lnTo>
                  <a:lnTo>
                    <a:pt x="853" y="771"/>
                  </a:lnTo>
                  <a:lnTo>
                    <a:pt x="853" y="759"/>
                  </a:lnTo>
                  <a:lnTo>
                    <a:pt x="854" y="740"/>
                  </a:lnTo>
                  <a:lnTo>
                    <a:pt x="857" y="721"/>
                  </a:lnTo>
                  <a:lnTo>
                    <a:pt x="860" y="702"/>
                  </a:lnTo>
                  <a:lnTo>
                    <a:pt x="861" y="688"/>
                  </a:lnTo>
                  <a:lnTo>
                    <a:pt x="869" y="680"/>
                  </a:lnTo>
                  <a:lnTo>
                    <a:pt x="877" y="672"/>
                  </a:lnTo>
                  <a:lnTo>
                    <a:pt x="885" y="664"/>
                  </a:lnTo>
                  <a:lnTo>
                    <a:pt x="892" y="656"/>
                  </a:lnTo>
                  <a:lnTo>
                    <a:pt x="900" y="648"/>
                  </a:lnTo>
                  <a:lnTo>
                    <a:pt x="908" y="647"/>
                  </a:lnTo>
                  <a:lnTo>
                    <a:pt x="916" y="644"/>
                  </a:lnTo>
                  <a:lnTo>
                    <a:pt x="919" y="642"/>
                  </a:lnTo>
                  <a:lnTo>
                    <a:pt x="921" y="638"/>
                  </a:lnTo>
                  <a:lnTo>
                    <a:pt x="924" y="636"/>
                  </a:lnTo>
                  <a:lnTo>
                    <a:pt x="925" y="633"/>
                  </a:lnTo>
                  <a:lnTo>
                    <a:pt x="940" y="633"/>
                  </a:lnTo>
                  <a:lnTo>
                    <a:pt x="948" y="625"/>
                  </a:lnTo>
                  <a:lnTo>
                    <a:pt x="949" y="622"/>
                  </a:lnTo>
                  <a:lnTo>
                    <a:pt x="952" y="618"/>
                  </a:lnTo>
                  <a:lnTo>
                    <a:pt x="956" y="614"/>
                  </a:lnTo>
                  <a:lnTo>
                    <a:pt x="960" y="611"/>
                  </a:lnTo>
                  <a:lnTo>
                    <a:pt x="966" y="606"/>
                  </a:lnTo>
                  <a:lnTo>
                    <a:pt x="972" y="604"/>
                  </a:lnTo>
                  <a:lnTo>
                    <a:pt x="976" y="602"/>
                  </a:lnTo>
                  <a:lnTo>
                    <a:pt x="979" y="602"/>
                  </a:lnTo>
                  <a:lnTo>
                    <a:pt x="981" y="597"/>
                  </a:lnTo>
                  <a:lnTo>
                    <a:pt x="984" y="593"/>
                  </a:lnTo>
                  <a:lnTo>
                    <a:pt x="987" y="588"/>
                  </a:lnTo>
                  <a:lnTo>
                    <a:pt x="993" y="583"/>
                  </a:lnTo>
                  <a:lnTo>
                    <a:pt x="997" y="577"/>
                  </a:lnTo>
                  <a:lnTo>
                    <a:pt x="1003" y="574"/>
                  </a:lnTo>
                  <a:lnTo>
                    <a:pt x="1007" y="570"/>
                  </a:lnTo>
                  <a:lnTo>
                    <a:pt x="1011" y="569"/>
                  </a:lnTo>
                  <a:lnTo>
                    <a:pt x="1012" y="557"/>
                  </a:lnTo>
                  <a:lnTo>
                    <a:pt x="1014" y="544"/>
                  </a:lnTo>
                  <a:lnTo>
                    <a:pt x="1016" y="529"/>
                  </a:lnTo>
                  <a:lnTo>
                    <a:pt x="1020" y="513"/>
                  </a:lnTo>
                  <a:lnTo>
                    <a:pt x="1022" y="498"/>
                  </a:lnTo>
                  <a:lnTo>
                    <a:pt x="1024" y="482"/>
                  </a:lnTo>
                  <a:lnTo>
                    <a:pt x="1026" y="467"/>
                  </a:lnTo>
                  <a:lnTo>
                    <a:pt x="1027" y="451"/>
                  </a:lnTo>
                  <a:lnTo>
                    <a:pt x="1025" y="451"/>
                  </a:lnTo>
                  <a:lnTo>
                    <a:pt x="1024" y="450"/>
                  </a:lnTo>
                  <a:lnTo>
                    <a:pt x="1023" y="448"/>
                  </a:lnTo>
                  <a:lnTo>
                    <a:pt x="1022" y="444"/>
                  </a:lnTo>
                  <a:lnTo>
                    <a:pt x="1020" y="436"/>
                  </a:lnTo>
                  <a:lnTo>
                    <a:pt x="1017" y="427"/>
                  </a:lnTo>
                  <a:lnTo>
                    <a:pt x="1015" y="402"/>
                  </a:lnTo>
                  <a:lnTo>
                    <a:pt x="1013" y="373"/>
                  </a:lnTo>
                  <a:lnTo>
                    <a:pt x="1012" y="343"/>
                  </a:lnTo>
                  <a:lnTo>
                    <a:pt x="1012" y="315"/>
                  </a:lnTo>
                  <a:lnTo>
                    <a:pt x="1011" y="291"/>
                  </a:lnTo>
                  <a:lnTo>
                    <a:pt x="1011" y="277"/>
                  </a:lnTo>
                  <a:lnTo>
                    <a:pt x="1014" y="277"/>
                  </a:lnTo>
                  <a:lnTo>
                    <a:pt x="1016" y="275"/>
                  </a:lnTo>
                  <a:lnTo>
                    <a:pt x="1017" y="271"/>
                  </a:lnTo>
                  <a:lnTo>
                    <a:pt x="1019" y="268"/>
                  </a:lnTo>
                  <a:lnTo>
                    <a:pt x="1019" y="260"/>
                  </a:lnTo>
                  <a:lnTo>
                    <a:pt x="1020" y="253"/>
                  </a:lnTo>
                  <a:lnTo>
                    <a:pt x="1022" y="251"/>
                  </a:lnTo>
                  <a:lnTo>
                    <a:pt x="1024" y="247"/>
                  </a:lnTo>
                  <a:lnTo>
                    <a:pt x="1025" y="240"/>
                  </a:lnTo>
                  <a:lnTo>
                    <a:pt x="1026" y="232"/>
                  </a:lnTo>
                  <a:lnTo>
                    <a:pt x="1027" y="217"/>
                  </a:lnTo>
                  <a:lnTo>
                    <a:pt x="1027" y="206"/>
                  </a:lnTo>
                  <a:lnTo>
                    <a:pt x="1030" y="204"/>
                  </a:lnTo>
                  <a:lnTo>
                    <a:pt x="1032" y="201"/>
                  </a:lnTo>
                  <a:lnTo>
                    <a:pt x="1033" y="195"/>
                  </a:lnTo>
                  <a:lnTo>
                    <a:pt x="1034" y="189"/>
                  </a:lnTo>
                  <a:lnTo>
                    <a:pt x="1035" y="176"/>
                  </a:lnTo>
                  <a:lnTo>
                    <a:pt x="1035" y="166"/>
                  </a:lnTo>
                  <a:lnTo>
                    <a:pt x="1038" y="165"/>
                  </a:lnTo>
                  <a:lnTo>
                    <a:pt x="1040" y="162"/>
                  </a:lnTo>
                  <a:lnTo>
                    <a:pt x="1041" y="157"/>
                  </a:lnTo>
                  <a:lnTo>
                    <a:pt x="1042" y="152"/>
                  </a:lnTo>
                  <a:lnTo>
                    <a:pt x="1042" y="137"/>
                  </a:lnTo>
                  <a:lnTo>
                    <a:pt x="1042" y="121"/>
                  </a:lnTo>
                  <a:lnTo>
                    <a:pt x="1041" y="104"/>
                  </a:lnTo>
                  <a:lnTo>
                    <a:pt x="1041" y="89"/>
                  </a:lnTo>
                  <a:lnTo>
                    <a:pt x="1041" y="85"/>
                  </a:lnTo>
                  <a:lnTo>
                    <a:pt x="1041" y="81"/>
                  </a:lnTo>
                  <a:lnTo>
                    <a:pt x="1042" y="79"/>
                  </a:lnTo>
                  <a:lnTo>
                    <a:pt x="1043" y="79"/>
                  </a:lnTo>
                  <a:close/>
                  <a:moveTo>
                    <a:pt x="1113" y="1498"/>
                  </a:moveTo>
                  <a:lnTo>
                    <a:pt x="1115" y="1494"/>
                  </a:lnTo>
                  <a:lnTo>
                    <a:pt x="1109" y="1489"/>
                  </a:lnTo>
                  <a:lnTo>
                    <a:pt x="1111" y="1493"/>
                  </a:lnTo>
                  <a:lnTo>
                    <a:pt x="1113" y="149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4" name="Freeform 47">
              <a:extLst>
                <a:ext uri="{FF2B5EF4-FFF2-40B4-BE49-F238E27FC236}">
                  <a16:creationId xmlns:a16="http://schemas.microsoft.com/office/drawing/2014/main" id="{F77416A0-99EB-4B5D-BC3D-05FAD6D80BF1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654925" y="3321050"/>
              <a:ext cx="4205" cy="3175"/>
            </a:xfrm>
            <a:custGeom>
              <a:avLst/>
              <a:gdLst/>
              <a:ahLst/>
              <a:cxnLst>
                <a:cxn ang="0">
                  <a:pos x="4" y="9"/>
                </a:cxn>
                <a:cxn ang="0">
                  <a:pos x="6" y="5"/>
                </a:cxn>
                <a:cxn ang="0">
                  <a:pos x="0" y="0"/>
                </a:cxn>
                <a:cxn ang="0">
                  <a:pos x="2" y="4"/>
                </a:cxn>
                <a:cxn ang="0">
                  <a:pos x="4" y="9"/>
                </a:cxn>
              </a:cxnLst>
              <a:rect l="0" t="0" r="r" b="b"/>
              <a:pathLst>
                <a:path w="6" h="9">
                  <a:moveTo>
                    <a:pt x="4" y="9"/>
                  </a:moveTo>
                  <a:lnTo>
                    <a:pt x="6" y="5"/>
                  </a:lnTo>
                  <a:lnTo>
                    <a:pt x="0" y="0"/>
                  </a:lnTo>
                  <a:lnTo>
                    <a:pt x="2" y="4"/>
                  </a:lnTo>
                  <a:lnTo>
                    <a:pt x="4" y="9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5" name="Freeform 48">
              <a:extLst>
                <a:ext uri="{FF2B5EF4-FFF2-40B4-BE49-F238E27FC236}">
                  <a16:creationId xmlns:a16="http://schemas.microsoft.com/office/drawing/2014/main" id="{F8B10A7A-C0EB-4DD5-9800-EAA910C5CFF1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404100" y="3003550"/>
              <a:ext cx="263288" cy="169863"/>
            </a:xfrm>
            <a:custGeom>
              <a:avLst/>
              <a:gdLst/>
              <a:ahLst/>
              <a:cxnLst>
                <a:cxn ang="0">
                  <a:pos x="215" y="40"/>
                </a:cxn>
                <a:cxn ang="0">
                  <a:pos x="346" y="27"/>
                </a:cxn>
                <a:cxn ang="0">
                  <a:pos x="420" y="9"/>
                </a:cxn>
                <a:cxn ang="0">
                  <a:pos x="580" y="0"/>
                </a:cxn>
                <a:cxn ang="0">
                  <a:pos x="616" y="14"/>
                </a:cxn>
                <a:cxn ang="0">
                  <a:pos x="713" y="56"/>
                </a:cxn>
                <a:cxn ang="0">
                  <a:pos x="745" y="79"/>
                </a:cxn>
                <a:cxn ang="0">
                  <a:pos x="768" y="95"/>
                </a:cxn>
                <a:cxn ang="0">
                  <a:pos x="808" y="119"/>
                </a:cxn>
                <a:cxn ang="0">
                  <a:pos x="895" y="119"/>
                </a:cxn>
                <a:cxn ang="0">
                  <a:pos x="972" y="66"/>
                </a:cxn>
                <a:cxn ang="0">
                  <a:pos x="1005" y="56"/>
                </a:cxn>
                <a:cxn ang="0">
                  <a:pos x="1082" y="27"/>
                </a:cxn>
                <a:cxn ang="0">
                  <a:pos x="1176" y="10"/>
                </a:cxn>
                <a:cxn ang="0">
                  <a:pos x="1247" y="58"/>
                </a:cxn>
                <a:cxn ang="0">
                  <a:pos x="1259" y="89"/>
                </a:cxn>
                <a:cxn ang="0">
                  <a:pos x="1339" y="140"/>
                </a:cxn>
                <a:cxn ang="0">
                  <a:pos x="1384" y="159"/>
                </a:cxn>
                <a:cxn ang="0">
                  <a:pos x="1439" y="215"/>
                </a:cxn>
                <a:cxn ang="0">
                  <a:pos x="1455" y="264"/>
                </a:cxn>
                <a:cxn ang="0">
                  <a:pos x="1461" y="431"/>
                </a:cxn>
                <a:cxn ang="0">
                  <a:pos x="1423" y="465"/>
                </a:cxn>
                <a:cxn ang="0">
                  <a:pos x="1240" y="438"/>
                </a:cxn>
                <a:cxn ang="0">
                  <a:pos x="1226" y="422"/>
                </a:cxn>
                <a:cxn ang="0">
                  <a:pos x="1196" y="390"/>
                </a:cxn>
                <a:cxn ang="0">
                  <a:pos x="1100" y="429"/>
                </a:cxn>
                <a:cxn ang="0">
                  <a:pos x="1085" y="456"/>
                </a:cxn>
                <a:cxn ang="0">
                  <a:pos x="1061" y="481"/>
                </a:cxn>
                <a:cxn ang="0">
                  <a:pos x="1022" y="515"/>
                </a:cxn>
                <a:cxn ang="0">
                  <a:pos x="1011" y="556"/>
                </a:cxn>
                <a:cxn ang="0">
                  <a:pos x="1000" y="611"/>
                </a:cxn>
                <a:cxn ang="0">
                  <a:pos x="989" y="640"/>
                </a:cxn>
                <a:cxn ang="0">
                  <a:pos x="918" y="700"/>
                </a:cxn>
                <a:cxn ang="0">
                  <a:pos x="902" y="727"/>
                </a:cxn>
                <a:cxn ang="0">
                  <a:pos x="835" y="777"/>
                </a:cxn>
                <a:cxn ang="0">
                  <a:pos x="809" y="801"/>
                </a:cxn>
                <a:cxn ang="0">
                  <a:pos x="757" y="835"/>
                </a:cxn>
                <a:cxn ang="0">
                  <a:pos x="738" y="876"/>
                </a:cxn>
                <a:cxn ang="0">
                  <a:pos x="701" y="933"/>
                </a:cxn>
                <a:cxn ang="0">
                  <a:pos x="655" y="977"/>
                </a:cxn>
                <a:cxn ang="0">
                  <a:pos x="622" y="1004"/>
                </a:cxn>
                <a:cxn ang="0">
                  <a:pos x="594" y="1021"/>
                </a:cxn>
                <a:cxn ang="0">
                  <a:pos x="561" y="1038"/>
                </a:cxn>
                <a:cxn ang="0">
                  <a:pos x="521" y="982"/>
                </a:cxn>
                <a:cxn ang="0">
                  <a:pos x="453" y="891"/>
                </a:cxn>
                <a:cxn ang="0">
                  <a:pos x="405" y="736"/>
                </a:cxn>
                <a:cxn ang="0">
                  <a:pos x="334" y="702"/>
                </a:cxn>
                <a:cxn ang="0">
                  <a:pos x="246" y="683"/>
                </a:cxn>
                <a:cxn ang="0">
                  <a:pos x="204" y="643"/>
                </a:cxn>
                <a:cxn ang="0">
                  <a:pos x="190" y="623"/>
                </a:cxn>
                <a:cxn ang="0">
                  <a:pos x="125" y="571"/>
                </a:cxn>
                <a:cxn ang="0">
                  <a:pos x="84" y="521"/>
                </a:cxn>
                <a:cxn ang="0">
                  <a:pos x="55" y="470"/>
                </a:cxn>
                <a:cxn ang="0">
                  <a:pos x="42" y="377"/>
                </a:cxn>
                <a:cxn ang="0">
                  <a:pos x="13" y="314"/>
                </a:cxn>
                <a:cxn ang="0">
                  <a:pos x="5" y="280"/>
                </a:cxn>
                <a:cxn ang="0">
                  <a:pos x="9" y="115"/>
                </a:cxn>
                <a:cxn ang="0">
                  <a:pos x="72" y="50"/>
                </a:cxn>
              </a:cxnLst>
              <a:rect l="0" t="0" r="r" b="b"/>
              <a:pathLst>
                <a:path w="1464" h="1048">
                  <a:moveTo>
                    <a:pt x="104" y="23"/>
                  </a:moveTo>
                  <a:lnTo>
                    <a:pt x="146" y="24"/>
                  </a:lnTo>
                  <a:lnTo>
                    <a:pt x="181" y="28"/>
                  </a:lnTo>
                  <a:lnTo>
                    <a:pt x="195" y="30"/>
                  </a:lnTo>
                  <a:lnTo>
                    <a:pt x="206" y="32"/>
                  </a:lnTo>
                  <a:lnTo>
                    <a:pt x="209" y="34"/>
                  </a:lnTo>
                  <a:lnTo>
                    <a:pt x="213" y="35"/>
                  </a:lnTo>
                  <a:lnTo>
                    <a:pt x="215" y="38"/>
                  </a:lnTo>
                  <a:lnTo>
                    <a:pt x="215" y="40"/>
                  </a:lnTo>
                  <a:lnTo>
                    <a:pt x="317" y="40"/>
                  </a:lnTo>
                  <a:lnTo>
                    <a:pt x="319" y="38"/>
                  </a:lnTo>
                  <a:lnTo>
                    <a:pt x="320" y="35"/>
                  </a:lnTo>
                  <a:lnTo>
                    <a:pt x="323" y="33"/>
                  </a:lnTo>
                  <a:lnTo>
                    <a:pt x="326" y="33"/>
                  </a:lnTo>
                  <a:lnTo>
                    <a:pt x="334" y="32"/>
                  </a:lnTo>
                  <a:lnTo>
                    <a:pt x="341" y="32"/>
                  </a:lnTo>
                  <a:lnTo>
                    <a:pt x="343" y="29"/>
                  </a:lnTo>
                  <a:lnTo>
                    <a:pt x="346" y="27"/>
                  </a:lnTo>
                  <a:lnTo>
                    <a:pt x="351" y="25"/>
                  </a:lnTo>
                  <a:lnTo>
                    <a:pt x="358" y="23"/>
                  </a:lnTo>
                  <a:lnTo>
                    <a:pt x="363" y="21"/>
                  </a:lnTo>
                  <a:lnTo>
                    <a:pt x="368" y="18"/>
                  </a:lnTo>
                  <a:lnTo>
                    <a:pt x="370" y="15"/>
                  </a:lnTo>
                  <a:lnTo>
                    <a:pt x="371" y="13"/>
                  </a:lnTo>
                  <a:lnTo>
                    <a:pt x="372" y="11"/>
                  </a:lnTo>
                  <a:lnTo>
                    <a:pt x="373" y="9"/>
                  </a:lnTo>
                  <a:lnTo>
                    <a:pt x="420" y="9"/>
                  </a:lnTo>
                  <a:lnTo>
                    <a:pt x="422" y="6"/>
                  </a:lnTo>
                  <a:lnTo>
                    <a:pt x="427" y="5"/>
                  </a:lnTo>
                  <a:lnTo>
                    <a:pt x="435" y="4"/>
                  </a:lnTo>
                  <a:lnTo>
                    <a:pt x="445" y="3"/>
                  </a:lnTo>
                  <a:lnTo>
                    <a:pt x="469" y="2"/>
                  </a:lnTo>
                  <a:lnTo>
                    <a:pt x="498" y="1"/>
                  </a:lnTo>
                  <a:lnTo>
                    <a:pt x="528" y="1"/>
                  </a:lnTo>
                  <a:lnTo>
                    <a:pt x="557" y="1"/>
                  </a:lnTo>
                  <a:lnTo>
                    <a:pt x="580" y="0"/>
                  </a:lnTo>
                  <a:lnTo>
                    <a:pt x="594" y="0"/>
                  </a:lnTo>
                  <a:lnTo>
                    <a:pt x="594" y="3"/>
                  </a:lnTo>
                  <a:lnTo>
                    <a:pt x="595" y="5"/>
                  </a:lnTo>
                  <a:lnTo>
                    <a:pt x="598" y="6"/>
                  </a:lnTo>
                  <a:lnTo>
                    <a:pt x="599" y="8"/>
                  </a:lnTo>
                  <a:lnTo>
                    <a:pt x="604" y="8"/>
                  </a:lnTo>
                  <a:lnTo>
                    <a:pt x="610" y="9"/>
                  </a:lnTo>
                  <a:lnTo>
                    <a:pt x="611" y="11"/>
                  </a:lnTo>
                  <a:lnTo>
                    <a:pt x="616" y="14"/>
                  </a:lnTo>
                  <a:lnTo>
                    <a:pt x="620" y="16"/>
                  </a:lnTo>
                  <a:lnTo>
                    <a:pt x="627" y="19"/>
                  </a:lnTo>
                  <a:lnTo>
                    <a:pt x="640" y="22"/>
                  </a:lnTo>
                  <a:lnTo>
                    <a:pt x="650" y="24"/>
                  </a:lnTo>
                  <a:lnTo>
                    <a:pt x="656" y="28"/>
                  </a:lnTo>
                  <a:lnTo>
                    <a:pt x="670" y="37"/>
                  </a:lnTo>
                  <a:lnTo>
                    <a:pt x="686" y="48"/>
                  </a:lnTo>
                  <a:lnTo>
                    <a:pt x="697" y="56"/>
                  </a:lnTo>
                  <a:lnTo>
                    <a:pt x="713" y="56"/>
                  </a:lnTo>
                  <a:lnTo>
                    <a:pt x="714" y="58"/>
                  </a:lnTo>
                  <a:lnTo>
                    <a:pt x="715" y="60"/>
                  </a:lnTo>
                  <a:lnTo>
                    <a:pt x="718" y="62"/>
                  </a:lnTo>
                  <a:lnTo>
                    <a:pt x="720" y="64"/>
                  </a:lnTo>
                  <a:lnTo>
                    <a:pt x="724" y="67"/>
                  </a:lnTo>
                  <a:lnTo>
                    <a:pt x="726" y="70"/>
                  </a:lnTo>
                  <a:lnTo>
                    <a:pt x="728" y="75"/>
                  </a:lnTo>
                  <a:lnTo>
                    <a:pt x="728" y="79"/>
                  </a:lnTo>
                  <a:lnTo>
                    <a:pt x="745" y="79"/>
                  </a:lnTo>
                  <a:lnTo>
                    <a:pt x="745" y="83"/>
                  </a:lnTo>
                  <a:lnTo>
                    <a:pt x="746" y="86"/>
                  </a:lnTo>
                  <a:lnTo>
                    <a:pt x="747" y="87"/>
                  </a:lnTo>
                  <a:lnTo>
                    <a:pt x="748" y="87"/>
                  </a:lnTo>
                  <a:lnTo>
                    <a:pt x="749" y="87"/>
                  </a:lnTo>
                  <a:lnTo>
                    <a:pt x="751" y="88"/>
                  </a:lnTo>
                  <a:lnTo>
                    <a:pt x="752" y="90"/>
                  </a:lnTo>
                  <a:lnTo>
                    <a:pt x="753" y="95"/>
                  </a:lnTo>
                  <a:lnTo>
                    <a:pt x="768" y="95"/>
                  </a:lnTo>
                  <a:lnTo>
                    <a:pt x="768" y="98"/>
                  </a:lnTo>
                  <a:lnTo>
                    <a:pt x="770" y="100"/>
                  </a:lnTo>
                  <a:lnTo>
                    <a:pt x="771" y="101"/>
                  </a:lnTo>
                  <a:lnTo>
                    <a:pt x="773" y="102"/>
                  </a:lnTo>
                  <a:lnTo>
                    <a:pt x="779" y="102"/>
                  </a:lnTo>
                  <a:lnTo>
                    <a:pt x="784" y="102"/>
                  </a:lnTo>
                  <a:lnTo>
                    <a:pt x="784" y="119"/>
                  </a:lnTo>
                  <a:lnTo>
                    <a:pt x="796" y="119"/>
                  </a:lnTo>
                  <a:lnTo>
                    <a:pt x="808" y="119"/>
                  </a:lnTo>
                  <a:lnTo>
                    <a:pt x="809" y="120"/>
                  </a:lnTo>
                  <a:lnTo>
                    <a:pt x="811" y="121"/>
                  </a:lnTo>
                  <a:lnTo>
                    <a:pt x="813" y="123"/>
                  </a:lnTo>
                  <a:lnTo>
                    <a:pt x="818" y="124"/>
                  </a:lnTo>
                  <a:lnTo>
                    <a:pt x="829" y="125"/>
                  </a:lnTo>
                  <a:lnTo>
                    <a:pt x="841" y="126"/>
                  </a:lnTo>
                  <a:lnTo>
                    <a:pt x="868" y="127"/>
                  </a:lnTo>
                  <a:lnTo>
                    <a:pt x="887" y="127"/>
                  </a:lnTo>
                  <a:lnTo>
                    <a:pt x="895" y="119"/>
                  </a:lnTo>
                  <a:lnTo>
                    <a:pt x="895" y="102"/>
                  </a:lnTo>
                  <a:lnTo>
                    <a:pt x="910" y="99"/>
                  </a:lnTo>
                  <a:lnTo>
                    <a:pt x="926" y="95"/>
                  </a:lnTo>
                  <a:lnTo>
                    <a:pt x="934" y="79"/>
                  </a:lnTo>
                  <a:lnTo>
                    <a:pt x="950" y="76"/>
                  </a:lnTo>
                  <a:lnTo>
                    <a:pt x="966" y="71"/>
                  </a:lnTo>
                  <a:lnTo>
                    <a:pt x="966" y="69"/>
                  </a:lnTo>
                  <a:lnTo>
                    <a:pt x="968" y="67"/>
                  </a:lnTo>
                  <a:lnTo>
                    <a:pt x="972" y="66"/>
                  </a:lnTo>
                  <a:lnTo>
                    <a:pt x="975" y="64"/>
                  </a:lnTo>
                  <a:lnTo>
                    <a:pt x="983" y="63"/>
                  </a:lnTo>
                  <a:lnTo>
                    <a:pt x="989" y="63"/>
                  </a:lnTo>
                  <a:lnTo>
                    <a:pt x="989" y="61"/>
                  </a:lnTo>
                  <a:lnTo>
                    <a:pt x="991" y="59"/>
                  </a:lnTo>
                  <a:lnTo>
                    <a:pt x="993" y="58"/>
                  </a:lnTo>
                  <a:lnTo>
                    <a:pt x="994" y="57"/>
                  </a:lnTo>
                  <a:lnTo>
                    <a:pt x="1000" y="56"/>
                  </a:lnTo>
                  <a:lnTo>
                    <a:pt x="1005" y="56"/>
                  </a:lnTo>
                  <a:lnTo>
                    <a:pt x="1021" y="40"/>
                  </a:lnTo>
                  <a:lnTo>
                    <a:pt x="1033" y="39"/>
                  </a:lnTo>
                  <a:lnTo>
                    <a:pt x="1045" y="35"/>
                  </a:lnTo>
                  <a:lnTo>
                    <a:pt x="1056" y="33"/>
                  </a:lnTo>
                  <a:lnTo>
                    <a:pt x="1069" y="32"/>
                  </a:lnTo>
                  <a:lnTo>
                    <a:pt x="1070" y="30"/>
                  </a:lnTo>
                  <a:lnTo>
                    <a:pt x="1072" y="29"/>
                  </a:lnTo>
                  <a:lnTo>
                    <a:pt x="1077" y="28"/>
                  </a:lnTo>
                  <a:lnTo>
                    <a:pt x="1082" y="27"/>
                  </a:lnTo>
                  <a:lnTo>
                    <a:pt x="1096" y="23"/>
                  </a:lnTo>
                  <a:lnTo>
                    <a:pt x="1112" y="21"/>
                  </a:lnTo>
                  <a:lnTo>
                    <a:pt x="1142" y="18"/>
                  </a:lnTo>
                  <a:lnTo>
                    <a:pt x="1156" y="16"/>
                  </a:lnTo>
                  <a:lnTo>
                    <a:pt x="1156" y="14"/>
                  </a:lnTo>
                  <a:lnTo>
                    <a:pt x="1158" y="13"/>
                  </a:lnTo>
                  <a:lnTo>
                    <a:pt x="1161" y="12"/>
                  </a:lnTo>
                  <a:lnTo>
                    <a:pt x="1166" y="12"/>
                  </a:lnTo>
                  <a:lnTo>
                    <a:pt x="1176" y="10"/>
                  </a:lnTo>
                  <a:lnTo>
                    <a:pt x="1188" y="9"/>
                  </a:lnTo>
                  <a:lnTo>
                    <a:pt x="1212" y="9"/>
                  </a:lnTo>
                  <a:lnTo>
                    <a:pt x="1226" y="9"/>
                  </a:lnTo>
                  <a:lnTo>
                    <a:pt x="1226" y="24"/>
                  </a:lnTo>
                  <a:lnTo>
                    <a:pt x="1243" y="32"/>
                  </a:lnTo>
                  <a:lnTo>
                    <a:pt x="1243" y="43"/>
                  </a:lnTo>
                  <a:lnTo>
                    <a:pt x="1243" y="56"/>
                  </a:lnTo>
                  <a:lnTo>
                    <a:pt x="1245" y="57"/>
                  </a:lnTo>
                  <a:lnTo>
                    <a:pt x="1247" y="58"/>
                  </a:lnTo>
                  <a:lnTo>
                    <a:pt x="1248" y="61"/>
                  </a:lnTo>
                  <a:lnTo>
                    <a:pt x="1250" y="64"/>
                  </a:lnTo>
                  <a:lnTo>
                    <a:pt x="1251" y="72"/>
                  </a:lnTo>
                  <a:lnTo>
                    <a:pt x="1251" y="79"/>
                  </a:lnTo>
                  <a:lnTo>
                    <a:pt x="1253" y="80"/>
                  </a:lnTo>
                  <a:lnTo>
                    <a:pt x="1255" y="80"/>
                  </a:lnTo>
                  <a:lnTo>
                    <a:pt x="1256" y="82"/>
                  </a:lnTo>
                  <a:lnTo>
                    <a:pt x="1257" y="85"/>
                  </a:lnTo>
                  <a:lnTo>
                    <a:pt x="1259" y="89"/>
                  </a:lnTo>
                  <a:lnTo>
                    <a:pt x="1259" y="95"/>
                  </a:lnTo>
                  <a:lnTo>
                    <a:pt x="1274" y="95"/>
                  </a:lnTo>
                  <a:lnTo>
                    <a:pt x="1282" y="102"/>
                  </a:lnTo>
                  <a:lnTo>
                    <a:pt x="1282" y="119"/>
                  </a:lnTo>
                  <a:lnTo>
                    <a:pt x="1292" y="120"/>
                  </a:lnTo>
                  <a:lnTo>
                    <a:pt x="1302" y="124"/>
                  </a:lnTo>
                  <a:lnTo>
                    <a:pt x="1314" y="129"/>
                  </a:lnTo>
                  <a:lnTo>
                    <a:pt x="1327" y="135"/>
                  </a:lnTo>
                  <a:lnTo>
                    <a:pt x="1339" y="140"/>
                  </a:lnTo>
                  <a:lnTo>
                    <a:pt x="1352" y="146"/>
                  </a:lnTo>
                  <a:lnTo>
                    <a:pt x="1365" y="149"/>
                  </a:lnTo>
                  <a:lnTo>
                    <a:pt x="1377" y="150"/>
                  </a:lnTo>
                  <a:lnTo>
                    <a:pt x="1377" y="155"/>
                  </a:lnTo>
                  <a:lnTo>
                    <a:pt x="1378" y="157"/>
                  </a:lnTo>
                  <a:lnTo>
                    <a:pt x="1379" y="158"/>
                  </a:lnTo>
                  <a:lnTo>
                    <a:pt x="1381" y="158"/>
                  </a:lnTo>
                  <a:lnTo>
                    <a:pt x="1382" y="158"/>
                  </a:lnTo>
                  <a:lnTo>
                    <a:pt x="1384" y="159"/>
                  </a:lnTo>
                  <a:lnTo>
                    <a:pt x="1385" y="162"/>
                  </a:lnTo>
                  <a:lnTo>
                    <a:pt x="1385" y="166"/>
                  </a:lnTo>
                  <a:lnTo>
                    <a:pt x="1400" y="166"/>
                  </a:lnTo>
                  <a:lnTo>
                    <a:pt x="1413" y="178"/>
                  </a:lnTo>
                  <a:lnTo>
                    <a:pt x="1424" y="189"/>
                  </a:lnTo>
                  <a:lnTo>
                    <a:pt x="1424" y="206"/>
                  </a:lnTo>
                  <a:lnTo>
                    <a:pt x="1433" y="214"/>
                  </a:lnTo>
                  <a:lnTo>
                    <a:pt x="1437" y="214"/>
                  </a:lnTo>
                  <a:lnTo>
                    <a:pt x="1439" y="215"/>
                  </a:lnTo>
                  <a:lnTo>
                    <a:pt x="1440" y="216"/>
                  </a:lnTo>
                  <a:lnTo>
                    <a:pt x="1440" y="217"/>
                  </a:lnTo>
                  <a:lnTo>
                    <a:pt x="1440" y="219"/>
                  </a:lnTo>
                  <a:lnTo>
                    <a:pt x="1442" y="221"/>
                  </a:lnTo>
                  <a:lnTo>
                    <a:pt x="1444" y="221"/>
                  </a:lnTo>
                  <a:lnTo>
                    <a:pt x="1448" y="222"/>
                  </a:lnTo>
                  <a:lnTo>
                    <a:pt x="1449" y="234"/>
                  </a:lnTo>
                  <a:lnTo>
                    <a:pt x="1452" y="249"/>
                  </a:lnTo>
                  <a:lnTo>
                    <a:pt x="1455" y="264"/>
                  </a:lnTo>
                  <a:lnTo>
                    <a:pt x="1456" y="277"/>
                  </a:lnTo>
                  <a:lnTo>
                    <a:pt x="1457" y="279"/>
                  </a:lnTo>
                  <a:lnTo>
                    <a:pt x="1458" y="284"/>
                  </a:lnTo>
                  <a:lnTo>
                    <a:pt x="1461" y="293"/>
                  </a:lnTo>
                  <a:lnTo>
                    <a:pt x="1462" y="306"/>
                  </a:lnTo>
                  <a:lnTo>
                    <a:pt x="1463" y="335"/>
                  </a:lnTo>
                  <a:lnTo>
                    <a:pt x="1464" y="368"/>
                  </a:lnTo>
                  <a:lnTo>
                    <a:pt x="1463" y="402"/>
                  </a:lnTo>
                  <a:lnTo>
                    <a:pt x="1461" y="431"/>
                  </a:lnTo>
                  <a:lnTo>
                    <a:pt x="1458" y="442"/>
                  </a:lnTo>
                  <a:lnTo>
                    <a:pt x="1455" y="451"/>
                  </a:lnTo>
                  <a:lnTo>
                    <a:pt x="1454" y="454"/>
                  </a:lnTo>
                  <a:lnTo>
                    <a:pt x="1452" y="456"/>
                  </a:lnTo>
                  <a:lnTo>
                    <a:pt x="1451" y="458"/>
                  </a:lnTo>
                  <a:lnTo>
                    <a:pt x="1448" y="458"/>
                  </a:lnTo>
                  <a:lnTo>
                    <a:pt x="1448" y="463"/>
                  </a:lnTo>
                  <a:lnTo>
                    <a:pt x="1447" y="466"/>
                  </a:lnTo>
                  <a:lnTo>
                    <a:pt x="1423" y="465"/>
                  </a:lnTo>
                  <a:lnTo>
                    <a:pt x="1397" y="462"/>
                  </a:lnTo>
                  <a:lnTo>
                    <a:pt x="1372" y="460"/>
                  </a:lnTo>
                  <a:lnTo>
                    <a:pt x="1353" y="458"/>
                  </a:lnTo>
                  <a:lnTo>
                    <a:pt x="1251" y="458"/>
                  </a:lnTo>
                  <a:lnTo>
                    <a:pt x="1251" y="443"/>
                  </a:lnTo>
                  <a:lnTo>
                    <a:pt x="1247" y="443"/>
                  </a:lnTo>
                  <a:lnTo>
                    <a:pt x="1244" y="442"/>
                  </a:lnTo>
                  <a:lnTo>
                    <a:pt x="1242" y="439"/>
                  </a:lnTo>
                  <a:lnTo>
                    <a:pt x="1240" y="438"/>
                  </a:lnTo>
                  <a:lnTo>
                    <a:pt x="1237" y="435"/>
                  </a:lnTo>
                  <a:lnTo>
                    <a:pt x="1236" y="433"/>
                  </a:lnTo>
                  <a:lnTo>
                    <a:pt x="1235" y="429"/>
                  </a:lnTo>
                  <a:lnTo>
                    <a:pt x="1235" y="427"/>
                  </a:lnTo>
                  <a:lnTo>
                    <a:pt x="1229" y="427"/>
                  </a:lnTo>
                  <a:lnTo>
                    <a:pt x="1227" y="426"/>
                  </a:lnTo>
                  <a:lnTo>
                    <a:pt x="1227" y="425"/>
                  </a:lnTo>
                  <a:lnTo>
                    <a:pt x="1226" y="423"/>
                  </a:lnTo>
                  <a:lnTo>
                    <a:pt x="1226" y="422"/>
                  </a:lnTo>
                  <a:lnTo>
                    <a:pt x="1226" y="421"/>
                  </a:lnTo>
                  <a:lnTo>
                    <a:pt x="1223" y="419"/>
                  </a:lnTo>
                  <a:lnTo>
                    <a:pt x="1218" y="419"/>
                  </a:lnTo>
                  <a:lnTo>
                    <a:pt x="1218" y="404"/>
                  </a:lnTo>
                  <a:lnTo>
                    <a:pt x="1212" y="402"/>
                  </a:lnTo>
                  <a:lnTo>
                    <a:pt x="1204" y="398"/>
                  </a:lnTo>
                  <a:lnTo>
                    <a:pt x="1200" y="396"/>
                  </a:lnTo>
                  <a:lnTo>
                    <a:pt x="1197" y="394"/>
                  </a:lnTo>
                  <a:lnTo>
                    <a:pt x="1196" y="390"/>
                  </a:lnTo>
                  <a:lnTo>
                    <a:pt x="1195" y="387"/>
                  </a:lnTo>
                  <a:lnTo>
                    <a:pt x="1131" y="387"/>
                  </a:lnTo>
                  <a:lnTo>
                    <a:pt x="1123" y="395"/>
                  </a:lnTo>
                  <a:lnTo>
                    <a:pt x="1116" y="404"/>
                  </a:lnTo>
                  <a:lnTo>
                    <a:pt x="1108" y="412"/>
                  </a:lnTo>
                  <a:lnTo>
                    <a:pt x="1108" y="427"/>
                  </a:lnTo>
                  <a:lnTo>
                    <a:pt x="1103" y="427"/>
                  </a:lnTo>
                  <a:lnTo>
                    <a:pt x="1101" y="428"/>
                  </a:lnTo>
                  <a:lnTo>
                    <a:pt x="1100" y="429"/>
                  </a:lnTo>
                  <a:lnTo>
                    <a:pt x="1100" y="431"/>
                  </a:lnTo>
                  <a:lnTo>
                    <a:pt x="1100" y="433"/>
                  </a:lnTo>
                  <a:lnTo>
                    <a:pt x="1099" y="434"/>
                  </a:lnTo>
                  <a:lnTo>
                    <a:pt x="1097" y="435"/>
                  </a:lnTo>
                  <a:lnTo>
                    <a:pt x="1092" y="435"/>
                  </a:lnTo>
                  <a:lnTo>
                    <a:pt x="1092" y="451"/>
                  </a:lnTo>
                  <a:lnTo>
                    <a:pt x="1090" y="452"/>
                  </a:lnTo>
                  <a:lnTo>
                    <a:pt x="1088" y="453"/>
                  </a:lnTo>
                  <a:lnTo>
                    <a:pt x="1085" y="456"/>
                  </a:lnTo>
                  <a:lnTo>
                    <a:pt x="1083" y="458"/>
                  </a:lnTo>
                  <a:lnTo>
                    <a:pt x="1081" y="462"/>
                  </a:lnTo>
                  <a:lnTo>
                    <a:pt x="1078" y="464"/>
                  </a:lnTo>
                  <a:lnTo>
                    <a:pt x="1074" y="466"/>
                  </a:lnTo>
                  <a:lnTo>
                    <a:pt x="1069" y="466"/>
                  </a:lnTo>
                  <a:lnTo>
                    <a:pt x="1068" y="472"/>
                  </a:lnTo>
                  <a:lnTo>
                    <a:pt x="1067" y="476"/>
                  </a:lnTo>
                  <a:lnTo>
                    <a:pt x="1063" y="479"/>
                  </a:lnTo>
                  <a:lnTo>
                    <a:pt x="1061" y="481"/>
                  </a:lnTo>
                  <a:lnTo>
                    <a:pt x="1058" y="483"/>
                  </a:lnTo>
                  <a:lnTo>
                    <a:pt x="1055" y="485"/>
                  </a:lnTo>
                  <a:lnTo>
                    <a:pt x="1053" y="487"/>
                  </a:lnTo>
                  <a:lnTo>
                    <a:pt x="1053" y="490"/>
                  </a:lnTo>
                  <a:lnTo>
                    <a:pt x="1037" y="490"/>
                  </a:lnTo>
                  <a:lnTo>
                    <a:pt x="1029" y="499"/>
                  </a:lnTo>
                  <a:lnTo>
                    <a:pt x="1029" y="514"/>
                  </a:lnTo>
                  <a:lnTo>
                    <a:pt x="1024" y="514"/>
                  </a:lnTo>
                  <a:lnTo>
                    <a:pt x="1022" y="515"/>
                  </a:lnTo>
                  <a:lnTo>
                    <a:pt x="1021" y="516"/>
                  </a:lnTo>
                  <a:lnTo>
                    <a:pt x="1021" y="518"/>
                  </a:lnTo>
                  <a:lnTo>
                    <a:pt x="1021" y="520"/>
                  </a:lnTo>
                  <a:lnTo>
                    <a:pt x="1020" y="521"/>
                  </a:lnTo>
                  <a:lnTo>
                    <a:pt x="1017" y="521"/>
                  </a:lnTo>
                  <a:lnTo>
                    <a:pt x="1013" y="522"/>
                  </a:lnTo>
                  <a:lnTo>
                    <a:pt x="1013" y="553"/>
                  </a:lnTo>
                  <a:lnTo>
                    <a:pt x="1012" y="554"/>
                  </a:lnTo>
                  <a:lnTo>
                    <a:pt x="1011" y="556"/>
                  </a:lnTo>
                  <a:lnTo>
                    <a:pt x="1010" y="558"/>
                  </a:lnTo>
                  <a:lnTo>
                    <a:pt x="1008" y="561"/>
                  </a:lnTo>
                  <a:lnTo>
                    <a:pt x="1007" y="569"/>
                  </a:lnTo>
                  <a:lnTo>
                    <a:pt x="1006" y="578"/>
                  </a:lnTo>
                  <a:lnTo>
                    <a:pt x="1005" y="597"/>
                  </a:lnTo>
                  <a:lnTo>
                    <a:pt x="1005" y="609"/>
                  </a:lnTo>
                  <a:lnTo>
                    <a:pt x="1003" y="609"/>
                  </a:lnTo>
                  <a:lnTo>
                    <a:pt x="1001" y="610"/>
                  </a:lnTo>
                  <a:lnTo>
                    <a:pt x="1000" y="611"/>
                  </a:lnTo>
                  <a:lnTo>
                    <a:pt x="998" y="614"/>
                  </a:lnTo>
                  <a:lnTo>
                    <a:pt x="997" y="619"/>
                  </a:lnTo>
                  <a:lnTo>
                    <a:pt x="997" y="625"/>
                  </a:lnTo>
                  <a:lnTo>
                    <a:pt x="995" y="625"/>
                  </a:lnTo>
                  <a:lnTo>
                    <a:pt x="993" y="626"/>
                  </a:lnTo>
                  <a:lnTo>
                    <a:pt x="992" y="627"/>
                  </a:lnTo>
                  <a:lnTo>
                    <a:pt x="991" y="629"/>
                  </a:lnTo>
                  <a:lnTo>
                    <a:pt x="989" y="635"/>
                  </a:lnTo>
                  <a:lnTo>
                    <a:pt x="989" y="640"/>
                  </a:lnTo>
                  <a:lnTo>
                    <a:pt x="974" y="640"/>
                  </a:lnTo>
                  <a:lnTo>
                    <a:pt x="966" y="648"/>
                  </a:lnTo>
                  <a:lnTo>
                    <a:pt x="958" y="656"/>
                  </a:lnTo>
                  <a:lnTo>
                    <a:pt x="958" y="672"/>
                  </a:lnTo>
                  <a:lnTo>
                    <a:pt x="946" y="672"/>
                  </a:lnTo>
                  <a:lnTo>
                    <a:pt x="934" y="672"/>
                  </a:lnTo>
                  <a:lnTo>
                    <a:pt x="926" y="679"/>
                  </a:lnTo>
                  <a:lnTo>
                    <a:pt x="918" y="687"/>
                  </a:lnTo>
                  <a:lnTo>
                    <a:pt x="918" y="700"/>
                  </a:lnTo>
                  <a:lnTo>
                    <a:pt x="918" y="712"/>
                  </a:lnTo>
                  <a:lnTo>
                    <a:pt x="916" y="712"/>
                  </a:lnTo>
                  <a:lnTo>
                    <a:pt x="912" y="713"/>
                  </a:lnTo>
                  <a:lnTo>
                    <a:pt x="910" y="714"/>
                  </a:lnTo>
                  <a:lnTo>
                    <a:pt x="908" y="716"/>
                  </a:lnTo>
                  <a:lnTo>
                    <a:pt x="906" y="718"/>
                  </a:lnTo>
                  <a:lnTo>
                    <a:pt x="904" y="722"/>
                  </a:lnTo>
                  <a:lnTo>
                    <a:pt x="902" y="724"/>
                  </a:lnTo>
                  <a:lnTo>
                    <a:pt x="902" y="727"/>
                  </a:lnTo>
                  <a:lnTo>
                    <a:pt x="895" y="735"/>
                  </a:lnTo>
                  <a:lnTo>
                    <a:pt x="882" y="740"/>
                  </a:lnTo>
                  <a:lnTo>
                    <a:pt x="871" y="743"/>
                  </a:lnTo>
                  <a:lnTo>
                    <a:pt x="863" y="751"/>
                  </a:lnTo>
                  <a:lnTo>
                    <a:pt x="861" y="754"/>
                  </a:lnTo>
                  <a:lnTo>
                    <a:pt x="857" y="760"/>
                  </a:lnTo>
                  <a:lnTo>
                    <a:pt x="850" y="765"/>
                  </a:lnTo>
                  <a:lnTo>
                    <a:pt x="843" y="771"/>
                  </a:lnTo>
                  <a:lnTo>
                    <a:pt x="835" y="777"/>
                  </a:lnTo>
                  <a:lnTo>
                    <a:pt x="830" y="782"/>
                  </a:lnTo>
                  <a:lnTo>
                    <a:pt x="825" y="787"/>
                  </a:lnTo>
                  <a:lnTo>
                    <a:pt x="823" y="791"/>
                  </a:lnTo>
                  <a:lnTo>
                    <a:pt x="821" y="791"/>
                  </a:lnTo>
                  <a:lnTo>
                    <a:pt x="818" y="792"/>
                  </a:lnTo>
                  <a:lnTo>
                    <a:pt x="815" y="793"/>
                  </a:lnTo>
                  <a:lnTo>
                    <a:pt x="813" y="796"/>
                  </a:lnTo>
                  <a:lnTo>
                    <a:pt x="811" y="798"/>
                  </a:lnTo>
                  <a:lnTo>
                    <a:pt x="809" y="801"/>
                  </a:lnTo>
                  <a:lnTo>
                    <a:pt x="808" y="803"/>
                  </a:lnTo>
                  <a:lnTo>
                    <a:pt x="808" y="807"/>
                  </a:lnTo>
                  <a:lnTo>
                    <a:pt x="792" y="807"/>
                  </a:lnTo>
                  <a:lnTo>
                    <a:pt x="784" y="822"/>
                  </a:lnTo>
                  <a:lnTo>
                    <a:pt x="768" y="830"/>
                  </a:lnTo>
                  <a:lnTo>
                    <a:pt x="765" y="830"/>
                  </a:lnTo>
                  <a:lnTo>
                    <a:pt x="763" y="831"/>
                  </a:lnTo>
                  <a:lnTo>
                    <a:pt x="760" y="833"/>
                  </a:lnTo>
                  <a:lnTo>
                    <a:pt x="757" y="835"/>
                  </a:lnTo>
                  <a:lnTo>
                    <a:pt x="755" y="838"/>
                  </a:lnTo>
                  <a:lnTo>
                    <a:pt x="754" y="840"/>
                  </a:lnTo>
                  <a:lnTo>
                    <a:pt x="753" y="842"/>
                  </a:lnTo>
                  <a:lnTo>
                    <a:pt x="753" y="846"/>
                  </a:lnTo>
                  <a:lnTo>
                    <a:pt x="749" y="847"/>
                  </a:lnTo>
                  <a:lnTo>
                    <a:pt x="746" y="851"/>
                  </a:lnTo>
                  <a:lnTo>
                    <a:pt x="744" y="856"/>
                  </a:lnTo>
                  <a:lnTo>
                    <a:pt x="742" y="862"/>
                  </a:lnTo>
                  <a:lnTo>
                    <a:pt x="738" y="876"/>
                  </a:lnTo>
                  <a:lnTo>
                    <a:pt x="736" y="886"/>
                  </a:lnTo>
                  <a:lnTo>
                    <a:pt x="734" y="889"/>
                  </a:lnTo>
                  <a:lnTo>
                    <a:pt x="728" y="898"/>
                  </a:lnTo>
                  <a:lnTo>
                    <a:pt x="723" y="908"/>
                  </a:lnTo>
                  <a:lnTo>
                    <a:pt x="720" y="917"/>
                  </a:lnTo>
                  <a:lnTo>
                    <a:pt x="717" y="918"/>
                  </a:lnTo>
                  <a:lnTo>
                    <a:pt x="713" y="922"/>
                  </a:lnTo>
                  <a:lnTo>
                    <a:pt x="707" y="927"/>
                  </a:lnTo>
                  <a:lnTo>
                    <a:pt x="701" y="933"/>
                  </a:lnTo>
                  <a:lnTo>
                    <a:pt x="695" y="938"/>
                  </a:lnTo>
                  <a:lnTo>
                    <a:pt x="689" y="944"/>
                  </a:lnTo>
                  <a:lnTo>
                    <a:pt x="685" y="947"/>
                  </a:lnTo>
                  <a:lnTo>
                    <a:pt x="681" y="948"/>
                  </a:lnTo>
                  <a:lnTo>
                    <a:pt x="674" y="956"/>
                  </a:lnTo>
                  <a:lnTo>
                    <a:pt x="666" y="964"/>
                  </a:lnTo>
                  <a:lnTo>
                    <a:pt x="664" y="968"/>
                  </a:lnTo>
                  <a:lnTo>
                    <a:pt x="660" y="973"/>
                  </a:lnTo>
                  <a:lnTo>
                    <a:pt x="655" y="977"/>
                  </a:lnTo>
                  <a:lnTo>
                    <a:pt x="649" y="983"/>
                  </a:lnTo>
                  <a:lnTo>
                    <a:pt x="642" y="989"/>
                  </a:lnTo>
                  <a:lnTo>
                    <a:pt x="636" y="992"/>
                  </a:lnTo>
                  <a:lnTo>
                    <a:pt x="630" y="995"/>
                  </a:lnTo>
                  <a:lnTo>
                    <a:pt x="626" y="996"/>
                  </a:lnTo>
                  <a:lnTo>
                    <a:pt x="626" y="1001"/>
                  </a:lnTo>
                  <a:lnTo>
                    <a:pt x="624" y="1003"/>
                  </a:lnTo>
                  <a:lnTo>
                    <a:pt x="623" y="1004"/>
                  </a:lnTo>
                  <a:lnTo>
                    <a:pt x="622" y="1004"/>
                  </a:lnTo>
                  <a:lnTo>
                    <a:pt x="620" y="1004"/>
                  </a:lnTo>
                  <a:lnTo>
                    <a:pt x="619" y="1005"/>
                  </a:lnTo>
                  <a:lnTo>
                    <a:pt x="618" y="1008"/>
                  </a:lnTo>
                  <a:lnTo>
                    <a:pt x="618" y="1012"/>
                  </a:lnTo>
                  <a:lnTo>
                    <a:pt x="602" y="1012"/>
                  </a:lnTo>
                  <a:lnTo>
                    <a:pt x="601" y="1014"/>
                  </a:lnTo>
                  <a:lnTo>
                    <a:pt x="600" y="1016"/>
                  </a:lnTo>
                  <a:lnTo>
                    <a:pt x="598" y="1019"/>
                  </a:lnTo>
                  <a:lnTo>
                    <a:pt x="594" y="1021"/>
                  </a:lnTo>
                  <a:lnTo>
                    <a:pt x="591" y="1023"/>
                  </a:lnTo>
                  <a:lnTo>
                    <a:pt x="589" y="1027"/>
                  </a:lnTo>
                  <a:lnTo>
                    <a:pt x="586" y="1030"/>
                  </a:lnTo>
                  <a:lnTo>
                    <a:pt x="586" y="1035"/>
                  </a:lnTo>
                  <a:lnTo>
                    <a:pt x="575" y="1038"/>
                  </a:lnTo>
                  <a:lnTo>
                    <a:pt x="563" y="1042"/>
                  </a:lnTo>
                  <a:lnTo>
                    <a:pt x="566" y="1046"/>
                  </a:lnTo>
                  <a:lnTo>
                    <a:pt x="569" y="1048"/>
                  </a:lnTo>
                  <a:lnTo>
                    <a:pt x="561" y="1038"/>
                  </a:lnTo>
                  <a:lnTo>
                    <a:pt x="549" y="1020"/>
                  </a:lnTo>
                  <a:lnTo>
                    <a:pt x="542" y="1011"/>
                  </a:lnTo>
                  <a:lnTo>
                    <a:pt x="535" y="1004"/>
                  </a:lnTo>
                  <a:lnTo>
                    <a:pt x="533" y="1001"/>
                  </a:lnTo>
                  <a:lnTo>
                    <a:pt x="530" y="999"/>
                  </a:lnTo>
                  <a:lnTo>
                    <a:pt x="527" y="996"/>
                  </a:lnTo>
                  <a:lnTo>
                    <a:pt x="524" y="996"/>
                  </a:lnTo>
                  <a:lnTo>
                    <a:pt x="524" y="983"/>
                  </a:lnTo>
                  <a:lnTo>
                    <a:pt x="521" y="982"/>
                  </a:lnTo>
                  <a:lnTo>
                    <a:pt x="516" y="980"/>
                  </a:lnTo>
                  <a:lnTo>
                    <a:pt x="511" y="975"/>
                  </a:lnTo>
                  <a:lnTo>
                    <a:pt x="506" y="968"/>
                  </a:lnTo>
                  <a:lnTo>
                    <a:pt x="495" y="954"/>
                  </a:lnTo>
                  <a:lnTo>
                    <a:pt x="484" y="937"/>
                  </a:lnTo>
                  <a:lnTo>
                    <a:pt x="473" y="921"/>
                  </a:lnTo>
                  <a:lnTo>
                    <a:pt x="464" y="906"/>
                  </a:lnTo>
                  <a:lnTo>
                    <a:pt x="457" y="895"/>
                  </a:lnTo>
                  <a:lnTo>
                    <a:pt x="453" y="891"/>
                  </a:lnTo>
                  <a:lnTo>
                    <a:pt x="446" y="869"/>
                  </a:lnTo>
                  <a:lnTo>
                    <a:pt x="431" y="819"/>
                  </a:lnTo>
                  <a:lnTo>
                    <a:pt x="424" y="793"/>
                  </a:lnTo>
                  <a:lnTo>
                    <a:pt x="417" y="770"/>
                  </a:lnTo>
                  <a:lnTo>
                    <a:pt x="410" y="753"/>
                  </a:lnTo>
                  <a:lnTo>
                    <a:pt x="407" y="748"/>
                  </a:lnTo>
                  <a:lnTo>
                    <a:pt x="407" y="742"/>
                  </a:lnTo>
                  <a:lnTo>
                    <a:pt x="406" y="739"/>
                  </a:lnTo>
                  <a:lnTo>
                    <a:pt x="405" y="736"/>
                  </a:lnTo>
                  <a:lnTo>
                    <a:pt x="403" y="735"/>
                  </a:lnTo>
                  <a:lnTo>
                    <a:pt x="402" y="734"/>
                  </a:lnTo>
                  <a:lnTo>
                    <a:pt x="400" y="734"/>
                  </a:lnTo>
                  <a:lnTo>
                    <a:pt x="400" y="721"/>
                  </a:lnTo>
                  <a:lnTo>
                    <a:pt x="387" y="708"/>
                  </a:lnTo>
                  <a:lnTo>
                    <a:pt x="374" y="707"/>
                  </a:lnTo>
                  <a:lnTo>
                    <a:pt x="361" y="706"/>
                  </a:lnTo>
                  <a:lnTo>
                    <a:pt x="348" y="704"/>
                  </a:lnTo>
                  <a:lnTo>
                    <a:pt x="334" y="702"/>
                  </a:lnTo>
                  <a:lnTo>
                    <a:pt x="321" y="700"/>
                  </a:lnTo>
                  <a:lnTo>
                    <a:pt x="307" y="697"/>
                  </a:lnTo>
                  <a:lnTo>
                    <a:pt x="294" y="695"/>
                  </a:lnTo>
                  <a:lnTo>
                    <a:pt x="282" y="695"/>
                  </a:lnTo>
                  <a:lnTo>
                    <a:pt x="273" y="694"/>
                  </a:lnTo>
                  <a:lnTo>
                    <a:pt x="265" y="693"/>
                  </a:lnTo>
                  <a:lnTo>
                    <a:pt x="257" y="689"/>
                  </a:lnTo>
                  <a:lnTo>
                    <a:pt x="252" y="686"/>
                  </a:lnTo>
                  <a:lnTo>
                    <a:pt x="246" y="683"/>
                  </a:lnTo>
                  <a:lnTo>
                    <a:pt x="240" y="678"/>
                  </a:lnTo>
                  <a:lnTo>
                    <a:pt x="237" y="674"/>
                  </a:lnTo>
                  <a:lnTo>
                    <a:pt x="233" y="668"/>
                  </a:lnTo>
                  <a:lnTo>
                    <a:pt x="226" y="659"/>
                  </a:lnTo>
                  <a:lnTo>
                    <a:pt x="219" y="650"/>
                  </a:lnTo>
                  <a:lnTo>
                    <a:pt x="216" y="647"/>
                  </a:lnTo>
                  <a:lnTo>
                    <a:pt x="213" y="645"/>
                  </a:lnTo>
                  <a:lnTo>
                    <a:pt x="208" y="643"/>
                  </a:lnTo>
                  <a:lnTo>
                    <a:pt x="204" y="643"/>
                  </a:lnTo>
                  <a:lnTo>
                    <a:pt x="204" y="629"/>
                  </a:lnTo>
                  <a:lnTo>
                    <a:pt x="199" y="629"/>
                  </a:lnTo>
                  <a:lnTo>
                    <a:pt x="198" y="628"/>
                  </a:lnTo>
                  <a:lnTo>
                    <a:pt x="197" y="627"/>
                  </a:lnTo>
                  <a:lnTo>
                    <a:pt x="197" y="626"/>
                  </a:lnTo>
                  <a:lnTo>
                    <a:pt x="197" y="625"/>
                  </a:lnTo>
                  <a:lnTo>
                    <a:pt x="196" y="624"/>
                  </a:lnTo>
                  <a:lnTo>
                    <a:pt x="194" y="623"/>
                  </a:lnTo>
                  <a:lnTo>
                    <a:pt x="190" y="623"/>
                  </a:lnTo>
                  <a:lnTo>
                    <a:pt x="190" y="609"/>
                  </a:lnTo>
                  <a:lnTo>
                    <a:pt x="177" y="609"/>
                  </a:lnTo>
                  <a:lnTo>
                    <a:pt x="176" y="607"/>
                  </a:lnTo>
                  <a:lnTo>
                    <a:pt x="171" y="602"/>
                  </a:lnTo>
                  <a:lnTo>
                    <a:pt x="165" y="598"/>
                  </a:lnTo>
                  <a:lnTo>
                    <a:pt x="157" y="593"/>
                  </a:lnTo>
                  <a:lnTo>
                    <a:pt x="141" y="583"/>
                  </a:lnTo>
                  <a:lnTo>
                    <a:pt x="131" y="577"/>
                  </a:lnTo>
                  <a:lnTo>
                    <a:pt x="125" y="571"/>
                  </a:lnTo>
                  <a:lnTo>
                    <a:pt x="114" y="557"/>
                  </a:lnTo>
                  <a:lnTo>
                    <a:pt x="108" y="550"/>
                  </a:lnTo>
                  <a:lnTo>
                    <a:pt x="101" y="543"/>
                  </a:lnTo>
                  <a:lnTo>
                    <a:pt x="95" y="539"/>
                  </a:lnTo>
                  <a:lnTo>
                    <a:pt x="92" y="538"/>
                  </a:lnTo>
                  <a:lnTo>
                    <a:pt x="92" y="524"/>
                  </a:lnTo>
                  <a:lnTo>
                    <a:pt x="90" y="524"/>
                  </a:lnTo>
                  <a:lnTo>
                    <a:pt x="86" y="523"/>
                  </a:lnTo>
                  <a:lnTo>
                    <a:pt x="84" y="521"/>
                  </a:lnTo>
                  <a:lnTo>
                    <a:pt x="82" y="519"/>
                  </a:lnTo>
                  <a:lnTo>
                    <a:pt x="77" y="512"/>
                  </a:lnTo>
                  <a:lnTo>
                    <a:pt x="73" y="504"/>
                  </a:lnTo>
                  <a:lnTo>
                    <a:pt x="69" y="498"/>
                  </a:lnTo>
                  <a:lnTo>
                    <a:pt x="65" y="491"/>
                  </a:lnTo>
                  <a:lnTo>
                    <a:pt x="62" y="486"/>
                  </a:lnTo>
                  <a:lnTo>
                    <a:pt x="58" y="485"/>
                  </a:lnTo>
                  <a:lnTo>
                    <a:pt x="57" y="479"/>
                  </a:lnTo>
                  <a:lnTo>
                    <a:pt x="55" y="470"/>
                  </a:lnTo>
                  <a:lnTo>
                    <a:pt x="53" y="465"/>
                  </a:lnTo>
                  <a:lnTo>
                    <a:pt x="51" y="462"/>
                  </a:lnTo>
                  <a:lnTo>
                    <a:pt x="48" y="460"/>
                  </a:lnTo>
                  <a:lnTo>
                    <a:pt x="46" y="458"/>
                  </a:lnTo>
                  <a:lnTo>
                    <a:pt x="46" y="439"/>
                  </a:lnTo>
                  <a:lnTo>
                    <a:pt x="45" y="412"/>
                  </a:lnTo>
                  <a:lnTo>
                    <a:pt x="44" y="397"/>
                  </a:lnTo>
                  <a:lnTo>
                    <a:pt x="43" y="385"/>
                  </a:lnTo>
                  <a:lnTo>
                    <a:pt x="42" y="377"/>
                  </a:lnTo>
                  <a:lnTo>
                    <a:pt x="40" y="374"/>
                  </a:lnTo>
                  <a:lnTo>
                    <a:pt x="38" y="367"/>
                  </a:lnTo>
                  <a:lnTo>
                    <a:pt x="36" y="359"/>
                  </a:lnTo>
                  <a:lnTo>
                    <a:pt x="33" y="349"/>
                  </a:lnTo>
                  <a:lnTo>
                    <a:pt x="28" y="339"/>
                  </a:lnTo>
                  <a:lnTo>
                    <a:pt x="24" y="330"/>
                  </a:lnTo>
                  <a:lnTo>
                    <a:pt x="21" y="322"/>
                  </a:lnTo>
                  <a:lnTo>
                    <a:pt x="16" y="317"/>
                  </a:lnTo>
                  <a:lnTo>
                    <a:pt x="13" y="314"/>
                  </a:lnTo>
                  <a:lnTo>
                    <a:pt x="13" y="309"/>
                  </a:lnTo>
                  <a:lnTo>
                    <a:pt x="13" y="302"/>
                  </a:lnTo>
                  <a:lnTo>
                    <a:pt x="12" y="300"/>
                  </a:lnTo>
                  <a:lnTo>
                    <a:pt x="10" y="297"/>
                  </a:lnTo>
                  <a:lnTo>
                    <a:pt x="8" y="296"/>
                  </a:lnTo>
                  <a:lnTo>
                    <a:pt x="7" y="296"/>
                  </a:lnTo>
                  <a:lnTo>
                    <a:pt x="6" y="289"/>
                  </a:lnTo>
                  <a:lnTo>
                    <a:pt x="6" y="283"/>
                  </a:lnTo>
                  <a:lnTo>
                    <a:pt x="5" y="280"/>
                  </a:lnTo>
                  <a:lnTo>
                    <a:pt x="4" y="278"/>
                  </a:lnTo>
                  <a:lnTo>
                    <a:pt x="3" y="275"/>
                  </a:lnTo>
                  <a:lnTo>
                    <a:pt x="0" y="275"/>
                  </a:lnTo>
                  <a:lnTo>
                    <a:pt x="2" y="240"/>
                  </a:lnTo>
                  <a:lnTo>
                    <a:pt x="4" y="203"/>
                  </a:lnTo>
                  <a:lnTo>
                    <a:pt x="6" y="166"/>
                  </a:lnTo>
                  <a:lnTo>
                    <a:pt x="7" y="131"/>
                  </a:lnTo>
                  <a:lnTo>
                    <a:pt x="7" y="123"/>
                  </a:lnTo>
                  <a:lnTo>
                    <a:pt x="9" y="115"/>
                  </a:lnTo>
                  <a:lnTo>
                    <a:pt x="13" y="108"/>
                  </a:lnTo>
                  <a:lnTo>
                    <a:pt x="17" y="101"/>
                  </a:lnTo>
                  <a:lnTo>
                    <a:pt x="27" y="89"/>
                  </a:lnTo>
                  <a:lnTo>
                    <a:pt x="40" y="79"/>
                  </a:lnTo>
                  <a:lnTo>
                    <a:pt x="52" y="69"/>
                  </a:lnTo>
                  <a:lnTo>
                    <a:pt x="62" y="61"/>
                  </a:lnTo>
                  <a:lnTo>
                    <a:pt x="66" y="57"/>
                  </a:lnTo>
                  <a:lnTo>
                    <a:pt x="70" y="53"/>
                  </a:lnTo>
                  <a:lnTo>
                    <a:pt x="72" y="50"/>
                  </a:lnTo>
                  <a:lnTo>
                    <a:pt x="72" y="46"/>
                  </a:lnTo>
                  <a:lnTo>
                    <a:pt x="85" y="46"/>
                  </a:lnTo>
                  <a:lnTo>
                    <a:pt x="93" y="35"/>
                  </a:lnTo>
                  <a:lnTo>
                    <a:pt x="104" y="2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6" name="Freeform 49">
              <a:extLst>
                <a:ext uri="{FF2B5EF4-FFF2-40B4-BE49-F238E27FC236}">
                  <a16:creationId xmlns:a16="http://schemas.microsoft.com/office/drawing/2014/main" id="{8E1D341A-23A0-417D-BD0B-C66E72E80D6D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370763" y="2811463"/>
              <a:ext cx="312821" cy="219075"/>
            </a:xfrm>
            <a:custGeom>
              <a:avLst/>
              <a:gdLst/>
              <a:ahLst/>
              <a:cxnLst>
                <a:cxn ang="0">
                  <a:pos x="225" y="519"/>
                </a:cxn>
                <a:cxn ang="0">
                  <a:pos x="243" y="499"/>
                </a:cxn>
                <a:cxn ang="0">
                  <a:pos x="259" y="475"/>
                </a:cxn>
                <a:cxn ang="0">
                  <a:pos x="301" y="285"/>
                </a:cxn>
                <a:cxn ang="0">
                  <a:pos x="324" y="243"/>
                </a:cxn>
                <a:cxn ang="0">
                  <a:pos x="362" y="175"/>
                </a:cxn>
                <a:cxn ang="0">
                  <a:pos x="444" y="149"/>
                </a:cxn>
                <a:cxn ang="0">
                  <a:pos x="486" y="128"/>
                </a:cxn>
                <a:cxn ang="0">
                  <a:pos x="706" y="94"/>
                </a:cxn>
                <a:cxn ang="0">
                  <a:pos x="900" y="2"/>
                </a:cxn>
                <a:cxn ang="0">
                  <a:pos x="1149" y="31"/>
                </a:cxn>
                <a:cxn ang="0">
                  <a:pos x="1232" y="58"/>
                </a:cxn>
                <a:cxn ang="0">
                  <a:pos x="1269" y="81"/>
                </a:cxn>
                <a:cxn ang="0">
                  <a:pos x="1225" y="99"/>
                </a:cxn>
                <a:cxn ang="0">
                  <a:pos x="1192" y="125"/>
                </a:cxn>
                <a:cxn ang="0">
                  <a:pos x="1150" y="178"/>
                </a:cxn>
                <a:cxn ang="0">
                  <a:pos x="1131" y="356"/>
                </a:cxn>
                <a:cxn ang="0">
                  <a:pos x="1102" y="396"/>
                </a:cxn>
                <a:cxn ang="0">
                  <a:pos x="1059" y="411"/>
                </a:cxn>
                <a:cxn ang="0">
                  <a:pos x="1018" y="431"/>
                </a:cxn>
                <a:cxn ang="0">
                  <a:pos x="985" y="469"/>
                </a:cxn>
                <a:cxn ang="0">
                  <a:pos x="979" y="571"/>
                </a:cxn>
                <a:cxn ang="0">
                  <a:pos x="1063" y="575"/>
                </a:cxn>
                <a:cxn ang="0">
                  <a:pos x="1144" y="557"/>
                </a:cxn>
                <a:cxn ang="0">
                  <a:pos x="1194" y="618"/>
                </a:cxn>
                <a:cxn ang="0">
                  <a:pos x="1219" y="750"/>
                </a:cxn>
                <a:cxn ang="0">
                  <a:pos x="1237" y="800"/>
                </a:cxn>
                <a:cxn ang="0">
                  <a:pos x="1292" y="856"/>
                </a:cxn>
                <a:cxn ang="0">
                  <a:pos x="1396" y="833"/>
                </a:cxn>
                <a:cxn ang="0">
                  <a:pos x="1475" y="845"/>
                </a:cxn>
                <a:cxn ang="0">
                  <a:pos x="1528" y="865"/>
                </a:cxn>
                <a:cxn ang="0">
                  <a:pos x="1571" y="892"/>
                </a:cxn>
                <a:cxn ang="0">
                  <a:pos x="1713" y="925"/>
                </a:cxn>
                <a:cxn ang="0">
                  <a:pos x="1701" y="975"/>
                </a:cxn>
                <a:cxn ang="0">
                  <a:pos x="1526" y="1014"/>
                </a:cxn>
                <a:cxn ang="0">
                  <a:pos x="1500" y="1190"/>
                </a:cxn>
                <a:cxn ang="0">
                  <a:pos x="1526" y="1324"/>
                </a:cxn>
                <a:cxn ang="0">
                  <a:pos x="1512" y="1282"/>
                </a:cxn>
                <a:cxn ang="0">
                  <a:pos x="1425" y="1255"/>
                </a:cxn>
                <a:cxn ang="0">
                  <a:pos x="1302" y="1278"/>
                </a:cxn>
                <a:cxn ang="0">
                  <a:pos x="1241" y="1305"/>
                </a:cxn>
                <a:cxn ang="0">
                  <a:pos x="1137" y="1366"/>
                </a:cxn>
                <a:cxn ang="0">
                  <a:pos x="1048" y="1341"/>
                </a:cxn>
                <a:cxn ang="0">
                  <a:pos x="1016" y="1326"/>
                </a:cxn>
                <a:cxn ang="0">
                  <a:pos x="983" y="1297"/>
                </a:cxn>
                <a:cxn ang="0">
                  <a:pos x="880" y="1250"/>
                </a:cxn>
                <a:cxn ang="0">
                  <a:pos x="767" y="1240"/>
                </a:cxn>
                <a:cxn ang="0">
                  <a:pos x="637" y="1257"/>
                </a:cxn>
                <a:cxn ang="0">
                  <a:pos x="588" y="1277"/>
                </a:cxn>
                <a:cxn ang="0">
                  <a:pos x="373" y="1232"/>
                </a:cxn>
                <a:cxn ang="0">
                  <a:pos x="80" y="1242"/>
                </a:cxn>
                <a:cxn ang="0">
                  <a:pos x="66" y="1147"/>
                </a:cxn>
                <a:cxn ang="0">
                  <a:pos x="7" y="1048"/>
                </a:cxn>
                <a:cxn ang="0">
                  <a:pos x="22" y="952"/>
                </a:cxn>
                <a:cxn ang="0">
                  <a:pos x="67" y="913"/>
                </a:cxn>
                <a:cxn ang="0">
                  <a:pos x="141" y="858"/>
                </a:cxn>
                <a:cxn ang="0">
                  <a:pos x="185" y="703"/>
                </a:cxn>
                <a:cxn ang="0">
                  <a:pos x="206" y="648"/>
                </a:cxn>
                <a:cxn ang="0">
                  <a:pos x="210" y="580"/>
                </a:cxn>
              </a:cxnLst>
              <a:rect l="0" t="0" r="r" b="b"/>
              <a:pathLst>
                <a:path w="1725" h="1366">
                  <a:moveTo>
                    <a:pt x="147" y="566"/>
                  </a:moveTo>
                  <a:lnTo>
                    <a:pt x="161" y="557"/>
                  </a:lnTo>
                  <a:lnTo>
                    <a:pt x="173" y="549"/>
                  </a:lnTo>
                  <a:lnTo>
                    <a:pt x="183" y="542"/>
                  </a:lnTo>
                  <a:lnTo>
                    <a:pt x="187" y="538"/>
                  </a:lnTo>
                  <a:lnTo>
                    <a:pt x="199" y="531"/>
                  </a:lnTo>
                  <a:lnTo>
                    <a:pt x="205" y="530"/>
                  </a:lnTo>
                  <a:lnTo>
                    <a:pt x="208" y="528"/>
                  </a:lnTo>
                  <a:lnTo>
                    <a:pt x="211" y="523"/>
                  </a:lnTo>
                  <a:lnTo>
                    <a:pt x="213" y="519"/>
                  </a:lnTo>
                  <a:lnTo>
                    <a:pt x="225" y="519"/>
                  </a:lnTo>
                  <a:lnTo>
                    <a:pt x="225" y="516"/>
                  </a:lnTo>
                  <a:lnTo>
                    <a:pt x="226" y="513"/>
                  </a:lnTo>
                  <a:lnTo>
                    <a:pt x="227" y="512"/>
                  </a:lnTo>
                  <a:lnTo>
                    <a:pt x="228" y="512"/>
                  </a:lnTo>
                  <a:lnTo>
                    <a:pt x="229" y="512"/>
                  </a:lnTo>
                  <a:lnTo>
                    <a:pt x="230" y="512"/>
                  </a:lnTo>
                  <a:lnTo>
                    <a:pt x="230" y="510"/>
                  </a:lnTo>
                  <a:lnTo>
                    <a:pt x="230" y="507"/>
                  </a:lnTo>
                  <a:lnTo>
                    <a:pt x="236" y="506"/>
                  </a:lnTo>
                  <a:lnTo>
                    <a:pt x="239" y="502"/>
                  </a:lnTo>
                  <a:lnTo>
                    <a:pt x="243" y="499"/>
                  </a:lnTo>
                  <a:lnTo>
                    <a:pt x="244" y="493"/>
                  </a:lnTo>
                  <a:lnTo>
                    <a:pt x="247" y="493"/>
                  </a:lnTo>
                  <a:lnTo>
                    <a:pt x="249" y="493"/>
                  </a:lnTo>
                  <a:lnTo>
                    <a:pt x="249" y="492"/>
                  </a:lnTo>
                  <a:lnTo>
                    <a:pt x="249" y="491"/>
                  </a:lnTo>
                  <a:lnTo>
                    <a:pt x="249" y="490"/>
                  </a:lnTo>
                  <a:lnTo>
                    <a:pt x="250" y="489"/>
                  </a:lnTo>
                  <a:lnTo>
                    <a:pt x="253" y="488"/>
                  </a:lnTo>
                  <a:lnTo>
                    <a:pt x="256" y="488"/>
                  </a:lnTo>
                  <a:lnTo>
                    <a:pt x="257" y="482"/>
                  </a:lnTo>
                  <a:lnTo>
                    <a:pt x="259" y="475"/>
                  </a:lnTo>
                  <a:lnTo>
                    <a:pt x="262" y="473"/>
                  </a:lnTo>
                  <a:lnTo>
                    <a:pt x="264" y="471"/>
                  </a:lnTo>
                  <a:lnTo>
                    <a:pt x="266" y="470"/>
                  </a:lnTo>
                  <a:lnTo>
                    <a:pt x="268" y="469"/>
                  </a:lnTo>
                  <a:lnTo>
                    <a:pt x="269" y="451"/>
                  </a:lnTo>
                  <a:lnTo>
                    <a:pt x="273" y="424"/>
                  </a:lnTo>
                  <a:lnTo>
                    <a:pt x="277" y="392"/>
                  </a:lnTo>
                  <a:lnTo>
                    <a:pt x="283" y="357"/>
                  </a:lnTo>
                  <a:lnTo>
                    <a:pt x="290" y="324"/>
                  </a:lnTo>
                  <a:lnTo>
                    <a:pt x="297" y="296"/>
                  </a:lnTo>
                  <a:lnTo>
                    <a:pt x="301" y="285"/>
                  </a:lnTo>
                  <a:lnTo>
                    <a:pt x="305" y="276"/>
                  </a:lnTo>
                  <a:lnTo>
                    <a:pt x="306" y="273"/>
                  </a:lnTo>
                  <a:lnTo>
                    <a:pt x="309" y="270"/>
                  </a:lnTo>
                  <a:lnTo>
                    <a:pt x="311" y="269"/>
                  </a:lnTo>
                  <a:lnTo>
                    <a:pt x="312" y="269"/>
                  </a:lnTo>
                  <a:lnTo>
                    <a:pt x="312" y="257"/>
                  </a:lnTo>
                  <a:lnTo>
                    <a:pt x="314" y="256"/>
                  </a:lnTo>
                  <a:lnTo>
                    <a:pt x="316" y="254"/>
                  </a:lnTo>
                  <a:lnTo>
                    <a:pt x="319" y="252"/>
                  </a:lnTo>
                  <a:lnTo>
                    <a:pt x="321" y="249"/>
                  </a:lnTo>
                  <a:lnTo>
                    <a:pt x="324" y="243"/>
                  </a:lnTo>
                  <a:lnTo>
                    <a:pt x="324" y="238"/>
                  </a:lnTo>
                  <a:lnTo>
                    <a:pt x="338" y="231"/>
                  </a:lnTo>
                  <a:lnTo>
                    <a:pt x="339" y="222"/>
                  </a:lnTo>
                  <a:lnTo>
                    <a:pt x="340" y="212"/>
                  </a:lnTo>
                  <a:lnTo>
                    <a:pt x="342" y="203"/>
                  </a:lnTo>
                  <a:lnTo>
                    <a:pt x="343" y="193"/>
                  </a:lnTo>
                  <a:lnTo>
                    <a:pt x="350" y="187"/>
                  </a:lnTo>
                  <a:lnTo>
                    <a:pt x="354" y="186"/>
                  </a:lnTo>
                  <a:lnTo>
                    <a:pt x="359" y="183"/>
                  </a:lnTo>
                  <a:lnTo>
                    <a:pt x="361" y="180"/>
                  </a:lnTo>
                  <a:lnTo>
                    <a:pt x="362" y="175"/>
                  </a:lnTo>
                  <a:lnTo>
                    <a:pt x="374" y="172"/>
                  </a:lnTo>
                  <a:lnTo>
                    <a:pt x="388" y="168"/>
                  </a:lnTo>
                  <a:lnTo>
                    <a:pt x="400" y="156"/>
                  </a:lnTo>
                  <a:lnTo>
                    <a:pt x="409" y="156"/>
                  </a:lnTo>
                  <a:lnTo>
                    <a:pt x="419" y="156"/>
                  </a:lnTo>
                  <a:lnTo>
                    <a:pt x="419" y="154"/>
                  </a:lnTo>
                  <a:lnTo>
                    <a:pt x="421" y="153"/>
                  </a:lnTo>
                  <a:lnTo>
                    <a:pt x="425" y="152"/>
                  </a:lnTo>
                  <a:lnTo>
                    <a:pt x="429" y="151"/>
                  </a:lnTo>
                  <a:lnTo>
                    <a:pt x="437" y="149"/>
                  </a:lnTo>
                  <a:lnTo>
                    <a:pt x="444" y="149"/>
                  </a:lnTo>
                  <a:lnTo>
                    <a:pt x="444" y="147"/>
                  </a:lnTo>
                  <a:lnTo>
                    <a:pt x="446" y="146"/>
                  </a:lnTo>
                  <a:lnTo>
                    <a:pt x="448" y="145"/>
                  </a:lnTo>
                  <a:lnTo>
                    <a:pt x="450" y="144"/>
                  </a:lnTo>
                  <a:lnTo>
                    <a:pt x="457" y="144"/>
                  </a:lnTo>
                  <a:lnTo>
                    <a:pt x="463" y="144"/>
                  </a:lnTo>
                  <a:lnTo>
                    <a:pt x="475" y="131"/>
                  </a:lnTo>
                  <a:lnTo>
                    <a:pt x="479" y="131"/>
                  </a:lnTo>
                  <a:lnTo>
                    <a:pt x="484" y="131"/>
                  </a:lnTo>
                  <a:lnTo>
                    <a:pt x="485" y="129"/>
                  </a:lnTo>
                  <a:lnTo>
                    <a:pt x="486" y="128"/>
                  </a:lnTo>
                  <a:lnTo>
                    <a:pt x="487" y="127"/>
                  </a:lnTo>
                  <a:lnTo>
                    <a:pt x="487" y="125"/>
                  </a:lnTo>
                  <a:lnTo>
                    <a:pt x="512" y="124"/>
                  </a:lnTo>
                  <a:lnTo>
                    <a:pt x="538" y="122"/>
                  </a:lnTo>
                  <a:lnTo>
                    <a:pt x="565" y="119"/>
                  </a:lnTo>
                  <a:lnTo>
                    <a:pt x="593" y="115"/>
                  </a:lnTo>
                  <a:lnTo>
                    <a:pt x="620" y="112"/>
                  </a:lnTo>
                  <a:lnTo>
                    <a:pt x="647" y="109"/>
                  </a:lnTo>
                  <a:lnTo>
                    <a:pt x="671" y="107"/>
                  </a:lnTo>
                  <a:lnTo>
                    <a:pt x="694" y="106"/>
                  </a:lnTo>
                  <a:lnTo>
                    <a:pt x="706" y="94"/>
                  </a:lnTo>
                  <a:lnTo>
                    <a:pt x="718" y="94"/>
                  </a:lnTo>
                  <a:lnTo>
                    <a:pt x="732" y="83"/>
                  </a:lnTo>
                  <a:lnTo>
                    <a:pt x="745" y="71"/>
                  </a:lnTo>
                  <a:lnTo>
                    <a:pt x="759" y="60"/>
                  </a:lnTo>
                  <a:lnTo>
                    <a:pt x="775" y="50"/>
                  </a:lnTo>
                  <a:lnTo>
                    <a:pt x="790" y="39"/>
                  </a:lnTo>
                  <a:lnTo>
                    <a:pt x="805" y="29"/>
                  </a:lnTo>
                  <a:lnTo>
                    <a:pt x="819" y="18"/>
                  </a:lnTo>
                  <a:lnTo>
                    <a:pt x="831" y="6"/>
                  </a:lnTo>
                  <a:lnTo>
                    <a:pt x="858" y="4"/>
                  </a:lnTo>
                  <a:lnTo>
                    <a:pt x="900" y="2"/>
                  </a:lnTo>
                  <a:lnTo>
                    <a:pt x="954" y="0"/>
                  </a:lnTo>
                  <a:lnTo>
                    <a:pt x="1011" y="0"/>
                  </a:lnTo>
                  <a:lnTo>
                    <a:pt x="1039" y="1"/>
                  </a:lnTo>
                  <a:lnTo>
                    <a:pt x="1065" y="3"/>
                  </a:lnTo>
                  <a:lnTo>
                    <a:pt x="1090" y="7"/>
                  </a:lnTo>
                  <a:lnTo>
                    <a:pt x="1112" y="11"/>
                  </a:lnTo>
                  <a:lnTo>
                    <a:pt x="1121" y="14"/>
                  </a:lnTo>
                  <a:lnTo>
                    <a:pt x="1130" y="18"/>
                  </a:lnTo>
                  <a:lnTo>
                    <a:pt x="1138" y="22"/>
                  </a:lnTo>
                  <a:lnTo>
                    <a:pt x="1145" y="27"/>
                  </a:lnTo>
                  <a:lnTo>
                    <a:pt x="1149" y="31"/>
                  </a:lnTo>
                  <a:lnTo>
                    <a:pt x="1154" y="37"/>
                  </a:lnTo>
                  <a:lnTo>
                    <a:pt x="1156" y="43"/>
                  </a:lnTo>
                  <a:lnTo>
                    <a:pt x="1157" y="50"/>
                  </a:lnTo>
                  <a:lnTo>
                    <a:pt x="1175" y="50"/>
                  </a:lnTo>
                  <a:lnTo>
                    <a:pt x="1177" y="52"/>
                  </a:lnTo>
                  <a:lnTo>
                    <a:pt x="1183" y="53"/>
                  </a:lnTo>
                  <a:lnTo>
                    <a:pt x="1189" y="55"/>
                  </a:lnTo>
                  <a:lnTo>
                    <a:pt x="1198" y="56"/>
                  </a:lnTo>
                  <a:lnTo>
                    <a:pt x="1215" y="56"/>
                  </a:lnTo>
                  <a:lnTo>
                    <a:pt x="1225" y="56"/>
                  </a:lnTo>
                  <a:lnTo>
                    <a:pt x="1232" y="58"/>
                  </a:lnTo>
                  <a:lnTo>
                    <a:pt x="1248" y="62"/>
                  </a:lnTo>
                  <a:lnTo>
                    <a:pt x="1265" y="67"/>
                  </a:lnTo>
                  <a:lnTo>
                    <a:pt x="1275" y="68"/>
                  </a:lnTo>
                  <a:lnTo>
                    <a:pt x="1275" y="72"/>
                  </a:lnTo>
                  <a:lnTo>
                    <a:pt x="1274" y="74"/>
                  </a:lnTo>
                  <a:lnTo>
                    <a:pt x="1273" y="75"/>
                  </a:lnTo>
                  <a:lnTo>
                    <a:pt x="1272" y="75"/>
                  </a:lnTo>
                  <a:lnTo>
                    <a:pt x="1271" y="75"/>
                  </a:lnTo>
                  <a:lnTo>
                    <a:pt x="1270" y="76"/>
                  </a:lnTo>
                  <a:lnTo>
                    <a:pt x="1270" y="77"/>
                  </a:lnTo>
                  <a:lnTo>
                    <a:pt x="1269" y="81"/>
                  </a:lnTo>
                  <a:lnTo>
                    <a:pt x="1256" y="81"/>
                  </a:lnTo>
                  <a:lnTo>
                    <a:pt x="1251" y="87"/>
                  </a:lnTo>
                  <a:lnTo>
                    <a:pt x="1250" y="91"/>
                  </a:lnTo>
                  <a:lnTo>
                    <a:pt x="1250" y="93"/>
                  </a:lnTo>
                  <a:lnTo>
                    <a:pt x="1248" y="94"/>
                  </a:lnTo>
                  <a:lnTo>
                    <a:pt x="1247" y="94"/>
                  </a:lnTo>
                  <a:lnTo>
                    <a:pt x="1246" y="94"/>
                  </a:lnTo>
                  <a:lnTo>
                    <a:pt x="1245" y="95"/>
                  </a:lnTo>
                  <a:lnTo>
                    <a:pt x="1244" y="96"/>
                  </a:lnTo>
                  <a:lnTo>
                    <a:pt x="1244" y="99"/>
                  </a:lnTo>
                  <a:lnTo>
                    <a:pt x="1225" y="99"/>
                  </a:lnTo>
                  <a:lnTo>
                    <a:pt x="1225" y="101"/>
                  </a:lnTo>
                  <a:lnTo>
                    <a:pt x="1223" y="104"/>
                  </a:lnTo>
                  <a:lnTo>
                    <a:pt x="1221" y="105"/>
                  </a:lnTo>
                  <a:lnTo>
                    <a:pt x="1218" y="105"/>
                  </a:lnTo>
                  <a:lnTo>
                    <a:pt x="1212" y="106"/>
                  </a:lnTo>
                  <a:lnTo>
                    <a:pt x="1206" y="106"/>
                  </a:lnTo>
                  <a:lnTo>
                    <a:pt x="1200" y="113"/>
                  </a:lnTo>
                  <a:lnTo>
                    <a:pt x="1194" y="118"/>
                  </a:lnTo>
                  <a:lnTo>
                    <a:pt x="1194" y="123"/>
                  </a:lnTo>
                  <a:lnTo>
                    <a:pt x="1193" y="124"/>
                  </a:lnTo>
                  <a:lnTo>
                    <a:pt x="1192" y="125"/>
                  </a:lnTo>
                  <a:lnTo>
                    <a:pt x="1190" y="125"/>
                  </a:lnTo>
                  <a:lnTo>
                    <a:pt x="1189" y="125"/>
                  </a:lnTo>
                  <a:lnTo>
                    <a:pt x="1188" y="126"/>
                  </a:lnTo>
                  <a:lnTo>
                    <a:pt x="1188" y="127"/>
                  </a:lnTo>
                  <a:lnTo>
                    <a:pt x="1188" y="131"/>
                  </a:lnTo>
                  <a:lnTo>
                    <a:pt x="1175" y="131"/>
                  </a:lnTo>
                  <a:lnTo>
                    <a:pt x="1169" y="137"/>
                  </a:lnTo>
                  <a:lnTo>
                    <a:pt x="1162" y="144"/>
                  </a:lnTo>
                  <a:lnTo>
                    <a:pt x="1162" y="156"/>
                  </a:lnTo>
                  <a:lnTo>
                    <a:pt x="1150" y="156"/>
                  </a:lnTo>
                  <a:lnTo>
                    <a:pt x="1150" y="178"/>
                  </a:lnTo>
                  <a:lnTo>
                    <a:pt x="1150" y="201"/>
                  </a:lnTo>
                  <a:lnTo>
                    <a:pt x="1150" y="225"/>
                  </a:lnTo>
                  <a:lnTo>
                    <a:pt x="1150" y="250"/>
                  </a:lnTo>
                  <a:lnTo>
                    <a:pt x="1150" y="274"/>
                  </a:lnTo>
                  <a:lnTo>
                    <a:pt x="1150" y="299"/>
                  </a:lnTo>
                  <a:lnTo>
                    <a:pt x="1150" y="321"/>
                  </a:lnTo>
                  <a:lnTo>
                    <a:pt x="1150" y="344"/>
                  </a:lnTo>
                  <a:lnTo>
                    <a:pt x="1146" y="348"/>
                  </a:lnTo>
                  <a:lnTo>
                    <a:pt x="1141" y="353"/>
                  </a:lnTo>
                  <a:lnTo>
                    <a:pt x="1136" y="355"/>
                  </a:lnTo>
                  <a:lnTo>
                    <a:pt x="1131" y="356"/>
                  </a:lnTo>
                  <a:lnTo>
                    <a:pt x="1129" y="363"/>
                  </a:lnTo>
                  <a:lnTo>
                    <a:pt x="1125" y="370"/>
                  </a:lnTo>
                  <a:lnTo>
                    <a:pt x="1121" y="375"/>
                  </a:lnTo>
                  <a:lnTo>
                    <a:pt x="1118" y="378"/>
                  </a:lnTo>
                  <a:lnTo>
                    <a:pt x="1116" y="381"/>
                  </a:lnTo>
                  <a:lnTo>
                    <a:pt x="1112" y="382"/>
                  </a:lnTo>
                  <a:lnTo>
                    <a:pt x="1112" y="385"/>
                  </a:lnTo>
                  <a:lnTo>
                    <a:pt x="1111" y="388"/>
                  </a:lnTo>
                  <a:lnTo>
                    <a:pt x="1109" y="391"/>
                  </a:lnTo>
                  <a:lnTo>
                    <a:pt x="1107" y="393"/>
                  </a:lnTo>
                  <a:lnTo>
                    <a:pt x="1102" y="396"/>
                  </a:lnTo>
                  <a:lnTo>
                    <a:pt x="1100" y="399"/>
                  </a:lnTo>
                  <a:lnTo>
                    <a:pt x="1081" y="399"/>
                  </a:lnTo>
                  <a:lnTo>
                    <a:pt x="1081" y="402"/>
                  </a:lnTo>
                  <a:lnTo>
                    <a:pt x="1080" y="404"/>
                  </a:lnTo>
                  <a:lnTo>
                    <a:pt x="1077" y="405"/>
                  </a:lnTo>
                  <a:lnTo>
                    <a:pt x="1074" y="405"/>
                  </a:lnTo>
                  <a:lnTo>
                    <a:pt x="1069" y="406"/>
                  </a:lnTo>
                  <a:lnTo>
                    <a:pt x="1063" y="406"/>
                  </a:lnTo>
                  <a:lnTo>
                    <a:pt x="1062" y="408"/>
                  </a:lnTo>
                  <a:lnTo>
                    <a:pt x="1061" y="410"/>
                  </a:lnTo>
                  <a:lnTo>
                    <a:pt x="1059" y="411"/>
                  </a:lnTo>
                  <a:lnTo>
                    <a:pt x="1055" y="412"/>
                  </a:lnTo>
                  <a:lnTo>
                    <a:pt x="1050" y="412"/>
                  </a:lnTo>
                  <a:lnTo>
                    <a:pt x="1044" y="413"/>
                  </a:lnTo>
                  <a:lnTo>
                    <a:pt x="1043" y="414"/>
                  </a:lnTo>
                  <a:lnTo>
                    <a:pt x="1043" y="416"/>
                  </a:lnTo>
                  <a:lnTo>
                    <a:pt x="1042" y="417"/>
                  </a:lnTo>
                  <a:lnTo>
                    <a:pt x="1040" y="417"/>
                  </a:lnTo>
                  <a:lnTo>
                    <a:pt x="1036" y="418"/>
                  </a:lnTo>
                  <a:lnTo>
                    <a:pt x="1032" y="418"/>
                  </a:lnTo>
                  <a:lnTo>
                    <a:pt x="1032" y="431"/>
                  </a:lnTo>
                  <a:lnTo>
                    <a:pt x="1018" y="431"/>
                  </a:lnTo>
                  <a:lnTo>
                    <a:pt x="1012" y="437"/>
                  </a:lnTo>
                  <a:lnTo>
                    <a:pt x="1004" y="446"/>
                  </a:lnTo>
                  <a:lnTo>
                    <a:pt x="997" y="455"/>
                  </a:lnTo>
                  <a:lnTo>
                    <a:pt x="994" y="462"/>
                  </a:lnTo>
                  <a:lnTo>
                    <a:pt x="991" y="463"/>
                  </a:lnTo>
                  <a:lnTo>
                    <a:pt x="988" y="463"/>
                  </a:lnTo>
                  <a:lnTo>
                    <a:pt x="987" y="464"/>
                  </a:lnTo>
                  <a:lnTo>
                    <a:pt x="987" y="465"/>
                  </a:lnTo>
                  <a:lnTo>
                    <a:pt x="987" y="466"/>
                  </a:lnTo>
                  <a:lnTo>
                    <a:pt x="987" y="468"/>
                  </a:lnTo>
                  <a:lnTo>
                    <a:pt x="985" y="469"/>
                  </a:lnTo>
                  <a:lnTo>
                    <a:pt x="982" y="469"/>
                  </a:lnTo>
                  <a:lnTo>
                    <a:pt x="982" y="493"/>
                  </a:lnTo>
                  <a:lnTo>
                    <a:pt x="979" y="497"/>
                  </a:lnTo>
                  <a:lnTo>
                    <a:pt x="977" y="503"/>
                  </a:lnTo>
                  <a:lnTo>
                    <a:pt x="976" y="514"/>
                  </a:lnTo>
                  <a:lnTo>
                    <a:pt x="976" y="527"/>
                  </a:lnTo>
                  <a:lnTo>
                    <a:pt x="975" y="551"/>
                  </a:lnTo>
                  <a:lnTo>
                    <a:pt x="975" y="569"/>
                  </a:lnTo>
                  <a:lnTo>
                    <a:pt x="977" y="569"/>
                  </a:lnTo>
                  <a:lnTo>
                    <a:pt x="978" y="570"/>
                  </a:lnTo>
                  <a:lnTo>
                    <a:pt x="979" y="571"/>
                  </a:lnTo>
                  <a:lnTo>
                    <a:pt x="981" y="572"/>
                  </a:lnTo>
                  <a:lnTo>
                    <a:pt x="982" y="577"/>
                  </a:lnTo>
                  <a:lnTo>
                    <a:pt x="982" y="581"/>
                  </a:lnTo>
                  <a:lnTo>
                    <a:pt x="987" y="587"/>
                  </a:lnTo>
                  <a:lnTo>
                    <a:pt x="994" y="594"/>
                  </a:lnTo>
                  <a:lnTo>
                    <a:pt x="1013" y="594"/>
                  </a:lnTo>
                  <a:lnTo>
                    <a:pt x="1031" y="591"/>
                  </a:lnTo>
                  <a:lnTo>
                    <a:pt x="1040" y="589"/>
                  </a:lnTo>
                  <a:lnTo>
                    <a:pt x="1048" y="586"/>
                  </a:lnTo>
                  <a:lnTo>
                    <a:pt x="1055" y="581"/>
                  </a:lnTo>
                  <a:lnTo>
                    <a:pt x="1063" y="575"/>
                  </a:lnTo>
                  <a:lnTo>
                    <a:pt x="1073" y="574"/>
                  </a:lnTo>
                  <a:lnTo>
                    <a:pt x="1084" y="571"/>
                  </a:lnTo>
                  <a:lnTo>
                    <a:pt x="1096" y="570"/>
                  </a:lnTo>
                  <a:lnTo>
                    <a:pt x="1107" y="569"/>
                  </a:lnTo>
                  <a:lnTo>
                    <a:pt x="1107" y="567"/>
                  </a:lnTo>
                  <a:lnTo>
                    <a:pt x="1108" y="565"/>
                  </a:lnTo>
                  <a:lnTo>
                    <a:pt x="1110" y="562"/>
                  </a:lnTo>
                  <a:lnTo>
                    <a:pt x="1112" y="561"/>
                  </a:lnTo>
                  <a:lnTo>
                    <a:pt x="1119" y="559"/>
                  </a:lnTo>
                  <a:lnTo>
                    <a:pt x="1127" y="558"/>
                  </a:lnTo>
                  <a:lnTo>
                    <a:pt x="1144" y="557"/>
                  </a:lnTo>
                  <a:lnTo>
                    <a:pt x="1157" y="556"/>
                  </a:lnTo>
                  <a:lnTo>
                    <a:pt x="1158" y="561"/>
                  </a:lnTo>
                  <a:lnTo>
                    <a:pt x="1160" y="565"/>
                  </a:lnTo>
                  <a:lnTo>
                    <a:pt x="1165" y="568"/>
                  </a:lnTo>
                  <a:lnTo>
                    <a:pt x="1169" y="569"/>
                  </a:lnTo>
                  <a:lnTo>
                    <a:pt x="1171" y="579"/>
                  </a:lnTo>
                  <a:lnTo>
                    <a:pt x="1179" y="596"/>
                  </a:lnTo>
                  <a:lnTo>
                    <a:pt x="1184" y="605"/>
                  </a:lnTo>
                  <a:lnTo>
                    <a:pt x="1187" y="612"/>
                  </a:lnTo>
                  <a:lnTo>
                    <a:pt x="1192" y="617"/>
                  </a:lnTo>
                  <a:lnTo>
                    <a:pt x="1194" y="618"/>
                  </a:lnTo>
                  <a:lnTo>
                    <a:pt x="1194" y="644"/>
                  </a:lnTo>
                  <a:lnTo>
                    <a:pt x="1197" y="647"/>
                  </a:lnTo>
                  <a:lnTo>
                    <a:pt x="1199" y="656"/>
                  </a:lnTo>
                  <a:lnTo>
                    <a:pt x="1203" y="671"/>
                  </a:lnTo>
                  <a:lnTo>
                    <a:pt x="1206" y="686"/>
                  </a:lnTo>
                  <a:lnTo>
                    <a:pt x="1210" y="718"/>
                  </a:lnTo>
                  <a:lnTo>
                    <a:pt x="1213" y="738"/>
                  </a:lnTo>
                  <a:lnTo>
                    <a:pt x="1215" y="739"/>
                  </a:lnTo>
                  <a:lnTo>
                    <a:pt x="1216" y="741"/>
                  </a:lnTo>
                  <a:lnTo>
                    <a:pt x="1218" y="745"/>
                  </a:lnTo>
                  <a:lnTo>
                    <a:pt x="1219" y="750"/>
                  </a:lnTo>
                  <a:lnTo>
                    <a:pt x="1222" y="754"/>
                  </a:lnTo>
                  <a:lnTo>
                    <a:pt x="1224" y="759"/>
                  </a:lnTo>
                  <a:lnTo>
                    <a:pt x="1227" y="761"/>
                  </a:lnTo>
                  <a:lnTo>
                    <a:pt x="1232" y="762"/>
                  </a:lnTo>
                  <a:lnTo>
                    <a:pt x="1232" y="781"/>
                  </a:lnTo>
                  <a:lnTo>
                    <a:pt x="1234" y="782"/>
                  </a:lnTo>
                  <a:lnTo>
                    <a:pt x="1235" y="783"/>
                  </a:lnTo>
                  <a:lnTo>
                    <a:pt x="1236" y="786"/>
                  </a:lnTo>
                  <a:lnTo>
                    <a:pt x="1237" y="788"/>
                  </a:lnTo>
                  <a:lnTo>
                    <a:pt x="1237" y="795"/>
                  </a:lnTo>
                  <a:lnTo>
                    <a:pt x="1237" y="800"/>
                  </a:lnTo>
                  <a:lnTo>
                    <a:pt x="1241" y="801"/>
                  </a:lnTo>
                  <a:lnTo>
                    <a:pt x="1243" y="805"/>
                  </a:lnTo>
                  <a:lnTo>
                    <a:pt x="1246" y="808"/>
                  </a:lnTo>
                  <a:lnTo>
                    <a:pt x="1250" y="814"/>
                  </a:lnTo>
                  <a:lnTo>
                    <a:pt x="1254" y="824"/>
                  </a:lnTo>
                  <a:lnTo>
                    <a:pt x="1256" y="831"/>
                  </a:lnTo>
                  <a:lnTo>
                    <a:pt x="1263" y="838"/>
                  </a:lnTo>
                  <a:lnTo>
                    <a:pt x="1269" y="844"/>
                  </a:lnTo>
                  <a:lnTo>
                    <a:pt x="1275" y="850"/>
                  </a:lnTo>
                  <a:lnTo>
                    <a:pt x="1282" y="856"/>
                  </a:lnTo>
                  <a:lnTo>
                    <a:pt x="1292" y="856"/>
                  </a:lnTo>
                  <a:lnTo>
                    <a:pt x="1303" y="856"/>
                  </a:lnTo>
                  <a:lnTo>
                    <a:pt x="1315" y="856"/>
                  </a:lnTo>
                  <a:lnTo>
                    <a:pt x="1325" y="856"/>
                  </a:lnTo>
                  <a:lnTo>
                    <a:pt x="1331" y="844"/>
                  </a:lnTo>
                  <a:lnTo>
                    <a:pt x="1344" y="844"/>
                  </a:lnTo>
                  <a:lnTo>
                    <a:pt x="1346" y="841"/>
                  </a:lnTo>
                  <a:lnTo>
                    <a:pt x="1349" y="839"/>
                  </a:lnTo>
                  <a:lnTo>
                    <a:pt x="1353" y="838"/>
                  </a:lnTo>
                  <a:lnTo>
                    <a:pt x="1360" y="837"/>
                  </a:lnTo>
                  <a:lnTo>
                    <a:pt x="1377" y="835"/>
                  </a:lnTo>
                  <a:lnTo>
                    <a:pt x="1396" y="833"/>
                  </a:lnTo>
                  <a:lnTo>
                    <a:pt x="1434" y="831"/>
                  </a:lnTo>
                  <a:lnTo>
                    <a:pt x="1456" y="831"/>
                  </a:lnTo>
                  <a:lnTo>
                    <a:pt x="1457" y="834"/>
                  </a:lnTo>
                  <a:lnTo>
                    <a:pt x="1457" y="835"/>
                  </a:lnTo>
                  <a:lnTo>
                    <a:pt x="1459" y="836"/>
                  </a:lnTo>
                  <a:lnTo>
                    <a:pt x="1461" y="837"/>
                  </a:lnTo>
                  <a:lnTo>
                    <a:pt x="1465" y="837"/>
                  </a:lnTo>
                  <a:lnTo>
                    <a:pt x="1469" y="838"/>
                  </a:lnTo>
                  <a:lnTo>
                    <a:pt x="1469" y="840"/>
                  </a:lnTo>
                  <a:lnTo>
                    <a:pt x="1472" y="843"/>
                  </a:lnTo>
                  <a:lnTo>
                    <a:pt x="1475" y="845"/>
                  </a:lnTo>
                  <a:lnTo>
                    <a:pt x="1480" y="846"/>
                  </a:lnTo>
                  <a:lnTo>
                    <a:pt x="1487" y="849"/>
                  </a:lnTo>
                  <a:lnTo>
                    <a:pt x="1494" y="850"/>
                  </a:lnTo>
                  <a:lnTo>
                    <a:pt x="1498" y="854"/>
                  </a:lnTo>
                  <a:lnTo>
                    <a:pt x="1504" y="856"/>
                  </a:lnTo>
                  <a:lnTo>
                    <a:pt x="1511" y="856"/>
                  </a:lnTo>
                  <a:lnTo>
                    <a:pt x="1520" y="856"/>
                  </a:lnTo>
                  <a:lnTo>
                    <a:pt x="1520" y="858"/>
                  </a:lnTo>
                  <a:lnTo>
                    <a:pt x="1521" y="860"/>
                  </a:lnTo>
                  <a:lnTo>
                    <a:pt x="1524" y="863"/>
                  </a:lnTo>
                  <a:lnTo>
                    <a:pt x="1528" y="865"/>
                  </a:lnTo>
                  <a:lnTo>
                    <a:pt x="1535" y="868"/>
                  </a:lnTo>
                  <a:lnTo>
                    <a:pt x="1544" y="869"/>
                  </a:lnTo>
                  <a:lnTo>
                    <a:pt x="1544" y="870"/>
                  </a:lnTo>
                  <a:lnTo>
                    <a:pt x="1545" y="873"/>
                  </a:lnTo>
                  <a:lnTo>
                    <a:pt x="1546" y="874"/>
                  </a:lnTo>
                  <a:lnTo>
                    <a:pt x="1548" y="874"/>
                  </a:lnTo>
                  <a:lnTo>
                    <a:pt x="1552" y="875"/>
                  </a:lnTo>
                  <a:lnTo>
                    <a:pt x="1557" y="875"/>
                  </a:lnTo>
                  <a:lnTo>
                    <a:pt x="1563" y="882"/>
                  </a:lnTo>
                  <a:lnTo>
                    <a:pt x="1567" y="887"/>
                  </a:lnTo>
                  <a:lnTo>
                    <a:pt x="1571" y="892"/>
                  </a:lnTo>
                  <a:lnTo>
                    <a:pt x="1578" y="896"/>
                  </a:lnTo>
                  <a:lnTo>
                    <a:pt x="1587" y="901"/>
                  </a:lnTo>
                  <a:lnTo>
                    <a:pt x="1596" y="904"/>
                  </a:lnTo>
                  <a:lnTo>
                    <a:pt x="1606" y="907"/>
                  </a:lnTo>
                  <a:lnTo>
                    <a:pt x="1617" y="910"/>
                  </a:lnTo>
                  <a:lnTo>
                    <a:pt x="1628" y="912"/>
                  </a:lnTo>
                  <a:lnTo>
                    <a:pt x="1650" y="915"/>
                  </a:lnTo>
                  <a:lnTo>
                    <a:pt x="1673" y="917"/>
                  </a:lnTo>
                  <a:lnTo>
                    <a:pt x="1692" y="918"/>
                  </a:lnTo>
                  <a:lnTo>
                    <a:pt x="1707" y="918"/>
                  </a:lnTo>
                  <a:lnTo>
                    <a:pt x="1713" y="925"/>
                  </a:lnTo>
                  <a:lnTo>
                    <a:pt x="1720" y="932"/>
                  </a:lnTo>
                  <a:lnTo>
                    <a:pt x="1725" y="937"/>
                  </a:lnTo>
                  <a:lnTo>
                    <a:pt x="1725" y="953"/>
                  </a:lnTo>
                  <a:lnTo>
                    <a:pt x="1725" y="969"/>
                  </a:lnTo>
                  <a:lnTo>
                    <a:pt x="1713" y="969"/>
                  </a:lnTo>
                  <a:lnTo>
                    <a:pt x="1713" y="971"/>
                  </a:lnTo>
                  <a:lnTo>
                    <a:pt x="1712" y="972"/>
                  </a:lnTo>
                  <a:lnTo>
                    <a:pt x="1711" y="973"/>
                  </a:lnTo>
                  <a:lnTo>
                    <a:pt x="1709" y="974"/>
                  </a:lnTo>
                  <a:lnTo>
                    <a:pt x="1705" y="975"/>
                  </a:lnTo>
                  <a:lnTo>
                    <a:pt x="1701" y="975"/>
                  </a:lnTo>
                  <a:lnTo>
                    <a:pt x="1699" y="978"/>
                  </a:lnTo>
                  <a:lnTo>
                    <a:pt x="1696" y="980"/>
                  </a:lnTo>
                  <a:lnTo>
                    <a:pt x="1693" y="982"/>
                  </a:lnTo>
                  <a:lnTo>
                    <a:pt x="1687" y="983"/>
                  </a:lnTo>
                  <a:lnTo>
                    <a:pt x="1677" y="987"/>
                  </a:lnTo>
                  <a:lnTo>
                    <a:pt x="1669" y="988"/>
                  </a:lnTo>
                  <a:lnTo>
                    <a:pt x="1532" y="1000"/>
                  </a:lnTo>
                  <a:lnTo>
                    <a:pt x="1532" y="1012"/>
                  </a:lnTo>
                  <a:lnTo>
                    <a:pt x="1530" y="1013"/>
                  </a:lnTo>
                  <a:lnTo>
                    <a:pt x="1528" y="1013"/>
                  </a:lnTo>
                  <a:lnTo>
                    <a:pt x="1526" y="1014"/>
                  </a:lnTo>
                  <a:lnTo>
                    <a:pt x="1526" y="1017"/>
                  </a:lnTo>
                  <a:lnTo>
                    <a:pt x="1525" y="1021"/>
                  </a:lnTo>
                  <a:lnTo>
                    <a:pt x="1525" y="1026"/>
                  </a:lnTo>
                  <a:lnTo>
                    <a:pt x="1524" y="1031"/>
                  </a:lnTo>
                  <a:lnTo>
                    <a:pt x="1521" y="1049"/>
                  </a:lnTo>
                  <a:lnTo>
                    <a:pt x="1516" y="1075"/>
                  </a:lnTo>
                  <a:lnTo>
                    <a:pt x="1511" y="1104"/>
                  </a:lnTo>
                  <a:lnTo>
                    <a:pt x="1505" y="1135"/>
                  </a:lnTo>
                  <a:lnTo>
                    <a:pt x="1502" y="1165"/>
                  </a:lnTo>
                  <a:lnTo>
                    <a:pt x="1501" y="1178"/>
                  </a:lnTo>
                  <a:lnTo>
                    <a:pt x="1500" y="1190"/>
                  </a:lnTo>
                  <a:lnTo>
                    <a:pt x="1500" y="1200"/>
                  </a:lnTo>
                  <a:lnTo>
                    <a:pt x="1501" y="1206"/>
                  </a:lnTo>
                  <a:lnTo>
                    <a:pt x="1513" y="1253"/>
                  </a:lnTo>
                  <a:lnTo>
                    <a:pt x="1523" y="1287"/>
                  </a:lnTo>
                  <a:lnTo>
                    <a:pt x="1528" y="1301"/>
                  </a:lnTo>
                  <a:lnTo>
                    <a:pt x="1530" y="1312"/>
                  </a:lnTo>
                  <a:lnTo>
                    <a:pt x="1532" y="1324"/>
                  </a:lnTo>
                  <a:lnTo>
                    <a:pt x="1531" y="1334"/>
                  </a:lnTo>
                  <a:lnTo>
                    <a:pt x="1528" y="1334"/>
                  </a:lnTo>
                  <a:lnTo>
                    <a:pt x="1528" y="1328"/>
                  </a:lnTo>
                  <a:lnTo>
                    <a:pt x="1526" y="1324"/>
                  </a:lnTo>
                  <a:lnTo>
                    <a:pt x="1525" y="1321"/>
                  </a:lnTo>
                  <a:lnTo>
                    <a:pt x="1524" y="1319"/>
                  </a:lnTo>
                  <a:lnTo>
                    <a:pt x="1522" y="1319"/>
                  </a:lnTo>
                  <a:lnTo>
                    <a:pt x="1520" y="1318"/>
                  </a:lnTo>
                  <a:lnTo>
                    <a:pt x="1520" y="1311"/>
                  </a:lnTo>
                  <a:lnTo>
                    <a:pt x="1519" y="1303"/>
                  </a:lnTo>
                  <a:lnTo>
                    <a:pt x="1517" y="1300"/>
                  </a:lnTo>
                  <a:lnTo>
                    <a:pt x="1516" y="1297"/>
                  </a:lnTo>
                  <a:lnTo>
                    <a:pt x="1514" y="1296"/>
                  </a:lnTo>
                  <a:lnTo>
                    <a:pt x="1512" y="1295"/>
                  </a:lnTo>
                  <a:lnTo>
                    <a:pt x="1512" y="1282"/>
                  </a:lnTo>
                  <a:lnTo>
                    <a:pt x="1512" y="1271"/>
                  </a:lnTo>
                  <a:lnTo>
                    <a:pt x="1495" y="1263"/>
                  </a:lnTo>
                  <a:lnTo>
                    <a:pt x="1495" y="1248"/>
                  </a:lnTo>
                  <a:lnTo>
                    <a:pt x="1481" y="1248"/>
                  </a:lnTo>
                  <a:lnTo>
                    <a:pt x="1457" y="1248"/>
                  </a:lnTo>
                  <a:lnTo>
                    <a:pt x="1445" y="1249"/>
                  </a:lnTo>
                  <a:lnTo>
                    <a:pt x="1435" y="1251"/>
                  </a:lnTo>
                  <a:lnTo>
                    <a:pt x="1430" y="1251"/>
                  </a:lnTo>
                  <a:lnTo>
                    <a:pt x="1427" y="1252"/>
                  </a:lnTo>
                  <a:lnTo>
                    <a:pt x="1425" y="1253"/>
                  </a:lnTo>
                  <a:lnTo>
                    <a:pt x="1425" y="1255"/>
                  </a:lnTo>
                  <a:lnTo>
                    <a:pt x="1411" y="1257"/>
                  </a:lnTo>
                  <a:lnTo>
                    <a:pt x="1381" y="1260"/>
                  </a:lnTo>
                  <a:lnTo>
                    <a:pt x="1365" y="1262"/>
                  </a:lnTo>
                  <a:lnTo>
                    <a:pt x="1351" y="1266"/>
                  </a:lnTo>
                  <a:lnTo>
                    <a:pt x="1346" y="1267"/>
                  </a:lnTo>
                  <a:lnTo>
                    <a:pt x="1341" y="1268"/>
                  </a:lnTo>
                  <a:lnTo>
                    <a:pt x="1339" y="1269"/>
                  </a:lnTo>
                  <a:lnTo>
                    <a:pt x="1338" y="1271"/>
                  </a:lnTo>
                  <a:lnTo>
                    <a:pt x="1325" y="1272"/>
                  </a:lnTo>
                  <a:lnTo>
                    <a:pt x="1314" y="1274"/>
                  </a:lnTo>
                  <a:lnTo>
                    <a:pt x="1302" y="1278"/>
                  </a:lnTo>
                  <a:lnTo>
                    <a:pt x="1290" y="1279"/>
                  </a:lnTo>
                  <a:lnTo>
                    <a:pt x="1274" y="1295"/>
                  </a:lnTo>
                  <a:lnTo>
                    <a:pt x="1269" y="1295"/>
                  </a:lnTo>
                  <a:lnTo>
                    <a:pt x="1263" y="1296"/>
                  </a:lnTo>
                  <a:lnTo>
                    <a:pt x="1262" y="1297"/>
                  </a:lnTo>
                  <a:lnTo>
                    <a:pt x="1260" y="1298"/>
                  </a:lnTo>
                  <a:lnTo>
                    <a:pt x="1258" y="1300"/>
                  </a:lnTo>
                  <a:lnTo>
                    <a:pt x="1258" y="1302"/>
                  </a:lnTo>
                  <a:lnTo>
                    <a:pt x="1252" y="1302"/>
                  </a:lnTo>
                  <a:lnTo>
                    <a:pt x="1244" y="1303"/>
                  </a:lnTo>
                  <a:lnTo>
                    <a:pt x="1241" y="1305"/>
                  </a:lnTo>
                  <a:lnTo>
                    <a:pt x="1237" y="1306"/>
                  </a:lnTo>
                  <a:lnTo>
                    <a:pt x="1235" y="1308"/>
                  </a:lnTo>
                  <a:lnTo>
                    <a:pt x="1235" y="1310"/>
                  </a:lnTo>
                  <a:lnTo>
                    <a:pt x="1219" y="1315"/>
                  </a:lnTo>
                  <a:lnTo>
                    <a:pt x="1203" y="1318"/>
                  </a:lnTo>
                  <a:lnTo>
                    <a:pt x="1195" y="1334"/>
                  </a:lnTo>
                  <a:lnTo>
                    <a:pt x="1179" y="1338"/>
                  </a:lnTo>
                  <a:lnTo>
                    <a:pt x="1164" y="1341"/>
                  </a:lnTo>
                  <a:lnTo>
                    <a:pt x="1164" y="1358"/>
                  </a:lnTo>
                  <a:lnTo>
                    <a:pt x="1156" y="1366"/>
                  </a:lnTo>
                  <a:lnTo>
                    <a:pt x="1137" y="1366"/>
                  </a:lnTo>
                  <a:lnTo>
                    <a:pt x="1110" y="1365"/>
                  </a:lnTo>
                  <a:lnTo>
                    <a:pt x="1098" y="1364"/>
                  </a:lnTo>
                  <a:lnTo>
                    <a:pt x="1087" y="1363"/>
                  </a:lnTo>
                  <a:lnTo>
                    <a:pt x="1082" y="1362"/>
                  </a:lnTo>
                  <a:lnTo>
                    <a:pt x="1080" y="1360"/>
                  </a:lnTo>
                  <a:lnTo>
                    <a:pt x="1078" y="1359"/>
                  </a:lnTo>
                  <a:lnTo>
                    <a:pt x="1077" y="1358"/>
                  </a:lnTo>
                  <a:lnTo>
                    <a:pt x="1065" y="1358"/>
                  </a:lnTo>
                  <a:lnTo>
                    <a:pt x="1053" y="1358"/>
                  </a:lnTo>
                  <a:lnTo>
                    <a:pt x="1053" y="1341"/>
                  </a:lnTo>
                  <a:lnTo>
                    <a:pt x="1048" y="1341"/>
                  </a:lnTo>
                  <a:lnTo>
                    <a:pt x="1042" y="1341"/>
                  </a:lnTo>
                  <a:lnTo>
                    <a:pt x="1040" y="1340"/>
                  </a:lnTo>
                  <a:lnTo>
                    <a:pt x="1039" y="1339"/>
                  </a:lnTo>
                  <a:lnTo>
                    <a:pt x="1037" y="1337"/>
                  </a:lnTo>
                  <a:lnTo>
                    <a:pt x="1037" y="1334"/>
                  </a:lnTo>
                  <a:lnTo>
                    <a:pt x="1022" y="1334"/>
                  </a:lnTo>
                  <a:lnTo>
                    <a:pt x="1021" y="1329"/>
                  </a:lnTo>
                  <a:lnTo>
                    <a:pt x="1020" y="1327"/>
                  </a:lnTo>
                  <a:lnTo>
                    <a:pt x="1018" y="1326"/>
                  </a:lnTo>
                  <a:lnTo>
                    <a:pt x="1017" y="1326"/>
                  </a:lnTo>
                  <a:lnTo>
                    <a:pt x="1016" y="1326"/>
                  </a:lnTo>
                  <a:lnTo>
                    <a:pt x="1015" y="1325"/>
                  </a:lnTo>
                  <a:lnTo>
                    <a:pt x="1014" y="1322"/>
                  </a:lnTo>
                  <a:lnTo>
                    <a:pt x="1014" y="1318"/>
                  </a:lnTo>
                  <a:lnTo>
                    <a:pt x="997" y="1318"/>
                  </a:lnTo>
                  <a:lnTo>
                    <a:pt x="997" y="1314"/>
                  </a:lnTo>
                  <a:lnTo>
                    <a:pt x="995" y="1309"/>
                  </a:lnTo>
                  <a:lnTo>
                    <a:pt x="993" y="1306"/>
                  </a:lnTo>
                  <a:lnTo>
                    <a:pt x="989" y="1303"/>
                  </a:lnTo>
                  <a:lnTo>
                    <a:pt x="987" y="1301"/>
                  </a:lnTo>
                  <a:lnTo>
                    <a:pt x="984" y="1299"/>
                  </a:lnTo>
                  <a:lnTo>
                    <a:pt x="983" y="1297"/>
                  </a:lnTo>
                  <a:lnTo>
                    <a:pt x="982" y="1295"/>
                  </a:lnTo>
                  <a:lnTo>
                    <a:pt x="966" y="1295"/>
                  </a:lnTo>
                  <a:lnTo>
                    <a:pt x="955" y="1287"/>
                  </a:lnTo>
                  <a:lnTo>
                    <a:pt x="939" y="1276"/>
                  </a:lnTo>
                  <a:lnTo>
                    <a:pt x="925" y="1267"/>
                  </a:lnTo>
                  <a:lnTo>
                    <a:pt x="919" y="1263"/>
                  </a:lnTo>
                  <a:lnTo>
                    <a:pt x="909" y="1261"/>
                  </a:lnTo>
                  <a:lnTo>
                    <a:pt x="896" y="1258"/>
                  </a:lnTo>
                  <a:lnTo>
                    <a:pt x="889" y="1255"/>
                  </a:lnTo>
                  <a:lnTo>
                    <a:pt x="885" y="1253"/>
                  </a:lnTo>
                  <a:lnTo>
                    <a:pt x="880" y="1250"/>
                  </a:lnTo>
                  <a:lnTo>
                    <a:pt x="879" y="1248"/>
                  </a:lnTo>
                  <a:lnTo>
                    <a:pt x="873" y="1247"/>
                  </a:lnTo>
                  <a:lnTo>
                    <a:pt x="868" y="1247"/>
                  </a:lnTo>
                  <a:lnTo>
                    <a:pt x="867" y="1245"/>
                  </a:lnTo>
                  <a:lnTo>
                    <a:pt x="864" y="1244"/>
                  </a:lnTo>
                  <a:lnTo>
                    <a:pt x="863" y="1242"/>
                  </a:lnTo>
                  <a:lnTo>
                    <a:pt x="863" y="1239"/>
                  </a:lnTo>
                  <a:lnTo>
                    <a:pt x="849" y="1239"/>
                  </a:lnTo>
                  <a:lnTo>
                    <a:pt x="826" y="1240"/>
                  </a:lnTo>
                  <a:lnTo>
                    <a:pt x="797" y="1240"/>
                  </a:lnTo>
                  <a:lnTo>
                    <a:pt x="767" y="1240"/>
                  </a:lnTo>
                  <a:lnTo>
                    <a:pt x="738" y="1241"/>
                  </a:lnTo>
                  <a:lnTo>
                    <a:pt x="714" y="1242"/>
                  </a:lnTo>
                  <a:lnTo>
                    <a:pt x="704" y="1243"/>
                  </a:lnTo>
                  <a:lnTo>
                    <a:pt x="696" y="1244"/>
                  </a:lnTo>
                  <a:lnTo>
                    <a:pt x="691" y="1245"/>
                  </a:lnTo>
                  <a:lnTo>
                    <a:pt x="689" y="1248"/>
                  </a:lnTo>
                  <a:lnTo>
                    <a:pt x="642" y="1248"/>
                  </a:lnTo>
                  <a:lnTo>
                    <a:pt x="641" y="1250"/>
                  </a:lnTo>
                  <a:lnTo>
                    <a:pt x="640" y="1252"/>
                  </a:lnTo>
                  <a:lnTo>
                    <a:pt x="639" y="1254"/>
                  </a:lnTo>
                  <a:lnTo>
                    <a:pt x="637" y="1257"/>
                  </a:lnTo>
                  <a:lnTo>
                    <a:pt x="632" y="1260"/>
                  </a:lnTo>
                  <a:lnTo>
                    <a:pt x="627" y="1262"/>
                  </a:lnTo>
                  <a:lnTo>
                    <a:pt x="620" y="1264"/>
                  </a:lnTo>
                  <a:lnTo>
                    <a:pt x="615" y="1266"/>
                  </a:lnTo>
                  <a:lnTo>
                    <a:pt x="612" y="1268"/>
                  </a:lnTo>
                  <a:lnTo>
                    <a:pt x="610" y="1271"/>
                  </a:lnTo>
                  <a:lnTo>
                    <a:pt x="603" y="1271"/>
                  </a:lnTo>
                  <a:lnTo>
                    <a:pt x="595" y="1272"/>
                  </a:lnTo>
                  <a:lnTo>
                    <a:pt x="592" y="1272"/>
                  </a:lnTo>
                  <a:lnTo>
                    <a:pt x="589" y="1274"/>
                  </a:lnTo>
                  <a:lnTo>
                    <a:pt x="588" y="1277"/>
                  </a:lnTo>
                  <a:lnTo>
                    <a:pt x="586" y="1279"/>
                  </a:lnTo>
                  <a:lnTo>
                    <a:pt x="484" y="1279"/>
                  </a:lnTo>
                  <a:lnTo>
                    <a:pt x="483" y="1276"/>
                  </a:lnTo>
                  <a:lnTo>
                    <a:pt x="478" y="1273"/>
                  </a:lnTo>
                  <a:lnTo>
                    <a:pt x="473" y="1271"/>
                  </a:lnTo>
                  <a:lnTo>
                    <a:pt x="464" y="1269"/>
                  </a:lnTo>
                  <a:lnTo>
                    <a:pt x="442" y="1266"/>
                  </a:lnTo>
                  <a:lnTo>
                    <a:pt x="416" y="1263"/>
                  </a:lnTo>
                  <a:lnTo>
                    <a:pt x="393" y="1252"/>
                  </a:lnTo>
                  <a:lnTo>
                    <a:pt x="393" y="1232"/>
                  </a:lnTo>
                  <a:lnTo>
                    <a:pt x="373" y="1232"/>
                  </a:lnTo>
                  <a:lnTo>
                    <a:pt x="340" y="1233"/>
                  </a:lnTo>
                  <a:lnTo>
                    <a:pt x="298" y="1233"/>
                  </a:lnTo>
                  <a:lnTo>
                    <a:pt x="254" y="1233"/>
                  </a:lnTo>
                  <a:lnTo>
                    <a:pt x="210" y="1234"/>
                  </a:lnTo>
                  <a:lnTo>
                    <a:pt x="173" y="1235"/>
                  </a:lnTo>
                  <a:lnTo>
                    <a:pt x="148" y="1237"/>
                  </a:lnTo>
                  <a:lnTo>
                    <a:pt x="138" y="1239"/>
                  </a:lnTo>
                  <a:lnTo>
                    <a:pt x="129" y="1239"/>
                  </a:lnTo>
                  <a:lnTo>
                    <a:pt x="113" y="1240"/>
                  </a:lnTo>
                  <a:lnTo>
                    <a:pt x="95" y="1240"/>
                  </a:lnTo>
                  <a:lnTo>
                    <a:pt x="80" y="1242"/>
                  </a:lnTo>
                  <a:lnTo>
                    <a:pt x="79" y="1241"/>
                  </a:lnTo>
                  <a:lnTo>
                    <a:pt x="77" y="1240"/>
                  </a:lnTo>
                  <a:lnTo>
                    <a:pt x="77" y="1239"/>
                  </a:lnTo>
                  <a:lnTo>
                    <a:pt x="79" y="1239"/>
                  </a:lnTo>
                  <a:lnTo>
                    <a:pt x="79" y="1226"/>
                  </a:lnTo>
                  <a:lnTo>
                    <a:pt x="76" y="1213"/>
                  </a:lnTo>
                  <a:lnTo>
                    <a:pt x="75" y="1200"/>
                  </a:lnTo>
                  <a:lnTo>
                    <a:pt x="72" y="1186"/>
                  </a:lnTo>
                  <a:lnTo>
                    <a:pt x="70" y="1173"/>
                  </a:lnTo>
                  <a:lnTo>
                    <a:pt x="67" y="1160"/>
                  </a:lnTo>
                  <a:lnTo>
                    <a:pt x="66" y="1147"/>
                  </a:lnTo>
                  <a:lnTo>
                    <a:pt x="66" y="1134"/>
                  </a:lnTo>
                  <a:lnTo>
                    <a:pt x="56" y="1125"/>
                  </a:lnTo>
                  <a:lnTo>
                    <a:pt x="46" y="1115"/>
                  </a:lnTo>
                  <a:lnTo>
                    <a:pt x="46" y="1110"/>
                  </a:lnTo>
                  <a:lnTo>
                    <a:pt x="44" y="1106"/>
                  </a:lnTo>
                  <a:lnTo>
                    <a:pt x="42" y="1101"/>
                  </a:lnTo>
                  <a:lnTo>
                    <a:pt x="39" y="1096"/>
                  </a:lnTo>
                  <a:lnTo>
                    <a:pt x="32" y="1084"/>
                  </a:lnTo>
                  <a:lnTo>
                    <a:pt x="23" y="1072"/>
                  </a:lnTo>
                  <a:lnTo>
                    <a:pt x="15" y="1060"/>
                  </a:lnTo>
                  <a:lnTo>
                    <a:pt x="7" y="1048"/>
                  </a:lnTo>
                  <a:lnTo>
                    <a:pt x="5" y="1042"/>
                  </a:lnTo>
                  <a:lnTo>
                    <a:pt x="3" y="1038"/>
                  </a:lnTo>
                  <a:lnTo>
                    <a:pt x="0" y="1033"/>
                  </a:lnTo>
                  <a:lnTo>
                    <a:pt x="0" y="1029"/>
                  </a:lnTo>
                  <a:lnTo>
                    <a:pt x="2" y="1012"/>
                  </a:lnTo>
                  <a:lnTo>
                    <a:pt x="4" y="994"/>
                  </a:lnTo>
                  <a:lnTo>
                    <a:pt x="6" y="976"/>
                  </a:lnTo>
                  <a:lnTo>
                    <a:pt x="7" y="964"/>
                  </a:lnTo>
                  <a:lnTo>
                    <a:pt x="19" y="958"/>
                  </a:lnTo>
                  <a:lnTo>
                    <a:pt x="20" y="954"/>
                  </a:lnTo>
                  <a:lnTo>
                    <a:pt x="22" y="952"/>
                  </a:lnTo>
                  <a:lnTo>
                    <a:pt x="25" y="949"/>
                  </a:lnTo>
                  <a:lnTo>
                    <a:pt x="27" y="945"/>
                  </a:lnTo>
                  <a:lnTo>
                    <a:pt x="31" y="942"/>
                  </a:lnTo>
                  <a:lnTo>
                    <a:pt x="34" y="940"/>
                  </a:lnTo>
                  <a:lnTo>
                    <a:pt x="37" y="939"/>
                  </a:lnTo>
                  <a:lnTo>
                    <a:pt x="39" y="937"/>
                  </a:lnTo>
                  <a:lnTo>
                    <a:pt x="46" y="924"/>
                  </a:lnTo>
                  <a:lnTo>
                    <a:pt x="56" y="921"/>
                  </a:lnTo>
                  <a:lnTo>
                    <a:pt x="66" y="918"/>
                  </a:lnTo>
                  <a:lnTo>
                    <a:pt x="66" y="915"/>
                  </a:lnTo>
                  <a:lnTo>
                    <a:pt x="67" y="913"/>
                  </a:lnTo>
                  <a:lnTo>
                    <a:pt x="68" y="911"/>
                  </a:lnTo>
                  <a:lnTo>
                    <a:pt x="71" y="908"/>
                  </a:lnTo>
                  <a:lnTo>
                    <a:pt x="73" y="907"/>
                  </a:lnTo>
                  <a:lnTo>
                    <a:pt x="76" y="906"/>
                  </a:lnTo>
                  <a:lnTo>
                    <a:pt x="81" y="905"/>
                  </a:lnTo>
                  <a:lnTo>
                    <a:pt x="85" y="905"/>
                  </a:lnTo>
                  <a:lnTo>
                    <a:pt x="89" y="901"/>
                  </a:lnTo>
                  <a:lnTo>
                    <a:pt x="98" y="892"/>
                  </a:lnTo>
                  <a:lnTo>
                    <a:pt x="111" y="882"/>
                  </a:lnTo>
                  <a:lnTo>
                    <a:pt x="125" y="869"/>
                  </a:lnTo>
                  <a:lnTo>
                    <a:pt x="141" y="858"/>
                  </a:lnTo>
                  <a:lnTo>
                    <a:pt x="154" y="848"/>
                  </a:lnTo>
                  <a:lnTo>
                    <a:pt x="166" y="841"/>
                  </a:lnTo>
                  <a:lnTo>
                    <a:pt x="171" y="839"/>
                  </a:lnTo>
                  <a:lnTo>
                    <a:pt x="177" y="833"/>
                  </a:lnTo>
                  <a:lnTo>
                    <a:pt x="177" y="709"/>
                  </a:lnTo>
                  <a:lnTo>
                    <a:pt x="181" y="708"/>
                  </a:lnTo>
                  <a:lnTo>
                    <a:pt x="183" y="708"/>
                  </a:lnTo>
                  <a:lnTo>
                    <a:pt x="183" y="706"/>
                  </a:lnTo>
                  <a:lnTo>
                    <a:pt x="183" y="705"/>
                  </a:lnTo>
                  <a:lnTo>
                    <a:pt x="183" y="704"/>
                  </a:lnTo>
                  <a:lnTo>
                    <a:pt x="185" y="703"/>
                  </a:lnTo>
                  <a:lnTo>
                    <a:pt x="187" y="702"/>
                  </a:lnTo>
                  <a:lnTo>
                    <a:pt x="190" y="702"/>
                  </a:lnTo>
                  <a:lnTo>
                    <a:pt x="190" y="696"/>
                  </a:lnTo>
                  <a:lnTo>
                    <a:pt x="191" y="690"/>
                  </a:lnTo>
                  <a:lnTo>
                    <a:pt x="192" y="686"/>
                  </a:lnTo>
                  <a:lnTo>
                    <a:pt x="194" y="684"/>
                  </a:lnTo>
                  <a:lnTo>
                    <a:pt x="195" y="683"/>
                  </a:lnTo>
                  <a:lnTo>
                    <a:pt x="197" y="682"/>
                  </a:lnTo>
                  <a:lnTo>
                    <a:pt x="200" y="665"/>
                  </a:lnTo>
                  <a:lnTo>
                    <a:pt x="204" y="649"/>
                  </a:lnTo>
                  <a:lnTo>
                    <a:pt x="206" y="648"/>
                  </a:lnTo>
                  <a:lnTo>
                    <a:pt x="208" y="647"/>
                  </a:lnTo>
                  <a:lnTo>
                    <a:pt x="209" y="644"/>
                  </a:lnTo>
                  <a:lnTo>
                    <a:pt x="211" y="641"/>
                  </a:lnTo>
                  <a:lnTo>
                    <a:pt x="214" y="632"/>
                  </a:lnTo>
                  <a:lnTo>
                    <a:pt x="215" y="622"/>
                  </a:lnTo>
                  <a:lnTo>
                    <a:pt x="216" y="599"/>
                  </a:lnTo>
                  <a:lnTo>
                    <a:pt x="217" y="584"/>
                  </a:lnTo>
                  <a:lnTo>
                    <a:pt x="213" y="584"/>
                  </a:lnTo>
                  <a:lnTo>
                    <a:pt x="211" y="583"/>
                  </a:lnTo>
                  <a:lnTo>
                    <a:pt x="210" y="581"/>
                  </a:lnTo>
                  <a:lnTo>
                    <a:pt x="210" y="580"/>
                  </a:lnTo>
                  <a:lnTo>
                    <a:pt x="210" y="579"/>
                  </a:lnTo>
                  <a:lnTo>
                    <a:pt x="209" y="578"/>
                  </a:lnTo>
                  <a:lnTo>
                    <a:pt x="207" y="577"/>
                  </a:lnTo>
                  <a:lnTo>
                    <a:pt x="204" y="577"/>
                  </a:lnTo>
                  <a:lnTo>
                    <a:pt x="197" y="564"/>
                  </a:lnTo>
                  <a:lnTo>
                    <a:pt x="185" y="565"/>
                  </a:lnTo>
                  <a:lnTo>
                    <a:pt x="171" y="565"/>
                  </a:lnTo>
                  <a:lnTo>
                    <a:pt x="159" y="565"/>
                  </a:lnTo>
                  <a:lnTo>
                    <a:pt x="147" y="56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7" name="Freeform 50">
              <a:extLst>
                <a:ext uri="{FF2B5EF4-FFF2-40B4-BE49-F238E27FC236}">
                  <a16:creationId xmlns:a16="http://schemas.microsoft.com/office/drawing/2014/main" id="{46FE4F9E-4E7A-4B7C-BB26-BFDA36539D0B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632700" y="2905125"/>
              <a:ext cx="429642" cy="285750"/>
            </a:xfrm>
            <a:custGeom>
              <a:avLst/>
              <a:gdLst/>
              <a:ahLst/>
              <a:cxnLst>
                <a:cxn ang="0">
                  <a:pos x="146" y="973"/>
                </a:cxn>
                <a:cxn ang="0">
                  <a:pos x="206" y="1032"/>
                </a:cxn>
                <a:cxn ang="0">
                  <a:pos x="227" y="1102"/>
                </a:cxn>
                <a:cxn ang="0">
                  <a:pos x="217" y="1281"/>
                </a:cxn>
                <a:cxn ang="0">
                  <a:pos x="330" y="1227"/>
                </a:cxn>
                <a:cxn ang="0">
                  <a:pos x="367" y="1178"/>
                </a:cxn>
                <a:cxn ang="0">
                  <a:pos x="398" y="1136"/>
                </a:cxn>
                <a:cxn ang="0">
                  <a:pos x="512" y="1095"/>
                </a:cxn>
                <a:cxn ang="0">
                  <a:pos x="619" y="1066"/>
                </a:cxn>
                <a:cxn ang="0">
                  <a:pos x="736" y="1021"/>
                </a:cxn>
                <a:cxn ang="0">
                  <a:pos x="835" y="1043"/>
                </a:cxn>
                <a:cxn ang="0">
                  <a:pos x="808" y="1212"/>
                </a:cxn>
                <a:cxn ang="0">
                  <a:pos x="679" y="1242"/>
                </a:cxn>
                <a:cxn ang="0">
                  <a:pos x="634" y="1291"/>
                </a:cxn>
                <a:cxn ang="0">
                  <a:pos x="533" y="1338"/>
                </a:cxn>
                <a:cxn ang="0">
                  <a:pos x="548" y="1429"/>
                </a:cxn>
                <a:cxn ang="0">
                  <a:pos x="602" y="1458"/>
                </a:cxn>
                <a:cxn ang="0">
                  <a:pos x="635" y="1504"/>
                </a:cxn>
                <a:cxn ang="0">
                  <a:pos x="672" y="1553"/>
                </a:cxn>
                <a:cxn ang="0">
                  <a:pos x="700" y="1579"/>
                </a:cxn>
                <a:cxn ang="0">
                  <a:pos x="742" y="1624"/>
                </a:cxn>
                <a:cxn ang="0">
                  <a:pos x="801" y="1684"/>
                </a:cxn>
                <a:cxn ang="0">
                  <a:pos x="838" y="1726"/>
                </a:cxn>
                <a:cxn ang="0">
                  <a:pos x="892" y="1755"/>
                </a:cxn>
                <a:cxn ang="0">
                  <a:pos x="972" y="1695"/>
                </a:cxn>
                <a:cxn ang="0">
                  <a:pos x="1010" y="1632"/>
                </a:cxn>
                <a:cxn ang="0">
                  <a:pos x="1138" y="1674"/>
                </a:cxn>
                <a:cxn ang="0">
                  <a:pos x="1262" y="1564"/>
                </a:cxn>
                <a:cxn ang="0">
                  <a:pos x="1263" y="1451"/>
                </a:cxn>
                <a:cxn ang="0">
                  <a:pos x="1308" y="1411"/>
                </a:cxn>
                <a:cxn ang="0">
                  <a:pos x="1397" y="1338"/>
                </a:cxn>
                <a:cxn ang="0">
                  <a:pos x="1986" y="1125"/>
                </a:cxn>
                <a:cxn ang="0">
                  <a:pos x="2290" y="1044"/>
                </a:cxn>
                <a:cxn ang="0">
                  <a:pos x="2310" y="933"/>
                </a:cxn>
                <a:cxn ang="0">
                  <a:pos x="2282" y="895"/>
                </a:cxn>
                <a:cxn ang="0">
                  <a:pos x="2294" y="781"/>
                </a:cxn>
                <a:cxn ang="0">
                  <a:pos x="2328" y="750"/>
                </a:cxn>
                <a:cxn ang="0">
                  <a:pos x="2163" y="676"/>
                </a:cxn>
                <a:cxn ang="0">
                  <a:pos x="2086" y="625"/>
                </a:cxn>
                <a:cxn ang="0">
                  <a:pos x="2011" y="581"/>
                </a:cxn>
                <a:cxn ang="0">
                  <a:pos x="1916" y="543"/>
                </a:cxn>
                <a:cxn ang="0">
                  <a:pos x="1716" y="426"/>
                </a:cxn>
                <a:cxn ang="0">
                  <a:pos x="1605" y="378"/>
                </a:cxn>
                <a:cxn ang="0">
                  <a:pos x="1524" y="313"/>
                </a:cxn>
                <a:cxn ang="0">
                  <a:pos x="1464" y="227"/>
                </a:cxn>
                <a:cxn ang="0">
                  <a:pos x="1416" y="118"/>
                </a:cxn>
                <a:cxn ang="0">
                  <a:pos x="1376" y="14"/>
                </a:cxn>
                <a:cxn ang="0">
                  <a:pos x="1317" y="44"/>
                </a:cxn>
                <a:cxn ang="0">
                  <a:pos x="1277" y="101"/>
                </a:cxn>
                <a:cxn ang="0">
                  <a:pos x="1226" y="175"/>
                </a:cxn>
                <a:cxn ang="0">
                  <a:pos x="1185" y="334"/>
                </a:cxn>
                <a:cxn ang="0">
                  <a:pos x="1056" y="424"/>
                </a:cxn>
                <a:cxn ang="0">
                  <a:pos x="922" y="331"/>
                </a:cxn>
                <a:cxn ang="0">
                  <a:pos x="881" y="375"/>
                </a:cxn>
                <a:cxn ang="0">
                  <a:pos x="800" y="521"/>
                </a:cxn>
                <a:cxn ang="0">
                  <a:pos x="630" y="531"/>
                </a:cxn>
                <a:cxn ang="0">
                  <a:pos x="456" y="542"/>
                </a:cxn>
                <a:cxn ang="0">
                  <a:pos x="423" y="581"/>
                </a:cxn>
                <a:cxn ang="0">
                  <a:pos x="324" y="581"/>
                </a:cxn>
                <a:cxn ang="0">
                  <a:pos x="274" y="516"/>
                </a:cxn>
                <a:cxn ang="0">
                  <a:pos x="201" y="554"/>
                </a:cxn>
                <a:cxn ang="0">
                  <a:pos x="25" y="600"/>
                </a:cxn>
                <a:cxn ang="0">
                  <a:pos x="23" y="866"/>
                </a:cxn>
              </a:cxnLst>
              <a:rect l="0" t="0" r="r" b="b"/>
              <a:pathLst>
                <a:path w="2362" h="1772">
                  <a:moveTo>
                    <a:pt x="31" y="913"/>
                  </a:moveTo>
                  <a:lnTo>
                    <a:pt x="43" y="913"/>
                  </a:lnTo>
                  <a:lnTo>
                    <a:pt x="51" y="920"/>
                  </a:lnTo>
                  <a:lnTo>
                    <a:pt x="51" y="937"/>
                  </a:lnTo>
                  <a:lnTo>
                    <a:pt x="61" y="938"/>
                  </a:lnTo>
                  <a:lnTo>
                    <a:pt x="71" y="942"/>
                  </a:lnTo>
                  <a:lnTo>
                    <a:pt x="83" y="947"/>
                  </a:lnTo>
                  <a:lnTo>
                    <a:pt x="96" y="953"/>
                  </a:lnTo>
                  <a:lnTo>
                    <a:pt x="108" y="958"/>
                  </a:lnTo>
                  <a:lnTo>
                    <a:pt x="121" y="964"/>
                  </a:lnTo>
                  <a:lnTo>
                    <a:pt x="134" y="967"/>
                  </a:lnTo>
                  <a:lnTo>
                    <a:pt x="146" y="968"/>
                  </a:lnTo>
                  <a:lnTo>
                    <a:pt x="146" y="973"/>
                  </a:lnTo>
                  <a:lnTo>
                    <a:pt x="147" y="975"/>
                  </a:lnTo>
                  <a:lnTo>
                    <a:pt x="148" y="976"/>
                  </a:lnTo>
                  <a:lnTo>
                    <a:pt x="150" y="976"/>
                  </a:lnTo>
                  <a:lnTo>
                    <a:pt x="151" y="976"/>
                  </a:lnTo>
                  <a:lnTo>
                    <a:pt x="153" y="977"/>
                  </a:lnTo>
                  <a:lnTo>
                    <a:pt x="154" y="980"/>
                  </a:lnTo>
                  <a:lnTo>
                    <a:pt x="154" y="984"/>
                  </a:lnTo>
                  <a:lnTo>
                    <a:pt x="169" y="984"/>
                  </a:lnTo>
                  <a:lnTo>
                    <a:pt x="182" y="996"/>
                  </a:lnTo>
                  <a:lnTo>
                    <a:pt x="193" y="1007"/>
                  </a:lnTo>
                  <a:lnTo>
                    <a:pt x="193" y="1024"/>
                  </a:lnTo>
                  <a:lnTo>
                    <a:pt x="202" y="1032"/>
                  </a:lnTo>
                  <a:lnTo>
                    <a:pt x="206" y="1032"/>
                  </a:lnTo>
                  <a:lnTo>
                    <a:pt x="208" y="1033"/>
                  </a:lnTo>
                  <a:lnTo>
                    <a:pt x="209" y="1034"/>
                  </a:lnTo>
                  <a:lnTo>
                    <a:pt x="209" y="1035"/>
                  </a:lnTo>
                  <a:lnTo>
                    <a:pt x="209" y="1037"/>
                  </a:lnTo>
                  <a:lnTo>
                    <a:pt x="211" y="1039"/>
                  </a:lnTo>
                  <a:lnTo>
                    <a:pt x="213" y="1039"/>
                  </a:lnTo>
                  <a:lnTo>
                    <a:pt x="217" y="1040"/>
                  </a:lnTo>
                  <a:lnTo>
                    <a:pt x="218" y="1052"/>
                  </a:lnTo>
                  <a:lnTo>
                    <a:pt x="221" y="1067"/>
                  </a:lnTo>
                  <a:lnTo>
                    <a:pt x="224" y="1082"/>
                  </a:lnTo>
                  <a:lnTo>
                    <a:pt x="225" y="1095"/>
                  </a:lnTo>
                  <a:lnTo>
                    <a:pt x="226" y="1097"/>
                  </a:lnTo>
                  <a:lnTo>
                    <a:pt x="227" y="1102"/>
                  </a:lnTo>
                  <a:lnTo>
                    <a:pt x="230" y="1111"/>
                  </a:lnTo>
                  <a:lnTo>
                    <a:pt x="231" y="1124"/>
                  </a:lnTo>
                  <a:lnTo>
                    <a:pt x="232" y="1153"/>
                  </a:lnTo>
                  <a:lnTo>
                    <a:pt x="233" y="1186"/>
                  </a:lnTo>
                  <a:lnTo>
                    <a:pt x="232" y="1220"/>
                  </a:lnTo>
                  <a:lnTo>
                    <a:pt x="230" y="1249"/>
                  </a:lnTo>
                  <a:lnTo>
                    <a:pt x="227" y="1260"/>
                  </a:lnTo>
                  <a:lnTo>
                    <a:pt x="224" y="1269"/>
                  </a:lnTo>
                  <a:lnTo>
                    <a:pt x="223" y="1272"/>
                  </a:lnTo>
                  <a:lnTo>
                    <a:pt x="221" y="1274"/>
                  </a:lnTo>
                  <a:lnTo>
                    <a:pt x="220" y="1276"/>
                  </a:lnTo>
                  <a:lnTo>
                    <a:pt x="217" y="1276"/>
                  </a:lnTo>
                  <a:lnTo>
                    <a:pt x="217" y="1281"/>
                  </a:lnTo>
                  <a:lnTo>
                    <a:pt x="216" y="1284"/>
                  </a:lnTo>
                  <a:lnTo>
                    <a:pt x="211" y="1284"/>
                  </a:lnTo>
                  <a:lnTo>
                    <a:pt x="204" y="1283"/>
                  </a:lnTo>
                  <a:lnTo>
                    <a:pt x="209" y="1292"/>
                  </a:lnTo>
                  <a:lnTo>
                    <a:pt x="232" y="1292"/>
                  </a:lnTo>
                  <a:lnTo>
                    <a:pt x="256" y="1292"/>
                  </a:lnTo>
                  <a:lnTo>
                    <a:pt x="280" y="1292"/>
                  </a:lnTo>
                  <a:lnTo>
                    <a:pt x="302" y="1292"/>
                  </a:lnTo>
                  <a:lnTo>
                    <a:pt x="303" y="1281"/>
                  </a:lnTo>
                  <a:lnTo>
                    <a:pt x="307" y="1263"/>
                  </a:lnTo>
                  <a:lnTo>
                    <a:pt x="310" y="1244"/>
                  </a:lnTo>
                  <a:lnTo>
                    <a:pt x="311" y="1227"/>
                  </a:lnTo>
                  <a:lnTo>
                    <a:pt x="330" y="1227"/>
                  </a:lnTo>
                  <a:lnTo>
                    <a:pt x="330" y="1209"/>
                  </a:lnTo>
                  <a:lnTo>
                    <a:pt x="339" y="1199"/>
                  </a:lnTo>
                  <a:lnTo>
                    <a:pt x="342" y="1199"/>
                  </a:lnTo>
                  <a:lnTo>
                    <a:pt x="346" y="1198"/>
                  </a:lnTo>
                  <a:lnTo>
                    <a:pt x="349" y="1196"/>
                  </a:lnTo>
                  <a:lnTo>
                    <a:pt x="352" y="1194"/>
                  </a:lnTo>
                  <a:lnTo>
                    <a:pt x="355" y="1192"/>
                  </a:lnTo>
                  <a:lnTo>
                    <a:pt x="356" y="1188"/>
                  </a:lnTo>
                  <a:lnTo>
                    <a:pt x="357" y="1185"/>
                  </a:lnTo>
                  <a:lnTo>
                    <a:pt x="358" y="1182"/>
                  </a:lnTo>
                  <a:lnTo>
                    <a:pt x="362" y="1180"/>
                  </a:lnTo>
                  <a:lnTo>
                    <a:pt x="366" y="1180"/>
                  </a:lnTo>
                  <a:lnTo>
                    <a:pt x="367" y="1178"/>
                  </a:lnTo>
                  <a:lnTo>
                    <a:pt x="367" y="1177"/>
                  </a:lnTo>
                  <a:lnTo>
                    <a:pt x="367" y="1175"/>
                  </a:lnTo>
                  <a:lnTo>
                    <a:pt x="368" y="1174"/>
                  </a:lnTo>
                  <a:lnTo>
                    <a:pt x="370" y="1173"/>
                  </a:lnTo>
                  <a:lnTo>
                    <a:pt x="376" y="1173"/>
                  </a:lnTo>
                  <a:lnTo>
                    <a:pt x="376" y="1154"/>
                  </a:lnTo>
                  <a:lnTo>
                    <a:pt x="379" y="1153"/>
                  </a:lnTo>
                  <a:lnTo>
                    <a:pt x="381" y="1150"/>
                  </a:lnTo>
                  <a:lnTo>
                    <a:pt x="384" y="1148"/>
                  </a:lnTo>
                  <a:lnTo>
                    <a:pt x="387" y="1145"/>
                  </a:lnTo>
                  <a:lnTo>
                    <a:pt x="389" y="1141"/>
                  </a:lnTo>
                  <a:lnTo>
                    <a:pt x="393" y="1138"/>
                  </a:lnTo>
                  <a:lnTo>
                    <a:pt x="398" y="1136"/>
                  </a:lnTo>
                  <a:lnTo>
                    <a:pt x="404" y="1135"/>
                  </a:lnTo>
                  <a:lnTo>
                    <a:pt x="413" y="1126"/>
                  </a:lnTo>
                  <a:lnTo>
                    <a:pt x="413" y="1108"/>
                  </a:lnTo>
                  <a:lnTo>
                    <a:pt x="423" y="1098"/>
                  </a:lnTo>
                  <a:lnTo>
                    <a:pt x="449" y="1098"/>
                  </a:lnTo>
                  <a:lnTo>
                    <a:pt x="451" y="1097"/>
                  </a:lnTo>
                  <a:lnTo>
                    <a:pt x="452" y="1096"/>
                  </a:lnTo>
                  <a:lnTo>
                    <a:pt x="453" y="1095"/>
                  </a:lnTo>
                  <a:lnTo>
                    <a:pt x="455" y="1093"/>
                  </a:lnTo>
                  <a:lnTo>
                    <a:pt x="461" y="1092"/>
                  </a:lnTo>
                  <a:lnTo>
                    <a:pt x="470" y="1092"/>
                  </a:lnTo>
                  <a:lnTo>
                    <a:pt x="489" y="1093"/>
                  </a:lnTo>
                  <a:lnTo>
                    <a:pt x="512" y="1095"/>
                  </a:lnTo>
                  <a:lnTo>
                    <a:pt x="524" y="1095"/>
                  </a:lnTo>
                  <a:lnTo>
                    <a:pt x="537" y="1095"/>
                  </a:lnTo>
                  <a:lnTo>
                    <a:pt x="548" y="1093"/>
                  </a:lnTo>
                  <a:lnTo>
                    <a:pt x="559" y="1092"/>
                  </a:lnTo>
                  <a:lnTo>
                    <a:pt x="569" y="1089"/>
                  </a:lnTo>
                  <a:lnTo>
                    <a:pt x="577" y="1084"/>
                  </a:lnTo>
                  <a:lnTo>
                    <a:pt x="581" y="1081"/>
                  </a:lnTo>
                  <a:lnTo>
                    <a:pt x="583" y="1078"/>
                  </a:lnTo>
                  <a:lnTo>
                    <a:pt x="587" y="1074"/>
                  </a:lnTo>
                  <a:lnTo>
                    <a:pt x="589" y="1071"/>
                  </a:lnTo>
                  <a:lnTo>
                    <a:pt x="616" y="1071"/>
                  </a:lnTo>
                  <a:lnTo>
                    <a:pt x="617" y="1068"/>
                  </a:lnTo>
                  <a:lnTo>
                    <a:pt x="619" y="1066"/>
                  </a:lnTo>
                  <a:lnTo>
                    <a:pt x="623" y="1063"/>
                  </a:lnTo>
                  <a:lnTo>
                    <a:pt x="627" y="1062"/>
                  </a:lnTo>
                  <a:lnTo>
                    <a:pt x="636" y="1061"/>
                  </a:lnTo>
                  <a:lnTo>
                    <a:pt x="644" y="1061"/>
                  </a:lnTo>
                  <a:lnTo>
                    <a:pt x="691" y="1033"/>
                  </a:lnTo>
                  <a:lnTo>
                    <a:pt x="708" y="1033"/>
                  </a:lnTo>
                  <a:lnTo>
                    <a:pt x="710" y="1031"/>
                  </a:lnTo>
                  <a:lnTo>
                    <a:pt x="712" y="1029"/>
                  </a:lnTo>
                  <a:lnTo>
                    <a:pt x="715" y="1026"/>
                  </a:lnTo>
                  <a:lnTo>
                    <a:pt x="719" y="1025"/>
                  </a:lnTo>
                  <a:lnTo>
                    <a:pt x="729" y="1024"/>
                  </a:lnTo>
                  <a:lnTo>
                    <a:pt x="736" y="1024"/>
                  </a:lnTo>
                  <a:lnTo>
                    <a:pt x="736" y="1021"/>
                  </a:lnTo>
                  <a:lnTo>
                    <a:pt x="737" y="1019"/>
                  </a:lnTo>
                  <a:lnTo>
                    <a:pt x="740" y="1018"/>
                  </a:lnTo>
                  <a:lnTo>
                    <a:pt x="742" y="1016"/>
                  </a:lnTo>
                  <a:lnTo>
                    <a:pt x="748" y="1015"/>
                  </a:lnTo>
                  <a:lnTo>
                    <a:pt x="755" y="1015"/>
                  </a:lnTo>
                  <a:lnTo>
                    <a:pt x="755" y="996"/>
                  </a:lnTo>
                  <a:lnTo>
                    <a:pt x="770" y="996"/>
                  </a:lnTo>
                  <a:lnTo>
                    <a:pt x="788" y="996"/>
                  </a:lnTo>
                  <a:lnTo>
                    <a:pt x="804" y="996"/>
                  </a:lnTo>
                  <a:lnTo>
                    <a:pt x="819" y="996"/>
                  </a:lnTo>
                  <a:lnTo>
                    <a:pt x="822" y="1011"/>
                  </a:lnTo>
                  <a:lnTo>
                    <a:pt x="830" y="1032"/>
                  </a:lnTo>
                  <a:lnTo>
                    <a:pt x="835" y="1043"/>
                  </a:lnTo>
                  <a:lnTo>
                    <a:pt x="839" y="1052"/>
                  </a:lnTo>
                  <a:lnTo>
                    <a:pt x="841" y="1057"/>
                  </a:lnTo>
                  <a:lnTo>
                    <a:pt x="844" y="1059"/>
                  </a:lnTo>
                  <a:lnTo>
                    <a:pt x="846" y="1061"/>
                  </a:lnTo>
                  <a:lnTo>
                    <a:pt x="847" y="1061"/>
                  </a:lnTo>
                  <a:lnTo>
                    <a:pt x="847" y="1182"/>
                  </a:lnTo>
                  <a:lnTo>
                    <a:pt x="838" y="1191"/>
                  </a:lnTo>
                  <a:lnTo>
                    <a:pt x="829" y="1199"/>
                  </a:lnTo>
                  <a:lnTo>
                    <a:pt x="826" y="1201"/>
                  </a:lnTo>
                  <a:lnTo>
                    <a:pt x="822" y="1202"/>
                  </a:lnTo>
                  <a:lnTo>
                    <a:pt x="818" y="1203"/>
                  </a:lnTo>
                  <a:lnTo>
                    <a:pt x="815" y="1206"/>
                  </a:lnTo>
                  <a:lnTo>
                    <a:pt x="808" y="1212"/>
                  </a:lnTo>
                  <a:lnTo>
                    <a:pt x="801" y="1218"/>
                  </a:lnTo>
                  <a:lnTo>
                    <a:pt x="779" y="1220"/>
                  </a:lnTo>
                  <a:lnTo>
                    <a:pt x="754" y="1223"/>
                  </a:lnTo>
                  <a:lnTo>
                    <a:pt x="727" y="1226"/>
                  </a:lnTo>
                  <a:lnTo>
                    <a:pt x="700" y="1227"/>
                  </a:lnTo>
                  <a:lnTo>
                    <a:pt x="700" y="1231"/>
                  </a:lnTo>
                  <a:lnTo>
                    <a:pt x="697" y="1233"/>
                  </a:lnTo>
                  <a:lnTo>
                    <a:pt x="696" y="1234"/>
                  </a:lnTo>
                  <a:lnTo>
                    <a:pt x="694" y="1235"/>
                  </a:lnTo>
                  <a:lnTo>
                    <a:pt x="687" y="1236"/>
                  </a:lnTo>
                  <a:lnTo>
                    <a:pt x="681" y="1236"/>
                  </a:lnTo>
                  <a:lnTo>
                    <a:pt x="681" y="1240"/>
                  </a:lnTo>
                  <a:lnTo>
                    <a:pt x="679" y="1242"/>
                  </a:lnTo>
                  <a:lnTo>
                    <a:pt x="677" y="1244"/>
                  </a:lnTo>
                  <a:lnTo>
                    <a:pt x="675" y="1245"/>
                  </a:lnTo>
                  <a:lnTo>
                    <a:pt x="669" y="1246"/>
                  </a:lnTo>
                  <a:lnTo>
                    <a:pt x="663" y="1246"/>
                  </a:lnTo>
                  <a:lnTo>
                    <a:pt x="663" y="1264"/>
                  </a:lnTo>
                  <a:lnTo>
                    <a:pt x="654" y="1274"/>
                  </a:lnTo>
                  <a:lnTo>
                    <a:pt x="644" y="1283"/>
                  </a:lnTo>
                  <a:lnTo>
                    <a:pt x="638" y="1283"/>
                  </a:lnTo>
                  <a:lnTo>
                    <a:pt x="636" y="1284"/>
                  </a:lnTo>
                  <a:lnTo>
                    <a:pt x="635" y="1285"/>
                  </a:lnTo>
                  <a:lnTo>
                    <a:pt x="635" y="1288"/>
                  </a:lnTo>
                  <a:lnTo>
                    <a:pt x="635" y="1290"/>
                  </a:lnTo>
                  <a:lnTo>
                    <a:pt x="634" y="1291"/>
                  </a:lnTo>
                  <a:lnTo>
                    <a:pt x="630" y="1292"/>
                  </a:lnTo>
                  <a:lnTo>
                    <a:pt x="626" y="1292"/>
                  </a:lnTo>
                  <a:lnTo>
                    <a:pt x="616" y="1311"/>
                  </a:lnTo>
                  <a:lnTo>
                    <a:pt x="600" y="1311"/>
                  </a:lnTo>
                  <a:lnTo>
                    <a:pt x="581" y="1313"/>
                  </a:lnTo>
                  <a:lnTo>
                    <a:pt x="573" y="1316"/>
                  </a:lnTo>
                  <a:lnTo>
                    <a:pt x="567" y="1319"/>
                  </a:lnTo>
                  <a:lnTo>
                    <a:pt x="564" y="1321"/>
                  </a:lnTo>
                  <a:lnTo>
                    <a:pt x="562" y="1323"/>
                  </a:lnTo>
                  <a:lnTo>
                    <a:pt x="561" y="1326"/>
                  </a:lnTo>
                  <a:lnTo>
                    <a:pt x="561" y="1329"/>
                  </a:lnTo>
                  <a:lnTo>
                    <a:pt x="542" y="1329"/>
                  </a:lnTo>
                  <a:lnTo>
                    <a:pt x="533" y="1338"/>
                  </a:lnTo>
                  <a:lnTo>
                    <a:pt x="524" y="1348"/>
                  </a:lnTo>
                  <a:lnTo>
                    <a:pt x="514" y="1357"/>
                  </a:lnTo>
                  <a:lnTo>
                    <a:pt x="505" y="1366"/>
                  </a:lnTo>
                  <a:lnTo>
                    <a:pt x="496" y="1376"/>
                  </a:lnTo>
                  <a:lnTo>
                    <a:pt x="496" y="1385"/>
                  </a:lnTo>
                  <a:lnTo>
                    <a:pt x="496" y="1398"/>
                  </a:lnTo>
                  <a:lnTo>
                    <a:pt x="496" y="1411"/>
                  </a:lnTo>
                  <a:lnTo>
                    <a:pt x="496" y="1422"/>
                  </a:lnTo>
                  <a:lnTo>
                    <a:pt x="533" y="1422"/>
                  </a:lnTo>
                  <a:lnTo>
                    <a:pt x="534" y="1425"/>
                  </a:lnTo>
                  <a:lnTo>
                    <a:pt x="538" y="1427"/>
                  </a:lnTo>
                  <a:lnTo>
                    <a:pt x="542" y="1428"/>
                  </a:lnTo>
                  <a:lnTo>
                    <a:pt x="548" y="1429"/>
                  </a:lnTo>
                  <a:lnTo>
                    <a:pt x="560" y="1430"/>
                  </a:lnTo>
                  <a:lnTo>
                    <a:pt x="570" y="1430"/>
                  </a:lnTo>
                  <a:lnTo>
                    <a:pt x="570" y="1434"/>
                  </a:lnTo>
                  <a:lnTo>
                    <a:pt x="571" y="1436"/>
                  </a:lnTo>
                  <a:lnTo>
                    <a:pt x="573" y="1438"/>
                  </a:lnTo>
                  <a:lnTo>
                    <a:pt x="576" y="1439"/>
                  </a:lnTo>
                  <a:lnTo>
                    <a:pt x="582" y="1439"/>
                  </a:lnTo>
                  <a:lnTo>
                    <a:pt x="589" y="1441"/>
                  </a:lnTo>
                  <a:lnTo>
                    <a:pt x="598" y="1449"/>
                  </a:lnTo>
                  <a:lnTo>
                    <a:pt x="598" y="1455"/>
                  </a:lnTo>
                  <a:lnTo>
                    <a:pt x="599" y="1457"/>
                  </a:lnTo>
                  <a:lnTo>
                    <a:pt x="600" y="1458"/>
                  </a:lnTo>
                  <a:lnTo>
                    <a:pt x="602" y="1458"/>
                  </a:lnTo>
                  <a:lnTo>
                    <a:pt x="605" y="1458"/>
                  </a:lnTo>
                  <a:lnTo>
                    <a:pt x="606" y="1459"/>
                  </a:lnTo>
                  <a:lnTo>
                    <a:pt x="607" y="1463"/>
                  </a:lnTo>
                  <a:lnTo>
                    <a:pt x="607" y="1467"/>
                  </a:lnTo>
                  <a:lnTo>
                    <a:pt x="614" y="1468"/>
                  </a:lnTo>
                  <a:lnTo>
                    <a:pt x="618" y="1471"/>
                  </a:lnTo>
                  <a:lnTo>
                    <a:pt x="621" y="1474"/>
                  </a:lnTo>
                  <a:lnTo>
                    <a:pt x="625" y="1477"/>
                  </a:lnTo>
                  <a:lnTo>
                    <a:pt x="627" y="1481"/>
                  </a:lnTo>
                  <a:lnTo>
                    <a:pt x="629" y="1483"/>
                  </a:lnTo>
                  <a:lnTo>
                    <a:pt x="631" y="1485"/>
                  </a:lnTo>
                  <a:lnTo>
                    <a:pt x="635" y="1486"/>
                  </a:lnTo>
                  <a:lnTo>
                    <a:pt x="635" y="1504"/>
                  </a:lnTo>
                  <a:lnTo>
                    <a:pt x="644" y="1514"/>
                  </a:lnTo>
                  <a:lnTo>
                    <a:pt x="649" y="1514"/>
                  </a:lnTo>
                  <a:lnTo>
                    <a:pt x="652" y="1515"/>
                  </a:lnTo>
                  <a:lnTo>
                    <a:pt x="653" y="1516"/>
                  </a:lnTo>
                  <a:lnTo>
                    <a:pt x="654" y="1519"/>
                  </a:lnTo>
                  <a:lnTo>
                    <a:pt x="654" y="1520"/>
                  </a:lnTo>
                  <a:lnTo>
                    <a:pt x="655" y="1522"/>
                  </a:lnTo>
                  <a:lnTo>
                    <a:pt x="657" y="1523"/>
                  </a:lnTo>
                  <a:lnTo>
                    <a:pt x="663" y="1523"/>
                  </a:lnTo>
                  <a:lnTo>
                    <a:pt x="663" y="1551"/>
                  </a:lnTo>
                  <a:lnTo>
                    <a:pt x="668" y="1551"/>
                  </a:lnTo>
                  <a:lnTo>
                    <a:pt x="671" y="1552"/>
                  </a:lnTo>
                  <a:lnTo>
                    <a:pt x="672" y="1553"/>
                  </a:lnTo>
                  <a:lnTo>
                    <a:pt x="672" y="1555"/>
                  </a:lnTo>
                  <a:lnTo>
                    <a:pt x="672" y="1558"/>
                  </a:lnTo>
                  <a:lnTo>
                    <a:pt x="673" y="1559"/>
                  </a:lnTo>
                  <a:lnTo>
                    <a:pt x="676" y="1560"/>
                  </a:lnTo>
                  <a:lnTo>
                    <a:pt x="681" y="1560"/>
                  </a:lnTo>
                  <a:lnTo>
                    <a:pt x="682" y="1563"/>
                  </a:lnTo>
                  <a:lnTo>
                    <a:pt x="683" y="1567"/>
                  </a:lnTo>
                  <a:lnTo>
                    <a:pt x="684" y="1570"/>
                  </a:lnTo>
                  <a:lnTo>
                    <a:pt x="687" y="1573"/>
                  </a:lnTo>
                  <a:lnTo>
                    <a:pt x="689" y="1576"/>
                  </a:lnTo>
                  <a:lnTo>
                    <a:pt x="693" y="1577"/>
                  </a:lnTo>
                  <a:lnTo>
                    <a:pt x="696" y="1578"/>
                  </a:lnTo>
                  <a:lnTo>
                    <a:pt x="700" y="1579"/>
                  </a:lnTo>
                  <a:lnTo>
                    <a:pt x="708" y="1588"/>
                  </a:lnTo>
                  <a:lnTo>
                    <a:pt x="717" y="1597"/>
                  </a:lnTo>
                  <a:lnTo>
                    <a:pt x="719" y="1600"/>
                  </a:lnTo>
                  <a:lnTo>
                    <a:pt x="720" y="1603"/>
                  </a:lnTo>
                  <a:lnTo>
                    <a:pt x="721" y="1607"/>
                  </a:lnTo>
                  <a:lnTo>
                    <a:pt x="724" y="1610"/>
                  </a:lnTo>
                  <a:lnTo>
                    <a:pt x="726" y="1612"/>
                  </a:lnTo>
                  <a:lnTo>
                    <a:pt x="730" y="1614"/>
                  </a:lnTo>
                  <a:lnTo>
                    <a:pt x="733" y="1615"/>
                  </a:lnTo>
                  <a:lnTo>
                    <a:pt x="736" y="1616"/>
                  </a:lnTo>
                  <a:lnTo>
                    <a:pt x="737" y="1619"/>
                  </a:lnTo>
                  <a:lnTo>
                    <a:pt x="740" y="1621"/>
                  </a:lnTo>
                  <a:lnTo>
                    <a:pt x="742" y="1624"/>
                  </a:lnTo>
                  <a:lnTo>
                    <a:pt x="745" y="1626"/>
                  </a:lnTo>
                  <a:lnTo>
                    <a:pt x="749" y="1629"/>
                  </a:lnTo>
                  <a:lnTo>
                    <a:pt x="752" y="1632"/>
                  </a:lnTo>
                  <a:lnTo>
                    <a:pt x="754" y="1637"/>
                  </a:lnTo>
                  <a:lnTo>
                    <a:pt x="755" y="1644"/>
                  </a:lnTo>
                  <a:lnTo>
                    <a:pt x="764" y="1653"/>
                  </a:lnTo>
                  <a:lnTo>
                    <a:pt x="769" y="1653"/>
                  </a:lnTo>
                  <a:lnTo>
                    <a:pt x="773" y="1655"/>
                  </a:lnTo>
                  <a:lnTo>
                    <a:pt x="778" y="1657"/>
                  </a:lnTo>
                  <a:lnTo>
                    <a:pt x="782" y="1659"/>
                  </a:lnTo>
                  <a:lnTo>
                    <a:pt x="789" y="1667"/>
                  </a:lnTo>
                  <a:lnTo>
                    <a:pt x="796" y="1676"/>
                  </a:lnTo>
                  <a:lnTo>
                    <a:pt x="801" y="1684"/>
                  </a:lnTo>
                  <a:lnTo>
                    <a:pt x="807" y="1692"/>
                  </a:lnTo>
                  <a:lnTo>
                    <a:pt x="810" y="1694"/>
                  </a:lnTo>
                  <a:lnTo>
                    <a:pt x="813" y="1696"/>
                  </a:lnTo>
                  <a:lnTo>
                    <a:pt x="816" y="1698"/>
                  </a:lnTo>
                  <a:lnTo>
                    <a:pt x="819" y="1698"/>
                  </a:lnTo>
                  <a:lnTo>
                    <a:pt x="820" y="1705"/>
                  </a:lnTo>
                  <a:lnTo>
                    <a:pt x="822" y="1709"/>
                  </a:lnTo>
                  <a:lnTo>
                    <a:pt x="826" y="1713"/>
                  </a:lnTo>
                  <a:lnTo>
                    <a:pt x="829" y="1716"/>
                  </a:lnTo>
                  <a:lnTo>
                    <a:pt x="832" y="1718"/>
                  </a:lnTo>
                  <a:lnTo>
                    <a:pt x="835" y="1721"/>
                  </a:lnTo>
                  <a:lnTo>
                    <a:pt x="837" y="1723"/>
                  </a:lnTo>
                  <a:lnTo>
                    <a:pt x="838" y="1726"/>
                  </a:lnTo>
                  <a:lnTo>
                    <a:pt x="857" y="1726"/>
                  </a:lnTo>
                  <a:lnTo>
                    <a:pt x="857" y="1730"/>
                  </a:lnTo>
                  <a:lnTo>
                    <a:pt x="859" y="1733"/>
                  </a:lnTo>
                  <a:lnTo>
                    <a:pt x="863" y="1736"/>
                  </a:lnTo>
                  <a:lnTo>
                    <a:pt x="867" y="1739"/>
                  </a:lnTo>
                  <a:lnTo>
                    <a:pt x="876" y="1743"/>
                  </a:lnTo>
                  <a:lnTo>
                    <a:pt x="884" y="1745"/>
                  </a:lnTo>
                  <a:lnTo>
                    <a:pt x="885" y="1750"/>
                  </a:lnTo>
                  <a:lnTo>
                    <a:pt x="886" y="1753"/>
                  </a:lnTo>
                  <a:lnTo>
                    <a:pt x="887" y="1754"/>
                  </a:lnTo>
                  <a:lnTo>
                    <a:pt x="889" y="1754"/>
                  </a:lnTo>
                  <a:lnTo>
                    <a:pt x="890" y="1754"/>
                  </a:lnTo>
                  <a:lnTo>
                    <a:pt x="892" y="1755"/>
                  </a:lnTo>
                  <a:lnTo>
                    <a:pt x="893" y="1757"/>
                  </a:lnTo>
                  <a:lnTo>
                    <a:pt x="894" y="1763"/>
                  </a:lnTo>
                  <a:lnTo>
                    <a:pt x="906" y="1764"/>
                  </a:lnTo>
                  <a:lnTo>
                    <a:pt x="927" y="1768"/>
                  </a:lnTo>
                  <a:lnTo>
                    <a:pt x="950" y="1771"/>
                  </a:lnTo>
                  <a:lnTo>
                    <a:pt x="967" y="1772"/>
                  </a:lnTo>
                  <a:lnTo>
                    <a:pt x="969" y="1760"/>
                  </a:lnTo>
                  <a:lnTo>
                    <a:pt x="972" y="1739"/>
                  </a:lnTo>
                  <a:lnTo>
                    <a:pt x="975" y="1716"/>
                  </a:lnTo>
                  <a:lnTo>
                    <a:pt x="976" y="1698"/>
                  </a:lnTo>
                  <a:lnTo>
                    <a:pt x="975" y="1698"/>
                  </a:lnTo>
                  <a:lnTo>
                    <a:pt x="973" y="1697"/>
                  </a:lnTo>
                  <a:lnTo>
                    <a:pt x="972" y="1695"/>
                  </a:lnTo>
                  <a:lnTo>
                    <a:pt x="971" y="1693"/>
                  </a:lnTo>
                  <a:lnTo>
                    <a:pt x="970" y="1686"/>
                  </a:lnTo>
                  <a:lnTo>
                    <a:pt x="969" y="1679"/>
                  </a:lnTo>
                  <a:lnTo>
                    <a:pt x="967" y="1664"/>
                  </a:lnTo>
                  <a:lnTo>
                    <a:pt x="967" y="1653"/>
                  </a:lnTo>
                  <a:lnTo>
                    <a:pt x="981" y="1648"/>
                  </a:lnTo>
                  <a:lnTo>
                    <a:pt x="995" y="1644"/>
                  </a:lnTo>
                  <a:lnTo>
                    <a:pt x="995" y="1637"/>
                  </a:lnTo>
                  <a:lnTo>
                    <a:pt x="996" y="1632"/>
                  </a:lnTo>
                  <a:lnTo>
                    <a:pt x="999" y="1630"/>
                  </a:lnTo>
                  <a:lnTo>
                    <a:pt x="1002" y="1630"/>
                  </a:lnTo>
                  <a:lnTo>
                    <a:pt x="1005" y="1630"/>
                  </a:lnTo>
                  <a:lnTo>
                    <a:pt x="1010" y="1632"/>
                  </a:lnTo>
                  <a:lnTo>
                    <a:pt x="1015" y="1636"/>
                  </a:lnTo>
                  <a:lnTo>
                    <a:pt x="1022" y="1639"/>
                  </a:lnTo>
                  <a:lnTo>
                    <a:pt x="1036" y="1649"/>
                  </a:lnTo>
                  <a:lnTo>
                    <a:pt x="1052" y="1659"/>
                  </a:lnTo>
                  <a:lnTo>
                    <a:pt x="1062" y="1664"/>
                  </a:lnTo>
                  <a:lnTo>
                    <a:pt x="1072" y="1668"/>
                  </a:lnTo>
                  <a:lnTo>
                    <a:pt x="1082" y="1672"/>
                  </a:lnTo>
                  <a:lnTo>
                    <a:pt x="1094" y="1674"/>
                  </a:lnTo>
                  <a:lnTo>
                    <a:pt x="1105" y="1676"/>
                  </a:lnTo>
                  <a:lnTo>
                    <a:pt x="1115" y="1677"/>
                  </a:lnTo>
                  <a:lnTo>
                    <a:pt x="1124" y="1677"/>
                  </a:lnTo>
                  <a:lnTo>
                    <a:pt x="1132" y="1676"/>
                  </a:lnTo>
                  <a:lnTo>
                    <a:pt x="1138" y="1674"/>
                  </a:lnTo>
                  <a:lnTo>
                    <a:pt x="1145" y="1672"/>
                  </a:lnTo>
                  <a:lnTo>
                    <a:pt x="1152" y="1669"/>
                  </a:lnTo>
                  <a:lnTo>
                    <a:pt x="1157" y="1666"/>
                  </a:lnTo>
                  <a:lnTo>
                    <a:pt x="1174" y="1651"/>
                  </a:lnTo>
                  <a:lnTo>
                    <a:pt x="1190" y="1636"/>
                  </a:lnTo>
                  <a:lnTo>
                    <a:pt x="1210" y="1620"/>
                  </a:lnTo>
                  <a:lnTo>
                    <a:pt x="1231" y="1603"/>
                  </a:lnTo>
                  <a:lnTo>
                    <a:pt x="1241" y="1595"/>
                  </a:lnTo>
                  <a:lnTo>
                    <a:pt x="1250" y="1586"/>
                  </a:lnTo>
                  <a:lnTo>
                    <a:pt x="1254" y="1581"/>
                  </a:lnTo>
                  <a:lnTo>
                    <a:pt x="1257" y="1576"/>
                  </a:lnTo>
                  <a:lnTo>
                    <a:pt x="1260" y="1570"/>
                  </a:lnTo>
                  <a:lnTo>
                    <a:pt x="1262" y="1564"/>
                  </a:lnTo>
                  <a:lnTo>
                    <a:pt x="1263" y="1552"/>
                  </a:lnTo>
                  <a:lnTo>
                    <a:pt x="1263" y="1540"/>
                  </a:lnTo>
                  <a:lnTo>
                    <a:pt x="1261" y="1526"/>
                  </a:lnTo>
                  <a:lnTo>
                    <a:pt x="1259" y="1513"/>
                  </a:lnTo>
                  <a:lnTo>
                    <a:pt x="1257" y="1500"/>
                  </a:lnTo>
                  <a:lnTo>
                    <a:pt x="1254" y="1486"/>
                  </a:lnTo>
                  <a:lnTo>
                    <a:pt x="1254" y="1480"/>
                  </a:lnTo>
                  <a:lnTo>
                    <a:pt x="1254" y="1473"/>
                  </a:lnTo>
                  <a:lnTo>
                    <a:pt x="1255" y="1466"/>
                  </a:lnTo>
                  <a:lnTo>
                    <a:pt x="1258" y="1459"/>
                  </a:lnTo>
                  <a:lnTo>
                    <a:pt x="1259" y="1456"/>
                  </a:lnTo>
                  <a:lnTo>
                    <a:pt x="1261" y="1453"/>
                  </a:lnTo>
                  <a:lnTo>
                    <a:pt x="1263" y="1451"/>
                  </a:lnTo>
                  <a:lnTo>
                    <a:pt x="1267" y="1448"/>
                  </a:lnTo>
                  <a:lnTo>
                    <a:pt x="1273" y="1444"/>
                  </a:lnTo>
                  <a:lnTo>
                    <a:pt x="1281" y="1439"/>
                  </a:lnTo>
                  <a:lnTo>
                    <a:pt x="1288" y="1436"/>
                  </a:lnTo>
                  <a:lnTo>
                    <a:pt x="1295" y="1433"/>
                  </a:lnTo>
                  <a:lnTo>
                    <a:pt x="1297" y="1430"/>
                  </a:lnTo>
                  <a:lnTo>
                    <a:pt x="1298" y="1427"/>
                  </a:lnTo>
                  <a:lnTo>
                    <a:pt x="1299" y="1425"/>
                  </a:lnTo>
                  <a:lnTo>
                    <a:pt x="1300" y="1422"/>
                  </a:lnTo>
                  <a:lnTo>
                    <a:pt x="1303" y="1420"/>
                  </a:lnTo>
                  <a:lnTo>
                    <a:pt x="1306" y="1418"/>
                  </a:lnTo>
                  <a:lnTo>
                    <a:pt x="1307" y="1415"/>
                  </a:lnTo>
                  <a:lnTo>
                    <a:pt x="1308" y="1411"/>
                  </a:lnTo>
                  <a:lnTo>
                    <a:pt x="1309" y="1403"/>
                  </a:lnTo>
                  <a:lnTo>
                    <a:pt x="1309" y="1394"/>
                  </a:lnTo>
                  <a:lnTo>
                    <a:pt x="1328" y="1394"/>
                  </a:lnTo>
                  <a:lnTo>
                    <a:pt x="1332" y="1380"/>
                  </a:lnTo>
                  <a:lnTo>
                    <a:pt x="1337" y="1366"/>
                  </a:lnTo>
                  <a:lnTo>
                    <a:pt x="1345" y="1365"/>
                  </a:lnTo>
                  <a:lnTo>
                    <a:pt x="1354" y="1360"/>
                  </a:lnTo>
                  <a:lnTo>
                    <a:pt x="1358" y="1358"/>
                  </a:lnTo>
                  <a:lnTo>
                    <a:pt x="1362" y="1355"/>
                  </a:lnTo>
                  <a:lnTo>
                    <a:pt x="1364" y="1351"/>
                  </a:lnTo>
                  <a:lnTo>
                    <a:pt x="1365" y="1348"/>
                  </a:lnTo>
                  <a:lnTo>
                    <a:pt x="1383" y="1348"/>
                  </a:lnTo>
                  <a:lnTo>
                    <a:pt x="1397" y="1338"/>
                  </a:lnTo>
                  <a:lnTo>
                    <a:pt x="1427" y="1322"/>
                  </a:lnTo>
                  <a:lnTo>
                    <a:pt x="1471" y="1301"/>
                  </a:lnTo>
                  <a:lnTo>
                    <a:pt x="1527" y="1276"/>
                  </a:lnTo>
                  <a:lnTo>
                    <a:pt x="1593" y="1249"/>
                  </a:lnTo>
                  <a:lnTo>
                    <a:pt x="1666" y="1221"/>
                  </a:lnTo>
                  <a:lnTo>
                    <a:pt x="1706" y="1207"/>
                  </a:lnTo>
                  <a:lnTo>
                    <a:pt x="1747" y="1194"/>
                  </a:lnTo>
                  <a:lnTo>
                    <a:pt x="1789" y="1180"/>
                  </a:lnTo>
                  <a:lnTo>
                    <a:pt x="1831" y="1168"/>
                  </a:lnTo>
                  <a:lnTo>
                    <a:pt x="1868" y="1158"/>
                  </a:lnTo>
                  <a:lnTo>
                    <a:pt x="1907" y="1147"/>
                  </a:lnTo>
                  <a:lnTo>
                    <a:pt x="1946" y="1136"/>
                  </a:lnTo>
                  <a:lnTo>
                    <a:pt x="1986" y="1125"/>
                  </a:lnTo>
                  <a:lnTo>
                    <a:pt x="2025" y="1116"/>
                  </a:lnTo>
                  <a:lnTo>
                    <a:pt x="2061" y="1107"/>
                  </a:lnTo>
                  <a:lnTo>
                    <a:pt x="2097" y="1099"/>
                  </a:lnTo>
                  <a:lnTo>
                    <a:pt x="2131" y="1095"/>
                  </a:lnTo>
                  <a:lnTo>
                    <a:pt x="2140" y="1092"/>
                  </a:lnTo>
                  <a:lnTo>
                    <a:pt x="2150" y="1089"/>
                  </a:lnTo>
                  <a:lnTo>
                    <a:pt x="2161" y="1084"/>
                  </a:lnTo>
                  <a:lnTo>
                    <a:pt x="2171" y="1080"/>
                  </a:lnTo>
                  <a:lnTo>
                    <a:pt x="2195" y="1069"/>
                  </a:lnTo>
                  <a:lnTo>
                    <a:pt x="2226" y="1059"/>
                  </a:lnTo>
                  <a:lnTo>
                    <a:pt x="2247" y="1053"/>
                  </a:lnTo>
                  <a:lnTo>
                    <a:pt x="2268" y="1049"/>
                  </a:lnTo>
                  <a:lnTo>
                    <a:pt x="2290" y="1044"/>
                  </a:lnTo>
                  <a:lnTo>
                    <a:pt x="2310" y="1040"/>
                  </a:lnTo>
                  <a:lnTo>
                    <a:pt x="2344" y="1035"/>
                  </a:lnTo>
                  <a:lnTo>
                    <a:pt x="2362" y="1033"/>
                  </a:lnTo>
                  <a:lnTo>
                    <a:pt x="2362" y="978"/>
                  </a:lnTo>
                  <a:lnTo>
                    <a:pt x="2344" y="978"/>
                  </a:lnTo>
                  <a:lnTo>
                    <a:pt x="2335" y="968"/>
                  </a:lnTo>
                  <a:lnTo>
                    <a:pt x="2330" y="955"/>
                  </a:lnTo>
                  <a:lnTo>
                    <a:pt x="2325" y="942"/>
                  </a:lnTo>
                  <a:lnTo>
                    <a:pt x="2322" y="941"/>
                  </a:lnTo>
                  <a:lnTo>
                    <a:pt x="2318" y="939"/>
                  </a:lnTo>
                  <a:lnTo>
                    <a:pt x="2315" y="938"/>
                  </a:lnTo>
                  <a:lnTo>
                    <a:pt x="2313" y="935"/>
                  </a:lnTo>
                  <a:lnTo>
                    <a:pt x="2310" y="933"/>
                  </a:lnTo>
                  <a:lnTo>
                    <a:pt x="2308" y="929"/>
                  </a:lnTo>
                  <a:lnTo>
                    <a:pt x="2307" y="926"/>
                  </a:lnTo>
                  <a:lnTo>
                    <a:pt x="2307" y="923"/>
                  </a:lnTo>
                  <a:lnTo>
                    <a:pt x="2301" y="923"/>
                  </a:lnTo>
                  <a:lnTo>
                    <a:pt x="2299" y="922"/>
                  </a:lnTo>
                  <a:lnTo>
                    <a:pt x="2298" y="920"/>
                  </a:lnTo>
                  <a:lnTo>
                    <a:pt x="2298" y="918"/>
                  </a:lnTo>
                  <a:lnTo>
                    <a:pt x="2297" y="916"/>
                  </a:lnTo>
                  <a:lnTo>
                    <a:pt x="2297" y="915"/>
                  </a:lnTo>
                  <a:lnTo>
                    <a:pt x="2294" y="914"/>
                  </a:lnTo>
                  <a:lnTo>
                    <a:pt x="2288" y="914"/>
                  </a:lnTo>
                  <a:lnTo>
                    <a:pt x="2288" y="895"/>
                  </a:lnTo>
                  <a:lnTo>
                    <a:pt x="2282" y="895"/>
                  </a:lnTo>
                  <a:lnTo>
                    <a:pt x="2280" y="894"/>
                  </a:lnTo>
                  <a:lnTo>
                    <a:pt x="2279" y="893"/>
                  </a:lnTo>
                  <a:lnTo>
                    <a:pt x="2279" y="890"/>
                  </a:lnTo>
                  <a:lnTo>
                    <a:pt x="2279" y="889"/>
                  </a:lnTo>
                  <a:lnTo>
                    <a:pt x="2278" y="887"/>
                  </a:lnTo>
                  <a:lnTo>
                    <a:pt x="2275" y="886"/>
                  </a:lnTo>
                  <a:lnTo>
                    <a:pt x="2270" y="886"/>
                  </a:lnTo>
                  <a:lnTo>
                    <a:pt x="2270" y="793"/>
                  </a:lnTo>
                  <a:lnTo>
                    <a:pt x="2274" y="793"/>
                  </a:lnTo>
                  <a:lnTo>
                    <a:pt x="2278" y="791"/>
                  </a:lnTo>
                  <a:lnTo>
                    <a:pt x="2284" y="788"/>
                  </a:lnTo>
                  <a:lnTo>
                    <a:pt x="2288" y="784"/>
                  </a:lnTo>
                  <a:lnTo>
                    <a:pt x="2294" y="781"/>
                  </a:lnTo>
                  <a:lnTo>
                    <a:pt x="2298" y="778"/>
                  </a:lnTo>
                  <a:lnTo>
                    <a:pt x="2303" y="775"/>
                  </a:lnTo>
                  <a:lnTo>
                    <a:pt x="2307" y="775"/>
                  </a:lnTo>
                  <a:lnTo>
                    <a:pt x="2307" y="772"/>
                  </a:lnTo>
                  <a:lnTo>
                    <a:pt x="2308" y="769"/>
                  </a:lnTo>
                  <a:lnTo>
                    <a:pt x="2310" y="765"/>
                  </a:lnTo>
                  <a:lnTo>
                    <a:pt x="2313" y="762"/>
                  </a:lnTo>
                  <a:lnTo>
                    <a:pt x="2315" y="760"/>
                  </a:lnTo>
                  <a:lnTo>
                    <a:pt x="2318" y="759"/>
                  </a:lnTo>
                  <a:lnTo>
                    <a:pt x="2322" y="757"/>
                  </a:lnTo>
                  <a:lnTo>
                    <a:pt x="2325" y="756"/>
                  </a:lnTo>
                  <a:lnTo>
                    <a:pt x="2326" y="753"/>
                  </a:lnTo>
                  <a:lnTo>
                    <a:pt x="2328" y="750"/>
                  </a:lnTo>
                  <a:lnTo>
                    <a:pt x="2332" y="746"/>
                  </a:lnTo>
                  <a:lnTo>
                    <a:pt x="2335" y="744"/>
                  </a:lnTo>
                  <a:lnTo>
                    <a:pt x="2341" y="740"/>
                  </a:lnTo>
                  <a:lnTo>
                    <a:pt x="2344" y="739"/>
                  </a:lnTo>
                  <a:lnTo>
                    <a:pt x="2344" y="711"/>
                  </a:lnTo>
                  <a:lnTo>
                    <a:pt x="2308" y="708"/>
                  </a:lnTo>
                  <a:lnTo>
                    <a:pt x="2271" y="706"/>
                  </a:lnTo>
                  <a:lnTo>
                    <a:pt x="2236" y="703"/>
                  </a:lnTo>
                  <a:lnTo>
                    <a:pt x="2205" y="701"/>
                  </a:lnTo>
                  <a:lnTo>
                    <a:pt x="2197" y="683"/>
                  </a:lnTo>
                  <a:lnTo>
                    <a:pt x="2185" y="682"/>
                  </a:lnTo>
                  <a:lnTo>
                    <a:pt x="2174" y="679"/>
                  </a:lnTo>
                  <a:lnTo>
                    <a:pt x="2163" y="676"/>
                  </a:lnTo>
                  <a:lnTo>
                    <a:pt x="2152" y="672"/>
                  </a:lnTo>
                  <a:lnTo>
                    <a:pt x="2142" y="666"/>
                  </a:lnTo>
                  <a:lnTo>
                    <a:pt x="2134" y="659"/>
                  </a:lnTo>
                  <a:lnTo>
                    <a:pt x="2127" y="653"/>
                  </a:lnTo>
                  <a:lnTo>
                    <a:pt x="2122" y="646"/>
                  </a:lnTo>
                  <a:lnTo>
                    <a:pt x="2104" y="646"/>
                  </a:lnTo>
                  <a:lnTo>
                    <a:pt x="2103" y="643"/>
                  </a:lnTo>
                  <a:lnTo>
                    <a:pt x="2101" y="640"/>
                  </a:lnTo>
                  <a:lnTo>
                    <a:pt x="2098" y="638"/>
                  </a:lnTo>
                  <a:lnTo>
                    <a:pt x="2094" y="636"/>
                  </a:lnTo>
                  <a:lnTo>
                    <a:pt x="2090" y="632"/>
                  </a:lnTo>
                  <a:lnTo>
                    <a:pt x="2088" y="629"/>
                  </a:lnTo>
                  <a:lnTo>
                    <a:pt x="2086" y="625"/>
                  </a:lnTo>
                  <a:lnTo>
                    <a:pt x="2085" y="618"/>
                  </a:lnTo>
                  <a:lnTo>
                    <a:pt x="2080" y="617"/>
                  </a:lnTo>
                  <a:lnTo>
                    <a:pt x="2075" y="615"/>
                  </a:lnTo>
                  <a:lnTo>
                    <a:pt x="2069" y="611"/>
                  </a:lnTo>
                  <a:lnTo>
                    <a:pt x="2063" y="608"/>
                  </a:lnTo>
                  <a:lnTo>
                    <a:pt x="2049" y="599"/>
                  </a:lnTo>
                  <a:lnTo>
                    <a:pt x="2039" y="590"/>
                  </a:lnTo>
                  <a:lnTo>
                    <a:pt x="2020" y="590"/>
                  </a:lnTo>
                  <a:lnTo>
                    <a:pt x="2020" y="587"/>
                  </a:lnTo>
                  <a:lnTo>
                    <a:pt x="2019" y="584"/>
                  </a:lnTo>
                  <a:lnTo>
                    <a:pt x="2018" y="583"/>
                  </a:lnTo>
                  <a:lnTo>
                    <a:pt x="2016" y="582"/>
                  </a:lnTo>
                  <a:lnTo>
                    <a:pt x="2011" y="581"/>
                  </a:lnTo>
                  <a:lnTo>
                    <a:pt x="2007" y="581"/>
                  </a:lnTo>
                  <a:lnTo>
                    <a:pt x="2001" y="581"/>
                  </a:lnTo>
                  <a:lnTo>
                    <a:pt x="1997" y="580"/>
                  </a:lnTo>
                  <a:lnTo>
                    <a:pt x="1996" y="579"/>
                  </a:lnTo>
                  <a:lnTo>
                    <a:pt x="1994" y="577"/>
                  </a:lnTo>
                  <a:lnTo>
                    <a:pt x="1993" y="574"/>
                  </a:lnTo>
                  <a:lnTo>
                    <a:pt x="1992" y="572"/>
                  </a:lnTo>
                  <a:lnTo>
                    <a:pt x="1965" y="572"/>
                  </a:lnTo>
                  <a:lnTo>
                    <a:pt x="1955" y="553"/>
                  </a:lnTo>
                  <a:lnTo>
                    <a:pt x="1929" y="553"/>
                  </a:lnTo>
                  <a:lnTo>
                    <a:pt x="1926" y="550"/>
                  </a:lnTo>
                  <a:lnTo>
                    <a:pt x="1922" y="547"/>
                  </a:lnTo>
                  <a:lnTo>
                    <a:pt x="1916" y="543"/>
                  </a:lnTo>
                  <a:lnTo>
                    <a:pt x="1908" y="541"/>
                  </a:lnTo>
                  <a:lnTo>
                    <a:pt x="1893" y="537"/>
                  </a:lnTo>
                  <a:lnTo>
                    <a:pt x="1882" y="535"/>
                  </a:lnTo>
                  <a:lnTo>
                    <a:pt x="1873" y="516"/>
                  </a:lnTo>
                  <a:lnTo>
                    <a:pt x="1865" y="513"/>
                  </a:lnTo>
                  <a:lnTo>
                    <a:pt x="1848" y="503"/>
                  </a:lnTo>
                  <a:lnTo>
                    <a:pt x="1828" y="490"/>
                  </a:lnTo>
                  <a:lnTo>
                    <a:pt x="1805" y="475"/>
                  </a:lnTo>
                  <a:lnTo>
                    <a:pt x="1762" y="446"/>
                  </a:lnTo>
                  <a:lnTo>
                    <a:pt x="1743" y="433"/>
                  </a:lnTo>
                  <a:lnTo>
                    <a:pt x="1735" y="433"/>
                  </a:lnTo>
                  <a:lnTo>
                    <a:pt x="1727" y="430"/>
                  </a:lnTo>
                  <a:lnTo>
                    <a:pt x="1716" y="426"/>
                  </a:lnTo>
                  <a:lnTo>
                    <a:pt x="1706" y="422"/>
                  </a:lnTo>
                  <a:lnTo>
                    <a:pt x="1696" y="416"/>
                  </a:lnTo>
                  <a:lnTo>
                    <a:pt x="1686" y="410"/>
                  </a:lnTo>
                  <a:lnTo>
                    <a:pt x="1677" y="404"/>
                  </a:lnTo>
                  <a:lnTo>
                    <a:pt x="1670" y="396"/>
                  </a:lnTo>
                  <a:lnTo>
                    <a:pt x="1662" y="396"/>
                  </a:lnTo>
                  <a:lnTo>
                    <a:pt x="1654" y="394"/>
                  </a:lnTo>
                  <a:lnTo>
                    <a:pt x="1646" y="390"/>
                  </a:lnTo>
                  <a:lnTo>
                    <a:pt x="1637" y="387"/>
                  </a:lnTo>
                  <a:lnTo>
                    <a:pt x="1628" y="384"/>
                  </a:lnTo>
                  <a:lnTo>
                    <a:pt x="1620" y="380"/>
                  </a:lnTo>
                  <a:lnTo>
                    <a:pt x="1612" y="379"/>
                  </a:lnTo>
                  <a:lnTo>
                    <a:pt x="1605" y="378"/>
                  </a:lnTo>
                  <a:lnTo>
                    <a:pt x="1596" y="359"/>
                  </a:lnTo>
                  <a:lnTo>
                    <a:pt x="1577" y="359"/>
                  </a:lnTo>
                  <a:lnTo>
                    <a:pt x="1571" y="353"/>
                  </a:lnTo>
                  <a:lnTo>
                    <a:pt x="1557" y="341"/>
                  </a:lnTo>
                  <a:lnTo>
                    <a:pt x="1549" y="334"/>
                  </a:lnTo>
                  <a:lnTo>
                    <a:pt x="1542" y="328"/>
                  </a:lnTo>
                  <a:lnTo>
                    <a:pt x="1536" y="324"/>
                  </a:lnTo>
                  <a:lnTo>
                    <a:pt x="1531" y="322"/>
                  </a:lnTo>
                  <a:lnTo>
                    <a:pt x="1530" y="317"/>
                  </a:lnTo>
                  <a:lnTo>
                    <a:pt x="1529" y="314"/>
                  </a:lnTo>
                  <a:lnTo>
                    <a:pt x="1528" y="313"/>
                  </a:lnTo>
                  <a:lnTo>
                    <a:pt x="1527" y="313"/>
                  </a:lnTo>
                  <a:lnTo>
                    <a:pt x="1524" y="313"/>
                  </a:lnTo>
                  <a:lnTo>
                    <a:pt x="1523" y="312"/>
                  </a:lnTo>
                  <a:lnTo>
                    <a:pt x="1522" y="309"/>
                  </a:lnTo>
                  <a:lnTo>
                    <a:pt x="1521" y="304"/>
                  </a:lnTo>
                  <a:lnTo>
                    <a:pt x="1517" y="303"/>
                  </a:lnTo>
                  <a:lnTo>
                    <a:pt x="1511" y="301"/>
                  </a:lnTo>
                  <a:lnTo>
                    <a:pt x="1507" y="297"/>
                  </a:lnTo>
                  <a:lnTo>
                    <a:pt x="1502" y="292"/>
                  </a:lnTo>
                  <a:lnTo>
                    <a:pt x="1494" y="280"/>
                  </a:lnTo>
                  <a:lnTo>
                    <a:pt x="1485" y="266"/>
                  </a:lnTo>
                  <a:lnTo>
                    <a:pt x="1479" y="251"/>
                  </a:lnTo>
                  <a:lnTo>
                    <a:pt x="1471" y="237"/>
                  </a:lnTo>
                  <a:lnTo>
                    <a:pt x="1468" y="232"/>
                  </a:lnTo>
                  <a:lnTo>
                    <a:pt x="1464" y="227"/>
                  </a:lnTo>
                  <a:lnTo>
                    <a:pt x="1461" y="223"/>
                  </a:lnTo>
                  <a:lnTo>
                    <a:pt x="1456" y="221"/>
                  </a:lnTo>
                  <a:lnTo>
                    <a:pt x="1456" y="214"/>
                  </a:lnTo>
                  <a:lnTo>
                    <a:pt x="1454" y="206"/>
                  </a:lnTo>
                  <a:lnTo>
                    <a:pt x="1451" y="197"/>
                  </a:lnTo>
                  <a:lnTo>
                    <a:pt x="1446" y="189"/>
                  </a:lnTo>
                  <a:lnTo>
                    <a:pt x="1437" y="175"/>
                  </a:lnTo>
                  <a:lnTo>
                    <a:pt x="1430" y="166"/>
                  </a:lnTo>
                  <a:lnTo>
                    <a:pt x="1430" y="138"/>
                  </a:lnTo>
                  <a:lnTo>
                    <a:pt x="1426" y="136"/>
                  </a:lnTo>
                  <a:lnTo>
                    <a:pt x="1423" y="131"/>
                  </a:lnTo>
                  <a:lnTo>
                    <a:pt x="1420" y="126"/>
                  </a:lnTo>
                  <a:lnTo>
                    <a:pt x="1416" y="118"/>
                  </a:lnTo>
                  <a:lnTo>
                    <a:pt x="1413" y="102"/>
                  </a:lnTo>
                  <a:lnTo>
                    <a:pt x="1411" y="91"/>
                  </a:lnTo>
                  <a:lnTo>
                    <a:pt x="1408" y="91"/>
                  </a:lnTo>
                  <a:lnTo>
                    <a:pt x="1407" y="89"/>
                  </a:lnTo>
                  <a:lnTo>
                    <a:pt x="1405" y="86"/>
                  </a:lnTo>
                  <a:lnTo>
                    <a:pt x="1403" y="81"/>
                  </a:lnTo>
                  <a:lnTo>
                    <a:pt x="1398" y="71"/>
                  </a:lnTo>
                  <a:lnTo>
                    <a:pt x="1394" y="58"/>
                  </a:lnTo>
                  <a:lnTo>
                    <a:pt x="1386" y="33"/>
                  </a:lnTo>
                  <a:lnTo>
                    <a:pt x="1383" y="18"/>
                  </a:lnTo>
                  <a:lnTo>
                    <a:pt x="1380" y="18"/>
                  </a:lnTo>
                  <a:lnTo>
                    <a:pt x="1377" y="16"/>
                  </a:lnTo>
                  <a:lnTo>
                    <a:pt x="1376" y="14"/>
                  </a:lnTo>
                  <a:lnTo>
                    <a:pt x="1375" y="12"/>
                  </a:lnTo>
                  <a:lnTo>
                    <a:pt x="1374" y="6"/>
                  </a:lnTo>
                  <a:lnTo>
                    <a:pt x="1374" y="0"/>
                  </a:lnTo>
                  <a:lnTo>
                    <a:pt x="1346" y="0"/>
                  </a:lnTo>
                  <a:lnTo>
                    <a:pt x="1337" y="9"/>
                  </a:lnTo>
                  <a:lnTo>
                    <a:pt x="1337" y="26"/>
                  </a:lnTo>
                  <a:lnTo>
                    <a:pt x="1328" y="37"/>
                  </a:lnTo>
                  <a:lnTo>
                    <a:pt x="1322" y="37"/>
                  </a:lnTo>
                  <a:lnTo>
                    <a:pt x="1319" y="38"/>
                  </a:lnTo>
                  <a:lnTo>
                    <a:pt x="1318" y="39"/>
                  </a:lnTo>
                  <a:lnTo>
                    <a:pt x="1318" y="41"/>
                  </a:lnTo>
                  <a:lnTo>
                    <a:pt x="1318" y="42"/>
                  </a:lnTo>
                  <a:lnTo>
                    <a:pt x="1317" y="44"/>
                  </a:lnTo>
                  <a:lnTo>
                    <a:pt x="1315" y="45"/>
                  </a:lnTo>
                  <a:lnTo>
                    <a:pt x="1309" y="45"/>
                  </a:lnTo>
                  <a:lnTo>
                    <a:pt x="1309" y="63"/>
                  </a:lnTo>
                  <a:lnTo>
                    <a:pt x="1303" y="64"/>
                  </a:lnTo>
                  <a:lnTo>
                    <a:pt x="1301" y="66"/>
                  </a:lnTo>
                  <a:lnTo>
                    <a:pt x="1300" y="67"/>
                  </a:lnTo>
                  <a:lnTo>
                    <a:pt x="1300" y="69"/>
                  </a:lnTo>
                  <a:lnTo>
                    <a:pt x="1300" y="70"/>
                  </a:lnTo>
                  <a:lnTo>
                    <a:pt x="1299" y="71"/>
                  </a:lnTo>
                  <a:lnTo>
                    <a:pt x="1296" y="72"/>
                  </a:lnTo>
                  <a:lnTo>
                    <a:pt x="1291" y="73"/>
                  </a:lnTo>
                  <a:lnTo>
                    <a:pt x="1291" y="91"/>
                  </a:lnTo>
                  <a:lnTo>
                    <a:pt x="1277" y="101"/>
                  </a:lnTo>
                  <a:lnTo>
                    <a:pt x="1263" y="110"/>
                  </a:lnTo>
                  <a:lnTo>
                    <a:pt x="1262" y="114"/>
                  </a:lnTo>
                  <a:lnTo>
                    <a:pt x="1261" y="117"/>
                  </a:lnTo>
                  <a:lnTo>
                    <a:pt x="1260" y="120"/>
                  </a:lnTo>
                  <a:lnTo>
                    <a:pt x="1258" y="124"/>
                  </a:lnTo>
                  <a:lnTo>
                    <a:pt x="1251" y="131"/>
                  </a:lnTo>
                  <a:lnTo>
                    <a:pt x="1244" y="139"/>
                  </a:lnTo>
                  <a:lnTo>
                    <a:pt x="1238" y="147"/>
                  </a:lnTo>
                  <a:lnTo>
                    <a:pt x="1232" y="156"/>
                  </a:lnTo>
                  <a:lnTo>
                    <a:pt x="1230" y="160"/>
                  </a:lnTo>
                  <a:lnTo>
                    <a:pt x="1228" y="165"/>
                  </a:lnTo>
                  <a:lnTo>
                    <a:pt x="1226" y="169"/>
                  </a:lnTo>
                  <a:lnTo>
                    <a:pt x="1226" y="175"/>
                  </a:lnTo>
                  <a:lnTo>
                    <a:pt x="1207" y="184"/>
                  </a:lnTo>
                  <a:lnTo>
                    <a:pt x="1207" y="203"/>
                  </a:lnTo>
                  <a:lnTo>
                    <a:pt x="1202" y="203"/>
                  </a:lnTo>
                  <a:lnTo>
                    <a:pt x="1200" y="204"/>
                  </a:lnTo>
                  <a:lnTo>
                    <a:pt x="1199" y="205"/>
                  </a:lnTo>
                  <a:lnTo>
                    <a:pt x="1199" y="207"/>
                  </a:lnTo>
                  <a:lnTo>
                    <a:pt x="1199" y="208"/>
                  </a:lnTo>
                  <a:lnTo>
                    <a:pt x="1197" y="211"/>
                  </a:lnTo>
                  <a:lnTo>
                    <a:pt x="1194" y="212"/>
                  </a:lnTo>
                  <a:lnTo>
                    <a:pt x="1190" y="212"/>
                  </a:lnTo>
                  <a:lnTo>
                    <a:pt x="1190" y="331"/>
                  </a:lnTo>
                  <a:lnTo>
                    <a:pt x="1187" y="332"/>
                  </a:lnTo>
                  <a:lnTo>
                    <a:pt x="1185" y="334"/>
                  </a:lnTo>
                  <a:lnTo>
                    <a:pt x="1183" y="339"/>
                  </a:lnTo>
                  <a:lnTo>
                    <a:pt x="1181" y="343"/>
                  </a:lnTo>
                  <a:lnTo>
                    <a:pt x="1175" y="355"/>
                  </a:lnTo>
                  <a:lnTo>
                    <a:pt x="1168" y="369"/>
                  </a:lnTo>
                  <a:lnTo>
                    <a:pt x="1161" y="382"/>
                  </a:lnTo>
                  <a:lnTo>
                    <a:pt x="1153" y="394"/>
                  </a:lnTo>
                  <a:lnTo>
                    <a:pt x="1148" y="399"/>
                  </a:lnTo>
                  <a:lnTo>
                    <a:pt x="1144" y="403"/>
                  </a:lnTo>
                  <a:lnTo>
                    <a:pt x="1138" y="405"/>
                  </a:lnTo>
                  <a:lnTo>
                    <a:pt x="1134" y="406"/>
                  </a:lnTo>
                  <a:lnTo>
                    <a:pt x="1125" y="424"/>
                  </a:lnTo>
                  <a:lnTo>
                    <a:pt x="1092" y="424"/>
                  </a:lnTo>
                  <a:lnTo>
                    <a:pt x="1056" y="424"/>
                  </a:lnTo>
                  <a:lnTo>
                    <a:pt x="1018" y="424"/>
                  </a:lnTo>
                  <a:lnTo>
                    <a:pt x="985" y="424"/>
                  </a:lnTo>
                  <a:lnTo>
                    <a:pt x="976" y="415"/>
                  </a:lnTo>
                  <a:lnTo>
                    <a:pt x="967" y="406"/>
                  </a:lnTo>
                  <a:lnTo>
                    <a:pt x="966" y="399"/>
                  </a:lnTo>
                  <a:lnTo>
                    <a:pt x="964" y="394"/>
                  </a:lnTo>
                  <a:lnTo>
                    <a:pt x="962" y="388"/>
                  </a:lnTo>
                  <a:lnTo>
                    <a:pt x="959" y="382"/>
                  </a:lnTo>
                  <a:lnTo>
                    <a:pt x="955" y="377"/>
                  </a:lnTo>
                  <a:lnTo>
                    <a:pt x="952" y="371"/>
                  </a:lnTo>
                  <a:lnTo>
                    <a:pt x="950" y="366"/>
                  </a:lnTo>
                  <a:lnTo>
                    <a:pt x="948" y="359"/>
                  </a:lnTo>
                  <a:lnTo>
                    <a:pt x="922" y="331"/>
                  </a:lnTo>
                  <a:lnTo>
                    <a:pt x="912" y="341"/>
                  </a:lnTo>
                  <a:lnTo>
                    <a:pt x="906" y="341"/>
                  </a:lnTo>
                  <a:lnTo>
                    <a:pt x="904" y="342"/>
                  </a:lnTo>
                  <a:lnTo>
                    <a:pt x="903" y="343"/>
                  </a:lnTo>
                  <a:lnTo>
                    <a:pt x="903" y="346"/>
                  </a:lnTo>
                  <a:lnTo>
                    <a:pt x="903" y="347"/>
                  </a:lnTo>
                  <a:lnTo>
                    <a:pt x="902" y="349"/>
                  </a:lnTo>
                  <a:lnTo>
                    <a:pt x="898" y="350"/>
                  </a:lnTo>
                  <a:lnTo>
                    <a:pt x="894" y="350"/>
                  </a:lnTo>
                  <a:lnTo>
                    <a:pt x="892" y="358"/>
                  </a:lnTo>
                  <a:lnTo>
                    <a:pt x="888" y="368"/>
                  </a:lnTo>
                  <a:lnTo>
                    <a:pt x="885" y="371"/>
                  </a:lnTo>
                  <a:lnTo>
                    <a:pt x="881" y="375"/>
                  </a:lnTo>
                  <a:lnTo>
                    <a:pt x="878" y="377"/>
                  </a:lnTo>
                  <a:lnTo>
                    <a:pt x="875" y="378"/>
                  </a:lnTo>
                  <a:lnTo>
                    <a:pt x="875" y="415"/>
                  </a:lnTo>
                  <a:lnTo>
                    <a:pt x="870" y="426"/>
                  </a:lnTo>
                  <a:lnTo>
                    <a:pt x="861" y="452"/>
                  </a:lnTo>
                  <a:lnTo>
                    <a:pt x="851" y="477"/>
                  </a:lnTo>
                  <a:lnTo>
                    <a:pt x="847" y="489"/>
                  </a:lnTo>
                  <a:lnTo>
                    <a:pt x="838" y="497"/>
                  </a:lnTo>
                  <a:lnTo>
                    <a:pt x="829" y="507"/>
                  </a:lnTo>
                  <a:lnTo>
                    <a:pt x="815" y="512"/>
                  </a:lnTo>
                  <a:lnTo>
                    <a:pt x="801" y="516"/>
                  </a:lnTo>
                  <a:lnTo>
                    <a:pt x="801" y="519"/>
                  </a:lnTo>
                  <a:lnTo>
                    <a:pt x="800" y="521"/>
                  </a:lnTo>
                  <a:lnTo>
                    <a:pt x="798" y="523"/>
                  </a:lnTo>
                  <a:lnTo>
                    <a:pt x="796" y="525"/>
                  </a:lnTo>
                  <a:lnTo>
                    <a:pt x="788" y="529"/>
                  </a:lnTo>
                  <a:lnTo>
                    <a:pt x="779" y="531"/>
                  </a:lnTo>
                  <a:lnTo>
                    <a:pt x="769" y="533"/>
                  </a:lnTo>
                  <a:lnTo>
                    <a:pt x="756" y="534"/>
                  </a:lnTo>
                  <a:lnTo>
                    <a:pt x="743" y="535"/>
                  </a:lnTo>
                  <a:lnTo>
                    <a:pt x="730" y="537"/>
                  </a:lnTo>
                  <a:lnTo>
                    <a:pt x="676" y="535"/>
                  </a:lnTo>
                  <a:lnTo>
                    <a:pt x="644" y="535"/>
                  </a:lnTo>
                  <a:lnTo>
                    <a:pt x="643" y="533"/>
                  </a:lnTo>
                  <a:lnTo>
                    <a:pt x="638" y="532"/>
                  </a:lnTo>
                  <a:lnTo>
                    <a:pt x="630" y="531"/>
                  </a:lnTo>
                  <a:lnTo>
                    <a:pt x="620" y="530"/>
                  </a:lnTo>
                  <a:lnTo>
                    <a:pt x="596" y="528"/>
                  </a:lnTo>
                  <a:lnTo>
                    <a:pt x="568" y="526"/>
                  </a:lnTo>
                  <a:lnTo>
                    <a:pt x="512" y="525"/>
                  </a:lnTo>
                  <a:lnTo>
                    <a:pt x="477" y="525"/>
                  </a:lnTo>
                  <a:lnTo>
                    <a:pt x="477" y="529"/>
                  </a:lnTo>
                  <a:lnTo>
                    <a:pt x="476" y="531"/>
                  </a:lnTo>
                  <a:lnTo>
                    <a:pt x="474" y="533"/>
                  </a:lnTo>
                  <a:lnTo>
                    <a:pt x="472" y="534"/>
                  </a:lnTo>
                  <a:lnTo>
                    <a:pt x="466" y="534"/>
                  </a:lnTo>
                  <a:lnTo>
                    <a:pt x="460" y="535"/>
                  </a:lnTo>
                  <a:lnTo>
                    <a:pt x="458" y="539"/>
                  </a:lnTo>
                  <a:lnTo>
                    <a:pt x="456" y="542"/>
                  </a:lnTo>
                  <a:lnTo>
                    <a:pt x="453" y="544"/>
                  </a:lnTo>
                  <a:lnTo>
                    <a:pt x="449" y="548"/>
                  </a:lnTo>
                  <a:lnTo>
                    <a:pt x="444" y="552"/>
                  </a:lnTo>
                  <a:lnTo>
                    <a:pt x="441" y="553"/>
                  </a:lnTo>
                  <a:lnTo>
                    <a:pt x="441" y="572"/>
                  </a:lnTo>
                  <a:lnTo>
                    <a:pt x="435" y="572"/>
                  </a:lnTo>
                  <a:lnTo>
                    <a:pt x="433" y="573"/>
                  </a:lnTo>
                  <a:lnTo>
                    <a:pt x="432" y="574"/>
                  </a:lnTo>
                  <a:lnTo>
                    <a:pt x="432" y="577"/>
                  </a:lnTo>
                  <a:lnTo>
                    <a:pt x="432" y="578"/>
                  </a:lnTo>
                  <a:lnTo>
                    <a:pt x="431" y="580"/>
                  </a:lnTo>
                  <a:lnTo>
                    <a:pt x="427" y="581"/>
                  </a:lnTo>
                  <a:lnTo>
                    <a:pt x="423" y="581"/>
                  </a:lnTo>
                  <a:lnTo>
                    <a:pt x="423" y="599"/>
                  </a:lnTo>
                  <a:lnTo>
                    <a:pt x="413" y="609"/>
                  </a:lnTo>
                  <a:lnTo>
                    <a:pt x="395" y="607"/>
                  </a:lnTo>
                  <a:lnTo>
                    <a:pt x="372" y="605"/>
                  </a:lnTo>
                  <a:lnTo>
                    <a:pt x="352" y="601"/>
                  </a:lnTo>
                  <a:lnTo>
                    <a:pt x="339" y="599"/>
                  </a:lnTo>
                  <a:lnTo>
                    <a:pt x="339" y="596"/>
                  </a:lnTo>
                  <a:lnTo>
                    <a:pt x="338" y="592"/>
                  </a:lnTo>
                  <a:lnTo>
                    <a:pt x="336" y="590"/>
                  </a:lnTo>
                  <a:lnTo>
                    <a:pt x="333" y="587"/>
                  </a:lnTo>
                  <a:lnTo>
                    <a:pt x="330" y="584"/>
                  </a:lnTo>
                  <a:lnTo>
                    <a:pt x="328" y="582"/>
                  </a:lnTo>
                  <a:lnTo>
                    <a:pt x="324" y="581"/>
                  </a:lnTo>
                  <a:lnTo>
                    <a:pt x="321" y="581"/>
                  </a:lnTo>
                  <a:lnTo>
                    <a:pt x="311" y="572"/>
                  </a:lnTo>
                  <a:lnTo>
                    <a:pt x="302" y="562"/>
                  </a:lnTo>
                  <a:lnTo>
                    <a:pt x="302" y="544"/>
                  </a:lnTo>
                  <a:lnTo>
                    <a:pt x="299" y="543"/>
                  </a:lnTo>
                  <a:lnTo>
                    <a:pt x="295" y="542"/>
                  </a:lnTo>
                  <a:lnTo>
                    <a:pt x="292" y="541"/>
                  </a:lnTo>
                  <a:lnTo>
                    <a:pt x="290" y="539"/>
                  </a:lnTo>
                  <a:lnTo>
                    <a:pt x="288" y="535"/>
                  </a:lnTo>
                  <a:lnTo>
                    <a:pt x="285" y="532"/>
                  </a:lnTo>
                  <a:lnTo>
                    <a:pt x="284" y="529"/>
                  </a:lnTo>
                  <a:lnTo>
                    <a:pt x="284" y="525"/>
                  </a:lnTo>
                  <a:lnTo>
                    <a:pt x="274" y="516"/>
                  </a:lnTo>
                  <a:lnTo>
                    <a:pt x="265" y="507"/>
                  </a:lnTo>
                  <a:lnTo>
                    <a:pt x="216" y="507"/>
                  </a:lnTo>
                  <a:lnTo>
                    <a:pt x="220" y="511"/>
                  </a:lnTo>
                  <a:lnTo>
                    <a:pt x="225" y="516"/>
                  </a:lnTo>
                  <a:lnTo>
                    <a:pt x="225" y="532"/>
                  </a:lnTo>
                  <a:lnTo>
                    <a:pt x="225" y="548"/>
                  </a:lnTo>
                  <a:lnTo>
                    <a:pt x="213" y="548"/>
                  </a:lnTo>
                  <a:lnTo>
                    <a:pt x="213" y="550"/>
                  </a:lnTo>
                  <a:lnTo>
                    <a:pt x="212" y="551"/>
                  </a:lnTo>
                  <a:lnTo>
                    <a:pt x="211" y="552"/>
                  </a:lnTo>
                  <a:lnTo>
                    <a:pt x="209" y="553"/>
                  </a:lnTo>
                  <a:lnTo>
                    <a:pt x="205" y="554"/>
                  </a:lnTo>
                  <a:lnTo>
                    <a:pt x="201" y="554"/>
                  </a:lnTo>
                  <a:lnTo>
                    <a:pt x="199" y="557"/>
                  </a:lnTo>
                  <a:lnTo>
                    <a:pt x="196" y="559"/>
                  </a:lnTo>
                  <a:lnTo>
                    <a:pt x="193" y="561"/>
                  </a:lnTo>
                  <a:lnTo>
                    <a:pt x="187" y="562"/>
                  </a:lnTo>
                  <a:lnTo>
                    <a:pt x="177" y="566"/>
                  </a:lnTo>
                  <a:lnTo>
                    <a:pt x="169" y="567"/>
                  </a:lnTo>
                  <a:lnTo>
                    <a:pt x="32" y="579"/>
                  </a:lnTo>
                  <a:lnTo>
                    <a:pt x="32" y="591"/>
                  </a:lnTo>
                  <a:lnTo>
                    <a:pt x="30" y="592"/>
                  </a:lnTo>
                  <a:lnTo>
                    <a:pt x="28" y="592"/>
                  </a:lnTo>
                  <a:lnTo>
                    <a:pt x="26" y="593"/>
                  </a:lnTo>
                  <a:lnTo>
                    <a:pt x="26" y="596"/>
                  </a:lnTo>
                  <a:lnTo>
                    <a:pt x="25" y="600"/>
                  </a:lnTo>
                  <a:lnTo>
                    <a:pt x="25" y="605"/>
                  </a:lnTo>
                  <a:lnTo>
                    <a:pt x="24" y="610"/>
                  </a:lnTo>
                  <a:lnTo>
                    <a:pt x="21" y="628"/>
                  </a:lnTo>
                  <a:lnTo>
                    <a:pt x="16" y="654"/>
                  </a:lnTo>
                  <a:lnTo>
                    <a:pt x="11" y="683"/>
                  </a:lnTo>
                  <a:lnTo>
                    <a:pt x="5" y="714"/>
                  </a:lnTo>
                  <a:lnTo>
                    <a:pt x="2" y="744"/>
                  </a:lnTo>
                  <a:lnTo>
                    <a:pt x="1" y="757"/>
                  </a:lnTo>
                  <a:lnTo>
                    <a:pt x="0" y="769"/>
                  </a:lnTo>
                  <a:lnTo>
                    <a:pt x="0" y="779"/>
                  </a:lnTo>
                  <a:lnTo>
                    <a:pt x="1" y="785"/>
                  </a:lnTo>
                  <a:lnTo>
                    <a:pt x="13" y="832"/>
                  </a:lnTo>
                  <a:lnTo>
                    <a:pt x="23" y="866"/>
                  </a:lnTo>
                  <a:lnTo>
                    <a:pt x="28" y="880"/>
                  </a:lnTo>
                  <a:lnTo>
                    <a:pt x="30" y="891"/>
                  </a:lnTo>
                  <a:lnTo>
                    <a:pt x="32" y="903"/>
                  </a:lnTo>
                  <a:lnTo>
                    <a:pt x="31" y="913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8" name="Freeform 51">
              <a:extLst>
                <a:ext uri="{FF2B5EF4-FFF2-40B4-BE49-F238E27FC236}">
                  <a16:creationId xmlns:a16="http://schemas.microsoft.com/office/drawing/2014/main" id="{3202982E-CA87-4763-8C1C-96AFCCD29697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554913" y="2755900"/>
              <a:ext cx="347561" cy="238125"/>
            </a:xfrm>
            <a:custGeom>
              <a:avLst/>
              <a:gdLst/>
              <a:ahLst/>
              <a:cxnLst>
                <a:cxn ang="0">
                  <a:pos x="374" y="550"/>
                </a:cxn>
                <a:cxn ang="0">
                  <a:pos x="429" y="586"/>
                </a:cxn>
                <a:cxn ang="0">
                  <a:pos x="494" y="607"/>
                </a:cxn>
                <a:cxn ang="0">
                  <a:pos x="601" y="585"/>
                </a:cxn>
                <a:cxn ang="0">
                  <a:pos x="644" y="539"/>
                </a:cxn>
                <a:cxn ang="0">
                  <a:pos x="694" y="454"/>
                </a:cxn>
                <a:cxn ang="0">
                  <a:pos x="759" y="406"/>
                </a:cxn>
                <a:cxn ang="0">
                  <a:pos x="827" y="481"/>
                </a:cxn>
                <a:cxn ang="0">
                  <a:pos x="911" y="488"/>
                </a:cxn>
                <a:cxn ang="0">
                  <a:pos x="948" y="450"/>
                </a:cxn>
                <a:cxn ang="0">
                  <a:pos x="980" y="381"/>
                </a:cxn>
                <a:cxn ang="0">
                  <a:pos x="1017" y="238"/>
                </a:cxn>
                <a:cxn ang="0">
                  <a:pos x="1038" y="112"/>
                </a:cxn>
                <a:cxn ang="0">
                  <a:pos x="1044" y="47"/>
                </a:cxn>
                <a:cxn ang="0">
                  <a:pos x="1113" y="0"/>
                </a:cxn>
                <a:cxn ang="0">
                  <a:pos x="1296" y="31"/>
                </a:cxn>
                <a:cxn ang="0">
                  <a:pos x="1247" y="134"/>
                </a:cxn>
                <a:cxn ang="0">
                  <a:pos x="1170" y="213"/>
                </a:cxn>
                <a:cxn ang="0">
                  <a:pos x="1171" y="334"/>
                </a:cxn>
                <a:cxn ang="0">
                  <a:pos x="1209" y="384"/>
                </a:cxn>
                <a:cxn ang="0">
                  <a:pos x="1372" y="480"/>
                </a:cxn>
                <a:cxn ang="0">
                  <a:pos x="1453" y="510"/>
                </a:cxn>
                <a:cxn ang="0">
                  <a:pos x="1604" y="534"/>
                </a:cxn>
                <a:cxn ang="0">
                  <a:pos x="1664" y="563"/>
                </a:cxn>
                <a:cxn ang="0">
                  <a:pos x="1721" y="630"/>
                </a:cxn>
                <a:cxn ang="0">
                  <a:pos x="1773" y="682"/>
                </a:cxn>
                <a:cxn ang="0">
                  <a:pos x="1826" y="723"/>
                </a:cxn>
                <a:cxn ang="0">
                  <a:pos x="1897" y="797"/>
                </a:cxn>
                <a:cxn ang="0">
                  <a:pos x="1847" y="899"/>
                </a:cxn>
                <a:cxn ang="0">
                  <a:pos x="1825" y="931"/>
                </a:cxn>
                <a:cxn ang="0">
                  <a:pos x="1776" y="993"/>
                </a:cxn>
                <a:cxn ang="0">
                  <a:pos x="1724" y="1067"/>
                </a:cxn>
                <a:cxn ang="0">
                  <a:pos x="1693" y="1231"/>
                </a:cxn>
                <a:cxn ang="0">
                  <a:pos x="1501" y="1277"/>
                </a:cxn>
                <a:cxn ang="0">
                  <a:pos x="1431" y="1203"/>
                </a:cxn>
                <a:cxn ang="0">
                  <a:pos x="1403" y="1239"/>
                </a:cxn>
                <a:cxn ang="0">
                  <a:pos x="1325" y="1383"/>
                </a:cxn>
                <a:cxn ang="0">
                  <a:pos x="1163" y="1394"/>
                </a:cxn>
                <a:cxn ang="0">
                  <a:pos x="985" y="1397"/>
                </a:cxn>
                <a:cxn ang="0">
                  <a:pos x="957" y="1440"/>
                </a:cxn>
                <a:cxn ang="0">
                  <a:pos x="861" y="1452"/>
                </a:cxn>
                <a:cxn ang="0">
                  <a:pos x="815" y="1401"/>
                </a:cxn>
                <a:cxn ang="0">
                  <a:pos x="675" y="1356"/>
                </a:cxn>
                <a:cxn ang="0">
                  <a:pos x="573" y="1315"/>
                </a:cxn>
                <a:cxn ang="0">
                  <a:pos x="529" y="1297"/>
                </a:cxn>
                <a:cxn ang="0">
                  <a:pos x="482" y="1276"/>
                </a:cxn>
                <a:cxn ang="0">
                  <a:pos x="350" y="1297"/>
                </a:cxn>
                <a:cxn ang="0">
                  <a:pos x="268" y="1246"/>
                </a:cxn>
                <a:cxn ang="0">
                  <a:pos x="247" y="1195"/>
                </a:cxn>
                <a:cxn ang="0">
                  <a:pos x="219" y="1059"/>
                </a:cxn>
                <a:cxn ang="0">
                  <a:pos x="152" y="999"/>
                </a:cxn>
                <a:cxn ang="0">
                  <a:pos x="73" y="1027"/>
                </a:cxn>
                <a:cxn ang="0">
                  <a:pos x="0" y="1010"/>
                </a:cxn>
                <a:cxn ang="0">
                  <a:pos x="12" y="905"/>
                </a:cxn>
                <a:cxn ang="0">
                  <a:pos x="67" y="858"/>
                </a:cxn>
                <a:cxn ang="0">
                  <a:pos x="102" y="846"/>
                </a:cxn>
                <a:cxn ang="0">
                  <a:pos x="143" y="819"/>
                </a:cxn>
                <a:cxn ang="0">
                  <a:pos x="175" y="691"/>
                </a:cxn>
                <a:cxn ang="0">
                  <a:pos x="214" y="566"/>
                </a:cxn>
                <a:cxn ang="0">
                  <a:pos x="250" y="542"/>
                </a:cxn>
                <a:cxn ang="0">
                  <a:pos x="294" y="522"/>
                </a:cxn>
              </a:cxnLst>
              <a:rect l="0" t="0" r="r" b="b"/>
              <a:pathLst>
                <a:path w="1901" h="1471">
                  <a:moveTo>
                    <a:pt x="295" y="518"/>
                  </a:moveTo>
                  <a:lnTo>
                    <a:pt x="299" y="518"/>
                  </a:lnTo>
                  <a:lnTo>
                    <a:pt x="304" y="518"/>
                  </a:lnTo>
                  <a:lnTo>
                    <a:pt x="317" y="526"/>
                  </a:lnTo>
                  <a:lnTo>
                    <a:pt x="329" y="534"/>
                  </a:lnTo>
                  <a:lnTo>
                    <a:pt x="338" y="536"/>
                  </a:lnTo>
                  <a:lnTo>
                    <a:pt x="348" y="539"/>
                  </a:lnTo>
                  <a:lnTo>
                    <a:pt x="358" y="542"/>
                  </a:lnTo>
                  <a:lnTo>
                    <a:pt x="367" y="545"/>
                  </a:lnTo>
                  <a:lnTo>
                    <a:pt x="367" y="548"/>
                  </a:lnTo>
                  <a:lnTo>
                    <a:pt x="371" y="549"/>
                  </a:lnTo>
                  <a:lnTo>
                    <a:pt x="374" y="550"/>
                  </a:lnTo>
                  <a:lnTo>
                    <a:pt x="377" y="550"/>
                  </a:lnTo>
                  <a:lnTo>
                    <a:pt x="383" y="555"/>
                  </a:lnTo>
                  <a:lnTo>
                    <a:pt x="385" y="560"/>
                  </a:lnTo>
                  <a:lnTo>
                    <a:pt x="388" y="566"/>
                  </a:lnTo>
                  <a:lnTo>
                    <a:pt x="398" y="566"/>
                  </a:lnTo>
                  <a:lnTo>
                    <a:pt x="401" y="569"/>
                  </a:lnTo>
                  <a:lnTo>
                    <a:pt x="404" y="574"/>
                  </a:lnTo>
                  <a:lnTo>
                    <a:pt x="410" y="578"/>
                  </a:lnTo>
                  <a:lnTo>
                    <a:pt x="414" y="582"/>
                  </a:lnTo>
                  <a:lnTo>
                    <a:pt x="425" y="582"/>
                  </a:lnTo>
                  <a:lnTo>
                    <a:pt x="426" y="584"/>
                  </a:lnTo>
                  <a:lnTo>
                    <a:pt x="429" y="586"/>
                  </a:lnTo>
                  <a:lnTo>
                    <a:pt x="433" y="587"/>
                  </a:lnTo>
                  <a:lnTo>
                    <a:pt x="439" y="589"/>
                  </a:lnTo>
                  <a:lnTo>
                    <a:pt x="450" y="592"/>
                  </a:lnTo>
                  <a:lnTo>
                    <a:pt x="457" y="593"/>
                  </a:lnTo>
                  <a:lnTo>
                    <a:pt x="458" y="595"/>
                  </a:lnTo>
                  <a:lnTo>
                    <a:pt x="460" y="597"/>
                  </a:lnTo>
                  <a:lnTo>
                    <a:pt x="463" y="597"/>
                  </a:lnTo>
                  <a:lnTo>
                    <a:pt x="468" y="597"/>
                  </a:lnTo>
                  <a:lnTo>
                    <a:pt x="470" y="599"/>
                  </a:lnTo>
                  <a:lnTo>
                    <a:pt x="475" y="603"/>
                  </a:lnTo>
                  <a:lnTo>
                    <a:pt x="484" y="605"/>
                  </a:lnTo>
                  <a:lnTo>
                    <a:pt x="494" y="607"/>
                  </a:lnTo>
                  <a:lnTo>
                    <a:pt x="516" y="612"/>
                  </a:lnTo>
                  <a:lnTo>
                    <a:pt x="530" y="613"/>
                  </a:lnTo>
                  <a:lnTo>
                    <a:pt x="540" y="613"/>
                  </a:lnTo>
                  <a:lnTo>
                    <a:pt x="550" y="611"/>
                  </a:lnTo>
                  <a:lnTo>
                    <a:pt x="559" y="606"/>
                  </a:lnTo>
                  <a:lnTo>
                    <a:pt x="568" y="603"/>
                  </a:lnTo>
                  <a:lnTo>
                    <a:pt x="584" y="596"/>
                  </a:lnTo>
                  <a:lnTo>
                    <a:pt x="594" y="593"/>
                  </a:lnTo>
                  <a:lnTo>
                    <a:pt x="595" y="590"/>
                  </a:lnTo>
                  <a:lnTo>
                    <a:pt x="596" y="588"/>
                  </a:lnTo>
                  <a:lnTo>
                    <a:pt x="597" y="586"/>
                  </a:lnTo>
                  <a:lnTo>
                    <a:pt x="601" y="585"/>
                  </a:lnTo>
                  <a:lnTo>
                    <a:pt x="605" y="583"/>
                  </a:lnTo>
                  <a:lnTo>
                    <a:pt x="609" y="582"/>
                  </a:lnTo>
                  <a:lnTo>
                    <a:pt x="609" y="572"/>
                  </a:lnTo>
                  <a:lnTo>
                    <a:pt x="613" y="570"/>
                  </a:lnTo>
                  <a:lnTo>
                    <a:pt x="615" y="568"/>
                  </a:lnTo>
                  <a:lnTo>
                    <a:pt x="615" y="565"/>
                  </a:lnTo>
                  <a:lnTo>
                    <a:pt x="615" y="560"/>
                  </a:lnTo>
                  <a:lnTo>
                    <a:pt x="621" y="555"/>
                  </a:lnTo>
                  <a:lnTo>
                    <a:pt x="626" y="550"/>
                  </a:lnTo>
                  <a:lnTo>
                    <a:pt x="631" y="545"/>
                  </a:lnTo>
                  <a:lnTo>
                    <a:pt x="636" y="539"/>
                  </a:lnTo>
                  <a:lnTo>
                    <a:pt x="644" y="539"/>
                  </a:lnTo>
                  <a:lnTo>
                    <a:pt x="652" y="539"/>
                  </a:lnTo>
                  <a:lnTo>
                    <a:pt x="657" y="529"/>
                  </a:lnTo>
                  <a:lnTo>
                    <a:pt x="667" y="524"/>
                  </a:lnTo>
                  <a:lnTo>
                    <a:pt x="673" y="518"/>
                  </a:lnTo>
                  <a:lnTo>
                    <a:pt x="673" y="502"/>
                  </a:lnTo>
                  <a:lnTo>
                    <a:pt x="679" y="492"/>
                  </a:lnTo>
                  <a:lnTo>
                    <a:pt x="682" y="491"/>
                  </a:lnTo>
                  <a:lnTo>
                    <a:pt x="685" y="488"/>
                  </a:lnTo>
                  <a:lnTo>
                    <a:pt x="689" y="483"/>
                  </a:lnTo>
                  <a:lnTo>
                    <a:pt x="691" y="478"/>
                  </a:lnTo>
                  <a:lnTo>
                    <a:pt x="693" y="465"/>
                  </a:lnTo>
                  <a:lnTo>
                    <a:pt x="694" y="454"/>
                  </a:lnTo>
                  <a:lnTo>
                    <a:pt x="698" y="454"/>
                  </a:lnTo>
                  <a:lnTo>
                    <a:pt x="701" y="452"/>
                  </a:lnTo>
                  <a:lnTo>
                    <a:pt x="704" y="450"/>
                  </a:lnTo>
                  <a:lnTo>
                    <a:pt x="707" y="447"/>
                  </a:lnTo>
                  <a:lnTo>
                    <a:pt x="711" y="441"/>
                  </a:lnTo>
                  <a:lnTo>
                    <a:pt x="715" y="439"/>
                  </a:lnTo>
                  <a:lnTo>
                    <a:pt x="715" y="429"/>
                  </a:lnTo>
                  <a:lnTo>
                    <a:pt x="727" y="429"/>
                  </a:lnTo>
                  <a:lnTo>
                    <a:pt x="731" y="417"/>
                  </a:lnTo>
                  <a:lnTo>
                    <a:pt x="742" y="417"/>
                  </a:lnTo>
                  <a:lnTo>
                    <a:pt x="747" y="407"/>
                  </a:lnTo>
                  <a:lnTo>
                    <a:pt x="759" y="406"/>
                  </a:lnTo>
                  <a:lnTo>
                    <a:pt x="771" y="404"/>
                  </a:lnTo>
                  <a:lnTo>
                    <a:pt x="782" y="403"/>
                  </a:lnTo>
                  <a:lnTo>
                    <a:pt x="795" y="402"/>
                  </a:lnTo>
                  <a:lnTo>
                    <a:pt x="799" y="406"/>
                  </a:lnTo>
                  <a:lnTo>
                    <a:pt x="803" y="412"/>
                  </a:lnTo>
                  <a:lnTo>
                    <a:pt x="807" y="416"/>
                  </a:lnTo>
                  <a:lnTo>
                    <a:pt x="810" y="417"/>
                  </a:lnTo>
                  <a:lnTo>
                    <a:pt x="816" y="433"/>
                  </a:lnTo>
                  <a:lnTo>
                    <a:pt x="822" y="444"/>
                  </a:lnTo>
                  <a:lnTo>
                    <a:pt x="822" y="465"/>
                  </a:lnTo>
                  <a:lnTo>
                    <a:pt x="824" y="473"/>
                  </a:lnTo>
                  <a:lnTo>
                    <a:pt x="827" y="481"/>
                  </a:lnTo>
                  <a:lnTo>
                    <a:pt x="835" y="483"/>
                  </a:lnTo>
                  <a:lnTo>
                    <a:pt x="843" y="487"/>
                  </a:lnTo>
                  <a:lnTo>
                    <a:pt x="845" y="494"/>
                  </a:lnTo>
                  <a:lnTo>
                    <a:pt x="847" y="502"/>
                  </a:lnTo>
                  <a:lnTo>
                    <a:pt x="860" y="502"/>
                  </a:lnTo>
                  <a:lnTo>
                    <a:pt x="871" y="501"/>
                  </a:lnTo>
                  <a:lnTo>
                    <a:pt x="876" y="500"/>
                  </a:lnTo>
                  <a:lnTo>
                    <a:pt x="881" y="498"/>
                  </a:lnTo>
                  <a:lnTo>
                    <a:pt x="886" y="496"/>
                  </a:lnTo>
                  <a:lnTo>
                    <a:pt x="890" y="492"/>
                  </a:lnTo>
                  <a:lnTo>
                    <a:pt x="906" y="492"/>
                  </a:lnTo>
                  <a:lnTo>
                    <a:pt x="911" y="488"/>
                  </a:lnTo>
                  <a:lnTo>
                    <a:pt x="919" y="483"/>
                  </a:lnTo>
                  <a:lnTo>
                    <a:pt x="922" y="481"/>
                  </a:lnTo>
                  <a:lnTo>
                    <a:pt x="924" y="478"/>
                  </a:lnTo>
                  <a:lnTo>
                    <a:pt x="926" y="474"/>
                  </a:lnTo>
                  <a:lnTo>
                    <a:pt x="926" y="471"/>
                  </a:lnTo>
                  <a:lnTo>
                    <a:pt x="938" y="465"/>
                  </a:lnTo>
                  <a:lnTo>
                    <a:pt x="939" y="461"/>
                  </a:lnTo>
                  <a:lnTo>
                    <a:pt x="941" y="455"/>
                  </a:lnTo>
                  <a:lnTo>
                    <a:pt x="942" y="453"/>
                  </a:lnTo>
                  <a:lnTo>
                    <a:pt x="944" y="451"/>
                  </a:lnTo>
                  <a:lnTo>
                    <a:pt x="947" y="450"/>
                  </a:lnTo>
                  <a:lnTo>
                    <a:pt x="948" y="450"/>
                  </a:lnTo>
                  <a:lnTo>
                    <a:pt x="948" y="439"/>
                  </a:lnTo>
                  <a:lnTo>
                    <a:pt x="952" y="434"/>
                  </a:lnTo>
                  <a:lnTo>
                    <a:pt x="957" y="429"/>
                  </a:lnTo>
                  <a:lnTo>
                    <a:pt x="960" y="425"/>
                  </a:lnTo>
                  <a:lnTo>
                    <a:pt x="964" y="423"/>
                  </a:lnTo>
                  <a:lnTo>
                    <a:pt x="964" y="407"/>
                  </a:lnTo>
                  <a:lnTo>
                    <a:pt x="966" y="401"/>
                  </a:lnTo>
                  <a:lnTo>
                    <a:pt x="970" y="392"/>
                  </a:lnTo>
                  <a:lnTo>
                    <a:pt x="972" y="387"/>
                  </a:lnTo>
                  <a:lnTo>
                    <a:pt x="976" y="384"/>
                  </a:lnTo>
                  <a:lnTo>
                    <a:pt x="978" y="382"/>
                  </a:lnTo>
                  <a:lnTo>
                    <a:pt x="980" y="381"/>
                  </a:lnTo>
                  <a:lnTo>
                    <a:pt x="982" y="367"/>
                  </a:lnTo>
                  <a:lnTo>
                    <a:pt x="986" y="354"/>
                  </a:lnTo>
                  <a:lnTo>
                    <a:pt x="995" y="349"/>
                  </a:lnTo>
                  <a:lnTo>
                    <a:pt x="1001" y="344"/>
                  </a:lnTo>
                  <a:lnTo>
                    <a:pt x="1002" y="325"/>
                  </a:lnTo>
                  <a:lnTo>
                    <a:pt x="1006" y="300"/>
                  </a:lnTo>
                  <a:lnTo>
                    <a:pt x="1010" y="274"/>
                  </a:lnTo>
                  <a:lnTo>
                    <a:pt x="1011" y="249"/>
                  </a:lnTo>
                  <a:lnTo>
                    <a:pt x="1015" y="248"/>
                  </a:lnTo>
                  <a:lnTo>
                    <a:pt x="1016" y="246"/>
                  </a:lnTo>
                  <a:lnTo>
                    <a:pt x="1017" y="242"/>
                  </a:lnTo>
                  <a:lnTo>
                    <a:pt x="1017" y="238"/>
                  </a:lnTo>
                  <a:lnTo>
                    <a:pt x="1027" y="228"/>
                  </a:lnTo>
                  <a:lnTo>
                    <a:pt x="1038" y="217"/>
                  </a:lnTo>
                  <a:lnTo>
                    <a:pt x="1038" y="201"/>
                  </a:lnTo>
                  <a:lnTo>
                    <a:pt x="1048" y="191"/>
                  </a:lnTo>
                  <a:lnTo>
                    <a:pt x="1048" y="174"/>
                  </a:lnTo>
                  <a:lnTo>
                    <a:pt x="1048" y="156"/>
                  </a:lnTo>
                  <a:lnTo>
                    <a:pt x="1048" y="138"/>
                  </a:lnTo>
                  <a:lnTo>
                    <a:pt x="1048" y="122"/>
                  </a:lnTo>
                  <a:lnTo>
                    <a:pt x="1048" y="121"/>
                  </a:lnTo>
                  <a:lnTo>
                    <a:pt x="1045" y="116"/>
                  </a:lnTo>
                  <a:lnTo>
                    <a:pt x="1041" y="113"/>
                  </a:lnTo>
                  <a:lnTo>
                    <a:pt x="1038" y="112"/>
                  </a:lnTo>
                  <a:lnTo>
                    <a:pt x="1038" y="95"/>
                  </a:lnTo>
                  <a:lnTo>
                    <a:pt x="1036" y="95"/>
                  </a:lnTo>
                  <a:lnTo>
                    <a:pt x="1035" y="94"/>
                  </a:lnTo>
                  <a:lnTo>
                    <a:pt x="1034" y="92"/>
                  </a:lnTo>
                  <a:lnTo>
                    <a:pt x="1034" y="89"/>
                  </a:lnTo>
                  <a:lnTo>
                    <a:pt x="1034" y="82"/>
                  </a:lnTo>
                  <a:lnTo>
                    <a:pt x="1035" y="75"/>
                  </a:lnTo>
                  <a:lnTo>
                    <a:pt x="1037" y="67"/>
                  </a:lnTo>
                  <a:lnTo>
                    <a:pt x="1039" y="59"/>
                  </a:lnTo>
                  <a:lnTo>
                    <a:pt x="1041" y="55"/>
                  </a:lnTo>
                  <a:lnTo>
                    <a:pt x="1044" y="54"/>
                  </a:lnTo>
                  <a:lnTo>
                    <a:pt x="1044" y="47"/>
                  </a:lnTo>
                  <a:lnTo>
                    <a:pt x="1047" y="41"/>
                  </a:lnTo>
                  <a:lnTo>
                    <a:pt x="1050" y="36"/>
                  </a:lnTo>
                  <a:lnTo>
                    <a:pt x="1054" y="30"/>
                  </a:lnTo>
                  <a:lnTo>
                    <a:pt x="1058" y="25"/>
                  </a:lnTo>
                  <a:lnTo>
                    <a:pt x="1062" y="20"/>
                  </a:lnTo>
                  <a:lnTo>
                    <a:pt x="1064" y="15"/>
                  </a:lnTo>
                  <a:lnTo>
                    <a:pt x="1065" y="11"/>
                  </a:lnTo>
                  <a:lnTo>
                    <a:pt x="1075" y="6"/>
                  </a:lnTo>
                  <a:lnTo>
                    <a:pt x="1081" y="0"/>
                  </a:lnTo>
                  <a:lnTo>
                    <a:pt x="1089" y="0"/>
                  </a:lnTo>
                  <a:lnTo>
                    <a:pt x="1102" y="0"/>
                  </a:lnTo>
                  <a:lnTo>
                    <a:pt x="1113" y="0"/>
                  </a:lnTo>
                  <a:lnTo>
                    <a:pt x="1123" y="0"/>
                  </a:lnTo>
                  <a:lnTo>
                    <a:pt x="1133" y="9"/>
                  </a:lnTo>
                  <a:lnTo>
                    <a:pt x="1144" y="16"/>
                  </a:lnTo>
                  <a:lnTo>
                    <a:pt x="1156" y="21"/>
                  </a:lnTo>
                  <a:lnTo>
                    <a:pt x="1169" y="25"/>
                  </a:lnTo>
                  <a:lnTo>
                    <a:pt x="1182" y="27"/>
                  </a:lnTo>
                  <a:lnTo>
                    <a:pt x="1196" y="29"/>
                  </a:lnTo>
                  <a:lnTo>
                    <a:pt x="1210" y="29"/>
                  </a:lnTo>
                  <a:lnTo>
                    <a:pt x="1225" y="29"/>
                  </a:lnTo>
                  <a:lnTo>
                    <a:pt x="1254" y="29"/>
                  </a:lnTo>
                  <a:lnTo>
                    <a:pt x="1281" y="30"/>
                  </a:lnTo>
                  <a:lnTo>
                    <a:pt x="1296" y="31"/>
                  </a:lnTo>
                  <a:lnTo>
                    <a:pt x="1309" y="34"/>
                  </a:lnTo>
                  <a:lnTo>
                    <a:pt x="1322" y="38"/>
                  </a:lnTo>
                  <a:lnTo>
                    <a:pt x="1334" y="42"/>
                  </a:lnTo>
                  <a:lnTo>
                    <a:pt x="1334" y="58"/>
                  </a:lnTo>
                  <a:lnTo>
                    <a:pt x="1321" y="68"/>
                  </a:lnTo>
                  <a:lnTo>
                    <a:pt x="1296" y="90"/>
                  </a:lnTo>
                  <a:lnTo>
                    <a:pt x="1281" y="103"/>
                  </a:lnTo>
                  <a:lnTo>
                    <a:pt x="1268" y="114"/>
                  </a:lnTo>
                  <a:lnTo>
                    <a:pt x="1257" y="123"/>
                  </a:lnTo>
                  <a:lnTo>
                    <a:pt x="1249" y="127"/>
                  </a:lnTo>
                  <a:lnTo>
                    <a:pt x="1249" y="131"/>
                  </a:lnTo>
                  <a:lnTo>
                    <a:pt x="1247" y="134"/>
                  </a:lnTo>
                  <a:lnTo>
                    <a:pt x="1245" y="137"/>
                  </a:lnTo>
                  <a:lnTo>
                    <a:pt x="1241" y="140"/>
                  </a:lnTo>
                  <a:lnTo>
                    <a:pt x="1236" y="144"/>
                  </a:lnTo>
                  <a:lnTo>
                    <a:pt x="1233" y="149"/>
                  </a:lnTo>
                  <a:lnTo>
                    <a:pt x="1223" y="154"/>
                  </a:lnTo>
                  <a:lnTo>
                    <a:pt x="1212" y="159"/>
                  </a:lnTo>
                  <a:lnTo>
                    <a:pt x="1202" y="164"/>
                  </a:lnTo>
                  <a:lnTo>
                    <a:pt x="1194" y="178"/>
                  </a:lnTo>
                  <a:lnTo>
                    <a:pt x="1185" y="195"/>
                  </a:lnTo>
                  <a:lnTo>
                    <a:pt x="1175" y="201"/>
                  </a:lnTo>
                  <a:lnTo>
                    <a:pt x="1173" y="207"/>
                  </a:lnTo>
                  <a:lnTo>
                    <a:pt x="1170" y="213"/>
                  </a:lnTo>
                  <a:lnTo>
                    <a:pt x="1166" y="217"/>
                  </a:lnTo>
                  <a:lnTo>
                    <a:pt x="1164" y="220"/>
                  </a:lnTo>
                  <a:lnTo>
                    <a:pt x="1162" y="221"/>
                  </a:lnTo>
                  <a:lnTo>
                    <a:pt x="1160" y="222"/>
                  </a:lnTo>
                  <a:lnTo>
                    <a:pt x="1159" y="230"/>
                  </a:lnTo>
                  <a:lnTo>
                    <a:pt x="1156" y="238"/>
                  </a:lnTo>
                  <a:lnTo>
                    <a:pt x="1153" y="243"/>
                  </a:lnTo>
                  <a:lnTo>
                    <a:pt x="1149" y="249"/>
                  </a:lnTo>
                  <a:lnTo>
                    <a:pt x="1149" y="291"/>
                  </a:lnTo>
                  <a:lnTo>
                    <a:pt x="1153" y="298"/>
                  </a:lnTo>
                  <a:lnTo>
                    <a:pt x="1162" y="316"/>
                  </a:lnTo>
                  <a:lnTo>
                    <a:pt x="1171" y="334"/>
                  </a:lnTo>
                  <a:lnTo>
                    <a:pt x="1175" y="344"/>
                  </a:lnTo>
                  <a:lnTo>
                    <a:pt x="1179" y="345"/>
                  </a:lnTo>
                  <a:lnTo>
                    <a:pt x="1181" y="349"/>
                  </a:lnTo>
                  <a:lnTo>
                    <a:pt x="1183" y="351"/>
                  </a:lnTo>
                  <a:lnTo>
                    <a:pt x="1185" y="353"/>
                  </a:lnTo>
                  <a:lnTo>
                    <a:pt x="1188" y="354"/>
                  </a:lnTo>
                  <a:lnTo>
                    <a:pt x="1191" y="354"/>
                  </a:lnTo>
                  <a:lnTo>
                    <a:pt x="1192" y="361"/>
                  </a:lnTo>
                  <a:lnTo>
                    <a:pt x="1196" y="366"/>
                  </a:lnTo>
                  <a:lnTo>
                    <a:pt x="1200" y="372"/>
                  </a:lnTo>
                  <a:lnTo>
                    <a:pt x="1204" y="378"/>
                  </a:lnTo>
                  <a:lnTo>
                    <a:pt x="1209" y="384"/>
                  </a:lnTo>
                  <a:lnTo>
                    <a:pt x="1213" y="390"/>
                  </a:lnTo>
                  <a:lnTo>
                    <a:pt x="1217" y="396"/>
                  </a:lnTo>
                  <a:lnTo>
                    <a:pt x="1218" y="402"/>
                  </a:lnTo>
                  <a:lnTo>
                    <a:pt x="1276" y="460"/>
                  </a:lnTo>
                  <a:lnTo>
                    <a:pt x="1286" y="460"/>
                  </a:lnTo>
                  <a:lnTo>
                    <a:pt x="1293" y="464"/>
                  </a:lnTo>
                  <a:lnTo>
                    <a:pt x="1303" y="468"/>
                  </a:lnTo>
                  <a:lnTo>
                    <a:pt x="1314" y="470"/>
                  </a:lnTo>
                  <a:lnTo>
                    <a:pt x="1324" y="471"/>
                  </a:lnTo>
                  <a:lnTo>
                    <a:pt x="1335" y="474"/>
                  </a:lnTo>
                  <a:lnTo>
                    <a:pt x="1353" y="478"/>
                  </a:lnTo>
                  <a:lnTo>
                    <a:pt x="1372" y="480"/>
                  </a:lnTo>
                  <a:lnTo>
                    <a:pt x="1386" y="481"/>
                  </a:lnTo>
                  <a:lnTo>
                    <a:pt x="1392" y="484"/>
                  </a:lnTo>
                  <a:lnTo>
                    <a:pt x="1398" y="488"/>
                  </a:lnTo>
                  <a:lnTo>
                    <a:pt x="1404" y="491"/>
                  </a:lnTo>
                  <a:lnTo>
                    <a:pt x="1411" y="494"/>
                  </a:lnTo>
                  <a:lnTo>
                    <a:pt x="1418" y="498"/>
                  </a:lnTo>
                  <a:lnTo>
                    <a:pt x="1424" y="500"/>
                  </a:lnTo>
                  <a:lnTo>
                    <a:pt x="1430" y="503"/>
                  </a:lnTo>
                  <a:lnTo>
                    <a:pt x="1434" y="508"/>
                  </a:lnTo>
                  <a:lnTo>
                    <a:pt x="1442" y="508"/>
                  </a:lnTo>
                  <a:lnTo>
                    <a:pt x="1450" y="509"/>
                  </a:lnTo>
                  <a:lnTo>
                    <a:pt x="1453" y="510"/>
                  </a:lnTo>
                  <a:lnTo>
                    <a:pt x="1456" y="512"/>
                  </a:lnTo>
                  <a:lnTo>
                    <a:pt x="1459" y="515"/>
                  </a:lnTo>
                  <a:lnTo>
                    <a:pt x="1461" y="518"/>
                  </a:lnTo>
                  <a:lnTo>
                    <a:pt x="1477" y="518"/>
                  </a:lnTo>
                  <a:lnTo>
                    <a:pt x="1481" y="522"/>
                  </a:lnTo>
                  <a:lnTo>
                    <a:pt x="1487" y="525"/>
                  </a:lnTo>
                  <a:lnTo>
                    <a:pt x="1494" y="528"/>
                  </a:lnTo>
                  <a:lnTo>
                    <a:pt x="1501" y="529"/>
                  </a:lnTo>
                  <a:lnTo>
                    <a:pt x="1518" y="532"/>
                  </a:lnTo>
                  <a:lnTo>
                    <a:pt x="1536" y="534"/>
                  </a:lnTo>
                  <a:lnTo>
                    <a:pt x="1573" y="535"/>
                  </a:lnTo>
                  <a:lnTo>
                    <a:pt x="1604" y="534"/>
                  </a:lnTo>
                  <a:lnTo>
                    <a:pt x="1604" y="532"/>
                  </a:lnTo>
                  <a:lnTo>
                    <a:pt x="1605" y="531"/>
                  </a:lnTo>
                  <a:lnTo>
                    <a:pt x="1606" y="530"/>
                  </a:lnTo>
                  <a:lnTo>
                    <a:pt x="1607" y="530"/>
                  </a:lnTo>
                  <a:lnTo>
                    <a:pt x="1612" y="531"/>
                  </a:lnTo>
                  <a:lnTo>
                    <a:pt x="1616" y="532"/>
                  </a:lnTo>
                  <a:lnTo>
                    <a:pt x="1626" y="537"/>
                  </a:lnTo>
                  <a:lnTo>
                    <a:pt x="1630" y="539"/>
                  </a:lnTo>
                  <a:lnTo>
                    <a:pt x="1645" y="545"/>
                  </a:lnTo>
                  <a:lnTo>
                    <a:pt x="1650" y="550"/>
                  </a:lnTo>
                  <a:lnTo>
                    <a:pt x="1659" y="558"/>
                  </a:lnTo>
                  <a:lnTo>
                    <a:pt x="1664" y="563"/>
                  </a:lnTo>
                  <a:lnTo>
                    <a:pt x="1668" y="568"/>
                  </a:lnTo>
                  <a:lnTo>
                    <a:pt x="1671" y="573"/>
                  </a:lnTo>
                  <a:lnTo>
                    <a:pt x="1672" y="576"/>
                  </a:lnTo>
                  <a:lnTo>
                    <a:pt x="1679" y="579"/>
                  </a:lnTo>
                  <a:lnTo>
                    <a:pt x="1688" y="587"/>
                  </a:lnTo>
                  <a:lnTo>
                    <a:pt x="1696" y="594"/>
                  </a:lnTo>
                  <a:lnTo>
                    <a:pt x="1699" y="597"/>
                  </a:lnTo>
                  <a:lnTo>
                    <a:pt x="1705" y="603"/>
                  </a:lnTo>
                  <a:lnTo>
                    <a:pt x="1709" y="613"/>
                  </a:lnTo>
                  <a:lnTo>
                    <a:pt x="1715" y="624"/>
                  </a:lnTo>
                  <a:lnTo>
                    <a:pt x="1718" y="626"/>
                  </a:lnTo>
                  <a:lnTo>
                    <a:pt x="1721" y="630"/>
                  </a:lnTo>
                  <a:lnTo>
                    <a:pt x="1725" y="635"/>
                  </a:lnTo>
                  <a:lnTo>
                    <a:pt x="1725" y="640"/>
                  </a:lnTo>
                  <a:lnTo>
                    <a:pt x="1732" y="644"/>
                  </a:lnTo>
                  <a:lnTo>
                    <a:pt x="1739" y="649"/>
                  </a:lnTo>
                  <a:lnTo>
                    <a:pt x="1743" y="651"/>
                  </a:lnTo>
                  <a:lnTo>
                    <a:pt x="1745" y="654"/>
                  </a:lnTo>
                  <a:lnTo>
                    <a:pt x="1746" y="657"/>
                  </a:lnTo>
                  <a:lnTo>
                    <a:pt x="1746" y="661"/>
                  </a:lnTo>
                  <a:lnTo>
                    <a:pt x="1757" y="672"/>
                  </a:lnTo>
                  <a:lnTo>
                    <a:pt x="1763" y="674"/>
                  </a:lnTo>
                  <a:lnTo>
                    <a:pt x="1768" y="678"/>
                  </a:lnTo>
                  <a:lnTo>
                    <a:pt x="1773" y="682"/>
                  </a:lnTo>
                  <a:lnTo>
                    <a:pt x="1778" y="688"/>
                  </a:lnTo>
                  <a:lnTo>
                    <a:pt x="1783" y="692"/>
                  </a:lnTo>
                  <a:lnTo>
                    <a:pt x="1788" y="697"/>
                  </a:lnTo>
                  <a:lnTo>
                    <a:pt x="1794" y="701"/>
                  </a:lnTo>
                  <a:lnTo>
                    <a:pt x="1799" y="703"/>
                  </a:lnTo>
                  <a:lnTo>
                    <a:pt x="1801" y="705"/>
                  </a:lnTo>
                  <a:lnTo>
                    <a:pt x="1803" y="709"/>
                  </a:lnTo>
                  <a:lnTo>
                    <a:pt x="1806" y="712"/>
                  </a:lnTo>
                  <a:lnTo>
                    <a:pt x="1811" y="715"/>
                  </a:lnTo>
                  <a:lnTo>
                    <a:pt x="1816" y="719"/>
                  </a:lnTo>
                  <a:lnTo>
                    <a:pt x="1822" y="722"/>
                  </a:lnTo>
                  <a:lnTo>
                    <a:pt x="1826" y="723"/>
                  </a:lnTo>
                  <a:lnTo>
                    <a:pt x="1831" y="724"/>
                  </a:lnTo>
                  <a:lnTo>
                    <a:pt x="1836" y="733"/>
                  </a:lnTo>
                  <a:lnTo>
                    <a:pt x="1850" y="748"/>
                  </a:lnTo>
                  <a:lnTo>
                    <a:pt x="1864" y="763"/>
                  </a:lnTo>
                  <a:lnTo>
                    <a:pt x="1873" y="772"/>
                  </a:lnTo>
                  <a:lnTo>
                    <a:pt x="1879" y="774"/>
                  </a:lnTo>
                  <a:lnTo>
                    <a:pt x="1882" y="776"/>
                  </a:lnTo>
                  <a:lnTo>
                    <a:pt x="1885" y="780"/>
                  </a:lnTo>
                  <a:lnTo>
                    <a:pt x="1889" y="785"/>
                  </a:lnTo>
                  <a:lnTo>
                    <a:pt x="1891" y="790"/>
                  </a:lnTo>
                  <a:lnTo>
                    <a:pt x="1893" y="794"/>
                  </a:lnTo>
                  <a:lnTo>
                    <a:pt x="1897" y="797"/>
                  </a:lnTo>
                  <a:lnTo>
                    <a:pt x="1900" y="798"/>
                  </a:lnTo>
                  <a:lnTo>
                    <a:pt x="1900" y="818"/>
                  </a:lnTo>
                  <a:lnTo>
                    <a:pt x="1900" y="837"/>
                  </a:lnTo>
                  <a:lnTo>
                    <a:pt x="1900" y="856"/>
                  </a:lnTo>
                  <a:lnTo>
                    <a:pt x="1901" y="876"/>
                  </a:lnTo>
                  <a:lnTo>
                    <a:pt x="1899" y="869"/>
                  </a:lnTo>
                  <a:lnTo>
                    <a:pt x="1899" y="862"/>
                  </a:lnTo>
                  <a:lnTo>
                    <a:pt x="1871" y="862"/>
                  </a:lnTo>
                  <a:lnTo>
                    <a:pt x="1862" y="871"/>
                  </a:lnTo>
                  <a:lnTo>
                    <a:pt x="1862" y="888"/>
                  </a:lnTo>
                  <a:lnTo>
                    <a:pt x="1853" y="899"/>
                  </a:lnTo>
                  <a:lnTo>
                    <a:pt x="1847" y="899"/>
                  </a:lnTo>
                  <a:lnTo>
                    <a:pt x="1844" y="900"/>
                  </a:lnTo>
                  <a:lnTo>
                    <a:pt x="1843" y="901"/>
                  </a:lnTo>
                  <a:lnTo>
                    <a:pt x="1843" y="903"/>
                  </a:lnTo>
                  <a:lnTo>
                    <a:pt x="1843" y="904"/>
                  </a:lnTo>
                  <a:lnTo>
                    <a:pt x="1842" y="906"/>
                  </a:lnTo>
                  <a:lnTo>
                    <a:pt x="1840" y="907"/>
                  </a:lnTo>
                  <a:lnTo>
                    <a:pt x="1834" y="907"/>
                  </a:lnTo>
                  <a:lnTo>
                    <a:pt x="1834" y="925"/>
                  </a:lnTo>
                  <a:lnTo>
                    <a:pt x="1828" y="926"/>
                  </a:lnTo>
                  <a:lnTo>
                    <a:pt x="1826" y="928"/>
                  </a:lnTo>
                  <a:lnTo>
                    <a:pt x="1825" y="929"/>
                  </a:lnTo>
                  <a:lnTo>
                    <a:pt x="1825" y="931"/>
                  </a:lnTo>
                  <a:lnTo>
                    <a:pt x="1825" y="932"/>
                  </a:lnTo>
                  <a:lnTo>
                    <a:pt x="1824" y="933"/>
                  </a:lnTo>
                  <a:lnTo>
                    <a:pt x="1821" y="934"/>
                  </a:lnTo>
                  <a:lnTo>
                    <a:pt x="1816" y="935"/>
                  </a:lnTo>
                  <a:lnTo>
                    <a:pt x="1816" y="953"/>
                  </a:lnTo>
                  <a:lnTo>
                    <a:pt x="1802" y="963"/>
                  </a:lnTo>
                  <a:lnTo>
                    <a:pt x="1788" y="972"/>
                  </a:lnTo>
                  <a:lnTo>
                    <a:pt x="1787" y="976"/>
                  </a:lnTo>
                  <a:lnTo>
                    <a:pt x="1786" y="979"/>
                  </a:lnTo>
                  <a:lnTo>
                    <a:pt x="1785" y="982"/>
                  </a:lnTo>
                  <a:lnTo>
                    <a:pt x="1783" y="986"/>
                  </a:lnTo>
                  <a:lnTo>
                    <a:pt x="1776" y="993"/>
                  </a:lnTo>
                  <a:lnTo>
                    <a:pt x="1769" y="1001"/>
                  </a:lnTo>
                  <a:lnTo>
                    <a:pt x="1763" y="1009"/>
                  </a:lnTo>
                  <a:lnTo>
                    <a:pt x="1757" y="1018"/>
                  </a:lnTo>
                  <a:lnTo>
                    <a:pt x="1755" y="1022"/>
                  </a:lnTo>
                  <a:lnTo>
                    <a:pt x="1753" y="1027"/>
                  </a:lnTo>
                  <a:lnTo>
                    <a:pt x="1751" y="1031"/>
                  </a:lnTo>
                  <a:lnTo>
                    <a:pt x="1751" y="1037"/>
                  </a:lnTo>
                  <a:lnTo>
                    <a:pt x="1732" y="1046"/>
                  </a:lnTo>
                  <a:lnTo>
                    <a:pt x="1732" y="1065"/>
                  </a:lnTo>
                  <a:lnTo>
                    <a:pt x="1727" y="1065"/>
                  </a:lnTo>
                  <a:lnTo>
                    <a:pt x="1725" y="1066"/>
                  </a:lnTo>
                  <a:lnTo>
                    <a:pt x="1724" y="1067"/>
                  </a:lnTo>
                  <a:lnTo>
                    <a:pt x="1724" y="1069"/>
                  </a:lnTo>
                  <a:lnTo>
                    <a:pt x="1724" y="1070"/>
                  </a:lnTo>
                  <a:lnTo>
                    <a:pt x="1722" y="1073"/>
                  </a:lnTo>
                  <a:lnTo>
                    <a:pt x="1719" y="1074"/>
                  </a:lnTo>
                  <a:lnTo>
                    <a:pt x="1715" y="1074"/>
                  </a:lnTo>
                  <a:lnTo>
                    <a:pt x="1715" y="1193"/>
                  </a:lnTo>
                  <a:lnTo>
                    <a:pt x="1712" y="1194"/>
                  </a:lnTo>
                  <a:lnTo>
                    <a:pt x="1710" y="1196"/>
                  </a:lnTo>
                  <a:lnTo>
                    <a:pt x="1708" y="1201"/>
                  </a:lnTo>
                  <a:lnTo>
                    <a:pt x="1706" y="1205"/>
                  </a:lnTo>
                  <a:lnTo>
                    <a:pt x="1700" y="1217"/>
                  </a:lnTo>
                  <a:lnTo>
                    <a:pt x="1693" y="1231"/>
                  </a:lnTo>
                  <a:lnTo>
                    <a:pt x="1686" y="1244"/>
                  </a:lnTo>
                  <a:lnTo>
                    <a:pt x="1678" y="1256"/>
                  </a:lnTo>
                  <a:lnTo>
                    <a:pt x="1673" y="1261"/>
                  </a:lnTo>
                  <a:lnTo>
                    <a:pt x="1669" y="1265"/>
                  </a:lnTo>
                  <a:lnTo>
                    <a:pt x="1663" y="1267"/>
                  </a:lnTo>
                  <a:lnTo>
                    <a:pt x="1659" y="1268"/>
                  </a:lnTo>
                  <a:lnTo>
                    <a:pt x="1650" y="1286"/>
                  </a:lnTo>
                  <a:lnTo>
                    <a:pt x="1617" y="1286"/>
                  </a:lnTo>
                  <a:lnTo>
                    <a:pt x="1581" y="1286"/>
                  </a:lnTo>
                  <a:lnTo>
                    <a:pt x="1543" y="1286"/>
                  </a:lnTo>
                  <a:lnTo>
                    <a:pt x="1510" y="1286"/>
                  </a:lnTo>
                  <a:lnTo>
                    <a:pt x="1501" y="1277"/>
                  </a:lnTo>
                  <a:lnTo>
                    <a:pt x="1492" y="1268"/>
                  </a:lnTo>
                  <a:lnTo>
                    <a:pt x="1491" y="1261"/>
                  </a:lnTo>
                  <a:lnTo>
                    <a:pt x="1489" y="1256"/>
                  </a:lnTo>
                  <a:lnTo>
                    <a:pt x="1487" y="1250"/>
                  </a:lnTo>
                  <a:lnTo>
                    <a:pt x="1484" y="1244"/>
                  </a:lnTo>
                  <a:lnTo>
                    <a:pt x="1480" y="1239"/>
                  </a:lnTo>
                  <a:lnTo>
                    <a:pt x="1477" y="1233"/>
                  </a:lnTo>
                  <a:lnTo>
                    <a:pt x="1475" y="1228"/>
                  </a:lnTo>
                  <a:lnTo>
                    <a:pt x="1473" y="1221"/>
                  </a:lnTo>
                  <a:lnTo>
                    <a:pt x="1447" y="1193"/>
                  </a:lnTo>
                  <a:lnTo>
                    <a:pt x="1437" y="1203"/>
                  </a:lnTo>
                  <a:lnTo>
                    <a:pt x="1431" y="1203"/>
                  </a:lnTo>
                  <a:lnTo>
                    <a:pt x="1429" y="1204"/>
                  </a:lnTo>
                  <a:lnTo>
                    <a:pt x="1428" y="1205"/>
                  </a:lnTo>
                  <a:lnTo>
                    <a:pt x="1428" y="1208"/>
                  </a:lnTo>
                  <a:lnTo>
                    <a:pt x="1428" y="1209"/>
                  </a:lnTo>
                  <a:lnTo>
                    <a:pt x="1427" y="1211"/>
                  </a:lnTo>
                  <a:lnTo>
                    <a:pt x="1423" y="1212"/>
                  </a:lnTo>
                  <a:lnTo>
                    <a:pt x="1419" y="1212"/>
                  </a:lnTo>
                  <a:lnTo>
                    <a:pt x="1417" y="1220"/>
                  </a:lnTo>
                  <a:lnTo>
                    <a:pt x="1413" y="1230"/>
                  </a:lnTo>
                  <a:lnTo>
                    <a:pt x="1410" y="1233"/>
                  </a:lnTo>
                  <a:lnTo>
                    <a:pt x="1406" y="1237"/>
                  </a:lnTo>
                  <a:lnTo>
                    <a:pt x="1403" y="1239"/>
                  </a:lnTo>
                  <a:lnTo>
                    <a:pt x="1400" y="1240"/>
                  </a:lnTo>
                  <a:lnTo>
                    <a:pt x="1400" y="1277"/>
                  </a:lnTo>
                  <a:lnTo>
                    <a:pt x="1395" y="1288"/>
                  </a:lnTo>
                  <a:lnTo>
                    <a:pt x="1386" y="1314"/>
                  </a:lnTo>
                  <a:lnTo>
                    <a:pt x="1376" y="1339"/>
                  </a:lnTo>
                  <a:lnTo>
                    <a:pt x="1372" y="1351"/>
                  </a:lnTo>
                  <a:lnTo>
                    <a:pt x="1363" y="1359"/>
                  </a:lnTo>
                  <a:lnTo>
                    <a:pt x="1354" y="1369"/>
                  </a:lnTo>
                  <a:lnTo>
                    <a:pt x="1340" y="1374"/>
                  </a:lnTo>
                  <a:lnTo>
                    <a:pt x="1326" y="1378"/>
                  </a:lnTo>
                  <a:lnTo>
                    <a:pt x="1326" y="1381"/>
                  </a:lnTo>
                  <a:lnTo>
                    <a:pt x="1325" y="1383"/>
                  </a:lnTo>
                  <a:lnTo>
                    <a:pt x="1323" y="1385"/>
                  </a:lnTo>
                  <a:lnTo>
                    <a:pt x="1321" y="1387"/>
                  </a:lnTo>
                  <a:lnTo>
                    <a:pt x="1313" y="1391"/>
                  </a:lnTo>
                  <a:lnTo>
                    <a:pt x="1304" y="1393"/>
                  </a:lnTo>
                  <a:lnTo>
                    <a:pt x="1294" y="1395"/>
                  </a:lnTo>
                  <a:lnTo>
                    <a:pt x="1281" y="1396"/>
                  </a:lnTo>
                  <a:lnTo>
                    <a:pt x="1268" y="1397"/>
                  </a:lnTo>
                  <a:lnTo>
                    <a:pt x="1255" y="1399"/>
                  </a:lnTo>
                  <a:lnTo>
                    <a:pt x="1201" y="1397"/>
                  </a:lnTo>
                  <a:lnTo>
                    <a:pt x="1169" y="1397"/>
                  </a:lnTo>
                  <a:lnTo>
                    <a:pt x="1168" y="1395"/>
                  </a:lnTo>
                  <a:lnTo>
                    <a:pt x="1163" y="1394"/>
                  </a:lnTo>
                  <a:lnTo>
                    <a:pt x="1155" y="1393"/>
                  </a:lnTo>
                  <a:lnTo>
                    <a:pt x="1145" y="1392"/>
                  </a:lnTo>
                  <a:lnTo>
                    <a:pt x="1121" y="1390"/>
                  </a:lnTo>
                  <a:lnTo>
                    <a:pt x="1093" y="1388"/>
                  </a:lnTo>
                  <a:lnTo>
                    <a:pt x="1037" y="1387"/>
                  </a:lnTo>
                  <a:lnTo>
                    <a:pt x="1002" y="1387"/>
                  </a:lnTo>
                  <a:lnTo>
                    <a:pt x="1002" y="1391"/>
                  </a:lnTo>
                  <a:lnTo>
                    <a:pt x="1001" y="1393"/>
                  </a:lnTo>
                  <a:lnTo>
                    <a:pt x="999" y="1395"/>
                  </a:lnTo>
                  <a:lnTo>
                    <a:pt x="997" y="1396"/>
                  </a:lnTo>
                  <a:lnTo>
                    <a:pt x="991" y="1396"/>
                  </a:lnTo>
                  <a:lnTo>
                    <a:pt x="985" y="1397"/>
                  </a:lnTo>
                  <a:lnTo>
                    <a:pt x="983" y="1401"/>
                  </a:lnTo>
                  <a:lnTo>
                    <a:pt x="981" y="1404"/>
                  </a:lnTo>
                  <a:lnTo>
                    <a:pt x="978" y="1406"/>
                  </a:lnTo>
                  <a:lnTo>
                    <a:pt x="974" y="1410"/>
                  </a:lnTo>
                  <a:lnTo>
                    <a:pt x="969" y="1414"/>
                  </a:lnTo>
                  <a:lnTo>
                    <a:pt x="966" y="1415"/>
                  </a:lnTo>
                  <a:lnTo>
                    <a:pt x="966" y="1434"/>
                  </a:lnTo>
                  <a:lnTo>
                    <a:pt x="960" y="1434"/>
                  </a:lnTo>
                  <a:lnTo>
                    <a:pt x="958" y="1435"/>
                  </a:lnTo>
                  <a:lnTo>
                    <a:pt x="957" y="1436"/>
                  </a:lnTo>
                  <a:lnTo>
                    <a:pt x="957" y="1439"/>
                  </a:lnTo>
                  <a:lnTo>
                    <a:pt x="957" y="1440"/>
                  </a:lnTo>
                  <a:lnTo>
                    <a:pt x="956" y="1442"/>
                  </a:lnTo>
                  <a:lnTo>
                    <a:pt x="952" y="1443"/>
                  </a:lnTo>
                  <a:lnTo>
                    <a:pt x="948" y="1443"/>
                  </a:lnTo>
                  <a:lnTo>
                    <a:pt x="948" y="1461"/>
                  </a:lnTo>
                  <a:lnTo>
                    <a:pt x="938" y="1471"/>
                  </a:lnTo>
                  <a:lnTo>
                    <a:pt x="920" y="1469"/>
                  </a:lnTo>
                  <a:lnTo>
                    <a:pt x="897" y="1467"/>
                  </a:lnTo>
                  <a:lnTo>
                    <a:pt x="877" y="1463"/>
                  </a:lnTo>
                  <a:lnTo>
                    <a:pt x="864" y="1461"/>
                  </a:lnTo>
                  <a:lnTo>
                    <a:pt x="864" y="1458"/>
                  </a:lnTo>
                  <a:lnTo>
                    <a:pt x="863" y="1454"/>
                  </a:lnTo>
                  <a:lnTo>
                    <a:pt x="861" y="1452"/>
                  </a:lnTo>
                  <a:lnTo>
                    <a:pt x="858" y="1449"/>
                  </a:lnTo>
                  <a:lnTo>
                    <a:pt x="855" y="1446"/>
                  </a:lnTo>
                  <a:lnTo>
                    <a:pt x="853" y="1444"/>
                  </a:lnTo>
                  <a:lnTo>
                    <a:pt x="849" y="1443"/>
                  </a:lnTo>
                  <a:lnTo>
                    <a:pt x="846" y="1443"/>
                  </a:lnTo>
                  <a:lnTo>
                    <a:pt x="836" y="1434"/>
                  </a:lnTo>
                  <a:lnTo>
                    <a:pt x="827" y="1424"/>
                  </a:lnTo>
                  <a:lnTo>
                    <a:pt x="827" y="1406"/>
                  </a:lnTo>
                  <a:lnTo>
                    <a:pt x="824" y="1405"/>
                  </a:lnTo>
                  <a:lnTo>
                    <a:pt x="820" y="1404"/>
                  </a:lnTo>
                  <a:lnTo>
                    <a:pt x="817" y="1403"/>
                  </a:lnTo>
                  <a:lnTo>
                    <a:pt x="815" y="1401"/>
                  </a:lnTo>
                  <a:lnTo>
                    <a:pt x="813" y="1397"/>
                  </a:lnTo>
                  <a:lnTo>
                    <a:pt x="810" y="1394"/>
                  </a:lnTo>
                  <a:lnTo>
                    <a:pt x="809" y="1391"/>
                  </a:lnTo>
                  <a:lnTo>
                    <a:pt x="809" y="1387"/>
                  </a:lnTo>
                  <a:lnTo>
                    <a:pt x="799" y="1378"/>
                  </a:lnTo>
                  <a:lnTo>
                    <a:pt x="790" y="1369"/>
                  </a:lnTo>
                  <a:lnTo>
                    <a:pt x="741" y="1369"/>
                  </a:lnTo>
                  <a:lnTo>
                    <a:pt x="738" y="1366"/>
                  </a:lnTo>
                  <a:lnTo>
                    <a:pt x="732" y="1359"/>
                  </a:lnTo>
                  <a:lnTo>
                    <a:pt x="717" y="1359"/>
                  </a:lnTo>
                  <a:lnTo>
                    <a:pt x="698" y="1358"/>
                  </a:lnTo>
                  <a:lnTo>
                    <a:pt x="675" y="1356"/>
                  </a:lnTo>
                  <a:lnTo>
                    <a:pt x="653" y="1353"/>
                  </a:lnTo>
                  <a:lnTo>
                    <a:pt x="642" y="1351"/>
                  </a:lnTo>
                  <a:lnTo>
                    <a:pt x="631" y="1348"/>
                  </a:lnTo>
                  <a:lnTo>
                    <a:pt x="621" y="1345"/>
                  </a:lnTo>
                  <a:lnTo>
                    <a:pt x="612" y="1342"/>
                  </a:lnTo>
                  <a:lnTo>
                    <a:pt x="603" y="1337"/>
                  </a:lnTo>
                  <a:lnTo>
                    <a:pt x="596" y="1333"/>
                  </a:lnTo>
                  <a:lnTo>
                    <a:pt x="592" y="1328"/>
                  </a:lnTo>
                  <a:lnTo>
                    <a:pt x="588" y="1323"/>
                  </a:lnTo>
                  <a:lnTo>
                    <a:pt x="582" y="1316"/>
                  </a:lnTo>
                  <a:lnTo>
                    <a:pt x="577" y="1316"/>
                  </a:lnTo>
                  <a:lnTo>
                    <a:pt x="573" y="1315"/>
                  </a:lnTo>
                  <a:lnTo>
                    <a:pt x="571" y="1315"/>
                  </a:lnTo>
                  <a:lnTo>
                    <a:pt x="570" y="1314"/>
                  </a:lnTo>
                  <a:lnTo>
                    <a:pt x="569" y="1311"/>
                  </a:lnTo>
                  <a:lnTo>
                    <a:pt x="569" y="1310"/>
                  </a:lnTo>
                  <a:lnTo>
                    <a:pt x="560" y="1309"/>
                  </a:lnTo>
                  <a:lnTo>
                    <a:pt x="553" y="1306"/>
                  </a:lnTo>
                  <a:lnTo>
                    <a:pt x="549" y="1304"/>
                  </a:lnTo>
                  <a:lnTo>
                    <a:pt x="546" y="1301"/>
                  </a:lnTo>
                  <a:lnTo>
                    <a:pt x="545" y="1299"/>
                  </a:lnTo>
                  <a:lnTo>
                    <a:pt x="545" y="1297"/>
                  </a:lnTo>
                  <a:lnTo>
                    <a:pt x="536" y="1297"/>
                  </a:lnTo>
                  <a:lnTo>
                    <a:pt x="529" y="1297"/>
                  </a:lnTo>
                  <a:lnTo>
                    <a:pt x="523" y="1295"/>
                  </a:lnTo>
                  <a:lnTo>
                    <a:pt x="519" y="1291"/>
                  </a:lnTo>
                  <a:lnTo>
                    <a:pt x="512" y="1290"/>
                  </a:lnTo>
                  <a:lnTo>
                    <a:pt x="505" y="1287"/>
                  </a:lnTo>
                  <a:lnTo>
                    <a:pt x="500" y="1286"/>
                  </a:lnTo>
                  <a:lnTo>
                    <a:pt x="497" y="1284"/>
                  </a:lnTo>
                  <a:lnTo>
                    <a:pt x="494" y="1281"/>
                  </a:lnTo>
                  <a:lnTo>
                    <a:pt x="494" y="1279"/>
                  </a:lnTo>
                  <a:lnTo>
                    <a:pt x="490" y="1278"/>
                  </a:lnTo>
                  <a:lnTo>
                    <a:pt x="486" y="1278"/>
                  </a:lnTo>
                  <a:lnTo>
                    <a:pt x="484" y="1277"/>
                  </a:lnTo>
                  <a:lnTo>
                    <a:pt x="482" y="1276"/>
                  </a:lnTo>
                  <a:lnTo>
                    <a:pt x="482" y="1275"/>
                  </a:lnTo>
                  <a:lnTo>
                    <a:pt x="481" y="1272"/>
                  </a:lnTo>
                  <a:lnTo>
                    <a:pt x="459" y="1272"/>
                  </a:lnTo>
                  <a:lnTo>
                    <a:pt x="421" y="1274"/>
                  </a:lnTo>
                  <a:lnTo>
                    <a:pt x="402" y="1276"/>
                  </a:lnTo>
                  <a:lnTo>
                    <a:pt x="385" y="1278"/>
                  </a:lnTo>
                  <a:lnTo>
                    <a:pt x="378" y="1279"/>
                  </a:lnTo>
                  <a:lnTo>
                    <a:pt x="374" y="1280"/>
                  </a:lnTo>
                  <a:lnTo>
                    <a:pt x="371" y="1282"/>
                  </a:lnTo>
                  <a:lnTo>
                    <a:pt x="369" y="1285"/>
                  </a:lnTo>
                  <a:lnTo>
                    <a:pt x="356" y="1285"/>
                  </a:lnTo>
                  <a:lnTo>
                    <a:pt x="350" y="1297"/>
                  </a:lnTo>
                  <a:lnTo>
                    <a:pt x="340" y="1297"/>
                  </a:lnTo>
                  <a:lnTo>
                    <a:pt x="328" y="1297"/>
                  </a:lnTo>
                  <a:lnTo>
                    <a:pt x="317" y="1297"/>
                  </a:lnTo>
                  <a:lnTo>
                    <a:pt x="307" y="1297"/>
                  </a:lnTo>
                  <a:lnTo>
                    <a:pt x="300" y="1291"/>
                  </a:lnTo>
                  <a:lnTo>
                    <a:pt x="294" y="1285"/>
                  </a:lnTo>
                  <a:lnTo>
                    <a:pt x="288" y="1279"/>
                  </a:lnTo>
                  <a:lnTo>
                    <a:pt x="281" y="1272"/>
                  </a:lnTo>
                  <a:lnTo>
                    <a:pt x="279" y="1265"/>
                  </a:lnTo>
                  <a:lnTo>
                    <a:pt x="275" y="1255"/>
                  </a:lnTo>
                  <a:lnTo>
                    <a:pt x="271" y="1249"/>
                  </a:lnTo>
                  <a:lnTo>
                    <a:pt x="268" y="1246"/>
                  </a:lnTo>
                  <a:lnTo>
                    <a:pt x="266" y="1242"/>
                  </a:lnTo>
                  <a:lnTo>
                    <a:pt x="262" y="1241"/>
                  </a:lnTo>
                  <a:lnTo>
                    <a:pt x="262" y="1236"/>
                  </a:lnTo>
                  <a:lnTo>
                    <a:pt x="262" y="1229"/>
                  </a:lnTo>
                  <a:lnTo>
                    <a:pt x="261" y="1227"/>
                  </a:lnTo>
                  <a:lnTo>
                    <a:pt x="260" y="1224"/>
                  </a:lnTo>
                  <a:lnTo>
                    <a:pt x="259" y="1223"/>
                  </a:lnTo>
                  <a:lnTo>
                    <a:pt x="257" y="1222"/>
                  </a:lnTo>
                  <a:lnTo>
                    <a:pt x="257" y="1203"/>
                  </a:lnTo>
                  <a:lnTo>
                    <a:pt x="252" y="1202"/>
                  </a:lnTo>
                  <a:lnTo>
                    <a:pt x="249" y="1200"/>
                  </a:lnTo>
                  <a:lnTo>
                    <a:pt x="247" y="1195"/>
                  </a:lnTo>
                  <a:lnTo>
                    <a:pt x="244" y="1191"/>
                  </a:lnTo>
                  <a:lnTo>
                    <a:pt x="243" y="1186"/>
                  </a:lnTo>
                  <a:lnTo>
                    <a:pt x="241" y="1182"/>
                  </a:lnTo>
                  <a:lnTo>
                    <a:pt x="240" y="1180"/>
                  </a:lnTo>
                  <a:lnTo>
                    <a:pt x="238" y="1179"/>
                  </a:lnTo>
                  <a:lnTo>
                    <a:pt x="235" y="1159"/>
                  </a:lnTo>
                  <a:lnTo>
                    <a:pt x="231" y="1127"/>
                  </a:lnTo>
                  <a:lnTo>
                    <a:pt x="228" y="1112"/>
                  </a:lnTo>
                  <a:lnTo>
                    <a:pt x="224" y="1097"/>
                  </a:lnTo>
                  <a:lnTo>
                    <a:pt x="222" y="1088"/>
                  </a:lnTo>
                  <a:lnTo>
                    <a:pt x="219" y="1085"/>
                  </a:lnTo>
                  <a:lnTo>
                    <a:pt x="219" y="1059"/>
                  </a:lnTo>
                  <a:lnTo>
                    <a:pt x="217" y="1058"/>
                  </a:lnTo>
                  <a:lnTo>
                    <a:pt x="212" y="1053"/>
                  </a:lnTo>
                  <a:lnTo>
                    <a:pt x="209" y="1046"/>
                  </a:lnTo>
                  <a:lnTo>
                    <a:pt x="204" y="1037"/>
                  </a:lnTo>
                  <a:lnTo>
                    <a:pt x="196" y="1020"/>
                  </a:lnTo>
                  <a:lnTo>
                    <a:pt x="194" y="1010"/>
                  </a:lnTo>
                  <a:lnTo>
                    <a:pt x="190" y="1009"/>
                  </a:lnTo>
                  <a:lnTo>
                    <a:pt x="185" y="1006"/>
                  </a:lnTo>
                  <a:lnTo>
                    <a:pt x="183" y="1002"/>
                  </a:lnTo>
                  <a:lnTo>
                    <a:pt x="182" y="997"/>
                  </a:lnTo>
                  <a:lnTo>
                    <a:pt x="169" y="998"/>
                  </a:lnTo>
                  <a:lnTo>
                    <a:pt x="152" y="999"/>
                  </a:lnTo>
                  <a:lnTo>
                    <a:pt x="144" y="1000"/>
                  </a:lnTo>
                  <a:lnTo>
                    <a:pt x="137" y="1002"/>
                  </a:lnTo>
                  <a:lnTo>
                    <a:pt x="135" y="1003"/>
                  </a:lnTo>
                  <a:lnTo>
                    <a:pt x="133" y="1006"/>
                  </a:lnTo>
                  <a:lnTo>
                    <a:pt x="132" y="1008"/>
                  </a:lnTo>
                  <a:lnTo>
                    <a:pt x="132" y="1010"/>
                  </a:lnTo>
                  <a:lnTo>
                    <a:pt x="121" y="1011"/>
                  </a:lnTo>
                  <a:lnTo>
                    <a:pt x="109" y="1012"/>
                  </a:lnTo>
                  <a:lnTo>
                    <a:pt x="98" y="1015"/>
                  </a:lnTo>
                  <a:lnTo>
                    <a:pt x="88" y="1016"/>
                  </a:lnTo>
                  <a:lnTo>
                    <a:pt x="80" y="1022"/>
                  </a:lnTo>
                  <a:lnTo>
                    <a:pt x="73" y="1027"/>
                  </a:lnTo>
                  <a:lnTo>
                    <a:pt x="65" y="1030"/>
                  </a:lnTo>
                  <a:lnTo>
                    <a:pt x="56" y="1032"/>
                  </a:lnTo>
                  <a:lnTo>
                    <a:pt x="38" y="1035"/>
                  </a:lnTo>
                  <a:lnTo>
                    <a:pt x="19" y="1035"/>
                  </a:lnTo>
                  <a:lnTo>
                    <a:pt x="12" y="1028"/>
                  </a:lnTo>
                  <a:lnTo>
                    <a:pt x="7" y="1022"/>
                  </a:lnTo>
                  <a:lnTo>
                    <a:pt x="7" y="1018"/>
                  </a:lnTo>
                  <a:lnTo>
                    <a:pt x="6" y="1013"/>
                  </a:lnTo>
                  <a:lnTo>
                    <a:pt x="4" y="1012"/>
                  </a:lnTo>
                  <a:lnTo>
                    <a:pt x="3" y="1011"/>
                  </a:lnTo>
                  <a:lnTo>
                    <a:pt x="2" y="1010"/>
                  </a:lnTo>
                  <a:lnTo>
                    <a:pt x="0" y="1010"/>
                  </a:lnTo>
                  <a:lnTo>
                    <a:pt x="0" y="992"/>
                  </a:lnTo>
                  <a:lnTo>
                    <a:pt x="1" y="968"/>
                  </a:lnTo>
                  <a:lnTo>
                    <a:pt x="1" y="955"/>
                  </a:lnTo>
                  <a:lnTo>
                    <a:pt x="2" y="944"/>
                  </a:lnTo>
                  <a:lnTo>
                    <a:pt x="4" y="938"/>
                  </a:lnTo>
                  <a:lnTo>
                    <a:pt x="7" y="934"/>
                  </a:lnTo>
                  <a:lnTo>
                    <a:pt x="7" y="910"/>
                  </a:lnTo>
                  <a:lnTo>
                    <a:pt x="10" y="910"/>
                  </a:lnTo>
                  <a:lnTo>
                    <a:pt x="12" y="909"/>
                  </a:lnTo>
                  <a:lnTo>
                    <a:pt x="12" y="907"/>
                  </a:lnTo>
                  <a:lnTo>
                    <a:pt x="12" y="906"/>
                  </a:lnTo>
                  <a:lnTo>
                    <a:pt x="12" y="905"/>
                  </a:lnTo>
                  <a:lnTo>
                    <a:pt x="13" y="904"/>
                  </a:lnTo>
                  <a:lnTo>
                    <a:pt x="16" y="904"/>
                  </a:lnTo>
                  <a:lnTo>
                    <a:pt x="19" y="903"/>
                  </a:lnTo>
                  <a:lnTo>
                    <a:pt x="22" y="896"/>
                  </a:lnTo>
                  <a:lnTo>
                    <a:pt x="29" y="887"/>
                  </a:lnTo>
                  <a:lnTo>
                    <a:pt x="37" y="878"/>
                  </a:lnTo>
                  <a:lnTo>
                    <a:pt x="43" y="872"/>
                  </a:lnTo>
                  <a:lnTo>
                    <a:pt x="57" y="872"/>
                  </a:lnTo>
                  <a:lnTo>
                    <a:pt x="57" y="859"/>
                  </a:lnTo>
                  <a:lnTo>
                    <a:pt x="61" y="859"/>
                  </a:lnTo>
                  <a:lnTo>
                    <a:pt x="65" y="858"/>
                  </a:lnTo>
                  <a:lnTo>
                    <a:pt x="67" y="858"/>
                  </a:lnTo>
                  <a:lnTo>
                    <a:pt x="68" y="857"/>
                  </a:lnTo>
                  <a:lnTo>
                    <a:pt x="68" y="855"/>
                  </a:lnTo>
                  <a:lnTo>
                    <a:pt x="69" y="854"/>
                  </a:lnTo>
                  <a:lnTo>
                    <a:pt x="75" y="853"/>
                  </a:lnTo>
                  <a:lnTo>
                    <a:pt x="80" y="853"/>
                  </a:lnTo>
                  <a:lnTo>
                    <a:pt x="84" y="852"/>
                  </a:lnTo>
                  <a:lnTo>
                    <a:pt x="86" y="851"/>
                  </a:lnTo>
                  <a:lnTo>
                    <a:pt x="87" y="849"/>
                  </a:lnTo>
                  <a:lnTo>
                    <a:pt x="88" y="847"/>
                  </a:lnTo>
                  <a:lnTo>
                    <a:pt x="94" y="847"/>
                  </a:lnTo>
                  <a:lnTo>
                    <a:pt x="99" y="846"/>
                  </a:lnTo>
                  <a:lnTo>
                    <a:pt x="102" y="846"/>
                  </a:lnTo>
                  <a:lnTo>
                    <a:pt x="105" y="845"/>
                  </a:lnTo>
                  <a:lnTo>
                    <a:pt x="106" y="843"/>
                  </a:lnTo>
                  <a:lnTo>
                    <a:pt x="106" y="840"/>
                  </a:lnTo>
                  <a:lnTo>
                    <a:pt x="125" y="840"/>
                  </a:lnTo>
                  <a:lnTo>
                    <a:pt x="127" y="837"/>
                  </a:lnTo>
                  <a:lnTo>
                    <a:pt x="132" y="834"/>
                  </a:lnTo>
                  <a:lnTo>
                    <a:pt x="134" y="832"/>
                  </a:lnTo>
                  <a:lnTo>
                    <a:pt x="136" y="829"/>
                  </a:lnTo>
                  <a:lnTo>
                    <a:pt x="137" y="826"/>
                  </a:lnTo>
                  <a:lnTo>
                    <a:pt x="137" y="823"/>
                  </a:lnTo>
                  <a:lnTo>
                    <a:pt x="141" y="822"/>
                  </a:lnTo>
                  <a:lnTo>
                    <a:pt x="143" y="819"/>
                  </a:lnTo>
                  <a:lnTo>
                    <a:pt x="146" y="816"/>
                  </a:lnTo>
                  <a:lnTo>
                    <a:pt x="150" y="811"/>
                  </a:lnTo>
                  <a:lnTo>
                    <a:pt x="154" y="804"/>
                  </a:lnTo>
                  <a:lnTo>
                    <a:pt x="156" y="797"/>
                  </a:lnTo>
                  <a:lnTo>
                    <a:pt x="161" y="796"/>
                  </a:lnTo>
                  <a:lnTo>
                    <a:pt x="166" y="794"/>
                  </a:lnTo>
                  <a:lnTo>
                    <a:pt x="171" y="789"/>
                  </a:lnTo>
                  <a:lnTo>
                    <a:pt x="175" y="785"/>
                  </a:lnTo>
                  <a:lnTo>
                    <a:pt x="175" y="762"/>
                  </a:lnTo>
                  <a:lnTo>
                    <a:pt x="175" y="740"/>
                  </a:lnTo>
                  <a:lnTo>
                    <a:pt x="175" y="715"/>
                  </a:lnTo>
                  <a:lnTo>
                    <a:pt x="175" y="691"/>
                  </a:lnTo>
                  <a:lnTo>
                    <a:pt x="175" y="666"/>
                  </a:lnTo>
                  <a:lnTo>
                    <a:pt x="175" y="642"/>
                  </a:lnTo>
                  <a:lnTo>
                    <a:pt x="175" y="619"/>
                  </a:lnTo>
                  <a:lnTo>
                    <a:pt x="175" y="597"/>
                  </a:lnTo>
                  <a:lnTo>
                    <a:pt x="187" y="597"/>
                  </a:lnTo>
                  <a:lnTo>
                    <a:pt x="187" y="585"/>
                  </a:lnTo>
                  <a:lnTo>
                    <a:pt x="194" y="578"/>
                  </a:lnTo>
                  <a:lnTo>
                    <a:pt x="200" y="572"/>
                  </a:lnTo>
                  <a:lnTo>
                    <a:pt x="213" y="572"/>
                  </a:lnTo>
                  <a:lnTo>
                    <a:pt x="213" y="568"/>
                  </a:lnTo>
                  <a:lnTo>
                    <a:pt x="213" y="567"/>
                  </a:lnTo>
                  <a:lnTo>
                    <a:pt x="214" y="566"/>
                  </a:lnTo>
                  <a:lnTo>
                    <a:pt x="215" y="566"/>
                  </a:lnTo>
                  <a:lnTo>
                    <a:pt x="217" y="566"/>
                  </a:lnTo>
                  <a:lnTo>
                    <a:pt x="218" y="565"/>
                  </a:lnTo>
                  <a:lnTo>
                    <a:pt x="219" y="564"/>
                  </a:lnTo>
                  <a:lnTo>
                    <a:pt x="219" y="559"/>
                  </a:lnTo>
                  <a:lnTo>
                    <a:pt x="225" y="554"/>
                  </a:lnTo>
                  <a:lnTo>
                    <a:pt x="231" y="547"/>
                  </a:lnTo>
                  <a:lnTo>
                    <a:pt x="237" y="547"/>
                  </a:lnTo>
                  <a:lnTo>
                    <a:pt x="243" y="546"/>
                  </a:lnTo>
                  <a:lnTo>
                    <a:pt x="246" y="546"/>
                  </a:lnTo>
                  <a:lnTo>
                    <a:pt x="248" y="545"/>
                  </a:lnTo>
                  <a:lnTo>
                    <a:pt x="250" y="542"/>
                  </a:lnTo>
                  <a:lnTo>
                    <a:pt x="250" y="540"/>
                  </a:lnTo>
                  <a:lnTo>
                    <a:pt x="269" y="540"/>
                  </a:lnTo>
                  <a:lnTo>
                    <a:pt x="269" y="537"/>
                  </a:lnTo>
                  <a:lnTo>
                    <a:pt x="270" y="536"/>
                  </a:lnTo>
                  <a:lnTo>
                    <a:pt x="271" y="535"/>
                  </a:lnTo>
                  <a:lnTo>
                    <a:pt x="272" y="535"/>
                  </a:lnTo>
                  <a:lnTo>
                    <a:pt x="273" y="535"/>
                  </a:lnTo>
                  <a:lnTo>
                    <a:pt x="275" y="534"/>
                  </a:lnTo>
                  <a:lnTo>
                    <a:pt x="275" y="532"/>
                  </a:lnTo>
                  <a:lnTo>
                    <a:pt x="276" y="528"/>
                  </a:lnTo>
                  <a:lnTo>
                    <a:pt x="281" y="522"/>
                  </a:lnTo>
                  <a:lnTo>
                    <a:pt x="294" y="522"/>
                  </a:lnTo>
                  <a:lnTo>
                    <a:pt x="295" y="519"/>
                  </a:lnTo>
                  <a:lnTo>
                    <a:pt x="295" y="51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99" name="Freeform 52">
              <a:extLst>
                <a:ext uri="{FF2B5EF4-FFF2-40B4-BE49-F238E27FC236}">
                  <a16:creationId xmlns:a16="http://schemas.microsoft.com/office/drawing/2014/main" id="{FC9045A1-1CE9-4303-AD01-95C0202F56C2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789863" y="3092450"/>
              <a:ext cx="498180" cy="298450"/>
            </a:xfrm>
            <a:custGeom>
              <a:avLst/>
              <a:gdLst/>
              <a:ahLst/>
              <a:cxnLst>
                <a:cxn ang="0">
                  <a:pos x="136" y="824"/>
                </a:cxn>
                <a:cxn ang="0">
                  <a:pos x="344" y="882"/>
                </a:cxn>
                <a:cxn ang="0">
                  <a:pos x="416" y="935"/>
                </a:cxn>
                <a:cxn ang="0">
                  <a:pos x="484" y="1013"/>
                </a:cxn>
                <a:cxn ang="0">
                  <a:pos x="513" y="1196"/>
                </a:cxn>
                <a:cxn ang="0">
                  <a:pos x="491" y="1239"/>
                </a:cxn>
                <a:cxn ang="0">
                  <a:pos x="449" y="1317"/>
                </a:cxn>
                <a:cxn ang="0">
                  <a:pos x="542" y="1358"/>
                </a:cxn>
                <a:cxn ang="0">
                  <a:pos x="576" y="1445"/>
                </a:cxn>
                <a:cxn ang="0">
                  <a:pos x="599" y="1498"/>
                </a:cxn>
                <a:cxn ang="0">
                  <a:pos x="639" y="1586"/>
                </a:cxn>
                <a:cxn ang="0">
                  <a:pos x="739" y="1637"/>
                </a:cxn>
                <a:cxn ang="0">
                  <a:pos x="974" y="1698"/>
                </a:cxn>
                <a:cxn ang="0">
                  <a:pos x="1091" y="1815"/>
                </a:cxn>
                <a:cxn ang="0">
                  <a:pos x="1200" y="1840"/>
                </a:cxn>
                <a:cxn ang="0">
                  <a:pos x="1253" y="1775"/>
                </a:cxn>
                <a:cxn ang="0">
                  <a:pos x="1263" y="1613"/>
                </a:cxn>
                <a:cxn ang="0">
                  <a:pos x="1211" y="1575"/>
                </a:cxn>
                <a:cxn ang="0">
                  <a:pos x="1198" y="1567"/>
                </a:cxn>
                <a:cxn ang="0">
                  <a:pos x="934" y="1538"/>
                </a:cxn>
                <a:cxn ang="0">
                  <a:pos x="838" y="1425"/>
                </a:cxn>
                <a:cxn ang="0">
                  <a:pos x="768" y="1313"/>
                </a:cxn>
                <a:cxn ang="0">
                  <a:pos x="729" y="1263"/>
                </a:cxn>
                <a:cxn ang="0">
                  <a:pos x="696" y="1179"/>
                </a:cxn>
                <a:cxn ang="0">
                  <a:pos x="697" y="863"/>
                </a:cxn>
                <a:cxn ang="0">
                  <a:pos x="839" y="889"/>
                </a:cxn>
                <a:cxn ang="0">
                  <a:pos x="907" y="940"/>
                </a:cxn>
                <a:cxn ang="0">
                  <a:pos x="1117" y="975"/>
                </a:cxn>
                <a:cxn ang="0">
                  <a:pos x="1237" y="1096"/>
                </a:cxn>
                <a:cxn ang="0">
                  <a:pos x="1324" y="1228"/>
                </a:cxn>
                <a:cxn ang="0">
                  <a:pos x="1359" y="1373"/>
                </a:cxn>
                <a:cxn ang="0">
                  <a:pos x="1418" y="1496"/>
                </a:cxn>
                <a:cxn ang="0">
                  <a:pos x="1622" y="1707"/>
                </a:cxn>
                <a:cxn ang="0">
                  <a:pos x="1793" y="1756"/>
                </a:cxn>
                <a:cxn ang="0">
                  <a:pos x="1821" y="1259"/>
                </a:cxn>
                <a:cxn ang="0">
                  <a:pos x="1768" y="1189"/>
                </a:cxn>
                <a:cxn ang="0">
                  <a:pos x="1579" y="1122"/>
                </a:cxn>
                <a:cxn ang="0">
                  <a:pos x="1440" y="1035"/>
                </a:cxn>
                <a:cxn ang="0">
                  <a:pos x="1359" y="969"/>
                </a:cxn>
                <a:cxn ang="0">
                  <a:pos x="1280" y="882"/>
                </a:cxn>
                <a:cxn ang="0">
                  <a:pos x="1443" y="701"/>
                </a:cxn>
                <a:cxn ang="0">
                  <a:pos x="1674" y="686"/>
                </a:cxn>
                <a:cxn ang="0">
                  <a:pos x="1846" y="839"/>
                </a:cxn>
                <a:cxn ang="0">
                  <a:pos x="2098" y="949"/>
                </a:cxn>
                <a:cxn ang="0">
                  <a:pos x="2164" y="980"/>
                </a:cxn>
                <a:cxn ang="0">
                  <a:pos x="2267" y="1191"/>
                </a:cxn>
                <a:cxn ang="0">
                  <a:pos x="2355" y="1236"/>
                </a:cxn>
                <a:cxn ang="0">
                  <a:pos x="2750" y="1207"/>
                </a:cxn>
                <a:cxn ang="0">
                  <a:pos x="2654" y="1066"/>
                </a:cxn>
                <a:cxn ang="0">
                  <a:pos x="2603" y="997"/>
                </a:cxn>
                <a:cxn ang="0">
                  <a:pos x="2393" y="853"/>
                </a:cxn>
                <a:cxn ang="0">
                  <a:pos x="2248" y="752"/>
                </a:cxn>
                <a:cxn ang="0">
                  <a:pos x="2098" y="692"/>
                </a:cxn>
                <a:cxn ang="0">
                  <a:pos x="1946" y="580"/>
                </a:cxn>
                <a:cxn ang="0">
                  <a:pos x="1763" y="504"/>
                </a:cxn>
                <a:cxn ang="0">
                  <a:pos x="1703" y="375"/>
                </a:cxn>
                <a:cxn ang="0">
                  <a:pos x="1577" y="187"/>
                </a:cxn>
                <a:cxn ang="0">
                  <a:pos x="1407" y="28"/>
                </a:cxn>
                <a:cxn ang="0">
                  <a:pos x="1058" y="90"/>
                </a:cxn>
                <a:cxn ang="0">
                  <a:pos x="387" y="334"/>
                </a:cxn>
                <a:cxn ang="0">
                  <a:pos x="296" y="425"/>
                </a:cxn>
                <a:cxn ang="0">
                  <a:pos x="243" y="594"/>
                </a:cxn>
                <a:cxn ang="0">
                  <a:pos x="38" y="604"/>
                </a:cxn>
              </a:cxnLst>
              <a:rect l="0" t="0" r="r" b="b"/>
              <a:pathLst>
                <a:path w="2750" h="1840">
                  <a:moveTo>
                    <a:pt x="4" y="717"/>
                  </a:moveTo>
                  <a:lnTo>
                    <a:pt x="24" y="723"/>
                  </a:lnTo>
                  <a:lnTo>
                    <a:pt x="47" y="726"/>
                  </a:lnTo>
                  <a:lnTo>
                    <a:pt x="70" y="729"/>
                  </a:lnTo>
                  <a:lnTo>
                    <a:pt x="83" y="730"/>
                  </a:lnTo>
                  <a:lnTo>
                    <a:pt x="85" y="738"/>
                  </a:lnTo>
                  <a:lnTo>
                    <a:pt x="92" y="750"/>
                  </a:lnTo>
                  <a:lnTo>
                    <a:pt x="96" y="756"/>
                  </a:lnTo>
                  <a:lnTo>
                    <a:pt x="100" y="760"/>
                  </a:lnTo>
                  <a:lnTo>
                    <a:pt x="103" y="764"/>
                  </a:lnTo>
                  <a:lnTo>
                    <a:pt x="106" y="766"/>
                  </a:lnTo>
                  <a:lnTo>
                    <a:pt x="106" y="777"/>
                  </a:lnTo>
                  <a:lnTo>
                    <a:pt x="109" y="778"/>
                  </a:lnTo>
                  <a:lnTo>
                    <a:pt x="110" y="783"/>
                  </a:lnTo>
                  <a:lnTo>
                    <a:pt x="112" y="788"/>
                  </a:lnTo>
                  <a:lnTo>
                    <a:pt x="114" y="795"/>
                  </a:lnTo>
                  <a:lnTo>
                    <a:pt x="117" y="808"/>
                  </a:lnTo>
                  <a:lnTo>
                    <a:pt x="118" y="817"/>
                  </a:lnTo>
                  <a:lnTo>
                    <a:pt x="129" y="817"/>
                  </a:lnTo>
                  <a:lnTo>
                    <a:pt x="136" y="824"/>
                  </a:lnTo>
                  <a:lnTo>
                    <a:pt x="136" y="835"/>
                  </a:lnTo>
                  <a:lnTo>
                    <a:pt x="141" y="841"/>
                  </a:lnTo>
                  <a:lnTo>
                    <a:pt x="154" y="843"/>
                  </a:lnTo>
                  <a:lnTo>
                    <a:pt x="171" y="846"/>
                  </a:lnTo>
                  <a:lnTo>
                    <a:pt x="179" y="849"/>
                  </a:lnTo>
                  <a:lnTo>
                    <a:pt x="188" y="851"/>
                  </a:lnTo>
                  <a:lnTo>
                    <a:pt x="196" y="852"/>
                  </a:lnTo>
                  <a:lnTo>
                    <a:pt x="205" y="853"/>
                  </a:lnTo>
                  <a:lnTo>
                    <a:pt x="205" y="851"/>
                  </a:lnTo>
                  <a:lnTo>
                    <a:pt x="206" y="849"/>
                  </a:lnTo>
                  <a:lnTo>
                    <a:pt x="208" y="848"/>
                  </a:lnTo>
                  <a:lnTo>
                    <a:pt x="210" y="848"/>
                  </a:lnTo>
                  <a:lnTo>
                    <a:pt x="217" y="846"/>
                  </a:lnTo>
                  <a:lnTo>
                    <a:pt x="226" y="846"/>
                  </a:lnTo>
                  <a:lnTo>
                    <a:pt x="247" y="850"/>
                  </a:lnTo>
                  <a:lnTo>
                    <a:pt x="273" y="856"/>
                  </a:lnTo>
                  <a:lnTo>
                    <a:pt x="297" y="864"/>
                  </a:lnTo>
                  <a:lnTo>
                    <a:pt x="320" y="871"/>
                  </a:lnTo>
                  <a:lnTo>
                    <a:pt x="336" y="878"/>
                  </a:lnTo>
                  <a:lnTo>
                    <a:pt x="344" y="882"/>
                  </a:lnTo>
                  <a:lnTo>
                    <a:pt x="349" y="882"/>
                  </a:lnTo>
                  <a:lnTo>
                    <a:pt x="352" y="882"/>
                  </a:lnTo>
                  <a:lnTo>
                    <a:pt x="354" y="883"/>
                  </a:lnTo>
                  <a:lnTo>
                    <a:pt x="355" y="884"/>
                  </a:lnTo>
                  <a:lnTo>
                    <a:pt x="355" y="885"/>
                  </a:lnTo>
                  <a:lnTo>
                    <a:pt x="355" y="888"/>
                  </a:lnTo>
                  <a:lnTo>
                    <a:pt x="373" y="888"/>
                  </a:lnTo>
                  <a:lnTo>
                    <a:pt x="379" y="893"/>
                  </a:lnTo>
                  <a:lnTo>
                    <a:pt x="380" y="898"/>
                  </a:lnTo>
                  <a:lnTo>
                    <a:pt x="383" y="901"/>
                  </a:lnTo>
                  <a:lnTo>
                    <a:pt x="388" y="904"/>
                  </a:lnTo>
                  <a:lnTo>
                    <a:pt x="393" y="909"/>
                  </a:lnTo>
                  <a:lnTo>
                    <a:pt x="399" y="912"/>
                  </a:lnTo>
                  <a:lnTo>
                    <a:pt x="403" y="917"/>
                  </a:lnTo>
                  <a:lnTo>
                    <a:pt x="407" y="922"/>
                  </a:lnTo>
                  <a:lnTo>
                    <a:pt x="408" y="928"/>
                  </a:lnTo>
                  <a:lnTo>
                    <a:pt x="410" y="929"/>
                  </a:lnTo>
                  <a:lnTo>
                    <a:pt x="412" y="930"/>
                  </a:lnTo>
                  <a:lnTo>
                    <a:pt x="415" y="932"/>
                  </a:lnTo>
                  <a:lnTo>
                    <a:pt x="416" y="935"/>
                  </a:lnTo>
                  <a:lnTo>
                    <a:pt x="419" y="940"/>
                  </a:lnTo>
                  <a:lnTo>
                    <a:pt x="420" y="946"/>
                  </a:lnTo>
                  <a:lnTo>
                    <a:pt x="424" y="947"/>
                  </a:lnTo>
                  <a:lnTo>
                    <a:pt x="427" y="951"/>
                  </a:lnTo>
                  <a:lnTo>
                    <a:pt x="428" y="954"/>
                  </a:lnTo>
                  <a:lnTo>
                    <a:pt x="430" y="956"/>
                  </a:lnTo>
                  <a:lnTo>
                    <a:pt x="434" y="957"/>
                  </a:lnTo>
                  <a:lnTo>
                    <a:pt x="437" y="957"/>
                  </a:lnTo>
                  <a:lnTo>
                    <a:pt x="437" y="969"/>
                  </a:lnTo>
                  <a:lnTo>
                    <a:pt x="440" y="969"/>
                  </a:lnTo>
                  <a:lnTo>
                    <a:pt x="443" y="969"/>
                  </a:lnTo>
                  <a:lnTo>
                    <a:pt x="443" y="970"/>
                  </a:lnTo>
                  <a:lnTo>
                    <a:pt x="444" y="971"/>
                  </a:lnTo>
                  <a:lnTo>
                    <a:pt x="444" y="973"/>
                  </a:lnTo>
                  <a:lnTo>
                    <a:pt x="444" y="974"/>
                  </a:lnTo>
                  <a:lnTo>
                    <a:pt x="446" y="975"/>
                  </a:lnTo>
                  <a:lnTo>
                    <a:pt x="449" y="975"/>
                  </a:lnTo>
                  <a:lnTo>
                    <a:pt x="473" y="980"/>
                  </a:lnTo>
                  <a:lnTo>
                    <a:pt x="484" y="992"/>
                  </a:lnTo>
                  <a:lnTo>
                    <a:pt x="484" y="1013"/>
                  </a:lnTo>
                  <a:lnTo>
                    <a:pt x="484" y="1036"/>
                  </a:lnTo>
                  <a:lnTo>
                    <a:pt x="484" y="1058"/>
                  </a:lnTo>
                  <a:lnTo>
                    <a:pt x="484" y="1080"/>
                  </a:lnTo>
                  <a:lnTo>
                    <a:pt x="486" y="1081"/>
                  </a:lnTo>
                  <a:lnTo>
                    <a:pt x="489" y="1085"/>
                  </a:lnTo>
                  <a:lnTo>
                    <a:pt x="492" y="1093"/>
                  </a:lnTo>
                  <a:lnTo>
                    <a:pt x="495" y="1101"/>
                  </a:lnTo>
                  <a:lnTo>
                    <a:pt x="499" y="1119"/>
                  </a:lnTo>
                  <a:lnTo>
                    <a:pt x="502" y="1131"/>
                  </a:lnTo>
                  <a:lnTo>
                    <a:pt x="503" y="1132"/>
                  </a:lnTo>
                  <a:lnTo>
                    <a:pt x="505" y="1133"/>
                  </a:lnTo>
                  <a:lnTo>
                    <a:pt x="505" y="1135"/>
                  </a:lnTo>
                  <a:lnTo>
                    <a:pt x="506" y="1138"/>
                  </a:lnTo>
                  <a:lnTo>
                    <a:pt x="507" y="1143"/>
                  </a:lnTo>
                  <a:lnTo>
                    <a:pt x="507" y="1149"/>
                  </a:lnTo>
                  <a:lnTo>
                    <a:pt x="508" y="1151"/>
                  </a:lnTo>
                  <a:lnTo>
                    <a:pt x="511" y="1157"/>
                  </a:lnTo>
                  <a:lnTo>
                    <a:pt x="512" y="1166"/>
                  </a:lnTo>
                  <a:lnTo>
                    <a:pt x="512" y="1176"/>
                  </a:lnTo>
                  <a:lnTo>
                    <a:pt x="513" y="1196"/>
                  </a:lnTo>
                  <a:lnTo>
                    <a:pt x="513" y="1207"/>
                  </a:lnTo>
                  <a:lnTo>
                    <a:pt x="511" y="1207"/>
                  </a:lnTo>
                  <a:lnTo>
                    <a:pt x="509" y="1208"/>
                  </a:lnTo>
                  <a:lnTo>
                    <a:pt x="508" y="1209"/>
                  </a:lnTo>
                  <a:lnTo>
                    <a:pt x="507" y="1210"/>
                  </a:lnTo>
                  <a:lnTo>
                    <a:pt x="507" y="1215"/>
                  </a:lnTo>
                  <a:lnTo>
                    <a:pt x="507" y="1218"/>
                  </a:lnTo>
                  <a:lnTo>
                    <a:pt x="504" y="1219"/>
                  </a:lnTo>
                  <a:lnTo>
                    <a:pt x="502" y="1219"/>
                  </a:lnTo>
                  <a:lnTo>
                    <a:pt x="502" y="1220"/>
                  </a:lnTo>
                  <a:lnTo>
                    <a:pt x="502" y="1221"/>
                  </a:lnTo>
                  <a:lnTo>
                    <a:pt x="501" y="1223"/>
                  </a:lnTo>
                  <a:lnTo>
                    <a:pt x="501" y="1224"/>
                  </a:lnTo>
                  <a:lnTo>
                    <a:pt x="498" y="1224"/>
                  </a:lnTo>
                  <a:lnTo>
                    <a:pt x="495" y="1225"/>
                  </a:lnTo>
                  <a:lnTo>
                    <a:pt x="495" y="1236"/>
                  </a:lnTo>
                  <a:lnTo>
                    <a:pt x="494" y="1236"/>
                  </a:lnTo>
                  <a:lnTo>
                    <a:pt x="492" y="1237"/>
                  </a:lnTo>
                  <a:lnTo>
                    <a:pt x="491" y="1238"/>
                  </a:lnTo>
                  <a:lnTo>
                    <a:pt x="491" y="1239"/>
                  </a:lnTo>
                  <a:lnTo>
                    <a:pt x="489" y="1244"/>
                  </a:lnTo>
                  <a:lnTo>
                    <a:pt x="489" y="1247"/>
                  </a:lnTo>
                  <a:lnTo>
                    <a:pt x="486" y="1248"/>
                  </a:lnTo>
                  <a:lnTo>
                    <a:pt x="485" y="1248"/>
                  </a:lnTo>
                  <a:lnTo>
                    <a:pt x="484" y="1249"/>
                  </a:lnTo>
                  <a:lnTo>
                    <a:pt x="484" y="1250"/>
                  </a:lnTo>
                  <a:lnTo>
                    <a:pt x="484" y="1252"/>
                  </a:lnTo>
                  <a:lnTo>
                    <a:pt x="483" y="1253"/>
                  </a:lnTo>
                  <a:lnTo>
                    <a:pt x="482" y="1253"/>
                  </a:lnTo>
                  <a:lnTo>
                    <a:pt x="478" y="1254"/>
                  </a:lnTo>
                  <a:lnTo>
                    <a:pt x="478" y="1265"/>
                  </a:lnTo>
                  <a:lnTo>
                    <a:pt x="473" y="1271"/>
                  </a:lnTo>
                  <a:lnTo>
                    <a:pt x="466" y="1276"/>
                  </a:lnTo>
                  <a:lnTo>
                    <a:pt x="463" y="1277"/>
                  </a:lnTo>
                  <a:lnTo>
                    <a:pt x="459" y="1278"/>
                  </a:lnTo>
                  <a:lnTo>
                    <a:pt x="457" y="1281"/>
                  </a:lnTo>
                  <a:lnTo>
                    <a:pt x="456" y="1283"/>
                  </a:lnTo>
                  <a:lnTo>
                    <a:pt x="453" y="1286"/>
                  </a:lnTo>
                  <a:lnTo>
                    <a:pt x="449" y="1288"/>
                  </a:lnTo>
                  <a:lnTo>
                    <a:pt x="449" y="1317"/>
                  </a:lnTo>
                  <a:lnTo>
                    <a:pt x="460" y="1323"/>
                  </a:lnTo>
                  <a:lnTo>
                    <a:pt x="464" y="1327"/>
                  </a:lnTo>
                  <a:lnTo>
                    <a:pt x="467" y="1330"/>
                  </a:lnTo>
                  <a:lnTo>
                    <a:pt x="472" y="1332"/>
                  </a:lnTo>
                  <a:lnTo>
                    <a:pt x="476" y="1333"/>
                  </a:lnTo>
                  <a:lnTo>
                    <a:pt x="486" y="1334"/>
                  </a:lnTo>
                  <a:lnTo>
                    <a:pt x="495" y="1335"/>
                  </a:lnTo>
                  <a:lnTo>
                    <a:pt x="496" y="1336"/>
                  </a:lnTo>
                  <a:lnTo>
                    <a:pt x="498" y="1339"/>
                  </a:lnTo>
                  <a:lnTo>
                    <a:pt x="502" y="1339"/>
                  </a:lnTo>
                  <a:lnTo>
                    <a:pt x="505" y="1340"/>
                  </a:lnTo>
                  <a:lnTo>
                    <a:pt x="513" y="1341"/>
                  </a:lnTo>
                  <a:lnTo>
                    <a:pt x="518" y="1341"/>
                  </a:lnTo>
                  <a:lnTo>
                    <a:pt x="520" y="1344"/>
                  </a:lnTo>
                  <a:lnTo>
                    <a:pt x="521" y="1348"/>
                  </a:lnTo>
                  <a:lnTo>
                    <a:pt x="523" y="1350"/>
                  </a:lnTo>
                  <a:lnTo>
                    <a:pt x="525" y="1351"/>
                  </a:lnTo>
                  <a:lnTo>
                    <a:pt x="531" y="1352"/>
                  </a:lnTo>
                  <a:lnTo>
                    <a:pt x="536" y="1352"/>
                  </a:lnTo>
                  <a:lnTo>
                    <a:pt x="542" y="1358"/>
                  </a:lnTo>
                  <a:lnTo>
                    <a:pt x="547" y="1364"/>
                  </a:lnTo>
                  <a:lnTo>
                    <a:pt x="547" y="1375"/>
                  </a:lnTo>
                  <a:lnTo>
                    <a:pt x="550" y="1377"/>
                  </a:lnTo>
                  <a:lnTo>
                    <a:pt x="552" y="1379"/>
                  </a:lnTo>
                  <a:lnTo>
                    <a:pt x="554" y="1383"/>
                  </a:lnTo>
                  <a:lnTo>
                    <a:pt x="555" y="1388"/>
                  </a:lnTo>
                  <a:lnTo>
                    <a:pt x="559" y="1398"/>
                  </a:lnTo>
                  <a:lnTo>
                    <a:pt x="560" y="1404"/>
                  </a:lnTo>
                  <a:lnTo>
                    <a:pt x="561" y="1404"/>
                  </a:lnTo>
                  <a:lnTo>
                    <a:pt x="563" y="1407"/>
                  </a:lnTo>
                  <a:lnTo>
                    <a:pt x="564" y="1409"/>
                  </a:lnTo>
                  <a:lnTo>
                    <a:pt x="564" y="1411"/>
                  </a:lnTo>
                  <a:lnTo>
                    <a:pt x="565" y="1417"/>
                  </a:lnTo>
                  <a:lnTo>
                    <a:pt x="565" y="1422"/>
                  </a:lnTo>
                  <a:lnTo>
                    <a:pt x="568" y="1422"/>
                  </a:lnTo>
                  <a:lnTo>
                    <a:pt x="570" y="1425"/>
                  </a:lnTo>
                  <a:lnTo>
                    <a:pt x="571" y="1428"/>
                  </a:lnTo>
                  <a:lnTo>
                    <a:pt x="573" y="1431"/>
                  </a:lnTo>
                  <a:lnTo>
                    <a:pt x="575" y="1439"/>
                  </a:lnTo>
                  <a:lnTo>
                    <a:pt x="576" y="1445"/>
                  </a:lnTo>
                  <a:lnTo>
                    <a:pt x="579" y="1446"/>
                  </a:lnTo>
                  <a:lnTo>
                    <a:pt x="580" y="1448"/>
                  </a:lnTo>
                  <a:lnTo>
                    <a:pt x="581" y="1451"/>
                  </a:lnTo>
                  <a:lnTo>
                    <a:pt x="582" y="1455"/>
                  </a:lnTo>
                  <a:lnTo>
                    <a:pt x="582" y="1462"/>
                  </a:lnTo>
                  <a:lnTo>
                    <a:pt x="582" y="1468"/>
                  </a:lnTo>
                  <a:lnTo>
                    <a:pt x="584" y="1469"/>
                  </a:lnTo>
                  <a:lnTo>
                    <a:pt x="585" y="1470"/>
                  </a:lnTo>
                  <a:lnTo>
                    <a:pt x="587" y="1473"/>
                  </a:lnTo>
                  <a:lnTo>
                    <a:pt x="588" y="1475"/>
                  </a:lnTo>
                  <a:lnTo>
                    <a:pt x="589" y="1480"/>
                  </a:lnTo>
                  <a:lnTo>
                    <a:pt x="589" y="1486"/>
                  </a:lnTo>
                  <a:lnTo>
                    <a:pt x="590" y="1486"/>
                  </a:lnTo>
                  <a:lnTo>
                    <a:pt x="592" y="1487"/>
                  </a:lnTo>
                  <a:lnTo>
                    <a:pt x="593" y="1488"/>
                  </a:lnTo>
                  <a:lnTo>
                    <a:pt x="593" y="1489"/>
                  </a:lnTo>
                  <a:lnTo>
                    <a:pt x="594" y="1493"/>
                  </a:lnTo>
                  <a:lnTo>
                    <a:pt x="594" y="1497"/>
                  </a:lnTo>
                  <a:lnTo>
                    <a:pt x="598" y="1497"/>
                  </a:lnTo>
                  <a:lnTo>
                    <a:pt x="599" y="1498"/>
                  </a:lnTo>
                  <a:lnTo>
                    <a:pt x="600" y="1499"/>
                  </a:lnTo>
                  <a:lnTo>
                    <a:pt x="600" y="1500"/>
                  </a:lnTo>
                  <a:lnTo>
                    <a:pt x="600" y="1502"/>
                  </a:lnTo>
                  <a:lnTo>
                    <a:pt x="601" y="1503"/>
                  </a:lnTo>
                  <a:lnTo>
                    <a:pt x="602" y="1503"/>
                  </a:lnTo>
                  <a:lnTo>
                    <a:pt x="605" y="1503"/>
                  </a:lnTo>
                  <a:lnTo>
                    <a:pt x="607" y="1512"/>
                  </a:lnTo>
                  <a:lnTo>
                    <a:pt x="609" y="1521"/>
                  </a:lnTo>
                  <a:lnTo>
                    <a:pt x="611" y="1529"/>
                  </a:lnTo>
                  <a:lnTo>
                    <a:pt x="614" y="1537"/>
                  </a:lnTo>
                  <a:lnTo>
                    <a:pt x="618" y="1545"/>
                  </a:lnTo>
                  <a:lnTo>
                    <a:pt x="620" y="1553"/>
                  </a:lnTo>
                  <a:lnTo>
                    <a:pt x="622" y="1561"/>
                  </a:lnTo>
                  <a:lnTo>
                    <a:pt x="623" y="1567"/>
                  </a:lnTo>
                  <a:lnTo>
                    <a:pt x="626" y="1567"/>
                  </a:lnTo>
                  <a:lnTo>
                    <a:pt x="628" y="1570"/>
                  </a:lnTo>
                  <a:lnTo>
                    <a:pt x="631" y="1573"/>
                  </a:lnTo>
                  <a:lnTo>
                    <a:pt x="635" y="1577"/>
                  </a:lnTo>
                  <a:lnTo>
                    <a:pt x="637" y="1582"/>
                  </a:lnTo>
                  <a:lnTo>
                    <a:pt x="639" y="1586"/>
                  </a:lnTo>
                  <a:lnTo>
                    <a:pt x="640" y="1592"/>
                  </a:lnTo>
                  <a:lnTo>
                    <a:pt x="640" y="1596"/>
                  </a:lnTo>
                  <a:lnTo>
                    <a:pt x="645" y="1598"/>
                  </a:lnTo>
                  <a:lnTo>
                    <a:pt x="649" y="1600"/>
                  </a:lnTo>
                  <a:lnTo>
                    <a:pt x="653" y="1603"/>
                  </a:lnTo>
                  <a:lnTo>
                    <a:pt x="658" y="1608"/>
                  </a:lnTo>
                  <a:lnTo>
                    <a:pt x="662" y="1612"/>
                  </a:lnTo>
                  <a:lnTo>
                    <a:pt x="667" y="1615"/>
                  </a:lnTo>
                  <a:lnTo>
                    <a:pt x="671" y="1619"/>
                  </a:lnTo>
                  <a:lnTo>
                    <a:pt x="676" y="1620"/>
                  </a:lnTo>
                  <a:lnTo>
                    <a:pt x="676" y="1624"/>
                  </a:lnTo>
                  <a:lnTo>
                    <a:pt x="678" y="1628"/>
                  </a:lnTo>
                  <a:lnTo>
                    <a:pt x="680" y="1631"/>
                  </a:lnTo>
                  <a:lnTo>
                    <a:pt x="685" y="1633"/>
                  </a:lnTo>
                  <a:lnTo>
                    <a:pt x="689" y="1635"/>
                  </a:lnTo>
                  <a:lnTo>
                    <a:pt x="694" y="1637"/>
                  </a:lnTo>
                  <a:lnTo>
                    <a:pt x="700" y="1638"/>
                  </a:lnTo>
                  <a:lnTo>
                    <a:pt x="707" y="1639"/>
                  </a:lnTo>
                  <a:lnTo>
                    <a:pt x="723" y="1639"/>
                  </a:lnTo>
                  <a:lnTo>
                    <a:pt x="739" y="1637"/>
                  </a:lnTo>
                  <a:lnTo>
                    <a:pt x="758" y="1635"/>
                  </a:lnTo>
                  <a:lnTo>
                    <a:pt x="777" y="1632"/>
                  </a:lnTo>
                  <a:lnTo>
                    <a:pt x="814" y="1628"/>
                  </a:lnTo>
                  <a:lnTo>
                    <a:pt x="847" y="1624"/>
                  </a:lnTo>
                  <a:lnTo>
                    <a:pt x="860" y="1624"/>
                  </a:lnTo>
                  <a:lnTo>
                    <a:pt x="870" y="1627"/>
                  </a:lnTo>
                  <a:lnTo>
                    <a:pt x="873" y="1628"/>
                  </a:lnTo>
                  <a:lnTo>
                    <a:pt x="877" y="1630"/>
                  </a:lnTo>
                  <a:lnTo>
                    <a:pt x="878" y="1633"/>
                  </a:lnTo>
                  <a:lnTo>
                    <a:pt x="879" y="1637"/>
                  </a:lnTo>
                  <a:lnTo>
                    <a:pt x="890" y="1637"/>
                  </a:lnTo>
                  <a:lnTo>
                    <a:pt x="902" y="1649"/>
                  </a:lnTo>
                  <a:lnTo>
                    <a:pt x="914" y="1649"/>
                  </a:lnTo>
                  <a:lnTo>
                    <a:pt x="914" y="1660"/>
                  </a:lnTo>
                  <a:lnTo>
                    <a:pt x="919" y="1666"/>
                  </a:lnTo>
                  <a:lnTo>
                    <a:pt x="931" y="1666"/>
                  </a:lnTo>
                  <a:lnTo>
                    <a:pt x="943" y="1678"/>
                  </a:lnTo>
                  <a:lnTo>
                    <a:pt x="954" y="1689"/>
                  </a:lnTo>
                  <a:lnTo>
                    <a:pt x="966" y="1689"/>
                  </a:lnTo>
                  <a:lnTo>
                    <a:pt x="974" y="1698"/>
                  </a:lnTo>
                  <a:lnTo>
                    <a:pt x="992" y="1718"/>
                  </a:lnTo>
                  <a:lnTo>
                    <a:pt x="1010" y="1738"/>
                  </a:lnTo>
                  <a:lnTo>
                    <a:pt x="1019" y="1747"/>
                  </a:lnTo>
                  <a:lnTo>
                    <a:pt x="1024" y="1753"/>
                  </a:lnTo>
                  <a:lnTo>
                    <a:pt x="1030" y="1758"/>
                  </a:lnTo>
                  <a:lnTo>
                    <a:pt x="1031" y="1763"/>
                  </a:lnTo>
                  <a:lnTo>
                    <a:pt x="1033" y="1767"/>
                  </a:lnTo>
                  <a:lnTo>
                    <a:pt x="1038" y="1769"/>
                  </a:lnTo>
                  <a:lnTo>
                    <a:pt x="1042" y="1771"/>
                  </a:lnTo>
                  <a:lnTo>
                    <a:pt x="1042" y="1775"/>
                  </a:lnTo>
                  <a:lnTo>
                    <a:pt x="1044" y="1779"/>
                  </a:lnTo>
                  <a:lnTo>
                    <a:pt x="1046" y="1783"/>
                  </a:lnTo>
                  <a:lnTo>
                    <a:pt x="1050" y="1787"/>
                  </a:lnTo>
                  <a:lnTo>
                    <a:pt x="1056" y="1794"/>
                  </a:lnTo>
                  <a:lnTo>
                    <a:pt x="1059" y="1800"/>
                  </a:lnTo>
                  <a:lnTo>
                    <a:pt x="1065" y="1801"/>
                  </a:lnTo>
                  <a:lnTo>
                    <a:pt x="1072" y="1803"/>
                  </a:lnTo>
                  <a:lnTo>
                    <a:pt x="1079" y="1806"/>
                  </a:lnTo>
                  <a:lnTo>
                    <a:pt x="1086" y="1811"/>
                  </a:lnTo>
                  <a:lnTo>
                    <a:pt x="1091" y="1815"/>
                  </a:lnTo>
                  <a:lnTo>
                    <a:pt x="1098" y="1819"/>
                  </a:lnTo>
                  <a:lnTo>
                    <a:pt x="1104" y="1822"/>
                  </a:lnTo>
                  <a:lnTo>
                    <a:pt x="1111" y="1823"/>
                  </a:lnTo>
                  <a:lnTo>
                    <a:pt x="1112" y="1824"/>
                  </a:lnTo>
                  <a:lnTo>
                    <a:pt x="1115" y="1826"/>
                  </a:lnTo>
                  <a:lnTo>
                    <a:pt x="1119" y="1827"/>
                  </a:lnTo>
                  <a:lnTo>
                    <a:pt x="1123" y="1827"/>
                  </a:lnTo>
                  <a:lnTo>
                    <a:pt x="1134" y="1829"/>
                  </a:lnTo>
                  <a:lnTo>
                    <a:pt x="1140" y="1829"/>
                  </a:lnTo>
                  <a:lnTo>
                    <a:pt x="1140" y="1831"/>
                  </a:lnTo>
                  <a:lnTo>
                    <a:pt x="1141" y="1832"/>
                  </a:lnTo>
                  <a:lnTo>
                    <a:pt x="1142" y="1833"/>
                  </a:lnTo>
                  <a:lnTo>
                    <a:pt x="1144" y="1833"/>
                  </a:lnTo>
                  <a:lnTo>
                    <a:pt x="1148" y="1834"/>
                  </a:lnTo>
                  <a:lnTo>
                    <a:pt x="1151" y="1834"/>
                  </a:lnTo>
                  <a:lnTo>
                    <a:pt x="1154" y="1836"/>
                  </a:lnTo>
                  <a:lnTo>
                    <a:pt x="1160" y="1837"/>
                  </a:lnTo>
                  <a:lnTo>
                    <a:pt x="1169" y="1839"/>
                  </a:lnTo>
                  <a:lnTo>
                    <a:pt x="1179" y="1840"/>
                  </a:lnTo>
                  <a:lnTo>
                    <a:pt x="1200" y="1840"/>
                  </a:lnTo>
                  <a:lnTo>
                    <a:pt x="1216" y="1840"/>
                  </a:lnTo>
                  <a:lnTo>
                    <a:pt x="1216" y="1829"/>
                  </a:lnTo>
                  <a:lnTo>
                    <a:pt x="1219" y="1829"/>
                  </a:lnTo>
                  <a:lnTo>
                    <a:pt x="1221" y="1827"/>
                  </a:lnTo>
                  <a:lnTo>
                    <a:pt x="1222" y="1826"/>
                  </a:lnTo>
                  <a:lnTo>
                    <a:pt x="1222" y="1825"/>
                  </a:lnTo>
                  <a:lnTo>
                    <a:pt x="1222" y="1824"/>
                  </a:lnTo>
                  <a:lnTo>
                    <a:pt x="1223" y="1824"/>
                  </a:lnTo>
                  <a:lnTo>
                    <a:pt x="1224" y="1823"/>
                  </a:lnTo>
                  <a:lnTo>
                    <a:pt x="1227" y="1823"/>
                  </a:lnTo>
                  <a:lnTo>
                    <a:pt x="1228" y="1816"/>
                  </a:lnTo>
                  <a:lnTo>
                    <a:pt x="1231" y="1811"/>
                  </a:lnTo>
                  <a:lnTo>
                    <a:pt x="1233" y="1805"/>
                  </a:lnTo>
                  <a:lnTo>
                    <a:pt x="1236" y="1801"/>
                  </a:lnTo>
                  <a:lnTo>
                    <a:pt x="1240" y="1795"/>
                  </a:lnTo>
                  <a:lnTo>
                    <a:pt x="1242" y="1791"/>
                  </a:lnTo>
                  <a:lnTo>
                    <a:pt x="1244" y="1786"/>
                  </a:lnTo>
                  <a:lnTo>
                    <a:pt x="1245" y="1782"/>
                  </a:lnTo>
                  <a:lnTo>
                    <a:pt x="1248" y="1781"/>
                  </a:lnTo>
                  <a:lnTo>
                    <a:pt x="1253" y="1775"/>
                  </a:lnTo>
                  <a:lnTo>
                    <a:pt x="1259" y="1768"/>
                  </a:lnTo>
                  <a:lnTo>
                    <a:pt x="1264" y="1760"/>
                  </a:lnTo>
                  <a:lnTo>
                    <a:pt x="1275" y="1745"/>
                  </a:lnTo>
                  <a:lnTo>
                    <a:pt x="1280" y="1736"/>
                  </a:lnTo>
                  <a:lnTo>
                    <a:pt x="1284" y="1735"/>
                  </a:lnTo>
                  <a:lnTo>
                    <a:pt x="1289" y="1731"/>
                  </a:lnTo>
                  <a:lnTo>
                    <a:pt x="1293" y="1728"/>
                  </a:lnTo>
                  <a:lnTo>
                    <a:pt x="1298" y="1724"/>
                  </a:lnTo>
                  <a:lnTo>
                    <a:pt x="1269" y="1689"/>
                  </a:lnTo>
                  <a:lnTo>
                    <a:pt x="1274" y="1687"/>
                  </a:lnTo>
                  <a:lnTo>
                    <a:pt x="1282" y="1680"/>
                  </a:lnTo>
                  <a:lnTo>
                    <a:pt x="1289" y="1675"/>
                  </a:lnTo>
                  <a:lnTo>
                    <a:pt x="1291" y="1671"/>
                  </a:lnTo>
                  <a:lnTo>
                    <a:pt x="1290" y="1662"/>
                  </a:lnTo>
                  <a:lnTo>
                    <a:pt x="1286" y="1653"/>
                  </a:lnTo>
                  <a:lnTo>
                    <a:pt x="1282" y="1644"/>
                  </a:lnTo>
                  <a:lnTo>
                    <a:pt x="1276" y="1635"/>
                  </a:lnTo>
                  <a:lnTo>
                    <a:pt x="1272" y="1627"/>
                  </a:lnTo>
                  <a:lnTo>
                    <a:pt x="1266" y="1620"/>
                  </a:lnTo>
                  <a:lnTo>
                    <a:pt x="1263" y="1613"/>
                  </a:lnTo>
                  <a:lnTo>
                    <a:pt x="1262" y="1608"/>
                  </a:lnTo>
                  <a:lnTo>
                    <a:pt x="1251" y="1608"/>
                  </a:lnTo>
                  <a:lnTo>
                    <a:pt x="1250" y="1604"/>
                  </a:lnTo>
                  <a:lnTo>
                    <a:pt x="1248" y="1601"/>
                  </a:lnTo>
                  <a:lnTo>
                    <a:pt x="1247" y="1599"/>
                  </a:lnTo>
                  <a:lnTo>
                    <a:pt x="1245" y="1596"/>
                  </a:lnTo>
                  <a:lnTo>
                    <a:pt x="1241" y="1594"/>
                  </a:lnTo>
                  <a:lnTo>
                    <a:pt x="1238" y="1591"/>
                  </a:lnTo>
                  <a:lnTo>
                    <a:pt x="1227" y="1587"/>
                  </a:lnTo>
                  <a:lnTo>
                    <a:pt x="1216" y="1584"/>
                  </a:lnTo>
                  <a:lnTo>
                    <a:pt x="1215" y="1581"/>
                  </a:lnTo>
                  <a:lnTo>
                    <a:pt x="1215" y="1580"/>
                  </a:lnTo>
                  <a:lnTo>
                    <a:pt x="1214" y="1579"/>
                  </a:lnTo>
                  <a:lnTo>
                    <a:pt x="1213" y="1579"/>
                  </a:lnTo>
                  <a:lnTo>
                    <a:pt x="1212" y="1579"/>
                  </a:lnTo>
                  <a:lnTo>
                    <a:pt x="1211" y="1577"/>
                  </a:lnTo>
                  <a:lnTo>
                    <a:pt x="1211" y="1576"/>
                  </a:lnTo>
                  <a:lnTo>
                    <a:pt x="1209" y="1573"/>
                  </a:lnTo>
                  <a:lnTo>
                    <a:pt x="1209" y="1574"/>
                  </a:lnTo>
                  <a:lnTo>
                    <a:pt x="1211" y="1575"/>
                  </a:lnTo>
                  <a:lnTo>
                    <a:pt x="1213" y="1579"/>
                  </a:lnTo>
                  <a:lnTo>
                    <a:pt x="1216" y="1582"/>
                  </a:lnTo>
                  <a:lnTo>
                    <a:pt x="1218" y="1585"/>
                  </a:lnTo>
                  <a:lnTo>
                    <a:pt x="1222" y="1587"/>
                  </a:lnTo>
                  <a:lnTo>
                    <a:pt x="1223" y="1590"/>
                  </a:lnTo>
                  <a:lnTo>
                    <a:pt x="1222" y="1591"/>
                  </a:lnTo>
                  <a:lnTo>
                    <a:pt x="1222" y="1587"/>
                  </a:lnTo>
                  <a:lnTo>
                    <a:pt x="1221" y="1585"/>
                  </a:lnTo>
                  <a:lnTo>
                    <a:pt x="1219" y="1584"/>
                  </a:lnTo>
                  <a:lnTo>
                    <a:pt x="1218" y="1584"/>
                  </a:lnTo>
                  <a:lnTo>
                    <a:pt x="1217" y="1584"/>
                  </a:lnTo>
                  <a:lnTo>
                    <a:pt x="1216" y="1584"/>
                  </a:lnTo>
                  <a:lnTo>
                    <a:pt x="1216" y="1582"/>
                  </a:lnTo>
                  <a:lnTo>
                    <a:pt x="1216" y="1579"/>
                  </a:lnTo>
                  <a:lnTo>
                    <a:pt x="1211" y="1579"/>
                  </a:lnTo>
                  <a:lnTo>
                    <a:pt x="1205" y="1577"/>
                  </a:lnTo>
                  <a:lnTo>
                    <a:pt x="1203" y="1576"/>
                  </a:lnTo>
                  <a:lnTo>
                    <a:pt x="1200" y="1574"/>
                  </a:lnTo>
                  <a:lnTo>
                    <a:pt x="1198" y="1571"/>
                  </a:lnTo>
                  <a:lnTo>
                    <a:pt x="1198" y="1567"/>
                  </a:lnTo>
                  <a:lnTo>
                    <a:pt x="1187" y="1567"/>
                  </a:lnTo>
                  <a:lnTo>
                    <a:pt x="1186" y="1564"/>
                  </a:lnTo>
                  <a:lnTo>
                    <a:pt x="1184" y="1562"/>
                  </a:lnTo>
                  <a:lnTo>
                    <a:pt x="1182" y="1562"/>
                  </a:lnTo>
                  <a:lnTo>
                    <a:pt x="1178" y="1561"/>
                  </a:lnTo>
                  <a:lnTo>
                    <a:pt x="1175" y="1561"/>
                  </a:lnTo>
                  <a:lnTo>
                    <a:pt x="1171" y="1561"/>
                  </a:lnTo>
                  <a:lnTo>
                    <a:pt x="1170" y="1558"/>
                  </a:lnTo>
                  <a:lnTo>
                    <a:pt x="1169" y="1555"/>
                  </a:lnTo>
                  <a:lnTo>
                    <a:pt x="1154" y="1554"/>
                  </a:lnTo>
                  <a:lnTo>
                    <a:pt x="1136" y="1552"/>
                  </a:lnTo>
                  <a:lnTo>
                    <a:pt x="1128" y="1550"/>
                  </a:lnTo>
                  <a:lnTo>
                    <a:pt x="1120" y="1548"/>
                  </a:lnTo>
                  <a:lnTo>
                    <a:pt x="1115" y="1546"/>
                  </a:lnTo>
                  <a:lnTo>
                    <a:pt x="1111" y="1544"/>
                  </a:lnTo>
                  <a:lnTo>
                    <a:pt x="937" y="1544"/>
                  </a:lnTo>
                  <a:lnTo>
                    <a:pt x="937" y="1542"/>
                  </a:lnTo>
                  <a:lnTo>
                    <a:pt x="936" y="1541"/>
                  </a:lnTo>
                  <a:lnTo>
                    <a:pt x="935" y="1540"/>
                  </a:lnTo>
                  <a:lnTo>
                    <a:pt x="934" y="1538"/>
                  </a:lnTo>
                  <a:lnTo>
                    <a:pt x="929" y="1538"/>
                  </a:lnTo>
                  <a:lnTo>
                    <a:pt x="925" y="1538"/>
                  </a:lnTo>
                  <a:lnTo>
                    <a:pt x="919" y="1532"/>
                  </a:lnTo>
                  <a:lnTo>
                    <a:pt x="919" y="1529"/>
                  </a:lnTo>
                  <a:lnTo>
                    <a:pt x="917" y="1527"/>
                  </a:lnTo>
                  <a:lnTo>
                    <a:pt x="914" y="1524"/>
                  </a:lnTo>
                  <a:lnTo>
                    <a:pt x="910" y="1522"/>
                  </a:lnTo>
                  <a:lnTo>
                    <a:pt x="902" y="1517"/>
                  </a:lnTo>
                  <a:lnTo>
                    <a:pt x="896" y="1515"/>
                  </a:lnTo>
                  <a:lnTo>
                    <a:pt x="890" y="1509"/>
                  </a:lnTo>
                  <a:lnTo>
                    <a:pt x="889" y="1505"/>
                  </a:lnTo>
                  <a:lnTo>
                    <a:pt x="887" y="1500"/>
                  </a:lnTo>
                  <a:lnTo>
                    <a:pt x="883" y="1498"/>
                  </a:lnTo>
                  <a:lnTo>
                    <a:pt x="879" y="1497"/>
                  </a:lnTo>
                  <a:lnTo>
                    <a:pt x="873" y="1487"/>
                  </a:lnTo>
                  <a:lnTo>
                    <a:pt x="861" y="1469"/>
                  </a:lnTo>
                  <a:lnTo>
                    <a:pt x="849" y="1452"/>
                  </a:lnTo>
                  <a:lnTo>
                    <a:pt x="844" y="1445"/>
                  </a:lnTo>
                  <a:lnTo>
                    <a:pt x="838" y="1433"/>
                  </a:lnTo>
                  <a:lnTo>
                    <a:pt x="838" y="1425"/>
                  </a:lnTo>
                  <a:lnTo>
                    <a:pt x="835" y="1416"/>
                  </a:lnTo>
                  <a:lnTo>
                    <a:pt x="833" y="1408"/>
                  </a:lnTo>
                  <a:lnTo>
                    <a:pt x="832" y="1399"/>
                  </a:lnTo>
                  <a:lnTo>
                    <a:pt x="828" y="1394"/>
                  </a:lnTo>
                  <a:lnTo>
                    <a:pt x="821" y="1387"/>
                  </a:lnTo>
                  <a:lnTo>
                    <a:pt x="814" y="1375"/>
                  </a:lnTo>
                  <a:lnTo>
                    <a:pt x="806" y="1364"/>
                  </a:lnTo>
                  <a:lnTo>
                    <a:pt x="799" y="1353"/>
                  </a:lnTo>
                  <a:lnTo>
                    <a:pt x="792" y="1344"/>
                  </a:lnTo>
                  <a:lnTo>
                    <a:pt x="789" y="1340"/>
                  </a:lnTo>
                  <a:lnTo>
                    <a:pt x="785" y="1337"/>
                  </a:lnTo>
                  <a:lnTo>
                    <a:pt x="782" y="1335"/>
                  </a:lnTo>
                  <a:lnTo>
                    <a:pt x="780" y="1335"/>
                  </a:lnTo>
                  <a:lnTo>
                    <a:pt x="780" y="1323"/>
                  </a:lnTo>
                  <a:lnTo>
                    <a:pt x="774" y="1317"/>
                  </a:lnTo>
                  <a:lnTo>
                    <a:pt x="771" y="1317"/>
                  </a:lnTo>
                  <a:lnTo>
                    <a:pt x="770" y="1316"/>
                  </a:lnTo>
                  <a:lnTo>
                    <a:pt x="768" y="1315"/>
                  </a:lnTo>
                  <a:lnTo>
                    <a:pt x="768" y="1314"/>
                  </a:lnTo>
                  <a:lnTo>
                    <a:pt x="768" y="1313"/>
                  </a:lnTo>
                  <a:lnTo>
                    <a:pt x="767" y="1313"/>
                  </a:lnTo>
                  <a:lnTo>
                    <a:pt x="766" y="1312"/>
                  </a:lnTo>
                  <a:lnTo>
                    <a:pt x="763" y="1312"/>
                  </a:lnTo>
                  <a:lnTo>
                    <a:pt x="761" y="1305"/>
                  </a:lnTo>
                  <a:lnTo>
                    <a:pt x="756" y="1297"/>
                  </a:lnTo>
                  <a:lnTo>
                    <a:pt x="753" y="1294"/>
                  </a:lnTo>
                  <a:lnTo>
                    <a:pt x="751" y="1291"/>
                  </a:lnTo>
                  <a:lnTo>
                    <a:pt x="747" y="1290"/>
                  </a:lnTo>
                  <a:lnTo>
                    <a:pt x="745" y="1288"/>
                  </a:lnTo>
                  <a:lnTo>
                    <a:pt x="745" y="1276"/>
                  </a:lnTo>
                  <a:lnTo>
                    <a:pt x="742" y="1276"/>
                  </a:lnTo>
                  <a:lnTo>
                    <a:pt x="741" y="1276"/>
                  </a:lnTo>
                  <a:lnTo>
                    <a:pt x="739" y="1275"/>
                  </a:lnTo>
                  <a:lnTo>
                    <a:pt x="739" y="1274"/>
                  </a:lnTo>
                  <a:lnTo>
                    <a:pt x="739" y="1273"/>
                  </a:lnTo>
                  <a:lnTo>
                    <a:pt x="738" y="1272"/>
                  </a:lnTo>
                  <a:lnTo>
                    <a:pt x="737" y="1272"/>
                  </a:lnTo>
                  <a:lnTo>
                    <a:pt x="734" y="1271"/>
                  </a:lnTo>
                  <a:lnTo>
                    <a:pt x="733" y="1266"/>
                  </a:lnTo>
                  <a:lnTo>
                    <a:pt x="729" y="1263"/>
                  </a:lnTo>
                  <a:lnTo>
                    <a:pt x="726" y="1260"/>
                  </a:lnTo>
                  <a:lnTo>
                    <a:pt x="722" y="1259"/>
                  </a:lnTo>
                  <a:lnTo>
                    <a:pt x="722" y="1247"/>
                  </a:lnTo>
                  <a:lnTo>
                    <a:pt x="720" y="1247"/>
                  </a:lnTo>
                  <a:lnTo>
                    <a:pt x="718" y="1247"/>
                  </a:lnTo>
                  <a:lnTo>
                    <a:pt x="717" y="1246"/>
                  </a:lnTo>
                  <a:lnTo>
                    <a:pt x="717" y="1244"/>
                  </a:lnTo>
                  <a:lnTo>
                    <a:pt x="716" y="1240"/>
                  </a:lnTo>
                  <a:lnTo>
                    <a:pt x="716" y="1236"/>
                  </a:lnTo>
                  <a:lnTo>
                    <a:pt x="713" y="1235"/>
                  </a:lnTo>
                  <a:lnTo>
                    <a:pt x="710" y="1234"/>
                  </a:lnTo>
                  <a:lnTo>
                    <a:pt x="709" y="1230"/>
                  </a:lnTo>
                  <a:lnTo>
                    <a:pt x="707" y="1227"/>
                  </a:lnTo>
                  <a:lnTo>
                    <a:pt x="706" y="1218"/>
                  </a:lnTo>
                  <a:lnTo>
                    <a:pt x="705" y="1207"/>
                  </a:lnTo>
                  <a:lnTo>
                    <a:pt x="704" y="1197"/>
                  </a:lnTo>
                  <a:lnTo>
                    <a:pt x="701" y="1187"/>
                  </a:lnTo>
                  <a:lnTo>
                    <a:pt x="700" y="1183"/>
                  </a:lnTo>
                  <a:lnTo>
                    <a:pt x="698" y="1180"/>
                  </a:lnTo>
                  <a:lnTo>
                    <a:pt x="696" y="1179"/>
                  </a:lnTo>
                  <a:lnTo>
                    <a:pt x="693" y="1178"/>
                  </a:lnTo>
                  <a:lnTo>
                    <a:pt x="693" y="1160"/>
                  </a:lnTo>
                  <a:lnTo>
                    <a:pt x="691" y="1157"/>
                  </a:lnTo>
                  <a:lnTo>
                    <a:pt x="686" y="1149"/>
                  </a:lnTo>
                  <a:lnTo>
                    <a:pt x="684" y="1144"/>
                  </a:lnTo>
                  <a:lnTo>
                    <a:pt x="680" y="1141"/>
                  </a:lnTo>
                  <a:lnTo>
                    <a:pt x="678" y="1138"/>
                  </a:lnTo>
                  <a:lnTo>
                    <a:pt x="676" y="1138"/>
                  </a:lnTo>
                  <a:lnTo>
                    <a:pt x="669" y="893"/>
                  </a:lnTo>
                  <a:lnTo>
                    <a:pt x="671" y="893"/>
                  </a:lnTo>
                  <a:lnTo>
                    <a:pt x="672" y="891"/>
                  </a:lnTo>
                  <a:lnTo>
                    <a:pt x="674" y="889"/>
                  </a:lnTo>
                  <a:lnTo>
                    <a:pt x="675" y="887"/>
                  </a:lnTo>
                  <a:lnTo>
                    <a:pt x="676" y="881"/>
                  </a:lnTo>
                  <a:lnTo>
                    <a:pt x="676" y="875"/>
                  </a:lnTo>
                  <a:lnTo>
                    <a:pt x="681" y="870"/>
                  </a:lnTo>
                  <a:lnTo>
                    <a:pt x="687" y="869"/>
                  </a:lnTo>
                  <a:lnTo>
                    <a:pt x="693" y="867"/>
                  </a:lnTo>
                  <a:lnTo>
                    <a:pt x="695" y="864"/>
                  </a:lnTo>
                  <a:lnTo>
                    <a:pt x="697" y="863"/>
                  </a:lnTo>
                  <a:lnTo>
                    <a:pt x="698" y="861"/>
                  </a:lnTo>
                  <a:lnTo>
                    <a:pt x="699" y="859"/>
                  </a:lnTo>
                  <a:lnTo>
                    <a:pt x="716" y="859"/>
                  </a:lnTo>
                  <a:lnTo>
                    <a:pt x="717" y="855"/>
                  </a:lnTo>
                  <a:lnTo>
                    <a:pt x="719" y="853"/>
                  </a:lnTo>
                  <a:lnTo>
                    <a:pt x="723" y="851"/>
                  </a:lnTo>
                  <a:lnTo>
                    <a:pt x="727" y="850"/>
                  </a:lnTo>
                  <a:lnTo>
                    <a:pt x="738" y="848"/>
                  </a:lnTo>
                  <a:lnTo>
                    <a:pt x="753" y="846"/>
                  </a:lnTo>
                  <a:lnTo>
                    <a:pt x="780" y="846"/>
                  </a:lnTo>
                  <a:lnTo>
                    <a:pt x="797" y="846"/>
                  </a:lnTo>
                  <a:lnTo>
                    <a:pt x="799" y="851"/>
                  </a:lnTo>
                  <a:lnTo>
                    <a:pt x="801" y="855"/>
                  </a:lnTo>
                  <a:lnTo>
                    <a:pt x="805" y="858"/>
                  </a:lnTo>
                  <a:lnTo>
                    <a:pt x="809" y="859"/>
                  </a:lnTo>
                  <a:lnTo>
                    <a:pt x="811" y="862"/>
                  </a:lnTo>
                  <a:lnTo>
                    <a:pt x="814" y="867"/>
                  </a:lnTo>
                  <a:lnTo>
                    <a:pt x="820" y="872"/>
                  </a:lnTo>
                  <a:lnTo>
                    <a:pt x="827" y="878"/>
                  </a:lnTo>
                  <a:lnTo>
                    <a:pt x="839" y="889"/>
                  </a:lnTo>
                  <a:lnTo>
                    <a:pt x="844" y="893"/>
                  </a:lnTo>
                  <a:lnTo>
                    <a:pt x="848" y="894"/>
                  </a:lnTo>
                  <a:lnTo>
                    <a:pt x="852" y="897"/>
                  </a:lnTo>
                  <a:lnTo>
                    <a:pt x="854" y="901"/>
                  </a:lnTo>
                  <a:lnTo>
                    <a:pt x="856" y="904"/>
                  </a:lnTo>
                  <a:lnTo>
                    <a:pt x="864" y="908"/>
                  </a:lnTo>
                  <a:lnTo>
                    <a:pt x="873" y="911"/>
                  </a:lnTo>
                  <a:lnTo>
                    <a:pt x="879" y="917"/>
                  </a:lnTo>
                  <a:lnTo>
                    <a:pt x="879" y="920"/>
                  </a:lnTo>
                  <a:lnTo>
                    <a:pt x="880" y="921"/>
                  </a:lnTo>
                  <a:lnTo>
                    <a:pt x="880" y="922"/>
                  </a:lnTo>
                  <a:lnTo>
                    <a:pt x="881" y="922"/>
                  </a:lnTo>
                  <a:lnTo>
                    <a:pt x="882" y="922"/>
                  </a:lnTo>
                  <a:lnTo>
                    <a:pt x="883" y="923"/>
                  </a:lnTo>
                  <a:lnTo>
                    <a:pt x="885" y="925"/>
                  </a:lnTo>
                  <a:lnTo>
                    <a:pt x="885" y="928"/>
                  </a:lnTo>
                  <a:lnTo>
                    <a:pt x="891" y="929"/>
                  </a:lnTo>
                  <a:lnTo>
                    <a:pt x="897" y="931"/>
                  </a:lnTo>
                  <a:lnTo>
                    <a:pt x="902" y="936"/>
                  </a:lnTo>
                  <a:lnTo>
                    <a:pt x="907" y="940"/>
                  </a:lnTo>
                  <a:lnTo>
                    <a:pt x="911" y="944"/>
                  </a:lnTo>
                  <a:lnTo>
                    <a:pt x="917" y="948"/>
                  </a:lnTo>
                  <a:lnTo>
                    <a:pt x="921" y="950"/>
                  </a:lnTo>
                  <a:lnTo>
                    <a:pt x="925" y="951"/>
                  </a:lnTo>
                  <a:lnTo>
                    <a:pt x="926" y="955"/>
                  </a:lnTo>
                  <a:lnTo>
                    <a:pt x="926" y="957"/>
                  </a:lnTo>
                  <a:lnTo>
                    <a:pt x="927" y="957"/>
                  </a:lnTo>
                  <a:lnTo>
                    <a:pt x="928" y="957"/>
                  </a:lnTo>
                  <a:lnTo>
                    <a:pt x="929" y="957"/>
                  </a:lnTo>
                  <a:lnTo>
                    <a:pt x="930" y="958"/>
                  </a:lnTo>
                  <a:lnTo>
                    <a:pt x="930" y="959"/>
                  </a:lnTo>
                  <a:lnTo>
                    <a:pt x="931" y="963"/>
                  </a:lnTo>
                  <a:lnTo>
                    <a:pt x="955" y="964"/>
                  </a:lnTo>
                  <a:lnTo>
                    <a:pt x="979" y="965"/>
                  </a:lnTo>
                  <a:lnTo>
                    <a:pt x="1003" y="967"/>
                  </a:lnTo>
                  <a:lnTo>
                    <a:pt x="1026" y="969"/>
                  </a:lnTo>
                  <a:lnTo>
                    <a:pt x="1050" y="971"/>
                  </a:lnTo>
                  <a:lnTo>
                    <a:pt x="1072" y="973"/>
                  </a:lnTo>
                  <a:lnTo>
                    <a:pt x="1094" y="974"/>
                  </a:lnTo>
                  <a:lnTo>
                    <a:pt x="1117" y="975"/>
                  </a:lnTo>
                  <a:lnTo>
                    <a:pt x="1127" y="980"/>
                  </a:lnTo>
                  <a:lnTo>
                    <a:pt x="1142" y="989"/>
                  </a:lnTo>
                  <a:lnTo>
                    <a:pt x="1150" y="994"/>
                  </a:lnTo>
                  <a:lnTo>
                    <a:pt x="1157" y="997"/>
                  </a:lnTo>
                  <a:lnTo>
                    <a:pt x="1161" y="1002"/>
                  </a:lnTo>
                  <a:lnTo>
                    <a:pt x="1164" y="1004"/>
                  </a:lnTo>
                  <a:lnTo>
                    <a:pt x="1175" y="1004"/>
                  </a:lnTo>
                  <a:lnTo>
                    <a:pt x="1182" y="1015"/>
                  </a:lnTo>
                  <a:lnTo>
                    <a:pt x="1190" y="1028"/>
                  </a:lnTo>
                  <a:lnTo>
                    <a:pt x="1195" y="1035"/>
                  </a:lnTo>
                  <a:lnTo>
                    <a:pt x="1200" y="1040"/>
                  </a:lnTo>
                  <a:lnTo>
                    <a:pt x="1205" y="1043"/>
                  </a:lnTo>
                  <a:lnTo>
                    <a:pt x="1209" y="1044"/>
                  </a:lnTo>
                  <a:lnTo>
                    <a:pt x="1213" y="1056"/>
                  </a:lnTo>
                  <a:lnTo>
                    <a:pt x="1216" y="1067"/>
                  </a:lnTo>
                  <a:lnTo>
                    <a:pt x="1221" y="1071"/>
                  </a:lnTo>
                  <a:lnTo>
                    <a:pt x="1224" y="1076"/>
                  </a:lnTo>
                  <a:lnTo>
                    <a:pt x="1228" y="1083"/>
                  </a:lnTo>
                  <a:lnTo>
                    <a:pt x="1233" y="1090"/>
                  </a:lnTo>
                  <a:lnTo>
                    <a:pt x="1237" y="1096"/>
                  </a:lnTo>
                  <a:lnTo>
                    <a:pt x="1242" y="1103"/>
                  </a:lnTo>
                  <a:lnTo>
                    <a:pt x="1246" y="1106"/>
                  </a:lnTo>
                  <a:lnTo>
                    <a:pt x="1251" y="1109"/>
                  </a:lnTo>
                  <a:lnTo>
                    <a:pt x="1251" y="1113"/>
                  </a:lnTo>
                  <a:lnTo>
                    <a:pt x="1253" y="1118"/>
                  </a:lnTo>
                  <a:lnTo>
                    <a:pt x="1256" y="1123"/>
                  </a:lnTo>
                  <a:lnTo>
                    <a:pt x="1260" y="1129"/>
                  </a:lnTo>
                  <a:lnTo>
                    <a:pt x="1269" y="1140"/>
                  </a:lnTo>
                  <a:lnTo>
                    <a:pt x="1280" y="1152"/>
                  </a:lnTo>
                  <a:lnTo>
                    <a:pt x="1290" y="1166"/>
                  </a:lnTo>
                  <a:lnTo>
                    <a:pt x="1300" y="1178"/>
                  </a:lnTo>
                  <a:lnTo>
                    <a:pt x="1303" y="1183"/>
                  </a:lnTo>
                  <a:lnTo>
                    <a:pt x="1307" y="1190"/>
                  </a:lnTo>
                  <a:lnTo>
                    <a:pt x="1308" y="1196"/>
                  </a:lnTo>
                  <a:lnTo>
                    <a:pt x="1309" y="1201"/>
                  </a:lnTo>
                  <a:lnTo>
                    <a:pt x="1320" y="1207"/>
                  </a:lnTo>
                  <a:lnTo>
                    <a:pt x="1320" y="1218"/>
                  </a:lnTo>
                  <a:lnTo>
                    <a:pt x="1322" y="1220"/>
                  </a:lnTo>
                  <a:lnTo>
                    <a:pt x="1323" y="1224"/>
                  </a:lnTo>
                  <a:lnTo>
                    <a:pt x="1324" y="1228"/>
                  </a:lnTo>
                  <a:lnTo>
                    <a:pt x="1326" y="1234"/>
                  </a:lnTo>
                  <a:lnTo>
                    <a:pt x="1326" y="1246"/>
                  </a:lnTo>
                  <a:lnTo>
                    <a:pt x="1327" y="1254"/>
                  </a:lnTo>
                  <a:lnTo>
                    <a:pt x="1328" y="1255"/>
                  </a:lnTo>
                  <a:lnTo>
                    <a:pt x="1330" y="1258"/>
                  </a:lnTo>
                  <a:lnTo>
                    <a:pt x="1330" y="1263"/>
                  </a:lnTo>
                  <a:lnTo>
                    <a:pt x="1331" y="1268"/>
                  </a:lnTo>
                  <a:lnTo>
                    <a:pt x="1332" y="1281"/>
                  </a:lnTo>
                  <a:lnTo>
                    <a:pt x="1332" y="1288"/>
                  </a:lnTo>
                  <a:lnTo>
                    <a:pt x="1336" y="1293"/>
                  </a:lnTo>
                  <a:lnTo>
                    <a:pt x="1339" y="1298"/>
                  </a:lnTo>
                  <a:lnTo>
                    <a:pt x="1341" y="1303"/>
                  </a:lnTo>
                  <a:lnTo>
                    <a:pt x="1342" y="1308"/>
                  </a:lnTo>
                  <a:lnTo>
                    <a:pt x="1343" y="1320"/>
                  </a:lnTo>
                  <a:lnTo>
                    <a:pt x="1343" y="1329"/>
                  </a:lnTo>
                  <a:lnTo>
                    <a:pt x="1346" y="1331"/>
                  </a:lnTo>
                  <a:lnTo>
                    <a:pt x="1349" y="1336"/>
                  </a:lnTo>
                  <a:lnTo>
                    <a:pt x="1351" y="1344"/>
                  </a:lnTo>
                  <a:lnTo>
                    <a:pt x="1355" y="1353"/>
                  </a:lnTo>
                  <a:lnTo>
                    <a:pt x="1359" y="1373"/>
                  </a:lnTo>
                  <a:lnTo>
                    <a:pt x="1361" y="1387"/>
                  </a:lnTo>
                  <a:lnTo>
                    <a:pt x="1362" y="1389"/>
                  </a:lnTo>
                  <a:lnTo>
                    <a:pt x="1365" y="1396"/>
                  </a:lnTo>
                  <a:lnTo>
                    <a:pt x="1366" y="1404"/>
                  </a:lnTo>
                  <a:lnTo>
                    <a:pt x="1366" y="1415"/>
                  </a:lnTo>
                  <a:lnTo>
                    <a:pt x="1367" y="1436"/>
                  </a:lnTo>
                  <a:lnTo>
                    <a:pt x="1367" y="1451"/>
                  </a:lnTo>
                  <a:lnTo>
                    <a:pt x="1365" y="1452"/>
                  </a:lnTo>
                  <a:lnTo>
                    <a:pt x="1363" y="1455"/>
                  </a:lnTo>
                  <a:lnTo>
                    <a:pt x="1362" y="1458"/>
                  </a:lnTo>
                  <a:lnTo>
                    <a:pt x="1361" y="1464"/>
                  </a:lnTo>
                  <a:lnTo>
                    <a:pt x="1361" y="1473"/>
                  </a:lnTo>
                  <a:lnTo>
                    <a:pt x="1361" y="1480"/>
                  </a:lnTo>
                  <a:lnTo>
                    <a:pt x="1372" y="1480"/>
                  </a:lnTo>
                  <a:lnTo>
                    <a:pt x="1374" y="1483"/>
                  </a:lnTo>
                  <a:lnTo>
                    <a:pt x="1377" y="1485"/>
                  </a:lnTo>
                  <a:lnTo>
                    <a:pt x="1380" y="1486"/>
                  </a:lnTo>
                  <a:lnTo>
                    <a:pt x="1387" y="1488"/>
                  </a:lnTo>
                  <a:lnTo>
                    <a:pt x="1400" y="1493"/>
                  </a:lnTo>
                  <a:lnTo>
                    <a:pt x="1418" y="1496"/>
                  </a:lnTo>
                  <a:lnTo>
                    <a:pt x="1451" y="1502"/>
                  </a:lnTo>
                  <a:lnTo>
                    <a:pt x="1472" y="1503"/>
                  </a:lnTo>
                  <a:lnTo>
                    <a:pt x="1472" y="1505"/>
                  </a:lnTo>
                  <a:lnTo>
                    <a:pt x="1473" y="1507"/>
                  </a:lnTo>
                  <a:lnTo>
                    <a:pt x="1475" y="1509"/>
                  </a:lnTo>
                  <a:lnTo>
                    <a:pt x="1477" y="1512"/>
                  </a:lnTo>
                  <a:lnTo>
                    <a:pt x="1484" y="1514"/>
                  </a:lnTo>
                  <a:lnTo>
                    <a:pt x="1488" y="1515"/>
                  </a:lnTo>
                  <a:lnTo>
                    <a:pt x="1490" y="1519"/>
                  </a:lnTo>
                  <a:lnTo>
                    <a:pt x="1493" y="1525"/>
                  </a:lnTo>
                  <a:lnTo>
                    <a:pt x="1497" y="1533"/>
                  </a:lnTo>
                  <a:lnTo>
                    <a:pt x="1503" y="1542"/>
                  </a:lnTo>
                  <a:lnTo>
                    <a:pt x="1518" y="1562"/>
                  </a:lnTo>
                  <a:lnTo>
                    <a:pt x="1534" y="1584"/>
                  </a:lnTo>
                  <a:lnTo>
                    <a:pt x="1570" y="1628"/>
                  </a:lnTo>
                  <a:lnTo>
                    <a:pt x="1593" y="1654"/>
                  </a:lnTo>
                  <a:lnTo>
                    <a:pt x="1593" y="1666"/>
                  </a:lnTo>
                  <a:lnTo>
                    <a:pt x="1608" y="1680"/>
                  </a:lnTo>
                  <a:lnTo>
                    <a:pt x="1622" y="1695"/>
                  </a:lnTo>
                  <a:lnTo>
                    <a:pt x="1622" y="1707"/>
                  </a:lnTo>
                  <a:lnTo>
                    <a:pt x="1625" y="1707"/>
                  </a:lnTo>
                  <a:lnTo>
                    <a:pt x="1627" y="1708"/>
                  </a:lnTo>
                  <a:lnTo>
                    <a:pt x="1629" y="1710"/>
                  </a:lnTo>
                  <a:lnTo>
                    <a:pt x="1630" y="1712"/>
                  </a:lnTo>
                  <a:lnTo>
                    <a:pt x="1632" y="1719"/>
                  </a:lnTo>
                  <a:lnTo>
                    <a:pt x="1634" y="1724"/>
                  </a:lnTo>
                  <a:lnTo>
                    <a:pt x="1646" y="1733"/>
                  </a:lnTo>
                  <a:lnTo>
                    <a:pt x="1657" y="1742"/>
                  </a:lnTo>
                  <a:lnTo>
                    <a:pt x="1660" y="1750"/>
                  </a:lnTo>
                  <a:lnTo>
                    <a:pt x="1663" y="1758"/>
                  </a:lnTo>
                  <a:lnTo>
                    <a:pt x="1669" y="1765"/>
                  </a:lnTo>
                  <a:lnTo>
                    <a:pt x="1680" y="1765"/>
                  </a:lnTo>
                  <a:lnTo>
                    <a:pt x="1686" y="1776"/>
                  </a:lnTo>
                  <a:lnTo>
                    <a:pt x="1707" y="1776"/>
                  </a:lnTo>
                  <a:lnTo>
                    <a:pt x="1733" y="1776"/>
                  </a:lnTo>
                  <a:lnTo>
                    <a:pt x="1759" y="1776"/>
                  </a:lnTo>
                  <a:lnTo>
                    <a:pt x="1779" y="1776"/>
                  </a:lnTo>
                  <a:lnTo>
                    <a:pt x="1782" y="1767"/>
                  </a:lnTo>
                  <a:lnTo>
                    <a:pt x="1785" y="1758"/>
                  </a:lnTo>
                  <a:lnTo>
                    <a:pt x="1793" y="1756"/>
                  </a:lnTo>
                  <a:lnTo>
                    <a:pt x="1802" y="1753"/>
                  </a:lnTo>
                  <a:lnTo>
                    <a:pt x="1878" y="1660"/>
                  </a:lnTo>
                  <a:lnTo>
                    <a:pt x="1878" y="1468"/>
                  </a:lnTo>
                  <a:lnTo>
                    <a:pt x="1889" y="1457"/>
                  </a:lnTo>
                  <a:lnTo>
                    <a:pt x="1889" y="1448"/>
                  </a:lnTo>
                  <a:lnTo>
                    <a:pt x="1887" y="1439"/>
                  </a:lnTo>
                  <a:lnTo>
                    <a:pt x="1885" y="1429"/>
                  </a:lnTo>
                  <a:lnTo>
                    <a:pt x="1880" y="1418"/>
                  </a:lnTo>
                  <a:lnTo>
                    <a:pt x="1871" y="1394"/>
                  </a:lnTo>
                  <a:lnTo>
                    <a:pt x="1860" y="1369"/>
                  </a:lnTo>
                  <a:lnTo>
                    <a:pt x="1850" y="1343"/>
                  </a:lnTo>
                  <a:lnTo>
                    <a:pt x="1840" y="1319"/>
                  </a:lnTo>
                  <a:lnTo>
                    <a:pt x="1837" y="1307"/>
                  </a:lnTo>
                  <a:lnTo>
                    <a:pt x="1835" y="1296"/>
                  </a:lnTo>
                  <a:lnTo>
                    <a:pt x="1832" y="1286"/>
                  </a:lnTo>
                  <a:lnTo>
                    <a:pt x="1831" y="1276"/>
                  </a:lnTo>
                  <a:lnTo>
                    <a:pt x="1829" y="1275"/>
                  </a:lnTo>
                  <a:lnTo>
                    <a:pt x="1827" y="1272"/>
                  </a:lnTo>
                  <a:lnTo>
                    <a:pt x="1824" y="1266"/>
                  </a:lnTo>
                  <a:lnTo>
                    <a:pt x="1821" y="1259"/>
                  </a:lnTo>
                  <a:lnTo>
                    <a:pt x="1818" y="1253"/>
                  </a:lnTo>
                  <a:lnTo>
                    <a:pt x="1813" y="1247"/>
                  </a:lnTo>
                  <a:lnTo>
                    <a:pt x="1811" y="1245"/>
                  </a:lnTo>
                  <a:lnTo>
                    <a:pt x="1809" y="1244"/>
                  </a:lnTo>
                  <a:lnTo>
                    <a:pt x="1806" y="1243"/>
                  </a:lnTo>
                  <a:lnTo>
                    <a:pt x="1802" y="1242"/>
                  </a:lnTo>
                  <a:lnTo>
                    <a:pt x="1801" y="1237"/>
                  </a:lnTo>
                  <a:lnTo>
                    <a:pt x="1799" y="1231"/>
                  </a:lnTo>
                  <a:lnTo>
                    <a:pt x="1797" y="1228"/>
                  </a:lnTo>
                  <a:lnTo>
                    <a:pt x="1795" y="1226"/>
                  </a:lnTo>
                  <a:lnTo>
                    <a:pt x="1793" y="1225"/>
                  </a:lnTo>
                  <a:lnTo>
                    <a:pt x="1791" y="1225"/>
                  </a:lnTo>
                  <a:lnTo>
                    <a:pt x="1791" y="1207"/>
                  </a:lnTo>
                  <a:lnTo>
                    <a:pt x="1785" y="1202"/>
                  </a:lnTo>
                  <a:lnTo>
                    <a:pt x="1780" y="1198"/>
                  </a:lnTo>
                  <a:lnTo>
                    <a:pt x="1778" y="1196"/>
                  </a:lnTo>
                  <a:lnTo>
                    <a:pt x="1775" y="1194"/>
                  </a:lnTo>
                  <a:lnTo>
                    <a:pt x="1774" y="1191"/>
                  </a:lnTo>
                  <a:lnTo>
                    <a:pt x="1773" y="1189"/>
                  </a:lnTo>
                  <a:lnTo>
                    <a:pt x="1768" y="1189"/>
                  </a:lnTo>
                  <a:lnTo>
                    <a:pt x="1760" y="1186"/>
                  </a:lnTo>
                  <a:lnTo>
                    <a:pt x="1756" y="1185"/>
                  </a:lnTo>
                  <a:lnTo>
                    <a:pt x="1753" y="1182"/>
                  </a:lnTo>
                  <a:lnTo>
                    <a:pt x="1751" y="1180"/>
                  </a:lnTo>
                  <a:lnTo>
                    <a:pt x="1750" y="1178"/>
                  </a:lnTo>
                  <a:lnTo>
                    <a:pt x="1733" y="1178"/>
                  </a:lnTo>
                  <a:lnTo>
                    <a:pt x="1721" y="1167"/>
                  </a:lnTo>
                  <a:lnTo>
                    <a:pt x="1712" y="1166"/>
                  </a:lnTo>
                  <a:lnTo>
                    <a:pt x="1702" y="1165"/>
                  </a:lnTo>
                  <a:lnTo>
                    <a:pt x="1693" y="1162"/>
                  </a:lnTo>
                  <a:lnTo>
                    <a:pt x="1683" y="1160"/>
                  </a:lnTo>
                  <a:lnTo>
                    <a:pt x="1665" y="1153"/>
                  </a:lnTo>
                  <a:lnTo>
                    <a:pt x="1647" y="1146"/>
                  </a:lnTo>
                  <a:lnTo>
                    <a:pt x="1630" y="1139"/>
                  </a:lnTo>
                  <a:lnTo>
                    <a:pt x="1614" y="1132"/>
                  </a:lnTo>
                  <a:lnTo>
                    <a:pt x="1606" y="1130"/>
                  </a:lnTo>
                  <a:lnTo>
                    <a:pt x="1597" y="1128"/>
                  </a:lnTo>
                  <a:lnTo>
                    <a:pt x="1589" y="1127"/>
                  </a:lnTo>
                  <a:lnTo>
                    <a:pt x="1582" y="1125"/>
                  </a:lnTo>
                  <a:lnTo>
                    <a:pt x="1579" y="1122"/>
                  </a:lnTo>
                  <a:lnTo>
                    <a:pt x="1571" y="1118"/>
                  </a:lnTo>
                  <a:lnTo>
                    <a:pt x="1559" y="1112"/>
                  </a:lnTo>
                  <a:lnTo>
                    <a:pt x="1545" y="1106"/>
                  </a:lnTo>
                  <a:lnTo>
                    <a:pt x="1531" y="1100"/>
                  </a:lnTo>
                  <a:lnTo>
                    <a:pt x="1518" y="1095"/>
                  </a:lnTo>
                  <a:lnTo>
                    <a:pt x="1507" y="1092"/>
                  </a:lnTo>
                  <a:lnTo>
                    <a:pt x="1501" y="1091"/>
                  </a:lnTo>
                  <a:lnTo>
                    <a:pt x="1488" y="1073"/>
                  </a:lnTo>
                  <a:lnTo>
                    <a:pt x="1477" y="1073"/>
                  </a:lnTo>
                  <a:lnTo>
                    <a:pt x="1476" y="1069"/>
                  </a:lnTo>
                  <a:lnTo>
                    <a:pt x="1473" y="1064"/>
                  </a:lnTo>
                  <a:lnTo>
                    <a:pt x="1470" y="1060"/>
                  </a:lnTo>
                  <a:lnTo>
                    <a:pt x="1464" y="1054"/>
                  </a:lnTo>
                  <a:lnTo>
                    <a:pt x="1458" y="1051"/>
                  </a:lnTo>
                  <a:lnTo>
                    <a:pt x="1453" y="1047"/>
                  </a:lnTo>
                  <a:lnTo>
                    <a:pt x="1447" y="1045"/>
                  </a:lnTo>
                  <a:lnTo>
                    <a:pt x="1443" y="1044"/>
                  </a:lnTo>
                  <a:lnTo>
                    <a:pt x="1442" y="1041"/>
                  </a:lnTo>
                  <a:lnTo>
                    <a:pt x="1442" y="1037"/>
                  </a:lnTo>
                  <a:lnTo>
                    <a:pt x="1440" y="1035"/>
                  </a:lnTo>
                  <a:lnTo>
                    <a:pt x="1438" y="1034"/>
                  </a:lnTo>
                  <a:lnTo>
                    <a:pt x="1435" y="1031"/>
                  </a:lnTo>
                  <a:lnTo>
                    <a:pt x="1430" y="1027"/>
                  </a:lnTo>
                  <a:lnTo>
                    <a:pt x="1426" y="1026"/>
                  </a:lnTo>
                  <a:lnTo>
                    <a:pt x="1419" y="1023"/>
                  </a:lnTo>
                  <a:lnTo>
                    <a:pt x="1413" y="1017"/>
                  </a:lnTo>
                  <a:lnTo>
                    <a:pt x="1406" y="1012"/>
                  </a:lnTo>
                  <a:lnTo>
                    <a:pt x="1400" y="1006"/>
                  </a:lnTo>
                  <a:lnTo>
                    <a:pt x="1395" y="1000"/>
                  </a:lnTo>
                  <a:lnTo>
                    <a:pt x="1391" y="995"/>
                  </a:lnTo>
                  <a:lnTo>
                    <a:pt x="1390" y="992"/>
                  </a:lnTo>
                  <a:lnTo>
                    <a:pt x="1386" y="992"/>
                  </a:lnTo>
                  <a:lnTo>
                    <a:pt x="1382" y="990"/>
                  </a:lnTo>
                  <a:lnTo>
                    <a:pt x="1379" y="988"/>
                  </a:lnTo>
                  <a:lnTo>
                    <a:pt x="1377" y="986"/>
                  </a:lnTo>
                  <a:lnTo>
                    <a:pt x="1374" y="980"/>
                  </a:lnTo>
                  <a:lnTo>
                    <a:pt x="1372" y="975"/>
                  </a:lnTo>
                  <a:lnTo>
                    <a:pt x="1368" y="974"/>
                  </a:lnTo>
                  <a:lnTo>
                    <a:pt x="1363" y="971"/>
                  </a:lnTo>
                  <a:lnTo>
                    <a:pt x="1359" y="969"/>
                  </a:lnTo>
                  <a:lnTo>
                    <a:pt x="1356" y="966"/>
                  </a:lnTo>
                  <a:lnTo>
                    <a:pt x="1351" y="963"/>
                  </a:lnTo>
                  <a:lnTo>
                    <a:pt x="1347" y="960"/>
                  </a:lnTo>
                  <a:lnTo>
                    <a:pt x="1342" y="958"/>
                  </a:lnTo>
                  <a:lnTo>
                    <a:pt x="1338" y="957"/>
                  </a:lnTo>
                  <a:lnTo>
                    <a:pt x="1332" y="946"/>
                  </a:lnTo>
                  <a:lnTo>
                    <a:pt x="1323" y="942"/>
                  </a:lnTo>
                  <a:lnTo>
                    <a:pt x="1314" y="940"/>
                  </a:lnTo>
                  <a:lnTo>
                    <a:pt x="1309" y="933"/>
                  </a:lnTo>
                  <a:lnTo>
                    <a:pt x="1308" y="930"/>
                  </a:lnTo>
                  <a:lnTo>
                    <a:pt x="1305" y="926"/>
                  </a:lnTo>
                  <a:lnTo>
                    <a:pt x="1301" y="923"/>
                  </a:lnTo>
                  <a:lnTo>
                    <a:pt x="1298" y="922"/>
                  </a:lnTo>
                  <a:lnTo>
                    <a:pt x="1291" y="904"/>
                  </a:lnTo>
                  <a:lnTo>
                    <a:pt x="1289" y="904"/>
                  </a:lnTo>
                  <a:lnTo>
                    <a:pt x="1286" y="902"/>
                  </a:lnTo>
                  <a:lnTo>
                    <a:pt x="1285" y="899"/>
                  </a:lnTo>
                  <a:lnTo>
                    <a:pt x="1283" y="896"/>
                  </a:lnTo>
                  <a:lnTo>
                    <a:pt x="1281" y="888"/>
                  </a:lnTo>
                  <a:lnTo>
                    <a:pt x="1280" y="882"/>
                  </a:lnTo>
                  <a:lnTo>
                    <a:pt x="1269" y="875"/>
                  </a:lnTo>
                  <a:lnTo>
                    <a:pt x="1269" y="854"/>
                  </a:lnTo>
                  <a:lnTo>
                    <a:pt x="1269" y="832"/>
                  </a:lnTo>
                  <a:lnTo>
                    <a:pt x="1269" y="811"/>
                  </a:lnTo>
                  <a:lnTo>
                    <a:pt x="1269" y="788"/>
                  </a:lnTo>
                  <a:lnTo>
                    <a:pt x="1280" y="783"/>
                  </a:lnTo>
                  <a:lnTo>
                    <a:pt x="1280" y="772"/>
                  </a:lnTo>
                  <a:lnTo>
                    <a:pt x="1291" y="759"/>
                  </a:lnTo>
                  <a:lnTo>
                    <a:pt x="1303" y="759"/>
                  </a:lnTo>
                  <a:lnTo>
                    <a:pt x="1307" y="758"/>
                  </a:lnTo>
                  <a:lnTo>
                    <a:pt x="1315" y="756"/>
                  </a:lnTo>
                  <a:lnTo>
                    <a:pt x="1329" y="755"/>
                  </a:lnTo>
                  <a:lnTo>
                    <a:pt x="1344" y="755"/>
                  </a:lnTo>
                  <a:lnTo>
                    <a:pt x="1377" y="754"/>
                  </a:lnTo>
                  <a:lnTo>
                    <a:pt x="1396" y="754"/>
                  </a:lnTo>
                  <a:lnTo>
                    <a:pt x="1401" y="736"/>
                  </a:lnTo>
                  <a:lnTo>
                    <a:pt x="1408" y="731"/>
                  </a:lnTo>
                  <a:lnTo>
                    <a:pt x="1422" y="719"/>
                  </a:lnTo>
                  <a:lnTo>
                    <a:pt x="1436" y="707"/>
                  </a:lnTo>
                  <a:lnTo>
                    <a:pt x="1443" y="701"/>
                  </a:lnTo>
                  <a:lnTo>
                    <a:pt x="1448" y="696"/>
                  </a:lnTo>
                  <a:lnTo>
                    <a:pt x="1457" y="696"/>
                  </a:lnTo>
                  <a:lnTo>
                    <a:pt x="1466" y="694"/>
                  </a:lnTo>
                  <a:lnTo>
                    <a:pt x="1476" y="692"/>
                  </a:lnTo>
                  <a:lnTo>
                    <a:pt x="1486" y="689"/>
                  </a:lnTo>
                  <a:lnTo>
                    <a:pt x="1506" y="683"/>
                  </a:lnTo>
                  <a:lnTo>
                    <a:pt x="1529" y="676"/>
                  </a:lnTo>
                  <a:lnTo>
                    <a:pt x="1551" y="668"/>
                  </a:lnTo>
                  <a:lnTo>
                    <a:pt x="1574" y="661"/>
                  </a:lnTo>
                  <a:lnTo>
                    <a:pt x="1587" y="659"/>
                  </a:lnTo>
                  <a:lnTo>
                    <a:pt x="1598" y="657"/>
                  </a:lnTo>
                  <a:lnTo>
                    <a:pt x="1610" y="656"/>
                  </a:lnTo>
                  <a:lnTo>
                    <a:pt x="1622" y="656"/>
                  </a:lnTo>
                  <a:lnTo>
                    <a:pt x="1634" y="667"/>
                  </a:lnTo>
                  <a:lnTo>
                    <a:pt x="1650" y="670"/>
                  </a:lnTo>
                  <a:lnTo>
                    <a:pt x="1663" y="672"/>
                  </a:lnTo>
                  <a:lnTo>
                    <a:pt x="1669" y="678"/>
                  </a:lnTo>
                  <a:lnTo>
                    <a:pt x="1669" y="681"/>
                  </a:lnTo>
                  <a:lnTo>
                    <a:pt x="1672" y="683"/>
                  </a:lnTo>
                  <a:lnTo>
                    <a:pt x="1674" y="686"/>
                  </a:lnTo>
                  <a:lnTo>
                    <a:pt x="1677" y="689"/>
                  </a:lnTo>
                  <a:lnTo>
                    <a:pt x="1686" y="695"/>
                  </a:lnTo>
                  <a:lnTo>
                    <a:pt x="1696" y="701"/>
                  </a:lnTo>
                  <a:lnTo>
                    <a:pt x="1706" y="708"/>
                  </a:lnTo>
                  <a:lnTo>
                    <a:pt x="1715" y="715"/>
                  </a:lnTo>
                  <a:lnTo>
                    <a:pt x="1723" y="720"/>
                  </a:lnTo>
                  <a:lnTo>
                    <a:pt x="1727" y="725"/>
                  </a:lnTo>
                  <a:lnTo>
                    <a:pt x="1739" y="730"/>
                  </a:lnTo>
                  <a:lnTo>
                    <a:pt x="1750" y="736"/>
                  </a:lnTo>
                  <a:lnTo>
                    <a:pt x="1755" y="743"/>
                  </a:lnTo>
                  <a:lnTo>
                    <a:pt x="1763" y="749"/>
                  </a:lnTo>
                  <a:lnTo>
                    <a:pt x="1774" y="758"/>
                  </a:lnTo>
                  <a:lnTo>
                    <a:pt x="1788" y="767"/>
                  </a:lnTo>
                  <a:lnTo>
                    <a:pt x="1799" y="777"/>
                  </a:lnTo>
                  <a:lnTo>
                    <a:pt x="1810" y="785"/>
                  </a:lnTo>
                  <a:lnTo>
                    <a:pt x="1817" y="791"/>
                  </a:lnTo>
                  <a:lnTo>
                    <a:pt x="1820" y="795"/>
                  </a:lnTo>
                  <a:lnTo>
                    <a:pt x="1831" y="795"/>
                  </a:lnTo>
                  <a:lnTo>
                    <a:pt x="1836" y="812"/>
                  </a:lnTo>
                  <a:lnTo>
                    <a:pt x="1846" y="839"/>
                  </a:lnTo>
                  <a:lnTo>
                    <a:pt x="1851" y="853"/>
                  </a:lnTo>
                  <a:lnTo>
                    <a:pt x="1856" y="868"/>
                  </a:lnTo>
                  <a:lnTo>
                    <a:pt x="1859" y="879"/>
                  </a:lnTo>
                  <a:lnTo>
                    <a:pt x="1860" y="888"/>
                  </a:lnTo>
                  <a:lnTo>
                    <a:pt x="1873" y="888"/>
                  </a:lnTo>
                  <a:lnTo>
                    <a:pt x="1875" y="891"/>
                  </a:lnTo>
                  <a:lnTo>
                    <a:pt x="1878" y="893"/>
                  </a:lnTo>
                  <a:lnTo>
                    <a:pt x="1884" y="897"/>
                  </a:lnTo>
                  <a:lnTo>
                    <a:pt x="1888" y="899"/>
                  </a:lnTo>
                  <a:lnTo>
                    <a:pt x="1902" y="904"/>
                  </a:lnTo>
                  <a:lnTo>
                    <a:pt x="1917" y="909"/>
                  </a:lnTo>
                  <a:lnTo>
                    <a:pt x="1954" y="917"/>
                  </a:lnTo>
                  <a:lnTo>
                    <a:pt x="1994" y="923"/>
                  </a:lnTo>
                  <a:lnTo>
                    <a:pt x="2033" y="930"/>
                  </a:lnTo>
                  <a:lnTo>
                    <a:pt x="2067" y="937"/>
                  </a:lnTo>
                  <a:lnTo>
                    <a:pt x="2080" y="940"/>
                  </a:lnTo>
                  <a:lnTo>
                    <a:pt x="2090" y="944"/>
                  </a:lnTo>
                  <a:lnTo>
                    <a:pt x="2094" y="946"/>
                  </a:lnTo>
                  <a:lnTo>
                    <a:pt x="2097" y="947"/>
                  </a:lnTo>
                  <a:lnTo>
                    <a:pt x="2098" y="949"/>
                  </a:lnTo>
                  <a:lnTo>
                    <a:pt x="2099" y="951"/>
                  </a:lnTo>
                  <a:lnTo>
                    <a:pt x="2110" y="951"/>
                  </a:lnTo>
                  <a:lnTo>
                    <a:pt x="2113" y="957"/>
                  </a:lnTo>
                  <a:lnTo>
                    <a:pt x="2117" y="963"/>
                  </a:lnTo>
                  <a:lnTo>
                    <a:pt x="2123" y="967"/>
                  </a:lnTo>
                  <a:lnTo>
                    <a:pt x="2128" y="969"/>
                  </a:lnTo>
                  <a:lnTo>
                    <a:pt x="2134" y="975"/>
                  </a:lnTo>
                  <a:lnTo>
                    <a:pt x="2134" y="977"/>
                  </a:lnTo>
                  <a:lnTo>
                    <a:pt x="2135" y="979"/>
                  </a:lnTo>
                  <a:lnTo>
                    <a:pt x="2136" y="979"/>
                  </a:lnTo>
                  <a:lnTo>
                    <a:pt x="2137" y="979"/>
                  </a:lnTo>
                  <a:lnTo>
                    <a:pt x="2142" y="977"/>
                  </a:lnTo>
                  <a:lnTo>
                    <a:pt x="2146" y="974"/>
                  </a:lnTo>
                  <a:lnTo>
                    <a:pt x="2150" y="969"/>
                  </a:lnTo>
                  <a:lnTo>
                    <a:pt x="2156" y="965"/>
                  </a:lnTo>
                  <a:lnTo>
                    <a:pt x="2158" y="964"/>
                  </a:lnTo>
                  <a:lnTo>
                    <a:pt x="2159" y="963"/>
                  </a:lnTo>
                  <a:lnTo>
                    <a:pt x="2162" y="963"/>
                  </a:lnTo>
                  <a:lnTo>
                    <a:pt x="2163" y="963"/>
                  </a:lnTo>
                  <a:lnTo>
                    <a:pt x="2164" y="980"/>
                  </a:lnTo>
                  <a:lnTo>
                    <a:pt x="2165" y="998"/>
                  </a:lnTo>
                  <a:lnTo>
                    <a:pt x="2168" y="1015"/>
                  </a:lnTo>
                  <a:lnTo>
                    <a:pt x="2172" y="1032"/>
                  </a:lnTo>
                  <a:lnTo>
                    <a:pt x="2175" y="1047"/>
                  </a:lnTo>
                  <a:lnTo>
                    <a:pt x="2177" y="1063"/>
                  </a:lnTo>
                  <a:lnTo>
                    <a:pt x="2179" y="1077"/>
                  </a:lnTo>
                  <a:lnTo>
                    <a:pt x="2181" y="1091"/>
                  </a:lnTo>
                  <a:lnTo>
                    <a:pt x="2187" y="1100"/>
                  </a:lnTo>
                  <a:lnTo>
                    <a:pt x="2197" y="1114"/>
                  </a:lnTo>
                  <a:lnTo>
                    <a:pt x="2205" y="1129"/>
                  </a:lnTo>
                  <a:lnTo>
                    <a:pt x="2210" y="1138"/>
                  </a:lnTo>
                  <a:lnTo>
                    <a:pt x="2216" y="1144"/>
                  </a:lnTo>
                  <a:lnTo>
                    <a:pt x="2226" y="1156"/>
                  </a:lnTo>
                  <a:lnTo>
                    <a:pt x="2236" y="1168"/>
                  </a:lnTo>
                  <a:lnTo>
                    <a:pt x="2244" y="1178"/>
                  </a:lnTo>
                  <a:lnTo>
                    <a:pt x="2249" y="1179"/>
                  </a:lnTo>
                  <a:lnTo>
                    <a:pt x="2253" y="1181"/>
                  </a:lnTo>
                  <a:lnTo>
                    <a:pt x="2259" y="1183"/>
                  </a:lnTo>
                  <a:lnTo>
                    <a:pt x="2263" y="1187"/>
                  </a:lnTo>
                  <a:lnTo>
                    <a:pt x="2267" y="1191"/>
                  </a:lnTo>
                  <a:lnTo>
                    <a:pt x="2270" y="1195"/>
                  </a:lnTo>
                  <a:lnTo>
                    <a:pt x="2272" y="1198"/>
                  </a:lnTo>
                  <a:lnTo>
                    <a:pt x="2273" y="1201"/>
                  </a:lnTo>
                  <a:lnTo>
                    <a:pt x="2284" y="1201"/>
                  </a:lnTo>
                  <a:lnTo>
                    <a:pt x="2284" y="1204"/>
                  </a:lnTo>
                  <a:lnTo>
                    <a:pt x="2286" y="1205"/>
                  </a:lnTo>
                  <a:lnTo>
                    <a:pt x="2287" y="1206"/>
                  </a:lnTo>
                  <a:lnTo>
                    <a:pt x="2288" y="1206"/>
                  </a:lnTo>
                  <a:lnTo>
                    <a:pt x="2292" y="1207"/>
                  </a:lnTo>
                  <a:lnTo>
                    <a:pt x="2297" y="1207"/>
                  </a:lnTo>
                  <a:lnTo>
                    <a:pt x="2302" y="1218"/>
                  </a:lnTo>
                  <a:lnTo>
                    <a:pt x="2313" y="1218"/>
                  </a:lnTo>
                  <a:lnTo>
                    <a:pt x="2319" y="1230"/>
                  </a:lnTo>
                  <a:lnTo>
                    <a:pt x="2337" y="1230"/>
                  </a:lnTo>
                  <a:lnTo>
                    <a:pt x="2337" y="1233"/>
                  </a:lnTo>
                  <a:lnTo>
                    <a:pt x="2339" y="1234"/>
                  </a:lnTo>
                  <a:lnTo>
                    <a:pt x="2341" y="1235"/>
                  </a:lnTo>
                  <a:lnTo>
                    <a:pt x="2344" y="1235"/>
                  </a:lnTo>
                  <a:lnTo>
                    <a:pt x="2349" y="1236"/>
                  </a:lnTo>
                  <a:lnTo>
                    <a:pt x="2355" y="1236"/>
                  </a:lnTo>
                  <a:lnTo>
                    <a:pt x="2359" y="1244"/>
                  </a:lnTo>
                  <a:lnTo>
                    <a:pt x="2365" y="1249"/>
                  </a:lnTo>
                  <a:lnTo>
                    <a:pt x="2371" y="1256"/>
                  </a:lnTo>
                  <a:lnTo>
                    <a:pt x="2379" y="1260"/>
                  </a:lnTo>
                  <a:lnTo>
                    <a:pt x="2388" y="1265"/>
                  </a:lnTo>
                  <a:lnTo>
                    <a:pt x="2398" y="1269"/>
                  </a:lnTo>
                  <a:lnTo>
                    <a:pt x="2409" y="1272"/>
                  </a:lnTo>
                  <a:lnTo>
                    <a:pt x="2421" y="1275"/>
                  </a:lnTo>
                  <a:lnTo>
                    <a:pt x="2446" y="1278"/>
                  </a:lnTo>
                  <a:lnTo>
                    <a:pt x="2473" y="1281"/>
                  </a:lnTo>
                  <a:lnTo>
                    <a:pt x="2503" y="1282"/>
                  </a:lnTo>
                  <a:lnTo>
                    <a:pt x="2533" y="1281"/>
                  </a:lnTo>
                  <a:lnTo>
                    <a:pt x="2594" y="1277"/>
                  </a:lnTo>
                  <a:lnTo>
                    <a:pt x="2652" y="1272"/>
                  </a:lnTo>
                  <a:lnTo>
                    <a:pt x="2701" y="1267"/>
                  </a:lnTo>
                  <a:lnTo>
                    <a:pt x="2738" y="1265"/>
                  </a:lnTo>
                  <a:lnTo>
                    <a:pt x="2742" y="1252"/>
                  </a:lnTo>
                  <a:lnTo>
                    <a:pt x="2745" y="1238"/>
                  </a:lnTo>
                  <a:lnTo>
                    <a:pt x="2749" y="1224"/>
                  </a:lnTo>
                  <a:lnTo>
                    <a:pt x="2750" y="1207"/>
                  </a:lnTo>
                  <a:lnTo>
                    <a:pt x="2744" y="1200"/>
                  </a:lnTo>
                  <a:lnTo>
                    <a:pt x="2739" y="1189"/>
                  </a:lnTo>
                  <a:lnTo>
                    <a:pt x="2733" y="1176"/>
                  </a:lnTo>
                  <a:lnTo>
                    <a:pt x="2726" y="1162"/>
                  </a:lnTo>
                  <a:lnTo>
                    <a:pt x="2720" y="1148"/>
                  </a:lnTo>
                  <a:lnTo>
                    <a:pt x="2713" y="1137"/>
                  </a:lnTo>
                  <a:lnTo>
                    <a:pt x="2711" y="1132"/>
                  </a:lnTo>
                  <a:lnTo>
                    <a:pt x="2708" y="1129"/>
                  </a:lnTo>
                  <a:lnTo>
                    <a:pt x="2705" y="1127"/>
                  </a:lnTo>
                  <a:lnTo>
                    <a:pt x="2703" y="1125"/>
                  </a:lnTo>
                  <a:lnTo>
                    <a:pt x="2703" y="1121"/>
                  </a:lnTo>
                  <a:lnTo>
                    <a:pt x="2702" y="1114"/>
                  </a:lnTo>
                  <a:lnTo>
                    <a:pt x="2700" y="1112"/>
                  </a:lnTo>
                  <a:lnTo>
                    <a:pt x="2699" y="1110"/>
                  </a:lnTo>
                  <a:lnTo>
                    <a:pt x="2695" y="1109"/>
                  </a:lnTo>
                  <a:lnTo>
                    <a:pt x="2692" y="1109"/>
                  </a:lnTo>
                  <a:lnTo>
                    <a:pt x="2685" y="1091"/>
                  </a:lnTo>
                  <a:lnTo>
                    <a:pt x="2680" y="1086"/>
                  </a:lnTo>
                  <a:lnTo>
                    <a:pt x="2667" y="1076"/>
                  </a:lnTo>
                  <a:lnTo>
                    <a:pt x="2654" y="1066"/>
                  </a:lnTo>
                  <a:lnTo>
                    <a:pt x="2645" y="1062"/>
                  </a:lnTo>
                  <a:lnTo>
                    <a:pt x="2639" y="1051"/>
                  </a:lnTo>
                  <a:lnTo>
                    <a:pt x="2633" y="1038"/>
                  </a:lnTo>
                  <a:lnTo>
                    <a:pt x="2632" y="1037"/>
                  </a:lnTo>
                  <a:lnTo>
                    <a:pt x="2629" y="1036"/>
                  </a:lnTo>
                  <a:lnTo>
                    <a:pt x="2627" y="1033"/>
                  </a:lnTo>
                  <a:lnTo>
                    <a:pt x="2625" y="1029"/>
                  </a:lnTo>
                  <a:lnTo>
                    <a:pt x="2623" y="1022"/>
                  </a:lnTo>
                  <a:lnTo>
                    <a:pt x="2622" y="1015"/>
                  </a:lnTo>
                  <a:lnTo>
                    <a:pt x="2616" y="1009"/>
                  </a:lnTo>
                  <a:lnTo>
                    <a:pt x="2613" y="1009"/>
                  </a:lnTo>
                  <a:lnTo>
                    <a:pt x="2610" y="1008"/>
                  </a:lnTo>
                  <a:lnTo>
                    <a:pt x="2610" y="1007"/>
                  </a:lnTo>
                  <a:lnTo>
                    <a:pt x="2610" y="1007"/>
                  </a:lnTo>
                  <a:lnTo>
                    <a:pt x="2610" y="1006"/>
                  </a:lnTo>
                  <a:lnTo>
                    <a:pt x="2609" y="1005"/>
                  </a:lnTo>
                  <a:lnTo>
                    <a:pt x="2607" y="1004"/>
                  </a:lnTo>
                  <a:lnTo>
                    <a:pt x="2604" y="1004"/>
                  </a:lnTo>
                  <a:lnTo>
                    <a:pt x="2604" y="999"/>
                  </a:lnTo>
                  <a:lnTo>
                    <a:pt x="2603" y="997"/>
                  </a:lnTo>
                  <a:lnTo>
                    <a:pt x="2600" y="995"/>
                  </a:lnTo>
                  <a:lnTo>
                    <a:pt x="2598" y="993"/>
                  </a:lnTo>
                  <a:lnTo>
                    <a:pt x="2595" y="989"/>
                  </a:lnTo>
                  <a:lnTo>
                    <a:pt x="2593" y="986"/>
                  </a:lnTo>
                  <a:lnTo>
                    <a:pt x="2581" y="986"/>
                  </a:lnTo>
                  <a:lnTo>
                    <a:pt x="2572" y="977"/>
                  </a:lnTo>
                  <a:lnTo>
                    <a:pt x="2563" y="969"/>
                  </a:lnTo>
                  <a:lnTo>
                    <a:pt x="2552" y="968"/>
                  </a:lnTo>
                  <a:lnTo>
                    <a:pt x="2542" y="967"/>
                  </a:lnTo>
                  <a:lnTo>
                    <a:pt x="2533" y="965"/>
                  </a:lnTo>
                  <a:lnTo>
                    <a:pt x="2523" y="961"/>
                  </a:lnTo>
                  <a:lnTo>
                    <a:pt x="2507" y="954"/>
                  </a:lnTo>
                  <a:lnTo>
                    <a:pt x="2490" y="944"/>
                  </a:lnTo>
                  <a:lnTo>
                    <a:pt x="2474" y="932"/>
                  </a:lnTo>
                  <a:lnTo>
                    <a:pt x="2460" y="922"/>
                  </a:lnTo>
                  <a:lnTo>
                    <a:pt x="2445" y="912"/>
                  </a:lnTo>
                  <a:lnTo>
                    <a:pt x="2430" y="904"/>
                  </a:lnTo>
                  <a:lnTo>
                    <a:pt x="2422" y="893"/>
                  </a:lnTo>
                  <a:lnTo>
                    <a:pt x="2403" y="868"/>
                  </a:lnTo>
                  <a:lnTo>
                    <a:pt x="2393" y="853"/>
                  </a:lnTo>
                  <a:lnTo>
                    <a:pt x="2384" y="841"/>
                  </a:lnTo>
                  <a:lnTo>
                    <a:pt x="2376" y="833"/>
                  </a:lnTo>
                  <a:lnTo>
                    <a:pt x="2371" y="830"/>
                  </a:lnTo>
                  <a:lnTo>
                    <a:pt x="2370" y="824"/>
                  </a:lnTo>
                  <a:lnTo>
                    <a:pt x="2365" y="819"/>
                  </a:lnTo>
                  <a:lnTo>
                    <a:pt x="2359" y="814"/>
                  </a:lnTo>
                  <a:lnTo>
                    <a:pt x="2355" y="812"/>
                  </a:lnTo>
                  <a:lnTo>
                    <a:pt x="2351" y="798"/>
                  </a:lnTo>
                  <a:lnTo>
                    <a:pt x="2348" y="788"/>
                  </a:lnTo>
                  <a:lnTo>
                    <a:pt x="2341" y="787"/>
                  </a:lnTo>
                  <a:lnTo>
                    <a:pt x="2331" y="783"/>
                  </a:lnTo>
                  <a:lnTo>
                    <a:pt x="2320" y="777"/>
                  </a:lnTo>
                  <a:lnTo>
                    <a:pt x="2308" y="772"/>
                  </a:lnTo>
                  <a:lnTo>
                    <a:pt x="2294" y="765"/>
                  </a:lnTo>
                  <a:lnTo>
                    <a:pt x="2280" y="759"/>
                  </a:lnTo>
                  <a:lnTo>
                    <a:pt x="2272" y="757"/>
                  </a:lnTo>
                  <a:lnTo>
                    <a:pt x="2265" y="755"/>
                  </a:lnTo>
                  <a:lnTo>
                    <a:pt x="2258" y="754"/>
                  </a:lnTo>
                  <a:lnTo>
                    <a:pt x="2250" y="754"/>
                  </a:lnTo>
                  <a:lnTo>
                    <a:pt x="2248" y="752"/>
                  </a:lnTo>
                  <a:lnTo>
                    <a:pt x="2242" y="748"/>
                  </a:lnTo>
                  <a:lnTo>
                    <a:pt x="2235" y="744"/>
                  </a:lnTo>
                  <a:lnTo>
                    <a:pt x="2226" y="740"/>
                  </a:lnTo>
                  <a:lnTo>
                    <a:pt x="2211" y="734"/>
                  </a:lnTo>
                  <a:lnTo>
                    <a:pt x="2203" y="730"/>
                  </a:lnTo>
                  <a:lnTo>
                    <a:pt x="2197" y="730"/>
                  </a:lnTo>
                  <a:lnTo>
                    <a:pt x="2192" y="729"/>
                  </a:lnTo>
                  <a:lnTo>
                    <a:pt x="2186" y="728"/>
                  </a:lnTo>
                  <a:lnTo>
                    <a:pt x="2181" y="726"/>
                  </a:lnTo>
                  <a:lnTo>
                    <a:pt x="2172" y="721"/>
                  </a:lnTo>
                  <a:lnTo>
                    <a:pt x="2163" y="714"/>
                  </a:lnTo>
                  <a:lnTo>
                    <a:pt x="2154" y="713"/>
                  </a:lnTo>
                  <a:lnTo>
                    <a:pt x="2145" y="710"/>
                  </a:lnTo>
                  <a:lnTo>
                    <a:pt x="2137" y="708"/>
                  </a:lnTo>
                  <a:lnTo>
                    <a:pt x="2128" y="707"/>
                  </a:lnTo>
                  <a:lnTo>
                    <a:pt x="2126" y="705"/>
                  </a:lnTo>
                  <a:lnTo>
                    <a:pt x="2123" y="702"/>
                  </a:lnTo>
                  <a:lnTo>
                    <a:pt x="2117" y="699"/>
                  </a:lnTo>
                  <a:lnTo>
                    <a:pt x="2110" y="697"/>
                  </a:lnTo>
                  <a:lnTo>
                    <a:pt x="2098" y="692"/>
                  </a:lnTo>
                  <a:lnTo>
                    <a:pt x="2092" y="690"/>
                  </a:lnTo>
                  <a:lnTo>
                    <a:pt x="2082" y="682"/>
                  </a:lnTo>
                  <a:lnTo>
                    <a:pt x="2070" y="670"/>
                  </a:lnTo>
                  <a:lnTo>
                    <a:pt x="2063" y="665"/>
                  </a:lnTo>
                  <a:lnTo>
                    <a:pt x="2057" y="660"/>
                  </a:lnTo>
                  <a:lnTo>
                    <a:pt x="2051" y="657"/>
                  </a:lnTo>
                  <a:lnTo>
                    <a:pt x="2047" y="656"/>
                  </a:lnTo>
                  <a:lnTo>
                    <a:pt x="2046" y="652"/>
                  </a:lnTo>
                  <a:lnTo>
                    <a:pt x="2043" y="649"/>
                  </a:lnTo>
                  <a:lnTo>
                    <a:pt x="2039" y="646"/>
                  </a:lnTo>
                  <a:lnTo>
                    <a:pt x="2033" y="641"/>
                  </a:lnTo>
                  <a:lnTo>
                    <a:pt x="2021" y="631"/>
                  </a:lnTo>
                  <a:lnTo>
                    <a:pt x="2005" y="620"/>
                  </a:lnTo>
                  <a:lnTo>
                    <a:pt x="1990" y="610"/>
                  </a:lnTo>
                  <a:lnTo>
                    <a:pt x="1975" y="600"/>
                  </a:lnTo>
                  <a:lnTo>
                    <a:pt x="1965" y="591"/>
                  </a:lnTo>
                  <a:lnTo>
                    <a:pt x="1960" y="585"/>
                  </a:lnTo>
                  <a:lnTo>
                    <a:pt x="1954" y="584"/>
                  </a:lnTo>
                  <a:lnTo>
                    <a:pt x="1948" y="582"/>
                  </a:lnTo>
                  <a:lnTo>
                    <a:pt x="1946" y="580"/>
                  </a:lnTo>
                  <a:lnTo>
                    <a:pt x="1944" y="579"/>
                  </a:lnTo>
                  <a:lnTo>
                    <a:pt x="1943" y="576"/>
                  </a:lnTo>
                  <a:lnTo>
                    <a:pt x="1942" y="574"/>
                  </a:lnTo>
                  <a:lnTo>
                    <a:pt x="1855" y="527"/>
                  </a:lnTo>
                  <a:lnTo>
                    <a:pt x="1850" y="527"/>
                  </a:lnTo>
                  <a:lnTo>
                    <a:pt x="1847" y="526"/>
                  </a:lnTo>
                  <a:lnTo>
                    <a:pt x="1846" y="526"/>
                  </a:lnTo>
                  <a:lnTo>
                    <a:pt x="1845" y="525"/>
                  </a:lnTo>
                  <a:lnTo>
                    <a:pt x="1843" y="524"/>
                  </a:lnTo>
                  <a:lnTo>
                    <a:pt x="1843" y="522"/>
                  </a:lnTo>
                  <a:lnTo>
                    <a:pt x="1824" y="519"/>
                  </a:lnTo>
                  <a:lnTo>
                    <a:pt x="1806" y="516"/>
                  </a:lnTo>
                  <a:lnTo>
                    <a:pt x="1785" y="512"/>
                  </a:lnTo>
                  <a:lnTo>
                    <a:pt x="1768" y="510"/>
                  </a:lnTo>
                  <a:lnTo>
                    <a:pt x="1768" y="507"/>
                  </a:lnTo>
                  <a:lnTo>
                    <a:pt x="1766" y="505"/>
                  </a:lnTo>
                  <a:lnTo>
                    <a:pt x="1765" y="504"/>
                  </a:lnTo>
                  <a:lnTo>
                    <a:pt x="1764" y="504"/>
                  </a:lnTo>
                  <a:lnTo>
                    <a:pt x="1763" y="504"/>
                  </a:lnTo>
                  <a:lnTo>
                    <a:pt x="1763" y="504"/>
                  </a:lnTo>
                  <a:lnTo>
                    <a:pt x="1762" y="502"/>
                  </a:lnTo>
                  <a:lnTo>
                    <a:pt x="1762" y="498"/>
                  </a:lnTo>
                  <a:lnTo>
                    <a:pt x="1756" y="496"/>
                  </a:lnTo>
                  <a:lnTo>
                    <a:pt x="1750" y="492"/>
                  </a:lnTo>
                  <a:lnTo>
                    <a:pt x="1744" y="486"/>
                  </a:lnTo>
                  <a:lnTo>
                    <a:pt x="1739" y="481"/>
                  </a:lnTo>
                  <a:lnTo>
                    <a:pt x="1739" y="469"/>
                  </a:lnTo>
                  <a:lnTo>
                    <a:pt x="1736" y="469"/>
                  </a:lnTo>
                  <a:lnTo>
                    <a:pt x="1735" y="467"/>
                  </a:lnTo>
                  <a:lnTo>
                    <a:pt x="1734" y="466"/>
                  </a:lnTo>
                  <a:lnTo>
                    <a:pt x="1733" y="463"/>
                  </a:lnTo>
                  <a:lnTo>
                    <a:pt x="1733" y="457"/>
                  </a:lnTo>
                  <a:lnTo>
                    <a:pt x="1733" y="451"/>
                  </a:lnTo>
                  <a:lnTo>
                    <a:pt x="1721" y="446"/>
                  </a:lnTo>
                  <a:lnTo>
                    <a:pt x="1721" y="436"/>
                  </a:lnTo>
                  <a:lnTo>
                    <a:pt x="1718" y="422"/>
                  </a:lnTo>
                  <a:lnTo>
                    <a:pt x="1716" y="408"/>
                  </a:lnTo>
                  <a:lnTo>
                    <a:pt x="1715" y="393"/>
                  </a:lnTo>
                  <a:lnTo>
                    <a:pt x="1704" y="388"/>
                  </a:lnTo>
                  <a:lnTo>
                    <a:pt x="1703" y="375"/>
                  </a:lnTo>
                  <a:lnTo>
                    <a:pt x="1702" y="362"/>
                  </a:lnTo>
                  <a:lnTo>
                    <a:pt x="1698" y="349"/>
                  </a:lnTo>
                  <a:lnTo>
                    <a:pt x="1695" y="336"/>
                  </a:lnTo>
                  <a:lnTo>
                    <a:pt x="1689" y="324"/>
                  </a:lnTo>
                  <a:lnTo>
                    <a:pt x="1685" y="312"/>
                  </a:lnTo>
                  <a:lnTo>
                    <a:pt x="1678" y="300"/>
                  </a:lnTo>
                  <a:lnTo>
                    <a:pt x="1672" y="287"/>
                  </a:lnTo>
                  <a:lnTo>
                    <a:pt x="1664" y="276"/>
                  </a:lnTo>
                  <a:lnTo>
                    <a:pt x="1655" y="266"/>
                  </a:lnTo>
                  <a:lnTo>
                    <a:pt x="1647" y="256"/>
                  </a:lnTo>
                  <a:lnTo>
                    <a:pt x="1638" y="246"/>
                  </a:lnTo>
                  <a:lnTo>
                    <a:pt x="1628" y="237"/>
                  </a:lnTo>
                  <a:lnTo>
                    <a:pt x="1619" y="228"/>
                  </a:lnTo>
                  <a:lnTo>
                    <a:pt x="1609" y="220"/>
                  </a:lnTo>
                  <a:lnTo>
                    <a:pt x="1599" y="214"/>
                  </a:lnTo>
                  <a:lnTo>
                    <a:pt x="1597" y="205"/>
                  </a:lnTo>
                  <a:lnTo>
                    <a:pt x="1593" y="196"/>
                  </a:lnTo>
                  <a:lnTo>
                    <a:pt x="1588" y="190"/>
                  </a:lnTo>
                  <a:lnTo>
                    <a:pt x="1582" y="189"/>
                  </a:lnTo>
                  <a:lnTo>
                    <a:pt x="1577" y="187"/>
                  </a:lnTo>
                  <a:lnTo>
                    <a:pt x="1574" y="185"/>
                  </a:lnTo>
                  <a:lnTo>
                    <a:pt x="1572" y="183"/>
                  </a:lnTo>
                  <a:lnTo>
                    <a:pt x="1571" y="181"/>
                  </a:lnTo>
                  <a:lnTo>
                    <a:pt x="1570" y="179"/>
                  </a:lnTo>
                  <a:lnTo>
                    <a:pt x="1559" y="173"/>
                  </a:lnTo>
                  <a:lnTo>
                    <a:pt x="1547" y="170"/>
                  </a:lnTo>
                  <a:lnTo>
                    <a:pt x="1535" y="167"/>
                  </a:lnTo>
                  <a:lnTo>
                    <a:pt x="1532" y="163"/>
                  </a:lnTo>
                  <a:lnTo>
                    <a:pt x="1522" y="154"/>
                  </a:lnTo>
                  <a:lnTo>
                    <a:pt x="1510" y="144"/>
                  </a:lnTo>
                  <a:lnTo>
                    <a:pt x="1494" y="133"/>
                  </a:lnTo>
                  <a:lnTo>
                    <a:pt x="1464" y="112"/>
                  </a:lnTo>
                  <a:lnTo>
                    <a:pt x="1448" y="103"/>
                  </a:lnTo>
                  <a:lnTo>
                    <a:pt x="1438" y="88"/>
                  </a:lnTo>
                  <a:lnTo>
                    <a:pt x="1429" y="69"/>
                  </a:lnTo>
                  <a:lnTo>
                    <a:pt x="1425" y="58"/>
                  </a:lnTo>
                  <a:lnTo>
                    <a:pt x="1422" y="50"/>
                  </a:lnTo>
                  <a:lnTo>
                    <a:pt x="1419" y="41"/>
                  </a:lnTo>
                  <a:lnTo>
                    <a:pt x="1419" y="34"/>
                  </a:lnTo>
                  <a:lnTo>
                    <a:pt x="1407" y="28"/>
                  </a:lnTo>
                  <a:lnTo>
                    <a:pt x="1407" y="21"/>
                  </a:lnTo>
                  <a:lnTo>
                    <a:pt x="1404" y="14"/>
                  </a:lnTo>
                  <a:lnTo>
                    <a:pt x="1400" y="7"/>
                  </a:lnTo>
                  <a:lnTo>
                    <a:pt x="1395" y="0"/>
                  </a:lnTo>
                  <a:lnTo>
                    <a:pt x="1395" y="7"/>
                  </a:lnTo>
                  <a:lnTo>
                    <a:pt x="1377" y="9"/>
                  </a:lnTo>
                  <a:lnTo>
                    <a:pt x="1343" y="14"/>
                  </a:lnTo>
                  <a:lnTo>
                    <a:pt x="1323" y="18"/>
                  </a:lnTo>
                  <a:lnTo>
                    <a:pt x="1301" y="23"/>
                  </a:lnTo>
                  <a:lnTo>
                    <a:pt x="1280" y="27"/>
                  </a:lnTo>
                  <a:lnTo>
                    <a:pt x="1259" y="33"/>
                  </a:lnTo>
                  <a:lnTo>
                    <a:pt x="1228" y="43"/>
                  </a:lnTo>
                  <a:lnTo>
                    <a:pt x="1204" y="54"/>
                  </a:lnTo>
                  <a:lnTo>
                    <a:pt x="1194" y="58"/>
                  </a:lnTo>
                  <a:lnTo>
                    <a:pt x="1183" y="63"/>
                  </a:lnTo>
                  <a:lnTo>
                    <a:pt x="1173" y="66"/>
                  </a:lnTo>
                  <a:lnTo>
                    <a:pt x="1164" y="69"/>
                  </a:lnTo>
                  <a:lnTo>
                    <a:pt x="1130" y="73"/>
                  </a:lnTo>
                  <a:lnTo>
                    <a:pt x="1094" y="81"/>
                  </a:lnTo>
                  <a:lnTo>
                    <a:pt x="1058" y="90"/>
                  </a:lnTo>
                  <a:lnTo>
                    <a:pt x="1019" y="99"/>
                  </a:lnTo>
                  <a:lnTo>
                    <a:pt x="979" y="110"/>
                  </a:lnTo>
                  <a:lnTo>
                    <a:pt x="940" y="121"/>
                  </a:lnTo>
                  <a:lnTo>
                    <a:pt x="901" y="132"/>
                  </a:lnTo>
                  <a:lnTo>
                    <a:pt x="864" y="142"/>
                  </a:lnTo>
                  <a:lnTo>
                    <a:pt x="822" y="154"/>
                  </a:lnTo>
                  <a:lnTo>
                    <a:pt x="780" y="168"/>
                  </a:lnTo>
                  <a:lnTo>
                    <a:pt x="739" y="181"/>
                  </a:lnTo>
                  <a:lnTo>
                    <a:pt x="699" y="195"/>
                  </a:lnTo>
                  <a:lnTo>
                    <a:pt x="626" y="223"/>
                  </a:lnTo>
                  <a:lnTo>
                    <a:pt x="560" y="250"/>
                  </a:lnTo>
                  <a:lnTo>
                    <a:pt x="504" y="275"/>
                  </a:lnTo>
                  <a:lnTo>
                    <a:pt x="460" y="296"/>
                  </a:lnTo>
                  <a:lnTo>
                    <a:pt x="430" y="312"/>
                  </a:lnTo>
                  <a:lnTo>
                    <a:pt x="416" y="322"/>
                  </a:lnTo>
                  <a:lnTo>
                    <a:pt x="398" y="322"/>
                  </a:lnTo>
                  <a:lnTo>
                    <a:pt x="397" y="325"/>
                  </a:lnTo>
                  <a:lnTo>
                    <a:pt x="395" y="329"/>
                  </a:lnTo>
                  <a:lnTo>
                    <a:pt x="391" y="332"/>
                  </a:lnTo>
                  <a:lnTo>
                    <a:pt x="387" y="334"/>
                  </a:lnTo>
                  <a:lnTo>
                    <a:pt x="378" y="339"/>
                  </a:lnTo>
                  <a:lnTo>
                    <a:pt x="370" y="340"/>
                  </a:lnTo>
                  <a:lnTo>
                    <a:pt x="365" y="354"/>
                  </a:lnTo>
                  <a:lnTo>
                    <a:pt x="361" y="368"/>
                  </a:lnTo>
                  <a:lnTo>
                    <a:pt x="342" y="368"/>
                  </a:lnTo>
                  <a:lnTo>
                    <a:pt x="342" y="377"/>
                  </a:lnTo>
                  <a:lnTo>
                    <a:pt x="341" y="385"/>
                  </a:lnTo>
                  <a:lnTo>
                    <a:pt x="340" y="389"/>
                  </a:lnTo>
                  <a:lnTo>
                    <a:pt x="339" y="392"/>
                  </a:lnTo>
                  <a:lnTo>
                    <a:pt x="336" y="394"/>
                  </a:lnTo>
                  <a:lnTo>
                    <a:pt x="333" y="396"/>
                  </a:lnTo>
                  <a:lnTo>
                    <a:pt x="332" y="399"/>
                  </a:lnTo>
                  <a:lnTo>
                    <a:pt x="331" y="401"/>
                  </a:lnTo>
                  <a:lnTo>
                    <a:pt x="330" y="404"/>
                  </a:lnTo>
                  <a:lnTo>
                    <a:pt x="328" y="407"/>
                  </a:lnTo>
                  <a:lnTo>
                    <a:pt x="321" y="410"/>
                  </a:lnTo>
                  <a:lnTo>
                    <a:pt x="314" y="413"/>
                  </a:lnTo>
                  <a:lnTo>
                    <a:pt x="306" y="418"/>
                  </a:lnTo>
                  <a:lnTo>
                    <a:pt x="300" y="422"/>
                  </a:lnTo>
                  <a:lnTo>
                    <a:pt x="296" y="425"/>
                  </a:lnTo>
                  <a:lnTo>
                    <a:pt x="294" y="427"/>
                  </a:lnTo>
                  <a:lnTo>
                    <a:pt x="292" y="430"/>
                  </a:lnTo>
                  <a:lnTo>
                    <a:pt x="291" y="433"/>
                  </a:lnTo>
                  <a:lnTo>
                    <a:pt x="288" y="440"/>
                  </a:lnTo>
                  <a:lnTo>
                    <a:pt x="287" y="447"/>
                  </a:lnTo>
                  <a:lnTo>
                    <a:pt x="287" y="454"/>
                  </a:lnTo>
                  <a:lnTo>
                    <a:pt x="287" y="460"/>
                  </a:lnTo>
                  <a:lnTo>
                    <a:pt x="290" y="474"/>
                  </a:lnTo>
                  <a:lnTo>
                    <a:pt x="292" y="487"/>
                  </a:lnTo>
                  <a:lnTo>
                    <a:pt x="294" y="500"/>
                  </a:lnTo>
                  <a:lnTo>
                    <a:pt x="296" y="514"/>
                  </a:lnTo>
                  <a:lnTo>
                    <a:pt x="296" y="526"/>
                  </a:lnTo>
                  <a:lnTo>
                    <a:pt x="295" y="538"/>
                  </a:lnTo>
                  <a:lnTo>
                    <a:pt x="293" y="544"/>
                  </a:lnTo>
                  <a:lnTo>
                    <a:pt x="290" y="550"/>
                  </a:lnTo>
                  <a:lnTo>
                    <a:pt x="287" y="555"/>
                  </a:lnTo>
                  <a:lnTo>
                    <a:pt x="283" y="560"/>
                  </a:lnTo>
                  <a:lnTo>
                    <a:pt x="274" y="569"/>
                  </a:lnTo>
                  <a:lnTo>
                    <a:pt x="264" y="577"/>
                  </a:lnTo>
                  <a:lnTo>
                    <a:pt x="243" y="594"/>
                  </a:lnTo>
                  <a:lnTo>
                    <a:pt x="223" y="610"/>
                  </a:lnTo>
                  <a:lnTo>
                    <a:pt x="207" y="625"/>
                  </a:lnTo>
                  <a:lnTo>
                    <a:pt x="190" y="640"/>
                  </a:lnTo>
                  <a:lnTo>
                    <a:pt x="185" y="643"/>
                  </a:lnTo>
                  <a:lnTo>
                    <a:pt x="178" y="646"/>
                  </a:lnTo>
                  <a:lnTo>
                    <a:pt x="171" y="648"/>
                  </a:lnTo>
                  <a:lnTo>
                    <a:pt x="165" y="650"/>
                  </a:lnTo>
                  <a:lnTo>
                    <a:pt x="157" y="651"/>
                  </a:lnTo>
                  <a:lnTo>
                    <a:pt x="148" y="651"/>
                  </a:lnTo>
                  <a:lnTo>
                    <a:pt x="138" y="650"/>
                  </a:lnTo>
                  <a:lnTo>
                    <a:pt x="127" y="648"/>
                  </a:lnTo>
                  <a:lnTo>
                    <a:pt x="115" y="646"/>
                  </a:lnTo>
                  <a:lnTo>
                    <a:pt x="105" y="642"/>
                  </a:lnTo>
                  <a:lnTo>
                    <a:pt x="95" y="638"/>
                  </a:lnTo>
                  <a:lnTo>
                    <a:pt x="85" y="633"/>
                  </a:lnTo>
                  <a:lnTo>
                    <a:pt x="69" y="623"/>
                  </a:lnTo>
                  <a:lnTo>
                    <a:pt x="55" y="613"/>
                  </a:lnTo>
                  <a:lnTo>
                    <a:pt x="48" y="610"/>
                  </a:lnTo>
                  <a:lnTo>
                    <a:pt x="43" y="606"/>
                  </a:lnTo>
                  <a:lnTo>
                    <a:pt x="38" y="604"/>
                  </a:lnTo>
                  <a:lnTo>
                    <a:pt x="35" y="604"/>
                  </a:lnTo>
                  <a:lnTo>
                    <a:pt x="32" y="604"/>
                  </a:lnTo>
                  <a:lnTo>
                    <a:pt x="29" y="606"/>
                  </a:lnTo>
                  <a:lnTo>
                    <a:pt x="28" y="611"/>
                  </a:lnTo>
                  <a:lnTo>
                    <a:pt x="28" y="618"/>
                  </a:lnTo>
                  <a:lnTo>
                    <a:pt x="14" y="622"/>
                  </a:lnTo>
                  <a:lnTo>
                    <a:pt x="0" y="627"/>
                  </a:lnTo>
                  <a:lnTo>
                    <a:pt x="0" y="638"/>
                  </a:lnTo>
                  <a:lnTo>
                    <a:pt x="2" y="653"/>
                  </a:lnTo>
                  <a:lnTo>
                    <a:pt x="3" y="660"/>
                  </a:lnTo>
                  <a:lnTo>
                    <a:pt x="4" y="667"/>
                  </a:lnTo>
                  <a:lnTo>
                    <a:pt x="5" y="669"/>
                  </a:lnTo>
                  <a:lnTo>
                    <a:pt x="6" y="671"/>
                  </a:lnTo>
                  <a:lnTo>
                    <a:pt x="8" y="672"/>
                  </a:lnTo>
                  <a:lnTo>
                    <a:pt x="9" y="672"/>
                  </a:lnTo>
                  <a:lnTo>
                    <a:pt x="9" y="681"/>
                  </a:lnTo>
                  <a:lnTo>
                    <a:pt x="8" y="692"/>
                  </a:lnTo>
                  <a:lnTo>
                    <a:pt x="6" y="705"/>
                  </a:lnTo>
                  <a:lnTo>
                    <a:pt x="4" y="717"/>
                  </a:lnTo>
                  <a:close/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0" name="Freeform 53">
              <a:extLst>
                <a:ext uri="{FF2B5EF4-FFF2-40B4-BE49-F238E27FC236}">
                  <a16:creationId xmlns:a16="http://schemas.microsoft.com/office/drawing/2014/main" id="{7684EAA1-E38D-41F8-A4E6-BE84993506DF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031163" y="2732088"/>
              <a:ext cx="411680" cy="241300"/>
            </a:xfrm>
            <a:custGeom>
              <a:avLst/>
              <a:gdLst/>
              <a:ahLst/>
              <a:cxnLst>
                <a:cxn ang="0">
                  <a:pos x="102" y="349"/>
                </a:cxn>
                <a:cxn ang="0">
                  <a:pos x="221" y="337"/>
                </a:cxn>
                <a:cxn ang="0">
                  <a:pos x="328" y="299"/>
                </a:cxn>
                <a:cxn ang="0">
                  <a:pos x="430" y="241"/>
                </a:cxn>
                <a:cxn ang="0">
                  <a:pos x="624" y="233"/>
                </a:cxn>
                <a:cxn ang="0">
                  <a:pos x="778" y="185"/>
                </a:cxn>
                <a:cxn ang="0">
                  <a:pos x="926" y="90"/>
                </a:cxn>
                <a:cxn ang="0">
                  <a:pos x="1167" y="6"/>
                </a:cxn>
                <a:cxn ang="0">
                  <a:pos x="1276" y="15"/>
                </a:cxn>
                <a:cxn ang="0">
                  <a:pos x="1479" y="58"/>
                </a:cxn>
                <a:cxn ang="0">
                  <a:pos x="1636" y="91"/>
                </a:cxn>
                <a:cxn ang="0">
                  <a:pos x="1722" y="71"/>
                </a:cxn>
                <a:cxn ang="0">
                  <a:pos x="1807" y="137"/>
                </a:cxn>
                <a:cxn ang="0">
                  <a:pos x="1898" y="233"/>
                </a:cxn>
                <a:cxn ang="0">
                  <a:pos x="2089" y="314"/>
                </a:cxn>
                <a:cxn ang="0">
                  <a:pos x="2224" y="425"/>
                </a:cxn>
                <a:cxn ang="0">
                  <a:pos x="2216" y="479"/>
                </a:cxn>
                <a:cxn ang="0">
                  <a:pos x="2116" y="535"/>
                </a:cxn>
                <a:cxn ang="0">
                  <a:pos x="1998" y="585"/>
                </a:cxn>
                <a:cxn ang="0">
                  <a:pos x="1917" y="633"/>
                </a:cxn>
                <a:cxn ang="0">
                  <a:pos x="1845" y="738"/>
                </a:cxn>
                <a:cxn ang="0">
                  <a:pos x="1730" y="772"/>
                </a:cxn>
                <a:cxn ang="0">
                  <a:pos x="1634" y="870"/>
                </a:cxn>
                <a:cxn ang="0">
                  <a:pos x="1629" y="1033"/>
                </a:cxn>
                <a:cxn ang="0">
                  <a:pos x="1561" y="1107"/>
                </a:cxn>
                <a:cxn ang="0">
                  <a:pos x="1441" y="1121"/>
                </a:cxn>
                <a:cxn ang="0">
                  <a:pos x="1384" y="1165"/>
                </a:cxn>
                <a:cxn ang="0">
                  <a:pos x="1302" y="1223"/>
                </a:cxn>
                <a:cxn ang="0">
                  <a:pos x="1279" y="1255"/>
                </a:cxn>
                <a:cxn ang="0">
                  <a:pos x="1254" y="1284"/>
                </a:cxn>
                <a:cxn ang="0">
                  <a:pos x="1227" y="1303"/>
                </a:cxn>
                <a:cxn ang="0">
                  <a:pos x="1204" y="1340"/>
                </a:cxn>
                <a:cxn ang="0">
                  <a:pos x="1181" y="1449"/>
                </a:cxn>
                <a:cxn ang="0">
                  <a:pos x="1115" y="1492"/>
                </a:cxn>
                <a:cxn ang="0">
                  <a:pos x="1073" y="1455"/>
                </a:cxn>
                <a:cxn ang="0">
                  <a:pos x="1061" y="1439"/>
                </a:cxn>
                <a:cxn ang="0">
                  <a:pos x="1032" y="1436"/>
                </a:cxn>
                <a:cxn ang="0">
                  <a:pos x="993" y="1418"/>
                </a:cxn>
                <a:cxn ang="0">
                  <a:pos x="957" y="1396"/>
                </a:cxn>
                <a:cxn ang="0">
                  <a:pos x="935" y="1387"/>
                </a:cxn>
                <a:cxn ang="0">
                  <a:pos x="871" y="1362"/>
                </a:cxn>
                <a:cxn ang="0">
                  <a:pos x="824" y="1343"/>
                </a:cxn>
                <a:cxn ang="0">
                  <a:pos x="787" y="1328"/>
                </a:cxn>
                <a:cxn ang="0">
                  <a:pos x="765" y="1296"/>
                </a:cxn>
                <a:cxn ang="0">
                  <a:pos x="755" y="1277"/>
                </a:cxn>
                <a:cxn ang="0">
                  <a:pos x="738" y="1223"/>
                </a:cxn>
                <a:cxn ang="0">
                  <a:pos x="696" y="1170"/>
                </a:cxn>
                <a:cxn ang="0">
                  <a:pos x="651" y="1198"/>
                </a:cxn>
                <a:cxn ang="0">
                  <a:pos x="487" y="1156"/>
                </a:cxn>
                <a:cxn ang="0">
                  <a:pos x="424" y="1100"/>
                </a:cxn>
                <a:cxn ang="0">
                  <a:pos x="401" y="1087"/>
                </a:cxn>
                <a:cxn ang="0">
                  <a:pos x="332" y="1027"/>
                </a:cxn>
                <a:cxn ang="0">
                  <a:pos x="303" y="989"/>
                </a:cxn>
                <a:cxn ang="0">
                  <a:pos x="244" y="917"/>
                </a:cxn>
                <a:cxn ang="0">
                  <a:pos x="235" y="906"/>
                </a:cxn>
                <a:cxn ang="0">
                  <a:pos x="199" y="880"/>
                </a:cxn>
                <a:cxn ang="0">
                  <a:pos x="152" y="827"/>
                </a:cxn>
                <a:cxn ang="0">
                  <a:pos x="131" y="699"/>
                </a:cxn>
                <a:cxn ang="0">
                  <a:pos x="107" y="611"/>
                </a:cxn>
                <a:cxn ang="0">
                  <a:pos x="60" y="564"/>
                </a:cxn>
                <a:cxn ang="0">
                  <a:pos x="39" y="477"/>
                </a:cxn>
                <a:cxn ang="0">
                  <a:pos x="30" y="440"/>
                </a:cxn>
                <a:cxn ang="0">
                  <a:pos x="21" y="430"/>
                </a:cxn>
              </a:cxnLst>
              <a:rect l="0" t="0" r="r" b="b"/>
              <a:pathLst>
                <a:path w="2248" h="1495">
                  <a:moveTo>
                    <a:pt x="0" y="416"/>
                  </a:moveTo>
                  <a:lnTo>
                    <a:pt x="16" y="401"/>
                  </a:lnTo>
                  <a:lnTo>
                    <a:pt x="31" y="387"/>
                  </a:lnTo>
                  <a:lnTo>
                    <a:pt x="49" y="375"/>
                  </a:lnTo>
                  <a:lnTo>
                    <a:pt x="68" y="363"/>
                  </a:lnTo>
                  <a:lnTo>
                    <a:pt x="79" y="358"/>
                  </a:lnTo>
                  <a:lnTo>
                    <a:pt x="91" y="353"/>
                  </a:lnTo>
                  <a:lnTo>
                    <a:pt x="102" y="349"/>
                  </a:lnTo>
                  <a:lnTo>
                    <a:pt x="115" y="346"/>
                  </a:lnTo>
                  <a:lnTo>
                    <a:pt x="129" y="343"/>
                  </a:lnTo>
                  <a:lnTo>
                    <a:pt x="143" y="341"/>
                  </a:lnTo>
                  <a:lnTo>
                    <a:pt x="159" y="340"/>
                  </a:lnTo>
                  <a:lnTo>
                    <a:pt x="174" y="339"/>
                  </a:lnTo>
                  <a:lnTo>
                    <a:pt x="191" y="339"/>
                  </a:lnTo>
                  <a:lnTo>
                    <a:pt x="207" y="338"/>
                  </a:lnTo>
                  <a:lnTo>
                    <a:pt x="221" y="337"/>
                  </a:lnTo>
                  <a:lnTo>
                    <a:pt x="235" y="335"/>
                  </a:lnTo>
                  <a:lnTo>
                    <a:pt x="248" y="333"/>
                  </a:lnTo>
                  <a:lnTo>
                    <a:pt x="259" y="330"/>
                  </a:lnTo>
                  <a:lnTo>
                    <a:pt x="270" y="327"/>
                  </a:lnTo>
                  <a:lnTo>
                    <a:pt x="280" y="323"/>
                  </a:lnTo>
                  <a:lnTo>
                    <a:pt x="298" y="315"/>
                  </a:lnTo>
                  <a:lnTo>
                    <a:pt x="315" y="308"/>
                  </a:lnTo>
                  <a:lnTo>
                    <a:pt x="328" y="299"/>
                  </a:lnTo>
                  <a:lnTo>
                    <a:pt x="342" y="289"/>
                  </a:lnTo>
                  <a:lnTo>
                    <a:pt x="354" y="280"/>
                  </a:lnTo>
                  <a:lnTo>
                    <a:pt x="366" y="270"/>
                  </a:lnTo>
                  <a:lnTo>
                    <a:pt x="379" y="262"/>
                  </a:lnTo>
                  <a:lnTo>
                    <a:pt x="391" y="254"/>
                  </a:lnTo>
                  <a:lnTo>
                    <a:pt x="405" y="247"/>
                  </a:lnTo>
                  <a:lnTo>
                    <a:pt x="421" y="243"/>
                  </a:lnTo>
                  <a:lnTo>
                    <a:pt x="430" y="241"/>
                  </a:lnTo>
                  <a:lnTo>
                    <a:pt x="439" y="240"/>
                  </a:lnTo>
                  <a:lnTo>
                    <a:pt x="449" y="238"/>
                  </a:lnTo>
                  <a:lnTo>
                    <a:pt x="460" y="238"/>
                  </a:lnTo>
                  <a:lnTo>
                    <a:pt x="506" y="238"/>
                  </a:lnTo>
                  <a:lnTo>
                    <a:pt x="554" y="237"/>
                  </a:lnTo>
                  <a:lnTo>
                    <a:pt x="577" y="236"/>
                  </a:lnTo>
                  <a:lnTo>
                    <a:pt x="601" y="235"/>
                  </a:lnTo>
                  <a:lnTo>
                    <a:pt x="624" y="233"/>
                  </a:lnTo>
                  <a:lnTo>
                    <a:pt x="646" y="231"/>
                  </a:lnTo>
                  <a:lnTo>
                    <a:pt x="669" y="226"/>
                  </a:lnTo>
                  <a:lnTo>
                    <a:pt x="690" y="223"/>
                  </a:lnTo>
                  <a:lnTo>
                    <a:pt x="710" y="217"/>
                  </a:lnTo>
                  <a:lnTo>
                    <a:pt x="729" y="210"/>
                  </a:lnTo>
                  <a:lnTo>
                    <a:pt x="747" y="204"/>
                  </a:lnTo>
                  <a:lnTo>
                    <a:pt x="764" y="195"/>
                  </a:lnTo>
                  <a:lnTo>
                    <a:pt x="778" y="185"/>
                  </a:lnTo>
                  <a:lnTo>
                    <a:pt x="792" y="174"/>
                  </a:lnTo>
                  <a:lnTo>
                    <a:pt x="802" y="165"/>
                  </a:lnTo>
                  <a:lnTo>
                    <a:pt x="815" y="155"/>
                  </a:lnTo>
                  <a:lnTo>
                    <a:pt x="832" y="144"/>
                  </a:lnTo>
                  <a:lnTo>
                    <a:pt x="851" y="131"/>
                  </a:lnTo>
                  <a:lnTo>
                    <a:pt x="874" y="118"/>
                  </a:lnTo>
                  <a:lnTo>
                    <a:pt x="899" y="103"/>
                  </a:lnTo>
                  <a:lnTo>
                    <a:pt x="926" y="90"/>
                  </a:lnTo>
                  <a:lnTo>
                    <a:pt x="953" y="75"/>
                  </a:lnTo>
                  <a:lnTo>
                    <a:pt x="983" y="62"/>
                  </a:lnTo>
                  <a:lnTo>
                    <a:pt x="1013" y="50"/>
                  </a:lnTo>
                  <a:lnTo>
                    <a:pt x="1044" y="37"/>
                  </a:lnTo>
                  <a:lnTo>
                    <a:pt x="1075" y="27"/>
                  </a:lnTo>
                  <a:lnTo>
                    <a:pt x="1106" y="19"/>
                  </a:lnTo>
                  <a:lnTo>
                    <a:pt x="1137" y="11"/>
                  </a:lnTo>
                  <a:lnTo>
                    <a:pt x="1167" y="6"/>
                  </a:lnTo>
                  <a:lnTo>
                    <a:pt x="1195" y="3"/>
                  </a:lnTo>
                  <a:lnTo>
                    <a:pt x="1225" y="1"/>
                  </a:lnTo>
                  <a:lnTo>
                    <a:pt x="1246" y="0"/>
                  </a:lnTo>
                  <a:lnTo>
                    <a:pt x="1252" y="1"/>
                  </a:lnTo>
                  <a:lnTo>
                    <a:pt x="1256" y="2"/>
                  </a:lnTo>
                  <a:lnTo>
                    <a:pt x="1260" y="4"/>
                  </a:lnTo>
                  <a:lnTo>
                    <a:pt x="1265" y="7"/>
                  </a:lnTo>
                  <a:lnTo>
                    <a:pt x="1276" y="15"/>
                  </a:lnTo>
                  <a:lnTo>
                    <a:pt x="1288" y="26"/>
                  </a:lnTo>
                  <a:lnTo>
                    <a:pt x="1293" y="29"/>
                  </a:lnTo>
                  <a:lnTo>
                    <a:pt x="1303" y="31"/>
                  </a:lnTo>
                  <a:lnTo>
                    <a:pt x="1316" y="33"/>
                  </a:lnTo>
                  <a:lnTo>
                    <a:pt x="1334" y="36"/>
                  </a:lnTo>
                  <a:lnTo>
                    <a:pt x="1377" y="43"/>
                  </a:lnTo>
                  <a:lnTo>
                    <a:pt x="1427" y="50"/>
                  </a:lnTo>
                  <a:lnTo>
                    <a:pt x="1479" y="58"/>
                  </a:lnTo>
                  <a:lnTo>
                    <a:pt x="1527" y="67"/>
                  </a:lnTo>
                  <a:lnTo>
                    <a:pt x="1548" y="70"/>
                  </a:lnTo>
                  <a:lnTo>
                    <a:pt x="1566" y="74"/>
                  </a:lnTo>
                  <a:lnTo>
                    <a:pt x="1582" y="78"/>
                  </a:lnTo>
                  <a:lnTo>
                    <a:pt x="1592" y="82"/>
                  </a:lnTo>
                  <a:lnTo>
                    <a:pt x="1608" y="87"/>
                  </a:lnTo>
                  <a:lnTo>
                    <a:pt x="1622" y="90"/>
                  </a:lnTo>
                  <a:lnTo>
                    <a:pt x="1636" y="91"/>
                  </a:lnTo>
                  <a:lnTo>
                    <a:pt x="1648" y="90"/>
                  </a:lnTo>
                  <a:lnTo>
                    <a:pt x="1659" y="88"/>
                  </a:lnTo>
                  <a:lnTo>
                    <a:pt x="1671" y="85"/>
                  </a:lnTo>
                  <a:lnTo>
                    <a:pt x="1681" y="82"/>
                  </a:lnTo>
                  <a:lnTo>
                    <a:pt x="1692" y="79"/>
                  </a:lnTo>
                  <a:lnTo>
                    <a:pt x="1701" y="75"/>
                  </a:lnTo>
                  <a:lnTo>
                    <a:pt x="1711" y="72"/>
                  </a:lnTo>
                  <a:lnTo>
                    <a:pt x="1722" y="71"/>
                  </a:lnTo>
                  <a:lnTo>
                    <a:pt x="1730" y="70"/>
                  </a:lnTo>
                  <a:lnTo>
                    <a:pt x="1740" y="71"/>
                  </a:lnTo>
                  <a:lnTo>
                    <a:pt x="1751" y="75"/>
                  </a:lnTo>
                  <a:lnTo>
                    <a:pt x="1759" y="81"/>
                  </a:lnTo>
                  <a:lnTo>
                    <a:pt x="1771" y="90"/>
                  </a:lnTo>
                  <a:lnTo>
                    <a:pt x="1783" y="103"/>
                  </a:lnTo>
                  <a:lnTo>
                    <a:pt x="1795" y="120"/>
                  </a:lnTo>
                  <a:lnTo>
                    <a:pt x="1807" y="137"/>
                  </a:lnTo>
                  <a:lnTo>
                    <a:pt x="1820" y="155"/>
                  </a:lnTo>
                  <a:lnTo>
                    <a:pt x="1833" y="174"/>
                  </a:lnTo>
                  <a:lnTo>
                    <a:pt x="1848" y="192"/>
                  </a:lnTo>
                  <a:lnTo>
                    <a:pt x="1857" y="200"/>
                  </a:lnTo>
                  <a:lnTo>
                    <a:pt x="1864" y="208"/>
                  </a:lnTo>
                  <a:lnTo>
                    <a:pt x="1873" y="216"/>
                  </a:lnTo>
                  <a:lnTo>
                    <a:pt x="1883" y="224"/>
                  </a:lnTo>
                  <a:lnTo>
                    <a:pt x="1898" y="233"/>
                  </a:lnTo>
                  <a:lnTo>
                    <a:pt x="1912" y="242"/>
                  </a:lnTo>
                  <a:lnTo>
                    <a:pt x="1928" y="251"/>
                  </a:lnTo>
                  <a:lnTo>
                    <a:pt x="1944" y="257"/>
                  </a:lnTo>
                  <a:lnTo>
                    <a:pt x="1976" y="271"/>
                  </a:lnTo>
                  <a:lnTo>
                    <a:pt x="2008" y="283"/>
                  </a:lnTo>
                  <a:lnTo>
                    <a:pt x="2041" y="295"/>
                  </a:lnTo>
                  <a:lnTo>
                    <a:pt x="2073" y="308"/>
                  </a:lnTo>
                  <a:lnTo>
                    <a:pt x="2089" y="314"/>
                  </a:lnTo>
                  <a:lnTo>
                    <a:pt x="2104" y="321"/>
                  </a:lnTo>
                  <a:lnTo>
                    <a:pt x="2120" y="329"/>
                  </a:lnTo>
                  <a:lnTo>
                    <a:pt x="2136" y="338"/>
                  </a:lnTo>
                  <a:lnTo>
                    <a:pt x="2151" y="349"/>
                  </a:lnTo>
                  <a:lnTo>
                    <a:pt x="2167" y="362"/>
                  </a:lnTo>
                  <a:lnTo>
                    <a:pt x="2183" y="377"/>
                  </a:lnTo>
                  <a:lnTo>
                    <a:pt x="2197" y="394"/>
                  </a:lnTo>
                  <a:lnTo>
                    <a:pt x="2224" y="425"/>
                  </a:lnTo>
                  <a:lnTo>
                    <a:pt x="2246" y="449"/>
                  </a:lnTo>
                  <a:lnTo>
                    <a:pt x="2247" y="452"/>
                  </a:lnTo>
                  <a:lnTo>
                    <a:pt x="2248" y="454"/>
                  </a:lnTo>
                  <a:lnTo>
                    <a:pt x="2247" y="456"/>
                  </a:lnTo>
                  <a:lnTo>
                    <a:pt x="2246" y="458"/>
                  </a:lnTo>
                  <a:lnTo>
                    <a:pt x="2242" y="463"/>
                  </a:lnTo>
                  <a:lnTo>
                    <a:pt x="2235" y="468"/>
                  </a:lnTo>
                  <a:lnTo>
                    <a:pt x="2216" y="479"/>
                  </a:lnTo>
                  <a:lnTo>
                    <a:pt x="2193" y="492"/>
                  </a:lnTo>
                  <a:lnTo>
                    <a:pt x="2167" y="503"/>
                  </a:lnTo>
                  <a:lnTo>
                    <a:pt x="2143" y="514"/>
                  </a:lnTo>
                  <a:lnTo>
                    <a:pt x="2135" y="520"/>
                  </a:lnTo>
                  <a:lnTo>
                    <a:pt x="2127" y="524"/>
                  </a:lnTo>
                  <a:lnTo>
                    <a:pt x="2120" y="529"/>
                  </a:lnTo>
                  <a:lnTo>
                    <a:pt x="2118" y="533"/>
                  </a:lnTo>
                  <a:lnTo>
                    <a:pt x="2116" y="535"/>
                  </a:lnTo>
                  <a:lnTo>
                    <a:pt x="2112" y="537"/>
                  </a:lnTo>
                  <a:lnTo>
                    <a:pt x="2107" y="541"/>
                  </a:lnTo>
                  <a:lnTo>
                    <a:pt x="2099" y="544"/>
                  </a:lnTo>
                  <a:lnTo>
                    <a:pt x="2079" y="552"/>
                  </a:lnTo>
                  <a:lnTo>
                    <a:pt x="2055" y="561"/>
                  </a:lnTo>
                  <a:lnTo>
                    <a:pt x="2031" y="571"/>
                  </a:lnTo>
                  <a:lnTo>
                    <a:pt x="2008" y="581"/>
                  </a:lnTo>
                  <a:lnTo>
                    <a:pt x="1998" y="585"/>
                  </a:lnTo>
                  <a:lnTo>
                    <a:pt x="1991" y="590"/>
                  </a:lnTo>
                  <a:lnTo>
                    <a:pt x="1984" y="593"/>
                  </a:lnTo>
                  <a:lnTo>
                    <a:pt x="1979" y="597"/>
                  </a:lnTo>
                  <a:lnTo>
                    <a:pt x="1972" y="600"/>
                  </a:lnTo>
                  <a:lnTo>
                    <a:pt x="1955" y="608"/>
                  </a:lnTo>
                  <a:lnTo>
                    <a:pt x="1937" y="617"/>
                  </a:lnTo>
                  <a:lnTo>
                    <a:pt x="1924" y="625"/>
                  </a:lnTo>
                  <a:lnTo>
                    <a:pt x="1917" y="633"/>
                  </a:lnTo>
                  <a:lnTo>
                    <a:pt x="1909" y="646"/>
                  </a:lnTo>
                  <a:lnTo>
                    <a:pt x="1900" y="660"/>
                  </a:lnTo>
                  <a:lnTo>
                    <a:pt x="1890" y="677"/>
                  </a:lnTo>
                  <a:lnTo>
                    <a:pt x="1881" y="693"/>
                  </a:lnTo>
                  <a:lnTo>
                    <a:pt x="1871" y="709"/>
                  </a:lnTo>
                  <a:lnTo>
                    <a:pt x="1861" y="723"/>
                  </a:lnTo>
                  <a:lnTo>
                    <a:pt x="1850" y="735"/>
                  </a:lnTo>
                  <a:lnTo>
                    <a:pt x="1845" y="738"/>
                  </a:lnTo>
                  <a:lnTo>
                    <a:pt x="1840" y="742"/>
                  </a:lnTo>
                  <a:lnTo>
                    <a:pt x="1832" y="745"/>
                  </a:lnTo>
                  <a:lnTo>
                    <a:pt x="1823" y="747"/>
                  </a:lnTo>
                  <a:lnTo>
                    <a:pt x="1803" y="753"/>
                  </a:lnTo>
                  <a:lnTo>
                    <a:pt x="1782" y="758"/>
                  </a:lnTo>
                  <a:lnTo>
                    <a:pt x="1759" y="763"/>
                  </a:lnTo>
                  <a:lnTo>
                    <a:pt x="1739" y="769"/>
                  </a:lnTo>
                  <a:lnTo>
                    <a:pt x="1730" y="772"/>
                  </a:lnTo>
                  <a:lnTo>
                    <a:pt x="1723" y="775"/>
                  </a:lnTo>
                  <a:lnTo>
                    <a:pt x="1717" y="777"/>
                  </a:lnTo>
                  <a:lnTo>
                    <a:pt x="1713" y="781"/>
                  </a:lnTo>
                  <a:lnTo>
                    <a:pt x="1696" y="800"/>
                  </a:lnTo>
                  <a:lnTo>
                    <a:pt x="1676" y="822"/>
                  </a:lnTo>
                  <a:lnTo>
                    <a:pt x="1656" y="846"/>
                  </a:lnTo>
                  <a:lnTo>
                    <a:pt x="1639" y="864"/>
                  </a:lnTo>
                  <a:lnTo>
                    <a:pt x="1634" y="870"/>
                  </a:lnTo>
                  <a:lnTo>
                    <a:pt x="1630" y="877"/>
                  </a:lnTo>
                  <a:lnTo>
                    <a:pt x="1628" y="885"/>
                  </a:lnTo>
                  <a:lnTo>
                    <a:pt x="1626" y="895"/>
                  </a:lnTo>
                  <a:lnTo>
                    <a:pt x="1623" y="916"/>
                  </a:lnTo>
                  <a:lnTo>
                    <a:pt x="1623" y="942"/>
                  </a:lnTo>
                  <a:lnTo>
                    <a:pt x="1626" y="969"/>
                  </a:lnTo>
                  <a:lnTo>
                    <a:pt x="1627" y="1000"/>
                  </a:lnTo>
                  <a:lnTo>
                    <a:pt x="1629" y="1033"/>
                  </a:lnTo>
                  <a:lnTo>
                    <a:pt x="1629" y="1067"/>
                  </a:lnTo>
                  <a:lnTo>
                    <a:pt x="1629" y="1077"/>
                  </a:lnTo>
                  <a:lnTo>
                    <a:pt x="1629" y="1085"/>
                  </a:lnTo>
                  <a:lnTo>
                    <a:pt x="1629" y="1094"/>
                  </a:lnTo>
                  <a:lnTo>
                    <a:pt x="1629" y="1103"/>
                  </a:lnTo>
                  <a:lnTo>
                    <a:pt x="1608" y="1104"/>
                  </a:lnTo>
                  <a:lnTo>
                    <a:pt x="1584" y="1106"/>
                  </a:lnTo>
                  <a:lnTo>
                    <a:pt x="1561" y="1107"/>
                  </a:lnTo>
                  <a:lnTo>
                    <a:pt x="1537" y="1109"/>
                  </a:lnTo>
                  <a:lnTo>
                    <a:pt x="1514" y="1110"/>
                  </a:lnTo>
                  <a:lnTo>
                    <a:pt x="1490" y="1111"/>
                  </a:lnTo>
                  <a:lnTo>
                    <a:pt x="1469" y="1112"/>
                  </a:lnTo>
                  <a:lnTo>
                    <a:pt x="1448" y="1113"/>
                  </a:lnTo>
                  <a:lnTo>
                    <a:pt x="1447" y="1116"/>
                  </a:lnTo>
                  <a:lnTo>
                    <a:pt x="1445" y="1118"/>
                  </a:lnTo>
                  <a:lnTo>
                    <a:pt x="1441" y="1121"/>
                  </a:lnTo>
                  <a:lnTo>
                    <a:pt x="1438" y="1125"/>
                  </a:lnTo>
                  <a:lnTo>
                    <a:pt x="1433" y="1127"/>
                  </a:lnTo>
                  <a:lnTo>
                    <a:pt x="1428" y="1129"/>
                  </a:lnTo>
                  <a:lnTo>
                    <a:pt x="1423" y="1131"/>
                  </a:lnTo>
                  <a:lnTo>
                    <a:pt x="1420" y="1131"/>
                  </a:lnTo>
                  <a:lnTo>
                    <a:pt x="1415" y="1138"/>
                  </a:lnTo>
                  <a:lnTo>
                    <a:pt x="1401" y="1150"/>
                  </a:lnTo>
                  <a:lnTo>
                    <a:pt x="1384" y="1165"/>
                  </a:lnTo>
                  <a:lnTo>
                    <a:pt x="1364" y="1180"/>
                  </a:lnTo>
                  <a:lnTo>
                    <a:pt x="1344" y="1196"/>
                  </a:lnTo>
                  <a:lnTo>
                    <a:pt x="1326" y="1208"/>
                  </a:lnTo>
                  <a:lnTo>
                    <a:pt x="1317" y="1214"/>
                  </a:lnTo>
                  <a:lnTo>
                    <a:pt x="1311" y="1218"/>
                  </a:lnTo>
                  <a:lnTo>
                    <a:pt x="1305" y="1221"/>
                  </a:lnTo>
                  <a:lnTo>
                    <a:pt x="1302" y="1222"/>
                  </a:lnTo>
                  <a:lnTo>
                    <a:pt x="1302" y="1223"/>
                  </a:lnTo>
                  <a:lnTo>
                    <a:pt x="1300" y="1226"/>
                  </a:lnTo>
                  <a:lnTo>
                    <a:pt x="1296" y="1229"/>
                  </a:lnTo>
                  <a:lnTo>
                    <a:pt x="1293" y="1231"/>
                  </a:lnTo>
                  <a:lnTo>
                    <a:pt x="1292" y="1235"/>
                  </a:lnTo>
                  <a:lnTo>
                    <a:pt x="1289" y="1239"/>
                  </a:lnTo>
                  <a:lnTo>
                    <a:pt x="1286" y="1244"/>
                  </a:lnTo>
                  <a:lnTo>
                    <a:pt x="1283" y="1250"/>
                  </a:lnTo>
                  <a:lnTo>
                    <a:pt x="1279" y="1255"/>
                  </a:lnTo>
                  <a:lnTo>
                    <a:pt x="1277" y="1260"/>
                  </a:lnTo>
                  <a:lnTo>
                    <a:pt x="1275" y="1264"/>
                  </a:lnTo>
                  <a:lnTo>
                    <a:pt x="1274" y="1269"/>
                  </a:lnTo>
                  <a:lnTo>
                    <a:pt x="1269" y="1271"/>
                  </a:lnTo>
                  <a:lnTo>
                    <a:pt x="1265" y="1275"/>
                  </a:lnTo>
                  <a:lnTo>
                    <a:pt x="1262" y="1281"/>
                  </a:lnTo>
                  <a:lnTo>
                    <a:pt x="1259" y="1283"/>
                  </a:lnTo>
                  <a:lnTo>
                    <a:pt x="1254" y="1284"/>
                  </a:lnTo>
                  <a:lnTo>
                    <a:pt x="1246" y="1287"/>
                  </a:lnTo>
                  <a:lnTo>
                    <a:pt x="1243" y="1290"/>
                  </a:lnTo>
                  <a:lnTo>
                    <a:pt x="1239" y="1293"/>
                  </a:lnTo>
                  <a:lnTo>
                    <a:pt x="1237" y="1295"/>
                  </a:lnTo>
                  <a:lnTo>
                    <a:pt x="1236" y="1296"/>
                  </a:lnTo>
                  <a:lnTo>
                    <a:pt x="1233" y="1298"/>
                  </a:lnTo>
                  <a:lnTo>
                    <a:pt x="1229" y="1300"/>
                  </a:lnTo>
                  <a:lnTo>
                    <a:pt x="1227" y="1303"/>
                  </a:lnTo>
                  <a:lnTo>
                    <a:pt x="1227" y="1306"/>
                  </a:lnTo>
                  <a:lnTo>
                    <a:pt x="1221" y="1308"/>
                  </a:lnTo>
                  <a:lnTo>
                    <a:pt x="1217" y="1311"/>
                  </a:lnTo>
                  <a:lnTo>
                    <a:pt x="1212" y="1315"/>
                  </a:lnTo>
                  <a:lnTo>
                    <a:pt x="1209" y="1321"/>
                  </a:lnTo>
                  <a:lnTo>
                    <a:pt x="1207" y="1328"/>
                  </a:lnTo>
                  <a:lnTo>
                    <a:pt x="1205" y="1334"/>
                  </a:lnTo>
                  <a:lnTo>
                    <a:pt x="1204" y="1340"/>
                  </a:lnTo>
                  <a:lnTo>
                    <a:pt x="1204" y="1343"/>
                  </a:lnTo>
                  <a:lnTo>
                    <a:pt x="1193" y="1349"/>
                  </a:lnTo>
                  <a:lnTo>
                    <a:pt x="1193" y="1363"/>
                  </a:lnTo>
                  <a:lnTo>
                    <a:pt x="1191" y="1380"/>
                  </a:lnTo>
                  <a:lnTo>
                    <a:pt x="1189" y="1397"/>
                  </a:lnTo>
                  <a:lnTo>
                    <a:pt x="1187" y="1415"/>
                  </a:lnTo>
                  <a:lnTo>
                    <a:pt x="1183" y="1433"/>
                  </a:lnTo>
                  <a:lnTo>
                    <a:pt x="1181" y="1449"/>
                  </a:lnTo>
                  <a:lnTo>
                    <a:pt x="1180" y="1466"/>
                  </a:lnTo>
                  <a:lnTo>
                    <a:pt x="1179" y="1481"/>
                  </a:lnTo>
                  <a:lnTo>
                    <a:pt x="1166" y="1495"/>
                  </a:lnTo>
                  <a:lnTo>
                    <a:pt x="1156" y="1495"/>
                  </a:lnTo>
                  <a:lnTo>
                    <a:pt x="1138" y="1494"/>
                  </a:lnTo>
                  <a:lnTo>
                    <a:pt x="1129" y="1494"/>
                  </a:lnTo>
                  <a:lnTo>
                    <a:pt x="1121" y="1493"/>
                  </a:lnTo>
                  <a:lnTo>
                    <a:pt x="1115" y="1492"/>
                  </a:lnTo>
                  <a:lnTo>
                    <a:pt x="1113" y="1489"/>
                  </a:lnTo>
                  <a:lnTo>
                    <a:pt x="1104" y="1489"/>
                  </a:lnTo>
                  <a:lnTo>
                    <a:pt x="1102" y="1485"/>
                  </a:lnTo>
                  <a:lnTo>
                    <a:pt x="1100" y="1481"/>
                  </a:lnTo>
                  <a:lnTo>
                    <a:pt x="1090" y="1474"/>
                  </a:lnTo>
                  <a:lnTo>
                    <a:pt x="1081" y="1466"/>
                  </a:lnTo>
                  <a:lnTo>
                    <a:pt x="1076" y="1462"/>
                  </a:lnTo>
                  <a:lnTo>
                    <a:pt x="1073" y="1455"/>
                  </a:lnTo>
                  <a:lnTo>
                    <a:pt x="1071" y="1447"/>
                  </a:lnTo>
                  <a:lnTo>
                    <a:pt x="1066" y="1443"/>
                  </a:lnTo>
                  <a:lnTo>
                    <a:pt x="1064" y="1443"/>
                  </a:lnTo>
                  <a:lnTo>
                    <a:pt x="1063" y="1443"/>
                  </a:lnTo>
                  <a:lnTo>
                    <a:pt x="1063" y="1442"/>
                  </a:lnTo>
                  <a:lnTo>
                    <a:pt x="1063" y="1440"/>
                  </a:lnTo>
                  <a:lnTo>
                    <a:pt x="1063" y="1439"/>
                  </a:lnTo>
                  <a:lnTo>
                    <a:pt x="1061" y="1439"/>
                  </a:lnTo>
                  <a:lnTo>
                    <a:pt x="1058" y="1438"/>
                  </a:lnTo>
                  <a:lnTo>
                    <a:pt x="1052" y="1438"/>
                  </a:lnTo>
                  <a:lnTo>
                    <a:pt x="1052" y="1429"/>
                  </a:lnTo>
                  <a:lnTo>
                    <a:pt x="1044" y="1434"/>
                  </a:lnTo>
                  <a:lnTo>
                    <a:pt x="1034" y="1444"/>
                  </a:lnTo>
                  <a:lnTo>
                    <a:pt x="1035" y="1439"/>
                  </a:lnTo>
                  <a:lnTo>
                    <a:pt x="1036" y="1436"/>
                  </a:lnTo>
                  <a:lnTo>
                    <a:pt x="1032" y="1436"/>
                  </a:lnTo>
                  <a:lnTo>
                    <a:pt x="1027" y="1435"/>
                  </a:lnTo>
                  <a:lnTo>
                    <a:pt x="1026" y="1435"/>
                  </a:lnTo>
                  <a:lnTo>
                    <a:pt x="1025" y="1434"/>
                  </a:lnTo>
                  <a:lnTo>
                    <a:pt x="1024" y="1431"/>
                  </a:lnTo>
                  <a:lnTo>
                    <a:pt x="1024" y="1430"/>
                  </a:lnTo>
                  <a:lnTo>
                    <a:pt x="1012" y="1430"/>
                  </a:lnTo>
                  <a:lnTo>
                    <a:pt x="999" y="1430"/>
                  </a:lnTo>
                  <a:lnTo>
                    <a:pt x="993" y="1418"/>
                  </a:lnTo>
                  <a:lnTo>
                    <a:pt x="984" y="1415"/>
                  </a:lnTo>
                  <a:lnTo>
                    <a:pt x="975" y="1411"/>
                  </a:lnTo>
                  <a:lnTo>
                    <a:pt x="969" y="1399"/>
                  </a:lnTo>
                  <a:lnTo>
                    <a:pt x="965" y="1399"/>
                  </a:lnTo>
                  <a:lnTo>
                    <a:pt x="960" y="1399"/>
                  </a:lnTo>
                  <a:lnTo>
                    <a:pt x="959" y="1398"/>
                  </a:lnTo>
                  <a:lnTo>
                    <a:pt x="958" y="1397"/>
                  </a:lnTo>
                  <a:lnTo>
                    <a:pt x="957" y="1396"/>
                  </a:lnTo>
                  <a:lnTo>
                    <a:pt x="957" y="1394"/>
                  </a:lnTo>
                  <a:lnTo>
                    <a:pt x="952" y="1394"/>
                  </a:lnTo>
                  <a:lnTo>
                    <a:pt x="948" y="1392"/>
                  </a:lnTo>
                  <a:lnTo>
                    <a:pt x="947" y="1391"/>
                  </a:lnTo>
                  <a:lnTo>
                    <a:pt x="946" y="1390"/>
                  </a:lnTo>
                  <a:lnTo>
                    <a:pt x="945" y="1389"/>
                  </a:lnTo>
                  <a:lnTo>
                    <a:pt x="945" y="1387"/>
                  </a:lnTo>
                  <a:lnTo>
                    <a:pt x="935" y="1387"/>
                  </a:lnTo>
                  <a:lnTo>
                    <a:pt x="922" y="1386"/>
                  </a:lnTo>
                  <a:lnTo>
                    <a:pt x="917" y="1385"/>
                  </a:lnTo>
                  <a:lnTo>
                    <a:pt x="911" y="1382"/>
                  </a:lnTo>
                  <a:lnTo>
                    <a:pt x="907" y="1379"/>
                  </a:lnTo>
                  <a:lnTo>
                    <a:pt x="901" y="1375"/>
                  </a:lnTo>
                  <a:lnTo>
                    <a:pt x="889" y="1375"/>
                  </a:lnTo>
                  <a:lnTo>
                    <a:pt x="876" y="1375"/>
                  </a:lnTo>
                  <a:lnTo>
                    <a:pt x="871" y="1362"/>
                  </a:lnTo>
                  <a:lnTo>
                    <a:pt x="862" y="1361"/>
                  </a:lnTo>
                  <a:lnTo>
                    <a:pt x="852" y="1357"/>
                  </a:lnTo>
                  <a:lnTo>
                    <a:pt x="846" y="1354"/>
                  </a:lnTo>
                  <a:lnTo>
                    <a:pt x="841" y="1352"/>
                  </a:lnTo>
                  <a:lnTo>
                    <a:pt x="835" y="1351"/>
                  </a:lnTo>
                  <a:lnTo>
                    <a:pt x="828" y="1350"/>
                  </a:lnTo>
                  <a:lnTo>
                    <a:pt x="827" y="1347"/>
                  </a:lnTo>
                  <a:lnTo>
                    <a:pt x="824" y="1343"/>
                  </a:lnTo>
                  <a:lnTo>
                    <a:pt x="821" y="1341"/>
                  </a:lnTo>
                  <a:lnTo>
                    <a:pt x="816" y="1339"/>
                  </a:lnTo>
                  <a:lnTo>
                    <a:pt x="812" y="1338"/>
                  </a:lnTo>
                  <a:lnTo>
                    <a:pt x="807" y="1335"/>
                  </a:lnTo>
                  <a:lnTo>
                    <a:pt x="805" y="1334"/>
                  </a:lnTo>
                  <a:lnTo>
                    <a:pt x="804" y="1332"/>
                  </a:lnTo>
                  <a:lnTo>
                    <a:pt x="792" y="1332"/>
                  </a:lnTo>
                  <a:lnTo>
                    <a:pt x="787" y="1328"/>
                  </a:lnTo>
                  <a:lnTo>
                    <a:pt x="783" y="1323"/>
                  </a:lnTo>
                  <a:lnTo>
                    <a:pt x="780" y="1319"/>
                  </a:lnTo>
                  <a:lnTo>
                    <a:pt x="779" y="1314"/>
                  </a:lnTo>
                  <a:lnTo>
                    <a:pt x="767" y="1308"/>
                  </a:lnTo>
                  <a:lnTo>
                    <a:pt x="767" y="1303"/>
                  </a:lnTo>
                  <a:lnTo>
                    <a:pt x="766" y="1300"/>
                  </a:lnTo>
                  <a:lnTo>
                    <a:pt x="766" y="1298"/>
                  </a:lnTo>
                  <a:lnTo>
                    <a:pt x="765" y="1296"/>
                  </a:lnTo>
                  <a:lnTo>
                    <a:pt x="763" y="1295"/>
                  </a:lnTo>
                  <a:lnTo>
                    <a:pt x="760" y="1295"/>
                  </a:lnTo>
                  <a:lnTo>
                    <a:pt x="760" y="1290"/>
                  </a:lnTo>
                  <a:lnTo>
                    <a:pt x="760" y="1284"/>
                  </a:lnTo>
                  <a:lnTo>
                    <a:pt x="759" y="1282"/>
                  </a:lnTo>
                  <a:lnTo>
                    <a:pt x="758" y="1280"/>
                  </a:lnTo>
                  <a:lnTo>
                    <a:pt x="757" y="1277"/>
                  </a:lnTo>
                  <a:lnTo>
                    <a:pt x="755" y="1277"/>
                  </a:lnTo>
                  <a:lnTo>
                    <a:pt x="755" y="1265"/>
                  </a:lnTo>
                  <a:lnTo>
                    <a:pt x="755" y="1253"/>
                  </a:lnTo>
                  <a:lnTo>
                    <a:pt x="743" y="1241"/>
                  </a:lnTo>
                  <a:lnTo>
                    <a:pt x="743" y="1235"/>
                  </a:lnTo>
                  <a:lnTo>
                    <a:pt x="741" y="1229"/>
                  </a:lnTo>
                  <a:lnTo>
                    <a:pt x="741" y="1226"/>
                  </a:lnTo>
                  <a:lnTo>
                    <a:pt x="740" y="1224"/>
                  </a:lnTo>
                  <a:lnTo>
                    <a:pt x="738" y="1223"/>
                  </a:lnTo>
                  <a:lnTo>
                    <a:pt x="737" y="1222"/>
                  </a:lnTo>
                  <a:lnTo>
                    <a:pt x="737" y="1204"/>
                  </a:lnTo>
                  <a:lnTo>
                    <a:pt x="731" y="1197"/>
                  </a:lnTo>
                  <a:lnTo>
                    <a:pt x="725" y="1188"/>
                  </a:lnTo>
                  <a:lnTo>
                    <a:pt x="720" y="1180"/>
                  </a:lnTo>
                  <a:lnTo>
                    <a:pt x="718" y="1174"/>
                  </a:lnTo>
                  <a:lnTo>
                    <a:pt x="708" y="1173"/>
                  </a:lnTo>
                  <a:lnTo>
                    <a:pt x="696" y="1170"/>
                  </a:lnTo>
                  <a:lnTo>
                    <a:pt x="683" y="1168"/>
                  </a:lnTo>
                  <a:lnTo>
                    <a:pt x="669" y="1167"/>
                  </a:lnTo>
                  <a:lnTo>
                    <a:pt x="663" y="1174"/>
                  </a:lnTo>
                  <a:lnTo>
                    <a:pt x="663" y="1186"/>
                  </a:lnTo>
                  <a:lnTo>
                    <a:pt x="659" y="1187"/>
                  </a:lnTo>
                  <a:lnTo>
                    <a:pt x="654" y="1189"/>
                  </a:lnTo>
                  <a:lnTo>
                    <a:pt x="652" y="1194"/>
                  </a:lnTo>
                  <a:lnTo>
                    <a:pt x="651" y="1198"/>
                  </a:lnTo>
                  <a:lnTo>
                    <a:pt x="644" y="1204"/>
                  </a:lnTo>
                  <a:lnTo>
                    <a:pt x="631" y="1205"/>
                  </a:lnTo>
                  <a:lnTo>
                    <a:pt x="610" y="1207"/>
                  </a:lnTo>
                  <a:lnTo>
                    <a:pt x="586" y="1209"/>
                  </a:lnTo>
                  <a:lnTo>
                    <a:pt x="565" y="1210"/>
                  </a:lnTo>
                  <a:lnTo>
                    <a:pt x="543" y="1194"/>
                  </a:lnTo>
                  <a:lnTo>
                    <a:pt x="506" y="1169"/>
                  </a:lnTo>
                  <a:lnTo>
                    <a:pt x="487" y="1156"/>
                  </a:lnTo>
                  <a:lnTo>
                    <a:pt x="471" y="1144"/>
                  </a:lnTo>
                  <a:lnTo>
                    <a:pt x="465" y="1138"/>
                  </a:lnTo>
                  <a:lnTo>
                    <a:pt x="459" y="1132"/>
                  </a:lnTo>
                  <a:lnTo>
                    <a:pt x="457" y="1128"/>
                  </a:lnTo>
                  <a:lnTo>
                    <a:pt x="456" y="1125"/>
                  </a:lnTo>
                  <a:lnTo>
                    <a:pt x="449" y="1118"/>
                  </a:lnTo>
                  <a:lnTo>
                    <a:pt x="437" y="1118"/>
                  </a:lnTo>
                  <a:lnTo>
                    <a:pt x="424" y="1100"/>
                  </a:lnTo>
                  <a:lnTo>
                    <a:pt x="415" y="1097"/>
                  </a:lnTo>
                  <a:lnTo>
                    <a:pt x="406" y="1094"/>
                  </a:lnTo>
                  <a:lnTo>
                    <a:pt x="406" y="1090"/>
                  </a:lnTo>
                  <a:lnTo>
                    <a:pt x="405" y="1089"/>
                  </a:lnTo>
                  <a:lnTo>
                    <a:pt x="404" y="1088"/>
                  </a:lnTo>
                  <a:lnTo>
                    <a:pt x="403" y="1088"/>
                  </a:lnTo>
                  <a:lnTo>
                    <a:pt x="402" y="1088"/>
                  </a:lnTo>
                  <a:lnTo>
                    <a:pt x="401" y="1087"/>
                  </a:lnTo>
                  <a:lnTo>
                    <a:pt x="401" y="1085"/>
                  </a:lnTo>
                  <a:lnTo>
                    <a:pt x="400" y="1082"/>
                  </a:lnTo>
                  <a:lnTo>
                    <a:pt x="393" y="1079"/>
                  </a:lnTo>
                  <a:lnTo>
                    <a:pt x="383" y="1073"/>
                  </a:lnTo>
                  <a:lnTo>
                    <a:pt x="370" y="1063"/>
                  </a:lnTo>
                  <a:lnTo>
                    <a:pt x="356" y="1052"/>
                  </a:lnTo>
                  <a:lnTo>
                    <a:pt x="343" y="1040"/>
                  </a:lnTo>
                  <a:lnTo>
                    <a:pt x="332" y="1027"/>
                  </a:lnTo>
                  <a:lnTo>
                    <a:pt x="327" y="1022"/>
                  </a:lnTo>
                  <a:lnTo>
                    <a:pt x="324" y="1016"/>
                  </a:lnTo>
                  <a:lnTo>
                    <a:pt x="322" y="1012"/>
                  </a:lnTo>
                  <a:lnTo>
                    <a:pt x="321" y="1008"/>
                  </a:lnTo>
                  <a:lnTo>
                    <a:pt x="315" y="1006"/>
                  </a:lnTo>
                  <a:lnTo>
                    <a:pt x="309" y="1002"/>
                  </a:lnTo>
                  <a:lnTo>
                    <a:pt x="305" y="995"/>
                  </a:lnTo>
                  <a:lnTo>
                    <a:pt x="303" y="989"/>
                  </a:lnTo>
                  <a:lnTo>
                    <a:pt x="290" y="984"/>
                  </a:lnTo>
                  <a:lnTo>
                    <a:pt x="284" y="973"/>
                  </a:lnTo>
                  <a:lnTo>
                    <a:pt x="269" y="953"/>
                  </a:lnTo>
                  <a:lnTo>
                    <a:pt x="261" y="942"/>
                  </a:lnTo>
                  <a:lnTo>
                    <a:pt x="255" y="931"/>
                  </a:lnTo>
                  <a:lnTo>
                    <a:pt x="249" y="923"/>
                  </a:lnTo>
                  <a:lnTo>
                    <a:pt x="248" y="917"/>
                  </a:lnTo>
                  <a:lnTo>
                    <a:pt x="244" y="917"/>
                  </a:lnTo>
                  <a:lnTo>
                    <a:pt x="242" y="916"/>
                  </a:lnTo>
                  <a:lnTo>
                    <a:pt x="241" y="915"/>
                  </a:lnTo>
                  <a:lnTo>
                    <a:pt x="241" y="914"/>
                  </a:lnTo>
                  <a:lnTo>
                    <a:pt x="241" y="912"/>
                  </a:lnTo>
                  <a:lnTo>
                    <a:pt x="240" y="911"/>
                  </a:lnTo>
                  <a:lnTo>
                    <a:pt x="239" y="911"/>
                  </a:lnTo>
                  <a:lnTo>
                    <a:pt x="236" y="910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28" y="899"/>
                  </a:lnTo>
                  <a:lnTo>
                    <a:pt x="223" y="898"/>
                  </a:lnTo>
                  <a:lnTo>
                    <a:pt x="211" y="892"/>
                  </a:lnTo>
                  <a:lnTo>
                    <a:pt x="211" y="886"/>
                  </a:lnTo>
                  <a:lnTo>
                    <a:pt x="209" y="881"/>
                  </a:lnTo>
                  <a:lnTo>
                    <a:pt x="206" y="880"/>
                  </a:lnTo>
                  <a:lnTo>
                    <a:pt x="199" y="880"/>
                  </a:lnTo>
                  <a:lnTo>
                    <a:pt x="192" y="871"/>
                  </a:lnTo>
                  <a:lnTo>
                    <a:pt x="187" y="861"/>
                  </a:lnTo>
                  <a:lnTo>
                    <a:pt x="174" y="861"/>
                  </a:lnTo>
                  <a:lnTo>
                    <a:pt x="168" y="856"/>
                  </a:lnTo>
                  <a:lnTo>
                    <a:pt x="162" y="850"/>
                  </a:lnTo>
                  <a:lnTo>
                    <a:pt x="160" y="842"/>
                  </a:lnTo>
                  <a:lnTo>
                    <a:pt x="155" y="832"/>
                  </a:lnTo>
                  <a:lnTo>
                    <a:pt x="152" y="827"/>
                  </a:lnTo>
                  <a:lnTo>
                    <a:pt x="149" y="823"/>
                  </a:lnTo>
                  <a:lnTo>
                    <a:pt x="146" y="820"/>
                  </a:lnTo>
                  <a:lnTo>
                    <a:pt x="144" y="819"/>
                  </a:lnTo>
                  <a:lnTo>
                    <a:pt x="143" y="798"/>
                  </a:lnTo>
                  <a:lnTo>
                    <a:pt x="141" y="774"/>
                  </a:lnTo>
                  <a:lnTo>
                    <a:pt x="137" y="750"/>
                  </a:lnTo>
                  <a:lnTo>
                    <a:pt x="134" y="724"/>
                  </a:lnTo>
                  <a:lnTo>
                    <a:pt x="131" y="699"/>
                  </a:lnTo>
                  <a:lnTo>
                    <a:pt x="129" y="675"/>
                  </a:lnTo>
                  <a:lnTo>
                    <a:pt x="126" y="651"/>
                  </a:lnTo>
                  <a:lnTo>
                    <a:pt x="125" y="629"/>
                  </a:lnTo>
                  <a:lnTo>
                    <a:pt x="120" y="623"/>
                  </a:lnTo>
                  <a:lnTo>
                    <a:pt x="115" y="622"/>
                  </a:lnTo>
                  <a:lnTo>
                    <a:pt x="111" y="620"/>
                  </a:lnTo>
                  <a:lnTo>
                    <a:pt x="108" y="616"/>
                  </a:lnTo>
                  <a:lnTo>
                    <a:pt x="107" y="611"/>
                  </a:lnTo>
                  <a:lnTo>
                    <a:pt x="101" y="606"/>
                  </a:lnTo>
                  <a:lnTo>
                    <a:pt x="88" y="606"/>
                  </a:lnTo>
                  <a:lnTo>
                    <a:pt x="83" y="599"/>
                  </a:lnTo>
                  <a:lnTo>
                    <a:pt x="76" y="593"/>
                  </a:lnTo>
                  <a:lnTo>
                    <a:pt x="70" y="587"/>
                  </a:lnTo>
                  <a:lnTo>
                    <a:pt x="68" y="580"/>
                  </a:lnTo>
                  <a:lnTo>
                    <a:pt x="64" y="569"/>
                  </a:lnTo>
                  <a:lnTo>
                    <a:pt x="60" y="564"/>
                  </a:lnTo>
                  <a:lnTo>
                    <a:pt x="57" y="560"/>
                  </a:lnTo>
                  <a:lnTo>
                    <a:pt x="55" y="558"/>
                  </a:lnTo>
                  <a:lnTo>
                    <a:pt x="52" y="556"/>
                  </a:lnTo>
                  <a:lnTo>
                    <a:pt x="52" y="541"/>
                  </a:lnTo>
                  <a:lnTo>
                    <a:pt x="52" y="523"/>
                  </a:lnTo>
                  <a:lnTo>
                    <a:pt x="52" y="505"/>
                  </a:lnTo>
                  <a:lnTo>
                    <a:pt x="52" y="489"/>
                  </a:lnTo>
                  <a:lnTo>
                    <a:pt x="39" y="477"/>
                  </a:lnTo>
                  <a:lnTo>
                    <a:pt x="39" y="472"/>
                  </a:lnTo>
                  <a:lnTo>
                    <a:pt x="39" y="465"/>
                  </a:lnTo>
                  <a:lnTo>
                    <a:pt x="38" y="463"/>
                  </a:lnTo>
                  <a:lnTo>
                    <a:pt x="37" y="460"/>
                  </a:lnTo>
                  <a:lnTo>
                    <a:pt x="36" y="459"/>
                  </a:lnTo>
                  <a:lnTo>
                    <a:pt x="34" y="458"/>
                  </a:lnTo>
                  <a:lnTo>
                    <a:pt x="34" y="440"/>
                  </a:lnTo>
                  <a:lnTo>
                    <a:pt x="30" y="440"/>
                  </a:lnTo>
                  <a:lnTo>
                    <a:pt x="28" y="439"/>
                  </a:lnTo>
                  <a:lnTo>
                    <a:pt x="28" y="438"/>
                  </a:lnTo>
                  <a:lnTo>
                    <a:pt x="28" y="437"/>
                  </a:lnTo>
                  <a:lnTo>
                    <a:pt x="27" y="436"/>
                  </a:lnTo>
                  <a:lnTo>
                    <a:pt x="27" y="435"/>
                  </a:lnTo>
                  <a:lnTo>
                    <a:pt x="25" y="435"/>
                  </a:lnTo>
                  <a:lnTo>
                    <a:pt x="21" y="434"/>
                  </a:lnTo>
                  <a:lnTo>
                    <a:pt x="21" y="430"/>
                  </a:lnTo>
                  <a:lnTo>
                    <a:pt x="19" y="427"/>
                  </a:lnTo>
                  <a:lnTo>
                    <a:pt x="18" y="425"/>
                  </a:lnTo>
                  <a:lnTo>
                    <a:pt x="16" y="423"/>
                  </a:lnTo>
                  <a:lnTo>
                    <a:pt x="11" y="419"/>
                  </a:lnTo>
                  <a:lnTo>
                    <a:pt x="9" y="416"/>
                  </a:lnTo>
                  <a:lnTo>
                    <a:pt x="0" y="41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1" name="Freeform 54">
              <a:extLst>
                <a:ext uri="{FF2B5EF4-FFF2-40B4-BE49-F238E27FC236}">
                  <a16:creationId xmlns:a16="http://schemas.microsoft.com/office/drawing/2014/main" id="{C678A24F-1919-4CDD-940A-F96EC2DF59CA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618538" y="3203575"/>
              <a:ext cx="98864" cy="63500"/>
            </a:xfrm>
            <a:custGeom>
              <a:avLst/>
              <a:gdLst/>
              <a:ahLst/>
              <a:cxnLst>
                <a:cxn ang="0">
                  <a:pos x="194" y="33"/>
                </a:cxn>
                <a:cxn ang="0">
                  <a:pos x="150" y="56"/>
                </a:cxn>
                <a:cxn ang="0">
                  <a:pos x="122" y="77"/>
                </a:cxn>
                <a:cxn ang="0">
                  <a:pos x="98" y="115"/>
                </a:cxn>
                <a:cxn ang="0">
                  <a:pos x="78" y="145"/>
                </a:cxn>
                <a:cxn ang="0">
                  <a:pos x="56" y="159"/>
                </a:cxn>
                <a:cxn ang="0">
                  <a:pos x="38" y="177"/>
                </a:cxn>
                <a:cxn ang="0">
                  <a:pos x="20" y="211"/>
                </a:cxn>
                <a:cxn ang="0">
                  <a:pos x="9" y="247"/>
                </a:cxn>
                <a:cxn ang="0">
                  <a:pos x="6" y="286"/>
                </a:cxn>
                <a:cxn ang="0">
                  <a:pos x="0" y="327"/>
                </a:cxn>
                <a:cxn ang="0">
                  <a:pos x="3" y="336"/>
                </a:cxn>
                <a:cxn ang="0">
                  <a:pos x="21" y="340"/>
                </a:cxn>
                <a:cxn ang="0">
                  <a:pos x="46" y="337"/>
                </a:cxn>
                <a:cxn ang="0">
                  <a:pos x="63" y="325"/>
                </a:cxn>
                <a:cxn ang="0">
                  <a:pos x="79" y="303"/>
                </a:cxn>
                <a:cxn ang="0">
                  <a:pos x="103" y="291"/>
                </a:cxn>
                <a:cxn ang="0">
                  <a:pos x="130" y="291"/>
                </a:cxn>
                <a:cxn ang="0">
                  <a:pos x="161" y="300"/>
                </a:cxn>
                <a:cxn ang="0">
                  <a:pos x="169" y="308"/>
                </a:cxn>
                <a:cxn ang="0">
                  <a:pos x="197" y="330"/>
                </a:cxn>
                <a:cxn ang="0">
                  <a:pos x="236" y="364"/>
                </a:cxn>
                <a:cxn ang="0">
                  <a:pos x="265" y="384"/>
                </a:cxn>
                <a:cxn ang="0">
                  <a:pos x="287" y="393"/>
                </a:cxn>
                <a:cxn ang="0">
                  <a:pos x="310" y="394"/>
                </a:cxn>
                <a:cxn ang="0">
                  <a:pos x="381" y="380"/>
                </a:cxn>
                <a:cxn ang="0">
                  <a:pos x="447" y="358"/>
                </a:cxn>
                <a:cxn ang="0">
                  <a:pos x="495" y="334"/>
                </a:cxn>
                <a:cxn ang="0">
                  <a:pos x="517" y="312"/>
                </a:cxn>
                <a:cxn ang="0">
                  <a:pos x="529" y="286"/>
                </a:cxn>
                <a:cxn ang="0">
                  <a:pos x="537" y="215"/>
                </a:cxn>
                <a:cxn ang="0">
                  <a:pos x="545" y="158"/>
                </a:cxn>
                <a:cxn ang="0">
                  <a:pos x="545" y="103"/>
                </a:cxn>
                <a:cxn ang="0">
                  <a:pos x="539" y="80"/>
                </a:cxn>
                <a:cxn ang="0">
                  <a:pos x="528" y="62"/>
                </a:cxn>
                <a:cxn ang="0">
                  <a:pos x="511" y="50"/>
                </a:cxn>
                <a:cxn ang="0">
                  <a:pos x="488" y="46"/>
                </a:cxn>
                <a:cxn ang="0">
                  <a:pos x="462" y="41"/>
                </a:cxn>
                <a:cxn ang="0">
                  <a:pos x="424" y="22"/>
                </a:cxn>
                <a:cxn ang="0">
                  <a:pos x="386" y="4"/>
                </a:cxn>
                <a:cxn ang="0">
                  <a:pos x="362" y="0"/>
                </a:cxn>
                <a:cxn ang="0">
                  <a:pos x="328" y="4"/>
                </a:cxn>
                <a:cxn ang="0">
                  <a:pos x="297" y="13"/>
                </a:cxn>
                <a:cxn ang="0">
                  <a:pos x="270" y="14"/>
                </a:cxn>
                <a:cxn ang="0">
                  <a:pos x="262" y="11"/>
                </a:cxn>
              </a:cxnLst>
              <a:rect l="0" t="0" r="r" b="b"/>
              <a:pathLst>
                <a:path w="546" h="394">
                  <a:moveTo>
                    <a:pt x="255" y="11"/>
                  </a:moveTo>
                  <a:lnTo>
                    <a:pt x="225" y="21"/>
                  </a:lnTo>
                  <a:lnTo>
                    <a:pt x="194" y="33"/>
                  </a:lnTo>
                  <a:lnTo>
                    <a:pt x="179" y="41"/>
                  </a:lnTo>
                  <a:lnTo>
                    <a:pt x="164" y="48"/>
                  </a:lnTo>
                  <a:lnTo>
                    <a:pt x="150" y="56"/>
                  </a:lnTo>
                  <a:lnTo>
                    <a:pt x="137" y="62"/>
                  </a:lnTo>
                  <a:lnTo>
                    <a:pt x="130" y="69"/>
                  </a:lnTo>
                  <a:lnTo>
                    <a:pt x="122" y="77"/>
                  </a:lnTo>
                  <a:lnTo>
                    <a:pt x="115" y="86"/>
                  </a:lnTo>
                  <a:lnTo>
                    <a:pt x="110" y="96"/>
                  </a:lnTo>
                  <a:lnTo>
                    <a:pt x="98" y="115"/>
                  </a:lnTo>
                  <a:lnTo>
                    <a:pt x="88" y="134"/>
                  </a:lnTo>
                  <a:lnTo>
                    <a:pt x="84" y="139"/>
                  </a:lnTo>
                  <a:lnTo>
                    <a:pt x="78" y="145"/>
                  </a:lnTo>
                  <a:lnTo>
                    <a:pt x="70" y="151"/>
                  </a:lnTo>
                  <a:lnTo>
                    <a:pt x="64" y="155"/>
                  </a:lnTo>
                  <a:lnTo>
                    <a:pt x="56" y="159"/>
                  </a:lnTo>
                  <a:lnTo>
                    <a:pt x="48" y="165"/>
                  </a:lnTo>
                  <a:lnTo>
                    <a:pt x="43" y="171"/>
                  </a:lnTo>
                  <a:lnTo>
                    <a:pt x="38" y="177"/>
                  </a:lnTo>
                  <a:lnTo>
                    <a:pt x="31" y="187"/>
                  </a:lnTo>
                  <a:lnTo>
                    <a:pt x="26" y="199"/>
                  </a:lnTo>
                  <a:lnTo>
                    <a:pt x="20" y="211"/>
                  </a:lnTo>
                  <a:lnTo>
                    <a:pt x="16" y="222"/>
                  </a:lnTo>
                  <a:lnTo>
                    <a:pt x="11" y="234"/>
                  </a:lnTo>
                  <a:lnTo>
                    <a:pt x="9" y="247"/>
                  </a:lnTo>
                  <a:lnTo>
                    <a:pt x="7" y="259"/>
                  </a:lnTo>
                  <a:lnTo>
                    <a:pt x="7" y="272"/>
                  </a:lnTo>
                  <a:lnTo>
                    <a:pt x="6" y="286"/>
                  </a:lnTo>
                  <a:lnTo>
                    <a:pt x="3" y="299"/>
                  </a:lnTo>
                  <a:lnTo>
                    <a:pt x="1" y="313"/>
                  </a:lnTo>
                  <a:lnTo>
                    <a:pt x="0" y="327"/>
                  </a:lnTo>
                  <a:lnTo>
                    <a:pt x="0" y="330"/>
                  </a:lnTo>
                  <a:lnTo>
                    <a:pt x="2" y="334"/>
                  </a:lnTo>
                  <a:lnTo>
                    <a:pt x="3" y="336"/>
                  </a:lnTo>
                  <a:lnTo>
                    <a:pt x="7" y="338"/>
                  </a:lnTo>
                  <a:lnTo>
                    <a:pt x="14" y="340"/>
                  </a:lnTo>
                  <a:lnTo>
                    <a:pt x="21" y="340"/>
                  </a:lnTo>
                  <a:lnTo>
                    <a:pt x="30" y="340"/>
                  </a:lnTo>
                  <a:lnTo>
                    <a:pt x="39" y="339"/>
                  </a:lnTo>
                  <a:lnTo>
                    <a:pt x="46" y="337"/>
                  </a:lnTo>
                  <a:lnTo>
                    <a:pt x="50" y="335"/>
                  </a:lnTo>
                  <a:lnTo>
                    <a:pt x="57" y="330"/>
                  </a:lnTo>
                  <a:lnTo>
                    <a:pt x="63" y="325"/>
                  </a:lnTo>
                  <a:lnTo>
                    <a:pt x="68" y="318"/>
                  </a:lnTo>
                  <a:lnTo>
                    <a:pt x="74" y="310"/>
                  </a:lnTo>
                  <a:lnTo>
                    <a:pt x="79" y="303"/>
                  </a:lnTo>
                  <a:lnTo>
                    <a:pt x="86" y="298"/>
                  </a:lnTo>
                  <a:lnTo>
                    <a:pt x="94" y="293"/>
                  </a:lnTo>
                  <a:lnTo>
                    <a:pt x="103" y="291"/>
                  </a:lnTo>
                  <a:lnTo>
                    <a:pt x="110" y="290"/>
                  </a:lnTo>
                  <a:lnTo>
                    <a:pt x="118" y="291"/>
                  </a:lnTo>
                  <a:lnTo>
                    <a:pt x="130" y="291"/>
                  </a:lnTo>
                  <a:lnTo>
                    <a:pt x="141" y="293"/>
                  </a:lnTo>
                  <a:lnTo>
                    <a:pt x="152" y="296"/>
                  </a:lnTo>
                  <a:lnTo>
                    <a:pt x="161" y="300"/>
                  </a:lnTo>
                  <a:lnTo>
                    <a:pt x="164" y="302"/>
                  </a:lnTo>
                  <a:lnTo>
                    <a:pt x="166" y="305"/>
                  </a:lnTo>
                  <a:lnTo>
                    <a:pt x="169" y="308"/>
                  </a:lnTo>
                  <a:lnTo>
                    <a:pt x="169" y="311"/>
                  </a:lnTo>
                  <a:lnTo>
                    <a:pt x="183" y="320"/>
                  </a:lnTo>
                  <a:lnTo>
                    <a:pt x="197" y="330"/>
                  </a:lnTo>
                  <a:lnTo>
                    <a:pt x="209" y="341"/>
                  </a:lnTo>
                  <a:lnTo>
                    <a:pt x="222" y="353"/>
                  </a:lnTo>
                  <a:lnTo>
                    <a:pt x="236" y="364"/>
                  </a:lnTo>
                  <a:lnTo>
                    <a:pt x="250" y="375"/>
                  </a:lnTo>
                  <a:lnTo>
                    <a:pt x="257" y="379"/>
                  </a:lnTo>
                  <a:lnTo>
                    <a:pt x="265" y="384"/>
                  </a:lnTo>
                  <a:lnTo>
                    <a:pt x="273" y="387"/>
                  </a:lnTo>
                  <a:lnTo>
                    <a:pt x="281" y="390"/>
                  </a:lnTo>
                  <a:lnTo>
                    <a:pt x="287" y="393"/>
                  </a:lnTo>
                  <a:lnTo>
                    <a:pt x="295" y="394"/>
                  </a:lnTo>
                  <a:lnTo>
                    <a:pt x="303" y="394"/>
                  </a:lnTo>
                  <a:lnTo>
                    <a:pt x="310" y="394"/>
                  </a:lnTo>
                  <a:lnTo>
                    <a:pt x="327" y="393"/>
                  </a:lnTo>
                  <a:lnTo>
                    <a:pt x="345" y="389"/>
                  </a:lnTo>
                  <a:lnTo>
                    <a:pt x="381" y="380"/>
                  </a:lnTo>
                  <a:lnTo>
                    <a:pt x="410" y="372"/>
                  </a:lnTo>
                  <a:lnTo>
                    <a:pt x="428" y="366"/>
                  </a:lnTo>
                  <a:lnTo>
                    <a:pt x="447" y="358"/>
                  </a:lnTo>
                  <a:lnTo>
                    <a:pt x="467" y="350"/>
                  </a:lnTo>
                  <a:lnTo>
                    <a:pt x="486" y="340"/>
                  </a:lnTo>
                  <a:lnTo>
                    <a:pt x="495" y="334"/>
                  </a:lnTo>
                  <a:lnTo>
                    <a:pt x="504" y="328"/>
                  </a:lnTo>
                  <a:lnTo>
                    <a:pt x="511" y="320"/>
                  </a:lnTo>
                  <a:lnTo>
                    <a:pt x="517" y="312"/>
                  </a:lnTo>
                  <a:lnTo>
                    <a:pt x="523" y="305"/>
                  </a:lnTo>
                  <a:lnTo>
                    <a:pt x="527" y="296"/>
                  </a:lnTo>
                  <a:lnTo>
                    <a:pt x="529" y="286"/>
                  </a:lnTo>
                  <a:lnTo>
                    <a:pt x="530" y="274"/>
                  </a:lnTo>
                  <a:lnTo>
                    <a:pt x="533" y="249"/>
                  </a:lnTo>
                  <a:lnTo>
                    <a:pt x="537" y="215"/>
                  </a:lnTo>
                  <a:lnTo>
                    <a:pt x="540" y="196"/>
                  </a:lnTo>
                  <a:lnTo>
                    <a:pt x="543" y="177"/>
                  </a:lnTo>
                  <a:lnTo>
                    <a:pt x="545" y="158"/>
                  </a:lnTo>
                  <a:lnTo>
                    <a:pt x="546" y="139"/>
                  </a:lnTo>
                  <a:lnTo>
                    <a:pt x="546" y="120"/>
                  </a:lnTo>
                  <a:lnTo>
                    <a:pt x="545" y="103"/>
                  </a:lnTo>
                  <a:lnTo>
                    <a:pt x="544" y="95"/>
                  </a:lnTo>
                  <a:lnTo>
                    <a:pt x="542" y="87"/>
                  </a:lnTo>
                  <a:lnTo>
                    <a:pt x="539" y="80"/>
                  </a:lnTo>
                  <a:lnTo>
                    <a:pt x="536" y="74"/>
                  </a:lnTo>
                  <a:lnTo>
                    <a:pt x="533" y="67"/>
                  </a:lnTo>
                  <a:lnTo>
                    <a:pt x="528" y="62"/>
                  </a:lnTo>
                  <a:lnTo>
                    <a:pt x="524" y="57"/>
                  </a:lnTo>
                  <a:lnTo>
                    <a:pt x="518" y="53"/>
                  </a:lnTo>
                  <a:lnTo>
                    <a:pt x="511" y="50"/>
                  </a:lnTo>
                  <a:lnTo>
                    <a:pt x="505" y="48"/>
                  </a:lnTo>
                  <a:lnTo>
                    <a:pt x="497" y="46"/>
                  </a:lnTo>
                  <a:lnTo>
                    <a:pt x="488" y="46"/>
                  </a:lnTo>
                  <a:lnTo>
                    <a:pt x="479" y="44"/>
                  </a:lnTo>
                  <a:lnTo>
                    <a:pt x="470" y="43"/>
                  </a:lnTo>
                  <a:lnTo>
                    <a:pt x="462" y="41"/>
                  </a:lnTo>
                  <a:lnTo>
                    <a:pt x="454" y="38"/>
                  </a:lnTo>
                  <a:lnTo>
                    <a:pt x="439" y="31"/>
                  </a:lnTo>
                  <a:lnTo>
                    <a:pt x="424" y="22"/>
                  </a:lnTo>
                  <a:lnTo>
                    <a:pt x="410" y="14"/>
                  </a:lnTo>
                  <a:lnTo>
                    <a:pt x="394" y="7"/>
                  </a:lnTo>
                  <a:lnTo>
                    <a:pt x="386" y="4"/>
                  </a:lnTo>
                  <a:lnTo>
                    <a:pt x="379" y="2"/>
                  </a:lnTo>
                  <a:lnTo>
                    <a:pt x="370" y="0"/>
                  </a:lnTo>
                  <a:lnTo>
                    <a:pt x="362" y="0"/>
                  </a:lnTo>
                  <a:lnTo>
                    <a:pt x="350" y="0"/>
                  </a:lnTo>
                  <a:lnTo>
                    <a:pt x="339" y="2"/>
                  </a:lnTo>
                  <a:lnTo>
                    <a:pt x="328" y="4"/>
                  </a:lnTo>
                  <a:lnTo>
                    <a:pt x="318" y="8"/>
                  </a:lnTo>
                  <a:lnTo>
                    <a:pt x="307" y="10"/>
                  </a:lnTo>
                  <a:lnTo>
                    <a:pt x="297" y="13"/>
                  </a:lnTo>
                  <a:lnTo>
                    <a:pt x="286" y="14"/>
                  </a:lnTo>
                  <a:lnTo>
                    <a:pt x="275" y="15"/>
                  </a:lnTo>
                  <a:lnTo>
                    <a:pt x="270" y="14"/>
                  </a:lnTo>
                  <a:lnTo>
                    <a:pt x="265" y="14"/>
                  </a:lnTo>
                  <a:lnTo>
                    <a:pt x="264" y="12"/>
                  </a:lnTo>
                  <a:lnTo>
                    <a:pt x="262" y="11"/>
                  </a:lnTo>
                  <a:lnTo>
                    <a:pt x="262" y="9"/>
                  </a:lnTo>
                  <a:lnTo>
                    <a:pt x="255" y="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2" name="Freeform 55">
              <a:extLst>
                <a:ext uri="{FF2B5EF4-FFF2-40B4-BE49-F238E27FC236}">
                  <a16:creationId xmlns:a16="http://schemas.microsoft.com/office/drawing/2014/main" id="{C8482C0E-C16D-4206-BCB8-BA6172BE9027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272463" y="3068638"/>
              <a:ext cx="142875" cy="90523"/>
            </a:xfrm>
            <a:custGeom>
              <a:avLst/>
              <a:gdLst/>
              <a:ahLst/>
              <a:cxnLst>
                <a:cxn ang="0">
                  <a:pos x="572" y="0"/>
                </a:cxn>
                <a:cxn ang="0">
                  <a:pos x="438" y="6"/>
                </a:cxn>
                <a:cxn ang="0">
                  <a:pos x="352" y="21"/>
                </a:cxn>
                <a:cxn ang="0">
                  <a:pos x="303" y="35"/>
                </a:cxn>
                <a:cxn ang="0">
                  <a:pos x="272" y="54"/>
                </a:cxn>
                <a:cxn ang="0">
                  <a:pos x="227" y="88"/>
                </a:cxn>
                <a:cxn ang="0">
                  <a:pos x="161" y="126"/>
                </a:cxn>
                <a:cxn ang="0">
                  <a:pos x="155" y="183"/>
                </a:cxn>
                <a:cxn ang="0">
                  <a:pos x="147" y="202"/>
                </a:cxn>
                <a:cxn ang="0">
                  <a:pos x="142" y="211"/>
                </a:cxn>
                <a:cxn ang="0">
                  <a:pos x="104" y="216"/>
                </a:cxn>
                <a:cxn ang="0">
                  <a:pos x="67" y="227"/>
                </a:cxn>
                <a:cxn ang="0">
                  <a:pos x="42" y="234"/>
                </a:cxn>
                <a:cxn ang="0">
                  <a:pos x="34" y="241"/>
                </a:cxn>
                <a:cxn ang="0">
                  <a:pos x="28" y="246"/>
                </a:cxn>
                <a:cxn ang="0">
                  <a:pos x="24" y="252"/>
                </a:cxn>
                <a:cxn ang="0">
                  <a:pos x="43" y="279"/>
                </a:cxn>
                <a:cxn ang="0">
                  <a:pos x="74" y="290"/>
                </a:cxn>
                <a:cxn ang="0">
                  <a:pos x="98" y="303"/>
                </a:cxn>
                <a:cxn ang="0">
                  <a:pos x="103" y="333"/>
                </a:cxn>
                <a:cxn ang="0">
                  <a:pos x="88" y="346"/>
                </a:cxn>
                <a:cxn ang="0">
                  <a:pos x="46" y="402"/>
                </a:cxn>
                <a:cxn ang="0">
                  <a:pos x="8" y="465"/>
                </a:cxn>
                <a:cxn ang="0">
                  <a:pos x="0" y="489"/>
                </a:cxn>
                <a:cxn ang="0">
                  <a:pos x="25" y="496"/>
                </a:cxn>
                <a:cxn ang="0">
                  <a:pos x="51" y="502"/>
                </a:cxn>
                <a:cxn ang="0">
                  <a:pos x="67" y="499"/>
                </a:cxn>
                <a:cxn ang="0">
                  <a:pos x="103" y="475"/>
                </a:cxn>
                <a:cxn ang="0">
                  <a:pos x="157" y="434"/>
                </a:cxn>
                <a:cxn ang="0">
                  <a:pos x="191" y="414"/>
                </a:cxn>
                <a:cxn ang="0">
                  <a:pos x="228" y="412"/>
                </a:cxn>
                <a:cxn ang="0">
                  <a:pos x="287" y="417"/>
                </a:cxn>
                <a:cxn ang="0">
                  <a:pos x="342" y="428"/>
                </a:cxn>
                <a:cxn ang="0">
                  <a:pos x="393" y="445"/>
                </a:cxn>
                <a:cxn ang="0">
                  <a:pos x="441" y="470"/>
                </a:cxn>
                <a:cxn ang="0">
                  <a:pos x="491" y="499"/>
                </a:cxn>
                <a:cxn ang="0">
                  <a:pos x="562" y="545"/>
                </a:cxn>
                <a:cxn ang="0">
                  <a:pos x="616" y="570"/>
                </a:cxn>
                <a:cxn ang="0">
                  <a:pos x="630" y="572"/>
                </a:cxn>
                <a:cxn ang="0">
                  <a:pos x="641" y="568"/>
                </a:cxn>
                <a:cxn ang="0">
                  <a:pos x="646" y="556"/>
                </a:cxn>
                <a:cxn ang="0">
                  <a:pos x="642" y="534"/>
                </a:cxn>
                <a:cxn ang="0">
                  <a:pos x="640" y="509"/>
                </a:cxn>
                <a:cxn ang="0">
                  <a:pos x="645" y="490"/>
                </a:cxn>
                <a:cxn ang="0">
                  <a:pos x="656" y="479"/>
                </a:cxn>
                <a:cxn ang="0">
                  <a:pos x="670" y="477"/>
                </a:cxn>
                <a:cxn ang="0">
                  <a:pos x="686" y="486"/>
                </a:cxn>
                <a:cxn ang="0">
                  <a:pos x="695" y="495"/>
                </a:cxn>
                <a:cxn ang="0">
                  <a:pos x="706" y="494"/>
                </a:cxn>
                <a:cxn ang="0">
                  <a:pos x="725" y="476"/>
                </a:cxn>
                <a:cxn ang="0">
                  <a:pos x="751" y="433"/>
                </a:cxn>
                <a:cxn ang="0">
                  <a:pos x="777" y="369"/>
                </a:cxn>
                <a:cxn ang="0">
                  <a:pos x="782" y="335"/>
                </a:cxn>
                <a:cxn ang="0">
                  <a:pos x="770" y="280"/>
                </a:cxn>
                <a:cxn ang="0">
                  <a:pos x="756" y="223"/>
                </a:cxn>
                <a:cxn ang="0">
                  <a:pos x="758" y="188"/>
                </a:cxn>
                <a:cxn ang="0">
                  <a:pos x="767" y="118"/>
                </a:cxn>
                <a:cxn ang="0">
                  <a:pos x="766" y="83"/>
                </a:cxn>
                <a:cxn ang="0">
                  <a:pos x="756" y="61"/>
                </a:cxn>
                <a:cxn ang="0">
                  <a:pos x="729" y="27"/>
                </a:cxn>
                <a:cxn ang="0">
                  <a:pos x="707" y="10"/>
                </a:cxn>
                <a:cxn ang="0">
                  <a:pos x="686" y="2"/>
                </a:cxn>
                <a:cxn ang="0">
                  <a:pos x="661" y="0"/>
                </a:cxn>
              </a:cxnLst>
              <a:rect l="0" t="0" r="r" b="b"/>
              <a:pathLst>
                <a:path w="782" h="572">
                  <a:moveTo>
                    <a:pt x="661" y="0"/>
                  </a:moveTo>
                  <a:lnTo>
                    <a:pt x="617" y="0"/>
                  </a:lnTo>
                  <a:lnTo>
                    <a:pt x="572" y="0"/>
                  </a:lnTo>
                  <a:lnTo>
                    <a:pt x="526" y="1"/>
                  </a:lnTo>
                  <a:lnTo>
                    <a:pt x="482" y="3"/>
                  </a:lnTo>
                  <a:lnTo>
                    <a:pt x="438" y="6"/>
                  </a:lnTo>
                  <a:lnTo>
                    <a:pt x="395" y="12"/>
                  </a:lnTo>
                  <a:lnTo>
                    <a:pt x="373" y="16"/>
                  </a:lnTo>
                  <a:lnTo>
                    <a:pt x="352" y="21"/>
                  </a:lnTo>
                  <a:lnTo>
                    <a:pt x="331" y="27"/>
                  </a:lnTo>
                  <a:lnTo>
                    <a:pt x="310" y="32"/>
                  </a:lnTo>
                  <a:lnTo>
                    <a:pt x="303" y="35"/>
                  </a:lnTo>
                  <a:lnTo>
                    <a:pt x="293" y="40"/>
                  </a:lnTo>
                  <a:lnTo>
                    <a:pt x="283" y="47"/>
                  </a:lnTo>
                  <a:lnTo>
                    <a:pt x="272" y="54"/>
                  </a:lnTo>
                  <a:lnTo>
                    <a:pt x="252" y="70"/>
                  </a:lnTo>
                  <a:lnTo>
                    <a:pt x="239" y="81"/>
                  </a:lnTo>
                  <a:lnTo>
                    <a:pt x="227" y="88"/>
                  </a:lnTo>
                  <a:lnTo>
                    <a:pt x="201" y="104"/>
                  </a:lnTo>
                  <a:lnTo>
                    <a:pt x="175" y="119"/>
                  </a:lnTo>
                  <a:lnTo>
                    <a:pt x="161" y="126"/>
                  </a:lnTo>
                  <a:lnTo>
                    <a:pt x="160" y="144"/>
                  </a:lnTo>
                  <a:lnTo>
                    <a:pt x="157" y="170"/>
                  </a:lnTo>
                  <a:lnTo>
                    <a:pt x="155" y="183"/>
                  </a:lnTo>
                  <a:lnTo>
                    <a:pt x="151" y="194"/>
                  </a:lnTo>
                  <a:lnTo>
                    <a:pt x="149" y="198"/>
                  </a:lnTo>
                  <a:lnTo>
                    <a:pt x="147" y="202"/>
                  </a:lnTo>
                  <a:lnTo>
                    <a:pt x="145" y="203"/>
                  </a:lnTo>
                  <a:lnTo>
                    <a:pt x="142" y="204"/>
                  </a:lnTo>
                  <a:lnTo>
                    <a:pt x="142" y="211"/>
                  </a:lnTo>
                  <a:lnTo>
                    <a:pt x="130" y="212"/>
                  </a:lnTo>
                  <a:lnTo>
                    <a:pt x="118" y="214"/>
                  </a:lnTo>
                  <a:lnTo>
                    <a:pt x="104" y="216"/>
                  </a:lnTo>
                  <a:lnTo>
                    <a:pt x="92" y="221"/>
                  </a:lnTo>
                  <a:lnTo>
                    <a:pt x="79" y="224"/>
                  </a:lnTo>
                  <a:lnTo>
                    <a:pt x="67" y="227"/>
                  </a:lnTo>
                  <a:lnTo>
                    <a:pt x="56" y="229"/>
                  </a:lnTo>
                  <a:lnTo>
                    <a:pt x="45" y="230"/>
                  </a:lnTo>
                  <a:lnTo>
                    <a:pt x="42" y="234"/>
                  </a:lnTo>
                  <a:lnTo>
                    <a:pt x="37" y="236"/>
                  </a:lnTo>
                  <a:lnTo>
                    <a:pt x="36" y="239"/>
                  </a:lnTo>
                  <a:lnTo>
                    <a:pt x="34" y="241"/>
                  </a:lnTo>
                  <a:lnTo>
                    <a:pt x="33" y="243"/>
                  </a:lnTo>
                  <a:lnTo>
                    <a:pt x="33" y="246"/>
                  </a:lnTo>
                  <a:lnTo>
                    <a:pt x="28" y="246"/>
                  </a:lnTo>
                  <a:lnTo>
                    <a:pt x="26" y="247"/>
                  </a:lnTo>
                  <a:lnTo>
                    <a:pt x="25" y="250"/>
                  </a:lnTo>
                  <a:lnTo>
                    <a:pt x="24" y="252"/>
                  </a:lnTo>
                  <a:lnTo>
                    <a:pt x="26" y="259"/>
                  </a:lnTo>
                  <a:lnTo>
                    <a:pt x="31" y="265"/>
                  </a:lnTo>
                  <a:lnTo>
                    <a:pt x="43" y="279"/>
                  </a:lnTo>
                  <a:lnTo>
                    <a:pt x="48" y="284"/>
                  </a:lnTo>
                  <a:lnTo>
                    <a:pt x="57" y="287"/>
                  </a:lnTo>
                  <a:lnTo>
                    <a:pt x="74" y="290"/>
                  </a:lnTo>
                  <a:lnTo>
                    <a:pt x="90" y="293"/>
                  </a:lnTo>
                  <a:lnTo>
                    <a:pt x="98" y="294"/>
                  </a:lnTo>
                  <a:lnTo>
                    <a:pt x="98" y="303"/>
                  </a:lnTo>
                  <a:lnTo>
                    <a:pt x="100" y="314"/>
                  </a:lnTo>
                  <a:lnTo>
                    <a:pt x="102" y="324"/>
                  </a:lnTo>
                  <a:lnTo>
                    <a:pt x="103" y="333"/>
                  </a:lnTo>
                  <a:lnTo>
                    <a:pt x="100" y="335"/>
                  </a:lnTo>
                  <a:lnTo>
                    <a:pt x="94" y="339"/>
                  </a:lnTo>
                  <a:lnTo>
                    <a:pt x="88" y="346"/>
                  </a:lnTo>
                  <a:lnTo>
                    <a:pt x="81" y="354"/>
                  </a:lnTo>
                  <a:lnTo>
                    <a:pt x="64" y="376"/>
                  </a:lnTo>
                  <a:lnTo>
                    <a:pt x="46" y="402"/>
                  </a:lnTo>
                  <a:lnTo>
                    <a:pt x="28" y="428"/>
                  </a:lnTo>
                  <a:lnTo>
                    <a:pt x="14" y="454"/>
                  </a:lnTo>
                  <a:lnTo>
                    <a:pt x="8" y="465"/>
                  </a:lnTo>
                  <a:lnTo>
                    <a:pt x="4" y="475"/>
                  </a:lnTo>
                  <a:lnTo>
                    <a:pt x="2" y="483"/>
                  </a:lnTo>
                  <a:lnTo>
                    <a:pt x="0" y="489"/>
                  </a:lnTo>
                  <a:lnTo>
                    <a:pt x="9" y="490"/>
                  </a:lnTo>
                  <a:lnTo>
                    <a:pt x="17" y="492"/>
                  </a:lnTo>
                  <a:lnTo>
                    <a:pt x="25" y="496"/>
                  </a:lnTo>
                  <a:lnTo>
                    <a:pt x="33" y="500"/>
                  </a:lnTo>
                  <a:lnTo>
                    <a:pt x="41" y="502"/>
                  </a:lnTo>
                  <a:lnTo>
                    <a:pt x="51" y="502"/>
                  </a:lnTo>
                  <a:lnTo>
                    <a:pt x="55" y="502"/>
                  </a:lnTo>
                  <a:lnTo>
                    <a:pt x="61" y="501"/>
                  </a:lnTo>
                  <a:lnTo>
                    <a:pt x="67" y="499"/>
                  </a:lnTo>
                  <a:lnTo>
                    <a:pt x="74" y="495"/>
                  </a:lnTo>
                  <a:lnTo>
                    <a:pt x="88" y="487"/>
                  </a:lnTo>
                  <a:lnTo>
                    <a:pt x="103" y="475"/>
                  </a:lnTo>
                  <a:lnTo>
                    <a:pt x="120" y="462"/>
                  </a:lnTo>
                  <a:lnTo>
                    <a:pt x="138" y="447"/>
                  </a:lnTo>
                  <a:lnTo>
                    <a:pt x="157" y="434"/>
                  </a:lnTo>
                  <a:lnTo>
                    <a:pt x="175" y="422"/>
                  </a:lnTo>
                  <a:lnTo>
                    <a:pt x="182" y="417"/>
                  </a:lnTo>
                  <a:lnTo>
                    <a:pt x="191" y="414"/>
                  </a:lnTo>
                  <a:lnTo>
                    <a:pt x="199" y="412"/>
                  </a:lnTo>
                  <a:lnTo>
                    <a:pt x="207" y="412"/>
                  </a:lnTo>
                  <a:lnTo>
                    <a:pt x="228" y="412"/>
                  </a:lnTo>
                  <a:lnTo>
                    <a:pt x="248" y="413"/>
                  </a:lnTo>
                  <a:lnTo>
                    <a:pt x="268" y="414"/>
                  </a:lnTo>
                  <a:lnTo>
                    <a:pt x="287" y="417"/>
                  </a:lnTo>
                  <a:lnTo>
                    <a:pt x="306" y="419"/>
                  </a:lnTo>
                  <a:lnTo>
                    <a:pt x="324" y="424"/>
                  </a:lnTo>
                  <a:lnTo>
                    <a:pt x="342" y="428"/>
                  </a:lnTo>
                  <a:lnTo>
                    <a:pt x="360" y="433"/>
                  </a:lnTo>
                  <a:lnTo>
                    <a:pt x="377" y="439"/>
                  </a:lnTo>
                  <a:lnTo>
                    <a:pt x="393" y="445"/>
                  </a:lnTo>
                  <a:lnTo>
                    <a:pt x="409" y="453"/>
                  </a:lnTo>
                  <a:lnTo>
                    <a:pt x="426" y="461"/>
                  </a:lnTo>
                  <a:lnTo>
                    <a:pt x="441" y="470"/>
                  </a:lnTo>
                  <a:lnTo>
                    <a:pt x="458" y="479"/>
                  </a:lnTo>
                  <a:lnTo>
                    <a:pt x="474" y="489"/>
                  </a:lnTo>
                  <a:lnTo>
                    <a:pt x="491" y="499"/>
                  </a:lnTo>
                  <a:lnTo>
                    <a:pt x="510" y="512"/>
                  </a:lnTo>
                  <a:lnTo>
                    <a:pt x="534" y="529"/>
                  </a:lnTo>
                  <a:lnTo>
                    <a:pt x="562" y="545"/>
                  </a:lnTo>
                  <a:lnTo>
                    <a:pt x="590" y="561"/>
                  </a:lnTo>
                  <a:lnTo>
                    <a:pt x="603" y="567"/>
                  </a:lnTo>
                  <a:lnTo>
                    <a:pt x="616" y="570"/>
                  </a:lnTo>
                  <a:lnTo>
                    <a:pt x="621" y="571"/>
                  </a:lnTo>
                  <a:lnTo>
                    <a:pt x="626" y="572"/>
                  </a:lnTo>
                  <a:lnTo>
                    <a:pt x="630" y="572"/>
                  </a:lnTo>
                  <a:lnTo>
                    <a:pt x="635" y="571"/>
                  </a:lnTo>
                  <a:lnTo>
                    <a:pt x="638" y="570"/>
                  </a:lnTo>
                  <a:lnTo>
                    <a:pt x="641" y="568"/>
                  </a:lnTo>
                  <a:lnTo>
                    <a:pt x="643" y="564"/>
                  </a:lnTo>
                  <a:lnTo>
                    <a:pt x="645" y="560"/>
                  </a:lnTo>
                  <a:lnTo>
                    <a:pt x="646" y="556"/>
                  </a:lnTo>
                  <a:lnTo>
                    <a:pt x="646" y="550"/>
                  </a:lnTo>
                  <a:lnTo>
                    <a:pt x="645" y="542"/>
                  </a:lnTo>
                  <a:lnTo>
                    <a:pt x="642" y="534"/>
                  </a:lnTo>
                  <a:lnTo>
                    <a:pt x="640" y="525"/>
                  </a:lnTo>
                  <a:lnTo>
                    <a:pt x="640" y="516"/>
                  </a:lnTo>
                  <a:lnTo>
                    <a:pt x="640" y="509"/>
                  </a:lnTo>
                  <a:lnTo>
                    <a:pt x="640" y="501"/>
                  </a:lnTo>
                  <a:lnTo>
                    <a:pt x="642" y="495"/>
                  </a:lnTo>
                  <a:lnTo>
                    <a:pt x="645" y="490"/>
                  </a:lnTo>
                  <a:lnTo>
                    <a:pt x="648" y="485"/>
                  </a:lnTo>
                  <a:lnTo>
                    <a:pt x="651" y="482"/>
                  </a:lnTo>
                  <a:lnTo>
                    <a:pt x="656" y="479"/>
                  </a:lnTo>
                  <a:lnTo>
                    <a:pt x="660" y="477"/>
                  </a:lnTo>
                  <a:lnTo>
                    <a:pt x="665" y="476"/>
                  </a:lnTo>
                  <a:lnTo>
                    <a:pt x="670" y="477"/>
                  </a:lnTo>
                  <a:lnTo>
                    <a:pt x="675" y="480"/>
                  </a:lnTo>
                  <a:lnTo>
                    <a:pt x="680" y="482"/>
                  </a:lnTo>
                  <a:lnTo>
                    <a:pt x="686" y="486"/>
                  </a:lnTo>
                  <a:lnTo>
                    <a:pt x="690" y="492"/>
                  </a:lnTo>
                  <a:lnTo>
                    <a:pt x="693" y="494"/>
                  </a:lnTo>
                  <a:lnTo>
                    <a:pt x="695" y="495"/>
                  </a:lnTo>
                  <a:lnTo>
                    <a:pt x="698" y="496"/>
                  </a:lnTo>
                  <a:lnTo>
                    <a:pt x="700" y="496"/>
                  </a:lnTo>
                  <a:lnTo>
                    <a:pt x="706" y="494"/>
                  </a:lnTo>
                  <a:lnTo>
                    <a:pt x="712" y="490"/>
                  </a:lnTo>
                  <a:lnTo>
                    <a:pt x="718" y="484"/>
                  </a:lnTo>
                  <a:lnTo>
                    <a:pt x="725" y="476"/>
                  </a:lnTo>
                  <a:lnTo>
                    <a:pt x="732" y="466"/>
                  </a:lnTo>
                  <a:lnTo>
                    <a:pt x="738" y="456"/>
                  </a:lnTo>
                  <a:lnTo>
                    <a:pt x="751" y="433"/>
                  </a:lnTo>
                  <a:lnTo>
                    <a:pt x="762" y="408"/>
                  </a:lnTo>
                  <a:lnTo>
                    <a:pt x="771" y="387"/>
                  </a:lnTo>
                  <a:lnTo>
                    <a:pt x="777" y="369"/>
                  </a:lnTo>
                  <a:lnTo>
                    <a:pt x="781" y="358"/>
                  </a:lnTo>
                  <a:lnTo>
                    <a:pt x="782" y="346"/>
                  </a:lnTo>
                  <a:lnTo>
                    <a:pt x="782" y="335"/>
                  </a:lnTo>
                  <a:lnTo>
                    <a:pt x="781" y="323"/>
                  </a:lnTo>
                  <a:lnTo>
                    <a:pt x="775" y="302"/>
                  </a:lnTo>
                  <a:lnTo>
                    <a:pt x="770" y="280"/>
                  </a:lnTo>
                  <a:lnTo>
                    <a:pt x="763" y="258"/>
                  </a:lnTo>
                  <a:lnTo>
                    <a:pt x="757" y="235"/>
                  </a:lnTo>
                  <a:lnTo>
                    <a:pt x="756" y="223"/>
                  </a:lnTo>
                  <a:lnTo>
                    <a:pt x="755" y="212"/>
                  </a:lnTo>
                  <a:lnTo>
                    <a:pt x="756" y="199"/>
                  </a:lnTo>
                  <a:lnTo>
                    <a:pt x="758" y="188"/>
                  </a:lnTo>
                  <a:lnTo>
                    <a:pt x="763" y="165"/>
                  </a:lnTo>
                  <a:lnTo>
                    <a:pt x="765" y="143"/>
                  </a:lnTo>
                  <a:lnTo>
                    <a:pt x="767" y="118"/>
                  </a:lnTo>
                  <a:lnTo>
                    <a:pt x="769" y="93"/>
                  </a:lnTo>
                  <a:lnTo>
                    <a:pt x="767" y="89"/>
                  </a:lnTo>
                  <a:lnTo>
                    <a:pt x="766" y="83"/>
                  </a:lnTo>
                  <a:lnTo>
                    <a:pt x="764" y="78"/>
                  </a:lnTo>
                  <a:lnTo>
                    <a:pt x="762" y="72"/>
                  </a:lnTo>
                  <a:lnTo>
                    <a:pt x="756" y="61"/>
                  </a:lnTo>
                  <a:lnTo>
                    <a:pt x="748" y="51"/>
                  </a:lnTo>
                  <a:lnTo>
                    <a:pt x="735" y="35"/>
                  </a:lnTo>
                  <a:lnTo>
                    <a:pt x="729" y="27"/>
                  </a:lnTo>
                  <a:lnTo>
                    <a:pt x="723" y="27"/>
                  </a:lnTo>
                  <a:lnTo>
                    <a:pt x="715" y="18"/>
                  </a:lnTo>
                  <a:lnTo>
                    <a:pt x="707" y="10"/>
                  </a:lnTo>
                  <a:lnTo>
                    <a:pt x="699" y="8"/>
                  </a:lnTo>
                  <a:lnTo>
                    <a:pt x="691" y="4"/>
                  </a:lnTo>
                  <a:lnTo>
                    <a:pt x="686" y="2"/>
                  </a:lnTo>
                  <a:lnTo>
                    <a:pt x="679" y="1"/>
                  </a:lnTo>
                  <a:lnTo>
                    <a:pt x="671" y="0"/>
                  </a:lnTo>
                  <a:lnTo>
                    <a:pt x="66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3" name="Freeform 56">
              <a:extLst>
                <a:ext uri="{FF2B5EF4-FFF2-40B4-BE49-F238E27FC236}">
                  <a16:creationId xmlns:a16="http://schemas.microsoft.com/office/drawing/2014/main" id="{8E1A4E32-E03F-46CB-B6EF-8B334009F887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7767638" y="2768600"/>
              <a:ext cx="455928" cy="274638"/>
            </a:xfrm>
            <a:custGeom>
              <a:avLst/>
              <a:gdLst/>
              <a:ahLst/>
              <a:cxnLst>
                <a:cxn ang="0">
                  <a:pos x="1740" y="1661"/>
                </a:cxn>
                <a:cxn ang="0">
                  <a:pos x="1849" y="1643"/>
                </a:cxn>
                <a:cxn ang="0">
                  <a:pos x="1946" y="1647"/>
                </a:cxn>
                <a:cxn ang="0">
                  <a:pos x="2019" y="1569"/>
                </a:cxn>
                <a:cxn ang="0">
                  <a:pos x="2152" y="1480"/>
                </a:cxn>
                <a:cxn ang="0">
                  <a:pos x="2216" y="1357"/>
                </a:cxn>
                <a:cxn ang="0">
                  <a:pos x="2391" y="1219"/>
                </a:cxn>
                <a:cxn ang="0">
                  <a:pos x="2448" y="1108"/>
                </a:cxn>
                <a:cxn ang="0">
                  <a:pos x="2499" y="1084"/>
                </a:cxn>
                <a:cxn ang="0">
                  <a:pos x="2466" y="1057"/>
                </a:cxn>
                <a:cxn ang="0">
                  <a:pos x="2421" y="1031"/>
                </a:cxn>
                <a:cxn ang="0">
                  <a:pos x="2362" y="1014"/>
                </a:cxn>
                <a:cxn ang="0">
                  <a:pos x="2294" y="980"/>
                </a:cxn>
                <a:cxn ang="0">
                  <a:pos x="2240" y="947"/>
                </a:cxn>
                <a:cxn ang="0">
                  <a:pos x="2230" y="916"/>
                </a:cxn>
                <a:cxn ang="0">
                  <a:pos x="2210" y="843"/>
                </a:cxn>
                <a:cxn ang="0">
                  <a:pos x="2132" y="826"/>
                </a:cxn>
                <a:cxn ang="0">
                  <a:pos x="1960" y="795"/>
                </a:cxn>
                <a:cxn ang="0">
                  <a:pos x="1879" y="729"/>
                </a:cxn>
                <a:cxn ang="0">
                  <a:pos x="1829" y="691"/>
                </a:cxn>
                <a:cxn ang="0">
                  <a:pos x="1763" y="623"/>
                </a:cxn>
                <a:cxn ang="0">
                  <a:pos x="1714" y="551"/>
                </a:cxn>
                <a:cxn ang="0">
                  <a:pos x="1679" y="519"/>
                </a:cxn>
                <a:cxn ang="0">
                  <a:pos x="1619" y="459"/>
                </a:cxn>
                <a:cxn ang="0">
                  <a:pos x="1588" y="261"/>
                </a:cxn>
                <a:cxn ang="0">
                  <a:pos x="1533" y="203"/>
                </a:cxn>
                <a:cxn ang="0">
                  <a:pos x="1511" y="102"/>
                </a:cxn>
                <a:cxn ang="0">
                  <a:pos x="1498" y="74"/>
                </a:cxn>
                <a:cxn ang="0">
                  <a:pos x="1425" y="57"/>
                </a:cxn>
                <a:cxn ang="0">
                  <a:pos x="1270" y="41"/>
                </a:cxn>
                <a:cxn ang="0">
                  <a:pos x="1152" y="18"/>
                </a:cxn>
                <a:cxn ang="0">
                  <a:pos x="1007" y="53"/>
                </a:cxn>
                <a:cxn ang="0">
                  <a:pos x="884" y="25"/>
                </a:cxn>
                <a:cxn ang="0">
                  <a:pos x="770" y="46"/>
                </a:cxn>
                <a:cxn ang="0">
                  <a:pos x="759" y="77"/>
                </a:cxn>
                <a:cxn ang="0">
                  <a:pos x="739" y="116"/>
                </a:cxn>
                <a:cxn ang="0">
                  <a:pos x="719" y="128"/>
                </a:cxn>
                <a:cxn ang="0">
                  <a:pos x="481" y="150"/>
                </a:cxn>
                <a:cxn ang="0">
                  <a:pos x="108" y="257"/>
                </a:cxn>
                <a:cxn ang="0">
                  <a:pos x="45" y="312"/>
                </a:cxn>
                <a:cxn ang="0">
                  <a:pos x="4" y="377"/>
                </a:cxn>
                <a:cxn ang="0">
                  <a:pos x="39" y="488"/>
                </a:cxn>
                <a:cxn ang="0">
                  <a:pos x="137" y="594"/>
                </a:cxn>
                <a:cxn ang="0">
                  <a:pos x="255" y="625"/>
                </a:cxn>
                <a:cxn ang="0">
                  <a:pos x="312" y="652"/>
                </a:cxn>
                <a:cxn ang="0">
                  <a:pos x="456" y="665"/>
                </a:cxn>
                <a:cxn ang="0">
                  <a:pos x="519" y="702"/>
                </a:cxn>
                <a:cxn ang="0">
                  <a:pos x="572" y="764"/>
                </a:cxn>
                <a:cxn ang="0">
                  <a:pos x="619" y="812"/>
                </a:cxn>
                <a:cxn ang="0">
                  <a:pos x="667" y="853"/>
                </a:cxn>
                <a:cxn ang="0">
                  <a:pos x="740" y="919"/>
                </a:cxn>
                <a:cxn ang="0">
                  <a:pos x="756" y="1014"/>
                </a:cxn>
                <a:cxn ang="0">
                  <a:pos x="792" y="1114"/>
                </a:cxn>
                <a:cxn ang="0">
                  <a:pos x="832" y="1217"/>
                </a:cxn>
                <a:cxn ang="0">
                  <a:pos x="893" y="1299"/>
                </a:cxn>
                <a:cxn ang="0">
                  <a:pos x="918" y="1324"/>
                </a:cxn>
                <a:cxn ang="0">
                  <a:pos x="1022" y="1386"/>
                </a:cxn>
                <a:cxn ang="0">
                  <a:pos x="1119" y="1429"/>
                </a:cxn>
                <a:cxn ang="0">
                  <a:pos x="1298" y="1543"/>
                </a:cxn>
                <a:cxn ang="0">
                  <a:pos x="1383" y="1577"/>
                </a:cxn>
                <a:cxn ang="0">
                  <a:pos x="1451" y="1611"/>
                </a:cxn>
                <a:cxn ang="0">
                  <a:pos x="1498" y="1642"/>
                </a:cxn>
                <a:cxn ang="0">
                  <a:pos x="1647" y="1702"/>
                </a:cxn>
              </a:cxnLst>
              <a:rect l="0" t="0" r="r" b="b"/>
              <a:pathLst>
                <a:path w="2509" h="1707">
                  <a:moveTo>
                    <a:pt x="1720" y="1707"/>
                  </a:moveTo>
                  <a:lnTo>
                    <a:pt x="1723" y="1705"/>
                  </a:lnTo>
                  <a:lnTo>
                    <a:pt x="1727" y="1703"/>
                  </a:lnTo>
                  <a:lnTo>
                    <a:pt x="1728" y="1701"/>
                  </a:lnTo>
                  <a:lnTo>
                    <a:pt x="1729" y="1699"/>
                  </a:lnTo>
                  <a:lnTo>
                    <a:pt x="1729" y="1685"/>
                  </a:lnTo>
                  <a:lnTo>
                    <a:pt x="1731" y="1675"/>
                  </a:lnTo>
                  <a:lnTo>
                    <a:pt x="1732" y="1671"/>
                  </a:lnTo>
                  <a:lnTo>
                    <a:pt x="1734" y="1668"/>
                  </a:lnTo>
                  <a:lnTo>
                    <a:pt x="1737" y="1663"/>
                  </a:lnTo>
                  <a:lnTo>
                    <a:pt x="1740" y="1661"/>
                  </a:lnTo>
                  <a:lnTo>
                    <a:pt x="1748" y="1654"/>
                  </a:lnTo>
                  <a:lnTo>
                    <a:pt x="1759" y="1650"/>
                  </a:lnTo>
                  <a:lnTo>
                    <a:pt x="1772" y="1643"/>
                  </a:lnTo>
                  <a:lnTo>
                    <a:pt x="1789" y="1637"/>
                  </a:lnTo>
                  <a:lnTo>
                    <a:pt x="1797" y="1635"/>
                  </a:lnTo>
                  <a:lnTo>
                    <a:pt x="1804" y="1633"/>
                  </a:lnTo>
                  <a:lnTo>
                    <a:pt x="1810" y="1633"/>
                  </a:lnTo>
                  <a:lnTo>
                    <a:pt x="1816" y="1633"/>
                  </a:lnTo>
                  <a:lnTo>
                    <a:pt x="1827" y="1635"/>
                  </a:lnTo>
                  <a:lnTo>
                    <a:pt x="1838" y="1639"/>
                  </a:lnTo>
                  <a:lnTo>
                    <a:pt x="1849" y="1643"/>
                  </a:lnTo>
                  <a:lnTo>
                    <a:pt x="1861" y="1649"/>
                  </a:lnTo>
                  <a:lnTo>
                    <a:pt x="1872" y="1653"/>
                  </a:lnTo>
                  <a:lnTo>
                    <a:pt x="1884" y="1655"/>
                  </a:lnTo>
                  <a:lnTo>
                    <a:pt x="1896" y="1658"/>
                  </a:lnTo>
                  <a:lnTo>
                    <a:pt x="1909" y="1659"/>
                  </a:lnTo>
                  <a:lnTo>
                    <a:pt x="1920" y="1659"/>
                  </a:lnTo>
                  <a:lnTo>
                    <a:pt x="1931" y="1656"/>
                  </a:lnTo>
                  <a:lnTo>
                    <a:pt x="1935" y="1655"/>
                  </a:lnTo>
                  <a:lnTo>
                    <a:pt x="1940" y="1653"/>
                  </a:lnTo>
                  <a:lnTo>
                    <a:pt x="1943" y="1651"/>
                  </a:lnTo>
                  <a:lnTo>
                    <a:pt x="1946" y="1647"/>
                  </a:lnTo>
                  <a:lnTo>
                    <a:pt x="1950" y="1643"/>
                  </a:lnTo>
                  <a:lnTo>
                    <a:pt x="1951" y="1639"/>
                  </a:lnTo>
                  <a:lnTo>
                    <a:pt x="1952" y="1633"/>
                  </a:lnTo>
                  <a:lnTo>
                    <a:pt x="1953" y="1626"/>
                  </a:lnTo>
                  <a:lnTo>
                    <a:pt x="1954" y="1622"/>
                  </a:lnTo>
                  <a:lnTo>
                    <a:pt x="1957" y="1617"/>
                  </a:lnTo>
                  <a:lnTo>
                    <a:pt x="1960" y="1613"/>
                  </a:lnTo>
                  <a:lnTo>
                    <a:pt x="1964" y="1607"/>
                  </a:lnTo>
                  <a:lnTo>
                    <a:pt x="1977" y="1597"/>
                  </a:lnTo>
                  <a:lnTo>
                    <a:pt x="1991" y="1587"/>
                  </a:lnTo>
                  <a:lnTo>
                    <a:pt x="2019" y="1569"/>
                  </a:lnTo>
                  <a:lnTo>
                    <a:pt x="2038" y="1559"/>
                  </a:lnTo>
                  <a:lnTo>
                    <a:pt x="2055" y="1553"/>
                  </a:lnTo>
                  <a:lnTo>
                    <a:pt x="2069" y="1545"/>
                  </a:lnTo>
                  <a:lnTo>
                    <a:pt x="2083" y="1538"/>
                  </a:lnTo>
                  <a:lnTo>
                    <a:pt x="2095" y="1531"/>
                  </a:lnTo>
                  <a:lnTo>
                    <a:pt x="2107" y="1524"/>
                  </a:lnTo>
                  <a:lnTo>
                    <a:pt x="2117" y="1516"/>
                  </a:lnTo>
                  <a:lnTo>
                    <a:pt x="2127" y="1508"/>
                  </a:lnTo>
                  <a:lnTo>
                    <a:pt x="2136" y="1499"/>
                  </a:lnTo>
                  <a:lnTo>
                    <a:pt x="2144" y="1490"/>
                  </a:lnTo>
                  <a:lnTo>
                    <a:pt x="2152" y="1480"/>
                  </a:lnTo>
                  <a:lnTo>
                    <a:pt x="2159" y="1469"/>
                  </a:lnTo>
                  <a:lnTo>
                    <a:pt x="2165" y="1457"/>
                  </a:lnTo>
                  <a:lnTo>
                    <a:pt x="2172" y="1444"/>
                  </a:lnTo>
                  <a:lnTo>
                    <a:pt x="2178" y="1431"/>
                  </a:lnTo>
                  <a:lnTo>
                    <a:pt x="2183" y="1415"/>
                  </a:lnTo>
                  <a:lnTo>
                    <a:pt x="2189" y="1399"/>
                  </a:lnTo>
                  <a:lnTo>
                    <a:pt x="2192" y="1392"/>
                  </a:lnTo>
                  <a:lnTo>
                    <a:pt x="2195" y="1384"/>
                  </a:lnTo>
                  <a:lnTo>
                    <a:pt x="2200" y="1377"/>
                  </a:lnTo>
                  <a:lnTo>
                    <a:pt x="2204" y="1371"/>
                  </a:lnTo>
                  <a:lnTo>
                    <a:pt x="2216" y="1357"/>
                  </a:lnTo>
                  <a:lnTo>
                    <a:pt x="2229" y="1344"/>
                  </a:lnTo>
                  <a:lnTo>
                    <a:pt x="2243" y="1332"/>
                  </a:lnTo>
                  <a:lnTo>
                    <a:pt x="2260" y="1320"/>
                  </a:lnTo>
                  <a:lnTo>
                    <a:pt x="2277" y="1308"/>
                  </a:lnTo>
                  <a:lnTo>
                    <a:pt x="2294" y="1296"/>
                  </a:lnTo>
                  <a:lnTo>
                    <a:pt x="2312" y="1285"/>
                  </a:lnTo>
                  <a:lnTo>
                    <a:pt x="2329" y="1272"/>
                  </a:lnTo>
                  <a:lnTo>
                    <a:pt x="2346" y="1260"/>
                  </a:lnTo>
                  <a:lnTo>
                    <a:pt x="2363" y="1247"/>
                  </a:lnTo>
                  <a:lnTo>
                    <a:pt x="2377" y="1233"/>
                  </a:lnTo>
                  <a:lnTo>
                    <a:pt x="2391" y="1219"/>
                  </a:lnTo>
                  <a:lnTo>
                    <a:pt x="2397" y="1212"/>
                  </a:lnTo>
                  <a:lnTo>
                    <a:pt x="2403" y="1204"/>
                  </a:lnTo>
                  <a:lnTo>
                    <a:pt x="2408" y="1197"/>
                  </a:lnTo>
                  <a:lnTo>
                    <a:pt x="2412" y="1189"/>
                  </a:lnTo>
                  <a:lnTo>
                    <a:pt x="2419" y="1170"/>
                  </a:lnTo>
                  <a:lnTo>
                    <a:pt x="2428" y="1143"/>
                  </a:lnTo>
                  <a:lnTo>
                    <a:pt x="2433" y="1130"/>
                  </a:lnTo>
                  <a:lnTo>
                    <a:pt x="2440" y="1118"/>
                  </a:lnTo>
                  <a:lnTo>
                    <a:pt x="2442" y="1114"/>
                  </a:lnTo>
                  <a:lnTo>
                    <a:pt x="2445" y="1111"/>
                  </a:lnTo>
                  <a:lnTo>
                    <a:pt x="2448" y="1108"/>
                  </a:lnTo>
                  <a:lnTo>
                    <a:pt x="2451" y="1108"/>
                  </a:lnTo>
                  <a:lnTo>
                    <a:pt x="2451" y="1104"/>
                  </a:lnTo>
                  <a:lnTo>
                    <a:pt x="2452" y="1104"/>
                  </a:lnTo>
                  <a:lnTo>
                    <a:pt x="2454" y="1104"/>
                  </a:lnTo>
                  <a:lnTo>
                    <a:pt x="2456" y="1103"/>
                  </a:lnTo>
                  <a:lnTo>
                    <a:pt x="2457" y="1101"/>
                  </a:lnTo>
                  <a:lnTo>
                    <a:pt x="2460" y="1101"/>
                  </a:lnTo>
                  <a:lnTo>
                    <a:pt x="2467" y="1098"/>
                  </a:lnTo>
                  <a:lnTo>
                    <a:pt x="2482" y="1093"/>
                  </a:lnTo>
                  <a:lnTo>
                    <a:pt x="2491" y="1088"/>
                  </a:lnTo>
                  <a:lnTo>
                    <a:pt x="2499" y="1084"/>
                  </a:lnTo>
                  <a:lnTo>
                    <a:pt x="2505" y="1079"/>
                  </a:lnTo>
                  <a:lnTo>
                    <a:pt x="2509" y="1075"/>
                  </a:lnTo>
                  <a:lnTo>
                    <a:pt x="2505" y="1075"/>
                  </a:lnTo>
                  <a:lnTo>
                    <a:pt x="2500" y="1074"/>
                  </a:lnTo>
                  <a:lnTo>
                    <a:pt x="2499" y="1074"/>
                  </a:lnTo>
                  <a:lnTo>
                    <a:pt x="2498" y="1073"/>
                  </a:lnTo>
                  <a:lnTo>
                    <a:pt x="2497" y="1070"/>
                  </a:lnTo>
                  <a:lnTo>
                    <a:pt x="2497" y="1069"/>
                  </a:lnTo>
                  <a:lnTo>
                    <a:pt x="2485" y="1069"/>
                  </a:lnTo>
                  <a:lnTo>
                    <a:pt x="2472" y="1069"/>
                  </a:lnTo>
                  <a:lnTo>
                    <a:pt x="2466" y="1057"/>
                  </a:lnTo>
                  <a:lnTo>
                    <a:pt x="2457" y="1054"/>
                  </a:lnTo>
                  <a:lnTo>
                    <a:pt x="2448" y="1050"/>
                  </a:lnTo>
                  <a:lnTo>
                    <a:pt x="2442" y="1038"/>
                  </a:lnTo>
                  <a:lnTo>
                    <a:pt x="2438" y="1038"/>
                  </a:lnTo>
                  <a:lnTo>
                    <a:pt x="2433" y="1038"/>
                  </a:lnTo>
                  <a:lnTo>
                    <a:pt x="2432" y="1037"/>
                  </a:lnTo>
                  <a:lnTo>
                    <a:pt x="2431" y="1036"/>
                  </a:lnTo>
                  <a:lnTo>
                    <a:pt x="2430" y="1035"/>
                  </a:lnTo>
                  <a:lnTo>
                    <a:pt x="2430" y="1033"/>
                  </a:lnTo>
                  <a:lnTo>
                    <a:pt x="2425" y="1033"/>
                  </a:lnTo>
                  <a:lnTo>
                    <a:pt x="2421" y="1031"/>
                  </a:lnTo>
                  <a:lnTo>
                    <a:pt x="2420" y="1030"/>
                  </a:lnTo>
                  <a:lnTo>
                    <a:pt x="2419" y="1029"/>
                  </a:lnTo>
                  <a:lnTo>
                    <a:pt x="2418" y="1028"/>
                  </a:lnTo>
                  <a:lnTo>
                    <a:pt x="2418" y="1026"/>
                  </a:lnTo>
                  <a:lnTo>
                    <a:pt x="2408" y="1026"/>
                  </a:lnTo>
                  <a:lnTo>
                    <a:pt x="2395" y="1025"/>
                  </a:lnTo>
                  <a:lnTo>
                    <a:pt x="2390" y="1024"/>
                  </a:lnTo>
                  <a:lnTo>
                    <a:pt x="2384" y="1021"/>
                  </a:lnTo>
                  <a:lnTo>
                    <a:pt x="2380" y="1018"/>
                  </a:lnTo>
                  <a:lnTo>
                    <a:pt x="2374" y="1014"/>
                  </a:lnTo>
                  <a:lnTo>
                    <a:pt x="2362" y="1014"/>
                  </a:lnTo>
                  <a:lnTo>
                    <a:pt x="2349" y="1014"/>
                  </a:lnTo>
                  <a:lnTo>
                    <a:pt x="2344" y="1001"/>
                  </a:lnTo>
                  <a:lnTo>
                    <a:pt x="2335" y="1000"/>
                  </a:lnTo>
                  <a:lnTo>
                    <a:pt x="2325" y="996"/>
                  </a:lnTo>
                  <a:lnTo>
                    <a:pt x="2319" y="993"/>
                  </a:lnTo>
                  <a:lnTo>
                    <a:pt x="2314" y="991"/>
                  </a:lnTo>
                  <a:lnTo>
                    <a:pt x="2308" y="990"/>
                  </a:lnTo>
                  <a:lnTo>
                    <a:pt x="2301" y="989"/>
                  </a:lnTo>
                  <a:lnTo>
                    <a:pt x="2300" y="986"/>
                  </a:lnTo>
                  <a:lnTo>
                    <a:pt x="2297" y="982"/>
                  </a:lnTo>
                  <a:lnTo>
                    <a:pt x="2294" y="980"/>
                  </a:lnTo>
                  <a:lnTo>
                    <a:pt x="2289" y="978"/>
                  </a:lnTo>
                  <a:lnTo>
                    <a:pt x="2285" y="977"/>
                  </a:lnTo>
                  <a:lnTo>
                    <a:pt x="2280" y="974"/>
                  </a:lnTo>
                  <a:lnTo>
                    <a:pt x="2278" y="973"/>
                  </a:lnTo>
                  <a:lnTo>
                    <a:pt x="2277" y="971"/>
                  </a:lnTo>
                  <a:lnTo>
                    <a:pt x="2265" y="971"/>
                  </a:lnTo>
                  <a:lnTo>
                    <a:pt x="2260" y="967"/>
                  </a:lnTo>
                  <a:lnTo>
                    <a:pt x="2256" y="962"/>
                  </a:lnTo>
                  <a:lnTo>
                    <a:pt x="2253" y="958"/>
                  </a:lnTo>
                  <a:lnTo>
                    <a:pt x="2252" y="953"/>
                  </a:lnTo>
                  <a:lnTo>
                    <a:pt x="2240" y="947"/>
                  </a:lnTo>
                  <a:lnTo>
                    <a:pt x="2240" y="942"/>
                  </a:lnTo>
                  <a:lnTo>
                    <a:pt x="2239" y="939"/>
                  </a:lnTo>
                  <a:lnTo>
                    <a:pt x="2239" y="937"/>
                  </a:lnTo>
                  <a:lnTo>
                    <a:pt x="2238" y="935"/>
                  </a:lnTo>
                  <a:lnTo>
                    <a:pt x="2236" y="934"/>
                  </a:lnTo>
                  <a:lnTo>
                    <a:pt x="2233" y="934"/>
                  </a:lnTo>
                  <a:lnTo>
                    <a:pt x="2233" y="929"/>
                  </a:lnTo>
                  <a:lnTo>
                    <a:pt x="2233" y="923"/>
                  </a:lnTo>
                  <a:lnTo>
                    <a:pt x="2232" y="921"/>
                  </a:lnTo>
                  <a:lnTo>
                    <a:pt x="2231" y="919"/>
                  </a:lnTo>
                  <a:lnTo>
                    <a:pt x="2230" y="916"/>
                  </a:lnTo>
                  <a:lnTo>
                    <a:pt x="2228" y="916"/>
                  </a:lnTo>
                  <a:lnTo>
                    <a:pt x="2228" y="904"/>
                  </a:lnTo>
                  <a:lnTo>
                    <a:pt x="2228" y="892"/>
                  </a:lnTo>
                  <a:lnTo>
                    <a:pt x="2216" y="880"/>
                  </a:lnTo>
                  <a:lnTo>
                    <a:pt x="2216" y="874"/>
                  </a:lnTo>
                  <a:lnTo>
                    <a:pt x="2214" y="868"/>
                  </a:lnTo>
                  <a:lnTo>
                    <a:pt x="2214" y="865"/>
                  </a:lnTo>
                  <a:lnTo>
                    <a:pt x="2213" y="863"/>
                  </a:lnTo>
                  <a:lnTo>
                    <a:pt x="2211" y="862"/>
                  </a:lnTo>
                  <a:lnTo>
                    <a:pt x="2210" y="861"/>
                  </a:lnTo>
                  <a:lnTo>
                    <a:pt x="2210" y="843"/>
                  </a:lnTo>
                  <a:lnTo>
                    <a:pt x="2204" y="836"/>
                  </a:lnTo>
                  <a:lnTo>
                    <a:pt x="2198" y="827"/>
                  </a:lnTo>
                  <a:lnTo>
                    <a:pt x="2193" y="819"/>
                  </a:lnTo>
                  <a:lnTo>
                    <a:pt x="2191" y="813"/>
                  </a:lnTo>
                  <a:lnTo>
                    <a:pt x="2181" y="812"/>
                  </a:lnTo>
                  <a:lnTo>
                    <a:pt x="2169" y="809"/>
                  </a:lnTo>
                  <a:lnTo>
                    <a:pt x="2156" y="807"/>
                  </a:lnTo>
                  <a:lnTo>
                    <a:pt x="2142" y="806"/>
                  </a:lnTo>
                  <a:lnTo>
                    <a:pt x="2136" y="813"/>
                  </a:lnTo>
                  <a:lnTo>
                    <a:pt x="2136" y="825"/>
                  </a:lnTo>
                  <a:lnTo>
                    <a:pt x="2132" y="826"/>
                  </a:lnTo>
                  <a:lnTo>
                    <a:pt x="2127" y="828"/>
                  </a:lnTo>
                  <a:lnTo>
                    <a:pt x="2125" y="833"/>
                  </a:lnTo>
                  <a:lnTo>
                    <a:pt x="2124" y="837"/>
                  </a:lnTo>
                  <a:lnTo>
                    <a:pt x="2117" y="843"/>
                  </a:lnTo>
                  <a:lnTo>
                    <a:pt x="2104" y="844"/>
                  </a:lnTo>
                  <a:lnTo>
                    <a:pt x="2083" y="846"/>
                  </a:lnTo>
                  <a:lnTo>
                    <a:pt x="2059" y="848"/>
                  </a:lnTo>
                  <a:lnTo>
                    <a:pt x="2038" y="849"/>
                  </a:lnTo>
                  <a:lnTo>
                    <a:pt x="2016" y="833"/>
                  </a:lnTo>
                  <a:lnTo>
                    <a:pt x="1979" y="808"/>
                  </a:lnTo>
                  <a:lnTo>
                    <a:pt x="1960" y="795"/>
                  </a:lnTo>
                  <a:lnTo>
                    <a:pt x="1944" y="783"/>
                  </a:lnTo>
                  <a:lnTo>
                    <a:pt x="1938" y="777"/>
                  </a:lnTo>
                  <a:lnTo>
                    <a:pt x="1932" y="771"/>
                  </a:lnTo>
                  <a:lnTo>
                    <a:pt x="1930" y="767"/>
                  </a:lnTo>
                  <a:lnTo>
                    <a:pt x="1929" y="764"/>
                  </a:lnTo>
                  <a:lnTo>
                    <a:pt x="1922" y="757"/>
                  </a:lnTo>
                  <a:lnTo>
                    <a:pt x="1910" y="757"/>
                  </a:lnTo>
                  <a:lnTo>
                    <a:pt x="1897" y="739"/>
                  </a:lnTo>
                  <a:lnTo>
                    <a:pt x="1888" y="736"/>
                  </a:lnTo>
                  <a:lnTo>
                    <a:pt x="1879" y="733"/>
                  </a:lnTo>
                  <a:lnTo>
                    <a:pt x="1879" y="729"/>
                  </a:lnTo>
                  <a:lnTo>
                    <a:pt x="1878" y="728"/>
                  </a:lnTo>
                  <a:lnTo>
                    <a:pt x="1877" y="727"/>
                  </a:lnTo>
                  <a:lnTo>
                    <a:pt x="1876" y="727"/>
                  </a:lnTo>
                  <a:lnTo>
                    <a:pt x="1875" y="727"/>
                  </a:lnTo>
                  <a:lnTo>
                    <a:pt x="1874" y="726"/>
                  </a:lnTo>
                  <a:lnTo>
                    <a:pt x="1874" y="724"/>
                  </a:lnTo>
                  <a:lnTo>
                    <a:pt x="1873" y="721"/>
                  </a:lnTo>
                  <a:lnTo>
                    <a:pt x="1866" y="718"/>
                  </a:lnTo>
                  <a:lnTo>
                    <a:pt x="1856" y="712"/>
                  </a:lnTo>
                  <a:lnTo>
                    <a:pt x="1843" y="702"/>
                  </a:lnTo>
                  <a:lnTo>
                    <a:pt x="1829" y="691"/>
                  </a:lnTo>
                  <a:lnTo>
                    <a:pt x="1816" y="679"/>
                  </a:lnTo>
                  <a:lnTo>
                    <a:pt x="1805" y="666"/>
                  </a:lnTo>
                  <a:lnTo>
                    <a:pt x="1800" y="661"/>
                  </a:lnTo>
                  <a:lnTo>
                    <a:pt x="1797" y="655"/>
                  </a:lnTo>
                  <a:lnTo>
                    <a:pt x="1795" y="651"/>
                  </a:lnTo>
                  <a:lnTo>
                    <a:pt x="1794" y="647"/>
                  </a:lnTo>
                  <a:lnTo>
                    <a:pt x="1788" y="645"/>
                  </a:lnTo>
                  <a:lnTo>
                    <a:pt x="1782" y="641"/>
                  </a:lnTo>
                  <a:lnTo>
                    <a:pt x="1778" y="634"/>
                  </a:lnTo>
                  <a:lnTo>
                    <a:pt x="1776" y="628"/>
                  </a:lnTo>
                  <a:lnTo>
                    <a:pt x="1763" y="623"/>
                  </a:lnTo>
                  <a:lnTo>
                    <a:pt x="1757" y="612"/>
                  </a:lnTo>
                  <a:lnTo>
                    <a:pt x="1742" y="592"/>
                  </a:lnTo>
                  <a:lnTo>
                    <a:pt x="1734" y="581"/>
                  </a:lnTo>
                  <a:lnTo>
                    <a:pt x="1728" y="570"/>
                  </a:lnTo>
                  <a:lnTo>
                    <a:pt x="1722" y="562"/>
                  </a:lnTo>
                  <a:lnTo>
                    <a:pt x="1721" y="556"/>
                  </a:lnTo>
                  <a:lnTo>
                    <a:pt x="1717" y="556"/>
                  </a:lnTo>
                  <a:lnTo>
                    <a:pt x="1715" y="555"/>
                  </a:lnTo>
                  <a:lnTo>
                    <a:pt x="1714" y="554"/>
                  </a:lnTo>
                  <a:lnTo>
                    <a:pt x="1714" y="553"/>
                  </a:lnTo>
                  <a:lnTo>
                    <a:pt x="1714" y="551"/>
                  </a:lnTo>
                  <a:lnTo>
                    <a:pt x="1713" y="550"/>
                  </a:lnTo>
                  <a:lnTo>
                    <a:pt x="1712" y="550"/>
                  </a:lnTo>
                  <a:lnTo>
                    <a:pt x="1709" y="549"/>
                  </a:lnTo>
                  <a:lnTo>
                    <a:pt x="1708" y="545"/>
                  </a:lnTo>
                  <a:lnTo>
                    <a:pt x="1704" y="541"/>
                  </a:lnTo>
                  <a:lnTo>
                    <a:pt x="1701" y="538"/>
                  </a:lnTo>
                  <a:lnTo>
                    <a:pt x="1696" y="537"/>
                  </a:lnTo>
                  <a:lnTo>
                    <a:pt x="1684" y="531"/>
                  </a:lnTo>
                  <a:lnTo>
                    <a:pt x="1684" y="525"/>
                  </a:lnTo>
                  <a:lnTo>
                    <a:pt x="1682" y="520"/>
                  </a:lnTo>
                  <a:lnTo>
                    <a:pt x="1679" y="519"/>
                  </a:lnTo>
                  <a:lnTo>
                    <a:pt x="1672" y="519"/>
                  </a:lnTo>
                  <a:lnTo>
                    <a:pt x="1665" y="510"/>
                  </a:lnTo>
                  <a:lnTo>
                    <a:pt x="1660" y="500"/>
                  </a:lnTo>
                  <a:lnTo>
                    <a:pt x="1647" y="500"/>
                  </a:lnTo>
                  <a:lnTo>
                    <a:pt x="1641" y="495"/>
                  </a:lnTo>
                  <a:lnTo>
                    <a:pt x="1635" y="489"/>
                  </a:lnTo>
                  <a:lnTo>
                    <a:pt x="1633" y="481"/>
                  </a:lnTo>
                  <a:lnTo>
                    <a:pt x="1628" y="471"/>
                  </a:lnTo>
                  <a:lnTo>
                    <a:pt x="1625" y="466"/>
                  </a:lnTo>
                  <a:lnTo>
                    <a:pt x="1622" y="462"/>
                  </a:lnTo>
                  <a:lnTo>
                    <a:pt x="1619" y="459"/>
                  </a:lnTo>
                  <a:lnTo>
                    <a:pt x="1617" y="458"/>
                  </a:lnTo>
                  <a:lnTo>
                    <a:pt x="1616" y="437"/>
                  </a:lnTo>
                  <a:lnTo>
                    <a:pt x="1614" y="413"/>
                  </a:lnTo>
                  <a:lnTo>
                    <a:pt x="1610" y="389"/>
                  </a:lnTo>
                  <a:lnTo>
                    <a:pt x="1607" y="363"/>
                  </a:lnTo>
                  <a:lnTo>
                    <a:pt x="1604" y="338"/>
                  </a:lnTo>
                  <a:lnTo>
                    <a:pt x="1602" y="314"/>
                  </a:lnTo>
                  <a:lnTo>
                    <a:pt x="1599" y="290"/>
                  </a:lnTo>
                  <a:lnTo>
                    <a:pt x="1598" y="268"/>
                  </a:lnTo>
                  <a:lnTo>
                    <a:pt x="1593" y="262"/>
                  </a:lnTo>
                  <a:lnTo>
                    <a:pt x="1588" y="261"/>
                  </a:lnTo>
                  <a:lnTo>
                    <a:pt x="1584" y="259"/>
                  </a:lnTo>
                  <a:lnTo>
                    <a:pt x="1581" y="255"/>
                  </a:lnTo>
                  <a:lnTo>
                    <a:pt x="1580" y="250"/>
                  </a:lnTo>
                  <a:lnTo>
                    <a:pt x="1574" y="245"/>
                  </a:lnTo>
                  <a:lnTo>
                    <a:pt x="1561" y="245"/>
                  </a:lnTo>
                  <a:lnTo>
                    <a:pt x="1556" y="238"/>
                  </a:lnTo>
                  <a:lnTo>
                    <a:pt x="1549" y="232"/>
                  </a:lnTo>
                  <a:lnTo>
                    <a:pt x="1543" y="226"/>
                  </a:lnTo>
                  <a:lnTo>
                    <a:pt x="1541" y="219"/>
                  </a:lnTo>
                  <a:lnTo>
                    <a:pt x="1537" y="208"/>
                  </a:lnTo>
                  <a:lnTo>
                    <a:pt x="1533" y="203"/>
                  </a:lnTo>
                  <a:lnTo>
                    <a:pt x="1530" y="199"/>
                  </a:lnTo>
                  <a:lnTo>
                    <a:pt x="1528" y="197"/>
                  </a:lnTo>
                  <a:lnTo>
                    <a:pt x="1525" y="195"/>
                  </a:lnTo>
                  <a:lnTo>
                    <a:pt x="1525" y="180"/>
                  </a:lnTo>
                  <a:lnTo>
                    <a:pt x="1525" y="162"/>
                  </a:lnTo>
                  <a:lnTo>
                    <a:pt x="1525" y="144"/>
                  </a:lnTo>
                  <a:lnTo>
                    <a:pt x="1525" y="128"/>
                  </a:lnTo>
                  <a:lnTo>
                    <a:pt x="1512" y="116"/>
                  </a:lnTo>
                  <a:lnTo>
                    <a:pt x="1512" y="111"/>
                  </a:lnTo>
                  <a:lnTo>
                    <a:pt x="1512" y="104"/>
                  </a:lnTo>
                  <a:lnTo>
                    <a:pt x="1511" y="102"/>
                  </a:lnTo>
                  <a:lnTo>
                    <a:pt x="1510" y="99"/>
                  </a:lnTo>
                  <a:lnTo>
                    <a:pt x="1509" y="98"/>
                  </a:lnTo>
                  <a:lnTo>
                    <a:pt x="1507" y="97"/>
                  </a:lnTo>
                  <a:lnTo>
                    <a:pt x="1507" y="79"/>
                  </a:lnTo>
                  <a:lnTo>
                    <a:pt x="1503" y="79"/>
                  </a:lnTo>
                  <a:lnTo>
                    <a:pt x="1501" y="78"/>
                  </a:lnTo>
                  <a:lnTo>
                    <a:pt x="1501" y="77"/>
                  </a:lnTo>
                  <a:lnTo>
                    <a:pt x="1501" y="76"/>
                  </a:lnTo>
                  <a:lnTo>
                    <a:pt x="1500" y="75"/>
                  </a:lnTo>
                  <a:lnTo>
                    <a:pt x="1500" y="74"/>
                  </a:lnTo>
                  <a:lnTo>
                    <a:pt x="1498" y="74"/>
                  </a:lnTo>
                  <a:lnTo>
                    <a:pt x="1494" y="73"/>
                  </a:lnTo>
                  <a:lnTo>
                    <a:pt x="1494" y="69"/>
                  </a:lnTo>
                  <a:lnTo>
                    <a:pt x="1492" y="66"/>
                  </a:lnTo>
                  <a:lnTo>
                    <a:pt x="1491" y="64"/>
                  </a:lnTo>
                  <a:lnTo>
                    <a:pt x="1489" y="62"/>
                  </a:lnTo>
                  <a:lnTo>
                    <a:pt x="1484" y="58"/>
                  </a:lnTo>
                  <a:lnTo>
                    <a:pt x="1482" y="55"/>
                  </a:lnTo>
                  <a:lnTo>
                    <a:pt x="1465" y="55"/>
                  </a:lnTo>
                  <a:lnTo>
                    <a:pt x="1444" y="56"/>
                  </a:lnTo>
                  <a:lnTo>
                    <a:pt x="1434" y="56"/>
                  </a:lnTo>
                  <a:lnTo>
                    <a:pt x="1425" y="57"/>
                  </a:lnTo>
                  <a:lnTo>
                    <a:pt x="1418" y="59"/>
                  </a:lnTo>
                  <a:lnTo>
                    <a:pt x="1415" y="60"/>
                  </a:lnTo>
                  <a:lnTo>
                    <a:pt x="1395" y="60"/>
                  </a:lnTo>
                  <a:lnTo>
                    <a:pt x="1372" y="60"/>
                  </a:lnTo>
                  <a:lnTo>
                    <a:pt x="1348" y="59"/>
                  </a:lnTo>
                  <a:lnTo>
                    <a:pt x="1324" y="56"/>
                  </a:lnTo>
                  <a:lnTo>
                    <a:pt x="1311" y="55"/>
                  </a:lnTo>
                  <a:lnTo>
                    <a:pt x="1300" y="51"/>
                  </a:lnTo>
                  <a:lnTo>
                    <a:pt x="1289" y="49"/>
                  </a:lnTo>
                  <a:lnTo>
                    <a:pt x="1279" y="45"/>
                  </a:lnTo>
                  <a:lnTo>
                    <a:pt x="1270" y="41"/>
                  </a:lnTo>
                  <a:lnTo>
                    <a:pt x="1262" y="36"/>
                  </a:lnTo>
                  <a:lnTo>
                    <a:pt x="1255" y="30"/>
                  </a:lnTo>
                  <a:lnTo>
                    <a:pt x="1250" y="24"/>
                  </a:lnTo>
                  <a:lnTo>
                    <a:pt x="1244" y="24"/>
                  </a:lnTo>
                  <a:lnTo>
                    <a:pt x="1238" y="20"/>
                  </a:lnTo>
                  <a:lnTo>
                    <a:pt x="1231" y="17"/>
                  </a:lnTo>
                  <a:lnTo>
                    <a:pt x="1225" y="12"/>
                  </a:lnTo>
                  <a:lnTo>
                    <a:pt x="1206" y="12"/>
                  </a:lnTo>
                  <a:lnTo>
                    <a:pt x="1186" y="15"/>
                  </a:lnTo>
                  <a:lnTo>
                    <a:pt x="1168" y="17"/>
                  </a:lnTo>
                  <a:lnTo>
                    <a:pt x="1152" y="18"/>
                  </a:lnTo>
                  <a:lnTo>
                    <a:pt x="1152" y="21"/>
                  </a:lnTo>
                  <a:lnTo>
                    <a:pt x="1149" y="25"/>
                  </a:lnTo>
                  <a:lnTo>
                    <a:pt x="1147" y="27"/>
                  </a:lnTo>
                  <a:lnTo>
                    <a:pt x="1144" y="30"/>
                  </a:lnTo>
                  <a:lnTo>
                    <a:pt x="1134" y="35"/>
                  </a:lnTo>
                  <a:lnTo>
                    <a:pt x="1120" y="39"/>
                  </a:lnTo>
                  <a:lnTo>
                    <a:pt x="1105" y="43"/>
                  </a:lnTo>
                  <a:lnTo>
                    <a:pt x="1087" y="46"/>
                  </a:lnTo>
                  <a:lnTo>
                    <a:pt x="1068" y="48"/>
                  </a:lnTo>
                  <a:lnTo>
                    <a:pt x="1048" y="50"/>
                  </a:lnTo>
                  <a:lnTo>
                    <a:pt x="1007" y="53"/>
                  </a:lnTo>
                  <a:lnTo>
                    <a:pt x="969" y="54"/>
                  </a:lnTo>
                  <a:lnTo>
                    <a:pt x="938" y="55"/>
                  </a:lnTo>
                  <a:lnTo>
                    <a:pt x="919" y="55"/>
                  </a:lnTo>
                  <a:lnTo>
                    <a:pt x="914" y="43"/>
                  </a:lnTo>
                  <a:lnTo>
                    <a:pt x="908" y="41"/>
                  </a:lnTo>
                  <a:lnTo>
                    <a:pt x="903" y="39"/>
                  </a:lnTo>
                  <a:lnTo>
                    <a:pt x="899" y="37"/>
                  </a:lnTo>
                  <a:lnTo>
                    <a:pt x="897" y="35"/>
                  </a:lnTo>
                  <a:lnTo>
                    <a:pt x="896" y="33"/>
                  </a:lnTo>
                  <a:lnTo>
                    <a:pt x="896" y="30"/>
                  </a:lnTo>
                  <a:lnTo>
                    <a:pt x="884" y="25"/>
                  </a:lnTo>
                  <a:lnTo>
                    <a:pt x="871" y="18"/>
                  </a:lnTo>
                  <a:lnTo>
                    <a:pt x="859" y="0"/>
                  </a:lnTo>
                  <a:lnTo>
                    <a:pt x="844" y="1"/>
                  </a:lnTo>
                  <a:lnTo>
                    <a:pt x="826" y="6"/>
                  </a:lnTo>
                  <a:lnTo>
                    <a:pt x="810" y="10"/>
                  </a:lnTo>
                  <a:lnTo>
                    <a:pt x="798" y="12"/>
                  </a:lnTo>
                  <a:lnTo>
                    <a:pt x="791" y="18"/>
                  </a:lnTo>
                  <a:lnTo>
                    <a:pt x="786" y="24"/>
                  </a:lnTo>
                  <a:lnTo>
                    <a:pt x="782" y="30"/>
                  </a:lnTo>
                  <a:lnTo>
                    <a:pt x="777" y="39"/>
                  </a:lnTo>
                  <a:lnTo>
                    <a:pt x="770" y="46"/>
                  </a:lnTo>
                  <a:lnTo>
                    <a:pt x="768" y="48"/>
                  </a:lnTo>
                  <a:lnTo>
                    <a:pt x="768" y="53"/>
                  </a:lnTo>
                  <a:lnTo>
                    <a:pt x="767" y="57"/>
                  </a:lnTo>
                  <a:lnTo>
                    <a:pt x="765" y="58"/>
                  </a:lnTo>
                  <a:lnTo>
                    <a:pt x="764" y="59"/>
                  </a:lnTo>
                  <a:lnTo>
                    <a:pt x="763" y="60"/>
                  </a:lnTo>
                  <a:lnTo>
                    <a:pt x="761" y="60"/>
                  </a:lnTo>
                  <a:lnTo>
                    <a:pt x="761" y="66"/>
                  </a:lnTo>
                  <a:lnTo>
                    <a:pt x="760" y="73"/>
                  </a:lnTo>
                  <a:lnTo>
                    <a:pt x="760" y="75"/>
                  </a:lnTo>
                  <a:lnTo>
                    <a:pt x="759" y="77"/>
                  </a:lnTo>
                  <a:lnTo>
                    <a:pt x="756" y="78"/>
                  </a:lnTo>
                  <a:lnTo>
                    <a:pt x="755" y="79"/>
                  </a:lnTo>
                  <a:lnTo>
                    <a:pt x="755" y="85"/>
                  </a:lnTo>
                  <a:lnTo>
                    <a:pt x="754" y="91"/>
                  </a:lnTo>
                  <a:lnTo>
                    <a:pt x="753" y="93"/>
                  </a:lnTo>
                  <a:lnTo>
                    <a:pt x="752" y="95"/>
                  </a:lnTo>
                  <a:lnTo>
                    <a:pt x="751" y="97"/>
                  </a:lnTo>
                  <a:lnTo>
                    <a:pt x="749" y="97"/>
                  </a:lnTo>
                  <a:lnTo>
                    <a:pt x="745" y="106"/>
                  </a:lnTo>
                  <a:lnTo>
                    <a:pt x="743" y="116"/>
                  </a:lnTo>
                  <a:lnTo>
                    <a:pt x="739" y="116"/>
                  </a:lnTo>
                  <a:lnTo>
                    <a:pt x="734" y="116"/>
                  </a:lnTo>
                  <a:lnTo>
                    <a:pt x="733" y="117"/>
                  </a:lnTo>
                  <a:lnTo>
                    <a:pt x="732" y="118"/>
                  </a:lnTo>
                  <a:lnTo>
                    <a:pt x="731" y="120"/>
                  </a:lnTo>
                  <a:lnTo>
                    <a:pt x="731" y="122"/>
                  </a:lnTo>
                  <a:lnTo>
                    <a:pt x="726" y="122"/>
                  </a:lnTo>
                  <a:lnTo>
                    <a:pt x="722" y="123"/>
                  </a:lnTo>
                  <a:lnTo>
                    <a:pt x="721" y="123"/>
                  </a:lnTo>
                  <a:lnTo>
                    <a:pt x="720" y="124"/>
                  </a:lnTo>
                  <a:lnTo>
                    <a:pt x="719" y="126"/>
                  </a:lnTo>
                  <a:lnTo>
                    <a:pt x="719" y="128"/>
                  </a:lnTo>
                  <a:lnTo>
                    <a:pt x="703" y="128"/>
                  </a:lnTo>
                  <a:lnTo>
                    <a:pt x="681" y="130"/>
                  </a:lnTo>
                  <a:lnTo>
                    <a:pt x="669" y="131"/>
                  </a:lnTo>
                  <a:lnTo>
                    <a:pt x="659" y="133"/>
                  </a:lnTo>
                  <a:lnTo>
                    <a:pt x="656" y="134"/>
                  </a:lnTo>
                  <a:lnTo>
                    <a:pt x="654" y="136"/>
                  </a:lnTo>
                  <a:lnTo>
                    <a:pt x="652" y="139"/>
                  </a:lnTo>
                  <a:lnTo>
                    <a:pt x="652" y="141"/>
                  </a:lnTo>
                  <a:lnTo>
                    <a:pt x="596" y="142"/>
                  </a:lnTo>
                  <a:lnTo>
                    <a:pt x="539" y="144"/>
                  </a:lnTo>
                  <a:lnTo>
                    <a:pt x="481" y="150"/>
                  </a:lnTo>
                  <a:lnTo>
                    <a:pt x="422" y="156"/>
                  </a:lnTo>
                  <a:lnTo>
                    <a:pt x="362" y="163"/>
                  </a:lnTo>
                  <a:lnTo>
                    <a:pt x="303" y="172"/>
                  </a:lnTo>
                  <a:lnTo>
                    <a:pt x="244" y="180"/>
                  </a:lnTo>
                  <a:lnTo>
                    <a:pt x="185" y="189"/>
                  </a:lnTo>
                  <a:lnTo>
                    <a:pt x="185" y="192"/>
                  </a:lnTo>
                  <a:lnTo>
                    <a:pt x="172" y="202"/>
                  </a:lnTo>
                  <a:lnTo>
                    <a:pt x="147" y="224"/>
                  </a:lnTo>
                  <a:lnTo>
                    <a:pt x="132" y="237"/>
                  </a:lnTo>
                  <a:lnTo>
                    <a:pt x="119" y="248"/>
                  </a:lnTo>
                  <a:lnTo>
                    <a:pt x="108" y="257"/>
                  </a:lnTo>
                  <a:lnTo>
                    <a:pt x="100" y="261"/>
                  </a:lnTo>
                  <a:lnTo>
                    <a:pt x="100" y="265"/>
                  </a:lnTo>
                  <a:lnTo>
                    <a:pt x="98" y="268"/>
                  </a:lnTo>
                  <a:lnTo>
                    <a:pt x="96" y="271"/>
                  </a:lnTo>
                  <a:lnTo>
                    <a:pt x="92" y="274"/>
                  </a:lnTo>
                  <a:lnTo>
                    <a:pt x="87" y="278"/>
                  </a:lnTo>
                  <a:lnTo>
                    <a:pt x="84" y="283"/>
                  </a:lnTo>
                  <a:lnTo>
                    <a:pt x="74" y="288"/>
                  </a:lnTo>
                  <a:lnTo>
                    <a:pt x="63" y="293"/>
                  </a:lnTo>
                  <a:lnTo>
                    <a:pt x="53" y="298"/>
                  </a:lnTo>
                  <a:lnTo>
                    <a:pt x="45" y="312"/>
                  </a:lnTo>
                  <a:lnTo>
                    <a:pt x="36" y="329"/>
                  </a:lnTo>
                  <a:lnTo>
                    <a:pt x="26" y="335"/>
                  </a:lnTo>
                  <a:lnTo>
                    <a:pt x="24" y="341"/>
                  </a:lnTo>
                  <a:lnTo>
                    <a:pt x="21" y="347"/>
                  </a:lnTo>
                  <a:lnTo>
                    <a:pt x="17" y="351"/>
                  </a:lnTo>
                  <a:lnTo>
                    <a:pt x="15" y="354"/>
                  </a:lnTo>
                  <a:lnTo>
                    <a:pt x="13" y="355"/>
                  </a:lnTo>
                  <a:lnTo>
                    <a:pt x="11" y="356"/>
                  </a:lnTo>
                  <a:lnTo>
                    <a:pt x="10" y="364"/>
                  </a:lnTo>
                  <a:lnTo>
                    <a:pt x="7" y="372"/>
                  </a:lnTo>
                  <a:lnTo>
                    <a:pt x="4" y="377"/>
                  </a:lnTo>
                  <a:lnTo>
                    <a:pt x="0" y="383"/>
                  </a:lnTo>
                  <a:lnTo>
                    <a:pt x="0" y="425"/>
                  </a:lnTo>
                  <a:lnTo>
                    <a:pt x="4" y="432"/>
                  </a:lnTo>
                  <a:lnTo>
                    <a:pt x="13" y="450"/>
                  </a:lnTo>
                  <a:lnTo>
                    <a:pt x="22" y="468"/>
                  </a:lnTo>
                  <a:lnTo>
                    <a:pt x="26" y="478"/>
                  </a:lnTo>
                  <a:lnTo>
                    <a:pt x="30" y="479"/>
                  </a:lnTo>
                  <a:lnTo>
                    <a:pt x="32" y="483"/>
                  </a:lnTo>
                  <a:lnTo>
                    <a:pt x="34" y="485"/>
                  </a:lnTo>
                  <a:lnTo>
                    <a:pt x="36" y="487"/>
                  </a:lnTo>
                  <a:lnTo>
                    <a:pt x="39" y="488"/>
                  </a:lnTo>
                  <a:lnTo>
                    <a:pt x="42" y="488"/>
                  </a:lnTo>
                  <a:lnTo>
                    <a:pt x="43" y="495"/>
                  </a:lnTo>
                  <a:lnTo>
                    <a:pt x="47" y="500"/>
                  </a:lnTo>
                  <a:lnTo>
                    <a:pt x="51" y="506"/>
                  </a:lnTo>
                  <a:lnTo>
                    <a:pt x="55" y="512"/>
                  </a:lnTo>
                  <a:lnTo>
                    <a:pt x="60" y="518"/>
                  </a:lnTo>
                  <a:lnTo>
                    <a:pt x="64" y="524"/>
                  </a:lnTo>
                  <a:lnTo>
                    <a:pt x="68" y="530"/>
                  </a:lnTo>
                  <a:lnTo>
                    <a:pt x="69" y="536"/>
                  </a:lnTo>
                  <a:lnTo>
                    <a:pt x="127" y="594"/>
                  </a:lnTo>
                  <a:lnTo>
                    <a:pt x="137" y="594"/>
                  </a:lnTo>
                  <a:lnTo>
                    <a:pt x="144" y="598"/>
                  </a:lnTo>
                  <a:lnTo>
                    <a:pt x="154" y="602"/>
                  </a:lnTo>
                  <a:lnTo>
                    <a:pt x="165" y="604"/>
                  </a:lnTo>
                  <a:lnTo>
                    <a:pt x="175" y="605"/>
                  </a:lnTo>
                  <a:lnTo>
                    <a:pt x="186" y="608"/>
                  </a:lnTo>
                  <a:lnTo>
                    <a:pt x="204" y="612"/>
                  </a:lnTo>
                  <a:lnTo>
                    <a:pt x="223" y="614"/>
                  </a:lnTo>
                  <a:lnTo>
                    <a:pt x="237" y="615"/>
                  </a:lnTo>
                  <a:lnTo>
                    <a:pt x="243" y="618"/>
                  </a:lnTo>
                  <a:lnTo>
                    <a:pt x="249" y="622"/>
                  </a:lnTo>
                  <a:lnTo>
                    <a:pt x="255" y="625"/>
                  </a:lnTo>
                  <a:lnTo>
                    <a:pt x="262" y="628"/>
                  </a:lnTo>
                  <a:lnTo>
                    <a:pt x="269" y="632"/>
                  </a:lnTo>
                  <a:lnTo>
                    <a:pt x="275" y="634"/>
                  </a:lnTo>
                  <a:lnTo>
                    <a:pt x="281" y="637"/>
                  </a:lnTo>
                  <a:lnTo>
                    <a:pt x="285" y="642"/>
                  </a:lnTo>
                  <a:lnTo>
                    <a:pt x="293" y="642"/>
                  </a:lnTo>
                  <a:lnTo>
                    <a:pt x="301" y="643"/>
                  </a:lnTo>
                  <a:lnTo>
                    <a:pt x="304" y="644"/>
                  </a:lnTo>
                  <a:lnTo>
                    <a:pt x="307" y="646"/>
                  </a:lnTo>
                  <a:lnTo>
                    <a:pt x="310" y="649"/>
                  </a:lnTo>
                  <a:lnTo>
                    <a:pt x="312" y="652"/>
                  </a:lnTo>
                  <a:lnTo>
                    <a:pt x="328" y="652"/>
                  </a:lnTo>
                  <a:lnTo>
                    <a:pt x="332" y="656"/>
                  </a:lnTo>
                  <a:lnTo>
                    <a:pt x="338" y="659"/>
                  </a:lnTo>
                  <a:lnTo>
                    <a:pt x="345" y="662"/>
                  </a:lnTo>
                  <a:lnTo>
                    <a:pt x="352" y="663"/>
                  </a:lnTo>
                  <a:lnTo>
                    <a:pt x="369" y="666"/>
                  </a:lnTo>
                  <a:lnTo>
                    <a:pt x="387" y="668"/>
                  </a:lnTo>
                  <a:lnTo>
                    <a:pt x="424" y="669"/>
                  </a:lnTo>
                  <a:lnTo>
                    <a:pt x="455" y="668"/>
                  </a:lnTo>
                  <a:lnTo>
                    <a:pt x="455" y="666"/>
                  </a:lnTo>
                  <a:lnTo>
                    <a:pt x="456" y="665"/>
                  </a:lnTo>
                  <a:lnTo>
                    <a:pt x="457" y="664"/>
                  </a:lnTo>
                  <a:lnTo>
                    <a:pt x="458" y="664"/>
                  </a:lnTo>
                  <a:lnTo>
                    <a:pt x="463" y="665"/>
                  </a:lnTo>
                  <a:lnTo>
                    <a:pt x="467" y="666"/>
                  </a:lnTo>
                  <a:lnTo>
                    <a:pt x="477" y="671"/>
                  </a:lnTo>
                  <a:lnTo>
                    <a:pt x="481" y="673"/>
                  </a:lnTo>
                  <a:lnTo>
                    <a:pt x="496" y="679"/>
                  </a:lnTo>
                  <a:lnTo>
                    <a:pt x="501" y="684"/>
                  </a:lnTo>
                  <a:lnTo>
                    <a:pt x="510" y="692"/>
                  </a:lnTo>
                  <a:lnTo>
                    <a:pt x="515" y="697"/>
                  </a:lnTo>
                  <a:lnTo>
                    <a:pt x="519" y="702"/>
                  </a:lnTo>
                  <a:lnTo>
                    <a:pt x="522" y="707"/>
                  </a:lnTo>
                  <a:lnTo>
                    <a:pt x="523" y="710"/>
                  </a:lnTo>
                  <a:lnTo>
                    <a:pt x="530" y="713"/>
                  </a:lnTo>
                  <a:lnTo>
                    <a:pt x="539" y="721"/>
                  </a:lnTo>
                  <a:lnTo>
                    <a:pt x="547" y="728"/>
                  </a:lnTo>
                  <a:lnTo>
                    <a:pt x="550" y="731"/>
                  </a:lnTo>
                  <a:lnTo>
                    <a:pt x="556" y="737"/>
                  </a:lnTo>
                  <a:lnTo>
                    <a:pt x="560" y="747"/>
                  </a:lnTo>
                  <a:lnTo>
                    <a:pt x="566" y="758"/>
                  </a:lnTo>
                  <a:lnTo>
                    <a:pt x="569" y="760"/>
                  </a:lnTo>
                  <a:lnTo>
                    <a:pt x="572" y="764"/>
                  </a:lnTo>
                  <a:lnTo>
                    <a:pt x="576" y="769"/>
                  </a:lnTo>
                  <a:lnTo>
                    <a:pt x="576" y="774"/>
                  </a:lnTo>
                  <a:lnTo>
                    <a:pt x="583" y="778"/>
                  </a:lnTo>
                  <a:lnTo>
                    <a:pt x="590" y="783"/>
                  </a:lnTo>
                  <a:lnTo>
                    <a:pt x="594" y="785"/>
                  </a:lnTo>
                  <a:lnTo>
                    <a:pt x="596" y="788"/>
                  </a:lnTo>
                  <a:lnTo>
                    <a:pt x="597" y="791"/>
                  </a:lnTo>
                  <a:lnTo>
                    <a:pt x="597" y="795"/>
                  </a:lnTo>
                  <a:lnTo>
                    <a:pt x="608" y="806"/>
                  </a:lnTo>
                  <a:lnTo>
                    <a:pt x="614" y="808"/>
                  </a:lnTo>
                  <a:lnTo>
                    <a:pt x="619" y="812"/>
                  </a:lnTo>
                  <a:lnTo>
                    <a:pt x="624" y="816"/>
                  </a:lnTo>
                  <a:lnTo>
                    <a:pt x="629" y="822"/>
                  </a:lnTo>
                  <a:lnTo>
                    <a:pt x="634" y="826"/>
                  </a:lnTo>
                  <a:lnTo>
                    <a:pt x="639" y="831"/>
                  </a:lnTo>
                  <a:lnTo>
                    <a:pt x="645" y="835"/>
                  </a:lnTo>
                  <a:lnTo>
                    <a:pt x="650" y="837"/>
                  </a:lnTo>
                  <a:lnTo>
                    <a:pt x="652" y="839"/>
                  </a:lnTo>
                  <a:lnTo>
                    <a:pt x="654" y="843"/>
                  </a:lnTo>
                  <a:lnTo>
                    <a:pt x="657" y="846"/>
                  </a:lnTo>
                  <a:lnTo>
                    <a:pt x="662" y="849"/>
                  </a:lnTo>
                  <a:lnTo>
                    <a:pt x="667" y="853"/>
                  </a:lnTo>
                  <a:lnTo>
                    <a:pt x="673" y="856"/>
                  </a:lnTo>
                  <a:lnTo>
                    <a:pt x="677" y="857"/>
                  </a:lnTo>
                  <a:lnTo>
                    <a:pt x="682" y="858"/>
                  </a:lnTo>
                  <a:lnTo>
                    <a:pt x="687" y="867"/>
                  </a:lnTo>
                  <a:lnTo>
                    <a:pt x="701" y="882"/>
                  </a:lnTo>
                  <a:lnTo>
                    <a:pt x="715" y="897"/>
                  </a:lnTo>
                  <a:lnTo>
                    <a:pt x="724" y="906"/>
                  </a:lnTo>
                  <a:lnTo>
                    <a:pt x="730" y="908"/>
                  </a:lnTo>
                  <a:lnTo>
                    <a:pt x="733" y="910"/>
                  </a:lnTo>
                  <a:lnTo>
                    <a:pt x="736" y="914"/>
                  </a:lnTo>
                  <a:lnTo>
                    <a:pt x="740" y="919"/>
                  </a:lnTo>
                  <a:lnTo>
                    <a:pt x="742" y="924"/>
                  </a:lnTo>
                  <a:lnTo>
                    <a:pt x="744" y="928"/>
                  </a:lnTo>
                  <a:lnTo>
                    <a:pt x="748" y="931"/>
                  </a:lnTo>
                  <a:lnTo>
                    <a:pt x="751" y="932"/>
                  </a:lnTo>
                  <a:lnTo>
                    <a:pt x="751" y="952"/>
                  </a:lnTo>
                  <a:lnTo>
                    <a:pt x="751" y="971"/>
                  </a:lnTo>
                  <a:lnTo>
                    <a:pt x="751" y="990"/>
                  </a:lnTo>
                  <a:lnTo>
                    <a:pt x="752" y="1010"/>
                  </a:lnTo>
                  <a:lnTo>
                    <a:pt x="753" y="1011"/>
                  </a:lnTo>
                  <a:lnTo>
                    <a:pt x="754" y="1012"/>
                  </a:lnTo>
                  <a:lnTo>
                    <a:pt x="756" y="1014"/>
                  </a:lnTo>
                  <a:lnTo>
                    <a:pt x="759" y="1014"/>
                  </a:lnTo>
                  <a:lnTo>
                    <a:pt x="762" y="1029"/>
                  </a:lnTo>
                  <a:lnTo>
                    <a:pt x="770" y="1054"/>
                  </a:lnTo>
                  <a:lnTo>
                    <a:pt x="774" y="1067"/>
                  </a:lnTo>
                  <a:lnTo>
                    <a:pt x="779" y="1077"/>
                  </a:lnTo>
                  <a:lnTo>
                    <a:pt x="781" y="1082"/>
                  </a:lnTo>
                  <a:lnTo>
                    <a:pt x="783" y="1085"/>
                  </a:lnTo>
                  <a:lnTo>
                    <a:pt x="784" y="1087"/>
                  </a:lnTo>
                  <a:lnTo>
                    <a:pt x="787" y="1087"/>
                  </a:lnTo>
                  <a:lnTo>
                    <a:pt x="789" y="1098"/>
                  </a:lnTo>
                  <a:lnTo>
                    <a:pt x="792" y="1114"/>
                  </a:lnTo>
                  <a:lnTo>
                    <a:pt x="796" y="1122"/>
                  </a:lnTo>
                  <a:lnTo>
                    <a:pt x="799" y="1127"/>
                  </a:lnTo>
                  <a:lnTo>
                    <a:pt x="802" y="1132"/>
                  </a:lnTo>
                  <a:lnTo>
                    <a:pt x="806" y="1134"/>
                  </a:lnTo>
                  <a:lnTo>
                    <a:pt x="806" y="1162"/>
                  </a:lnTo>
                  <a:lnTo>
                    <a:pt x="813" y="1171"/>
                  </a:lnTo>
                  <a:lnTo>
                    <a:pt x="822" y="1185"/>
                  </a:lnTo>
                  <a:lnTo>
                    <a:pt x="827" y="1193"/>
                  </a:lnTo>
                  <a:lnTo>
                    <a:pt x="830" y="1202"/>
                  </a:lnTo>
                  <a:lnTo>
                    <a:pt x="832" y="1210"/>
                  </a:lnTo>
                  <a:lnTo>
                    <a:pt x="832" y="1217"/>
                  </a:lnTo>
                  <a:lnTo>
                    <a:pt x="837" y="1219"/>
                  </a:lnTo>
                  <a:lnTo>
                    <a:pt x="840" y="1223"/>
                  </a:lnTo>
                  <a:lnTo>
                    <a:pt x="844" y="1228"/>
                  </a:lnTo>
                  <a:lnTo>
                    <a:pt x="847" y="1233"/>
                  </a:lnTo>
                  <a:lnTo>
                    <a:pt x="855" y="1247"/>
                  </a:lnTo>
                  <a:lnTo>
                    <a:pt x="861" y="1262"/>
                  </a:lnTo>
                  <a:lnTo>
                    <a:pt x="870" y="1276"/>
                  </a:lnTo>
                  <a:lnTo>
                    <a:pt x="878" y="1288"/>
                  </a:lnTo>
                  <a:lnTo>
                    <a:pt x="883" y="1293"/>
                  </a:lnTo>
                  <a:lnTo>
                    <a:pt x="887" y="1297"/>
                  </a:lnTo>
                  <a:lnTo>
                    <a:pt x="893" y="1299"/>
                  </a:lnTo>
                  <a:lnTo>
                    <a:pt x="897" y="1300"/>
                  </a:lnTo>
                  <a:lnTo>
                    <a:pt x="898" y="1305"/>
                  </a:lnTo>
                  <a:lnTo>
                    <a:pt x="899" y="1308"/>
                  </a:lnTo>
                  <a:lnTo>
                    <a:pt x="900" y="1309"/>
                  </a:lnTo>
                  <a:lnTo>
                    <a:pt x="903" y="1309"/>
                  </a:lnTo>
                  <a:lnTo>
                    <a:pt x="904" y="1309"/>
                  </a:lnTo>
                  <a:lnTo>
                    <a:pt x="905" y="1310"/>
                  </a:lnTo>
                  <a:lnTo>
                    <a:pt x="906" y="1313"/>
                  </a:lnTo>
                  <a:lnTo>
                    <a:pt x="907" y="1318"/>
                  </a:lnTo>
                  <a:lnTo>
                    <a:pt x="912" y="1320"/>
                  </a:lnTo>
                  <a:lnTo>
                    <a:pt x="918" y="1324"/>
                  </a:lnTo>
                  <a:lnTo>
                    <a:pt x="925" y="1330"/>
                  </a:lnTo>
                  <a:lnTo>
                    <a:pt x="933" y="1337"/>
                  </a:lnTo>
                  <a:lnTo>
                    <a:pt x="947" y="1349"/>
                  </a:lnTo>
                  <a:lnTo>
                    <a:pt x="953" y="1355"/>
                  </a:lnTo>
                  <a:lnTo>
                    <a:pt x="972" y="1355"/>
                  </a:lnTo>
                  <a:lnTo>
                    <a:pt x="981" y="1374"/>
                  </a:lnTo>
                  <a:lnTo>
                    <a:pt x="988" y="1375"/>
                  </a:lnTo>
                  <a:lnTo>
                    <a:pt x="996" y="1376"/>
                  </a:lnTo>
                  <a:lnTo>
                    <a:pt x="1004" y="1380"/>
                  </a:lnTo>
                  <a:lnTo>
                    <a:pt x="1013" y="1383"/>
                  </a:lnTo>
                  <a:lnTo>
                    <a:pt x="1022" y="1386"/>
                  </a:lnTo>
                  <a:lnTo>
                    <a:pt x="1030" y="1390"/>
                  </a:lnTo>
                  <a:lnTo>
                    <a:pt x="1038" y="1392"/>
                  </a:lnTo>
                  <a:lnTo>
                    <a:pt x="1046" y="1392"/>
                  </a:lnTo>
                  <a:lnTo>
                    <a:pt x="1053" y="1400"/>
                  </a:lnTo>
                  <a:lnTo>
                    <a:pt x="1062" y="1406"/>
                  </a:lnTo>
                  <a:lnTo>
                    <a:pt x="1072" y="1412"/>
                  </a:lnTo>
                  <a:lnTo>
                    <a:pt x="1082" y="1418"/>
                  </a:lnTo>
                  <a:lnTo>
                    <a:pt x="1092" y="1422"/>
                  </a:lnTo>
                  <a:lnTo>
                    <a:pt x="1103" y="1426"/>
                  </a:lnTo>
                  <a:lnTo>
                    <a:pt x="1111" y="1429"/>
                  </a:lnTo>
                  <a:lnTo>
                    <a:pt x="1119" y="1429"/>
                  </a:lnTo>
                  <a:lnTo>
                    <a:pt x="1138" y="1442"/>
                  </a:lnTo>
                  <a:lnTo>
                    <a:pt x="1181" y="1471"/>
                  </a:lnTo>
                  <a:lnTo>
                    <a:pt x="1204" y="1486"/>
                  </a:lnTo>
                  <a:lnTo>
                    <a:pt x="1224" y="1499"/>
                  </a:lnTo>
                  <a:lnTo>
                    <a:pt x="1241" y="1509"/>
                  </a:lnTo>
                  <a:lnTo>
                    <a:pt x="1249" y="1512"/>
                  </a:lnTo>
                  <a:lnTo>
                    <a:pt x="1258" y="1531"/>
                  </a:lnTo>
                  <a:lnTo>
                    <a:pt x="1269" y="1533"/>
                  </a:lnTo>
                  <a:lnTo>
                    <a:pt x="1284" y="1537"/>
                  </a:lnTo>
                  <a:lnTo>
                    <a:pt x="1292" y="1539"/>
                  </a:lnTo>
                  <a:lnTo>
                    <a:pt x="1298" y="1543"/>
                  </a:lnTo>
                  <a:lnTo>
                    <a:pt x="1302" y="1546"/>
                  </a:lnTo>
                  <a:lnTo>
                    <a:pt x="1305" y="1549"/>
                  </a:lnTo>
                  <a:lnTo>
                    <a:pt x="1331" y="1549"/>
                  </a:lnTo>
                  <a:lnTo>
                    <a:pt x="1341" y="1568"/>
                  </a:lnTo>
                  <a:lnTo>
                    <a:pt x="1368" y="1568"/>
                  </a:lnTo>
                  <a:lnTo>
                    <a:pt x="1369" y="1570"/>
                  </a:lnTo>
                  <a:lnTo>
                    <a:pt x="1370" y="1573"/>
                  </a:lnTo>
                  <a:lnTo>
                    <a:pt x="1372" y="1575"/>
                  </a:lnTo>
                  <a:lnTo>
                    <a:pt x="1373" y="1576"/>
                  </a:lnTo>
                  <a:lnTo>
                    <a:pt x="1377" y="1577"/>
                  </a:lnTo>
                  <a:lnTo>
                    <a:pt x="1383" y="1577"/>
                  </a:lnTo>
                  <a:lnTo>
                    <a:pt x="1387" y="1577"/>
                  </a:lnTo>
                  <a:lnTo>
                    <a:pt x="1392" y="1578"/>
                  </a:lnTo>
                  <a:lnTo>
                    <a:pt x="1394" y="1579"/>
                  </a:lnTo>
                  <a:lnTo>
                    <a:pt x="1395" y="1580"/>
                  </a:lnTo>
                  <a:lnTo>
                    <a:pt x="1396" y="1583"/>
                  </a:lnTo>
                  <a:lnTo>
                    <a:pt x="1396" y="1586"/>
                  </a:lnTo>
                  <a:lnTo>
                    <a:pt x="1415" y="1586"/>
                  </a:lnTo>
                  <a:lnTo>
                    <a:pt x="1425" y="1595"/>
                  </a:lnTo>
                  <a:lnTo>
                    <a:pt x="1439" y="1604"/>
                  </a:lnTo>
                  <a:lnTo>
                    <a:pt x="1445" y="1607"/>
                  </a:lnTo>
                  <a:lnTo>
                    <a:pt x="1451" y="1611"/>
                  </a:lnTo>
                  <a:lnTo>
                    <a:pt x="1456" y="1613"/>
                  </a:lnTo>
                  <a:lnTo>
                    <a:pt x="1461" y="1614"/>
                  </a:lnTo>
                  <a:lnTo>
                    <a:pt x="1462" y="1621"/>
                  </a:lnTo>
                  <a:lnTo>
                    <a:pt x="1464" y="1625"/>
                  </a:lnTo>
                  <a:lnTo>
                    <a:pt x="1466" y="1628"/>
                  </a:lnTo>
                  <a:lnTo>
                    <a:pt x="1470" y="1632"/>
                  </a:lnTo>
                  <a:lnTo>
                    <a:pt x="1474" y="1634"/>
                  </a:lnTo>
                  <a:lnTo>
                    <a:pt x="1477" y="1636"/>
                  </a:lnTo>
                  <a:lnTo>
                    <a:pt x="1479" y="1639"/>
                  </a:lnTo>
                  <a:lnTo>
                    <a:pt x="1480" y="1642"/>
                  </a:lnTo>
                  <a:lnTo>
                    <a:pt x="1498" y="1642"/>
                  </a:lnTo>
                  <a:lnTo>
                    <a:pt x="1503" y="1649"/>
                  </a:lnTo>
                  <a:lnTo>
                    <a:pt x="1510" y="1655"/>
                  </a:lnTo>
                  <a:lnTo>
                    <a:pt x="1518" y="1662"/>
                  </a:lnTo>
                  <a:lnTo>
                    <a:pt x="1528" y="1668"/>
                  </a:lnTo>
                  <a:lnTo>
                    <a:pt x="1539" y="1672"/>
                  </a:lnTo>
                  <a:lnTo>
                    <a:pt x="1550" y="1675"/>
                  </a:lnTo>
                  <a:lnTo>
                    <a:pt x="1561" y="1678"/>
                  </a:lnTo>
                  <a:lnTo>
                    <a:pt x="1573" y="1679"/>
                  </a:lnTo>
                  <a:lnTo>
                    <a:pt x="1581" y="1697"/>
                  </a:lnTo>
                  <a:lnTo>
                    <a:pt x="1612" y="1699"/>
                  </a:lnTo>
                  <a:lnTo>
                    <a:pt x="1647" y="1702"/>
                  </a:lnTo>
                  <a:lnTo>
                    <a:pt x="1684" y="1704"/>
                  </a:lnTo>
                  <a:lnTo>
                    <a:pt x="1720" y="1707"/>
                  </a:lnTo>
                  <a:lnTo>
                    <a:pt x="1720" y="170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4" name="Freeform 57">
              <a:extLst>
                <a:ext uri="{FF2B5EF4-FFF2-40B4-BE49-F238E27FC236}">
                  <a16:creationId xmlns:a16="http://schemas.microsoft.com/office/drawing/2014/main" id="{A2530350-18B1-41D6-B3B1-0033C72EDED7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089900" y="2874963"/>
              <a:ext cx="327604" cy="198438"/>
            </a:xfrm>
            <a:custGeom>
              <a:avLst/>
              <a:gdLst/>
              <a:ahLst/>
              <a:cxnLst>
                <a:cxn ang="0">
                  <a:pos x="652" y="539"/>
                </a:cxn>
                <a:cxn ang="0">
                  <a:pos x="679" y="573"/>
                </a:cxn>
                <a:cxn ang="0">
                  <a:pos x="745" y="594"/>
                </a:cxn>
                <a:cxn ang="0">
                  <a:pos x="782" y="462"/>
                </a:cxn>
                <a:cxn ang="0">
                  <a:pos x="810" y="407"/>
                </a:cxn>
                <a:cxn ang="0">
                  <a:pos x="835" y="386"/>
                </a:cxn>
                <a:cxn ang="0">
                  <a:pos x="868" y="354"/>
                </a:cxn>
                <a:cxn ang="0">
                  <a:pos x="891" y="321"/>
                </a:cxn>
                <a:cxn ang="0">
                  <a:pos x="1004" y="237"/>
                </a:cxn>
                <a:cxn ang="0">
                  <a:pos x="1037" y="212"/>
                </a:cxn>
                <a:cxn ang="0">
                  <a:pos x="1231" y="199"/>
                </a:cxn>
                <a:cxn ang="0">
                  <a:pos x="1287" y="145"/>
                </a:cxn>
                <a:cxn ang="0">
                  <a:pos x="1303" y="123"/>
                </a:cxn>
                <a:cxn ang="0">
                  <a:pos x="1325" y="66"/>
                </a:cxn>
                <a:cxn ang="0">
                  <a:pos x="1366" y="49"/>
                </a:cxn>
                <a:cxn ang="0">
                  <a:pos x="1402" y="11"/>
                </a:cxn>
                <a:cxn ang="0">
                  <a:pos x="1470" y="4"/>
                </a:cxn>
                <a:cxn ang="0">
                  <a:pos x="1537" y="28"/>
                </a:cxn>
                <a:cxn ang="0">
                  <a:pos x="1572" y="57"/>
                </a:cxn>
                <a:cxn ang="0">
                  <a:pos x="1596" y="93"/>
                </a:cxn>
                <a:cxn ang="0">
                  <a:pos x="1626" y="193"/>
                </a:cxn>
                <a:cxn ang="0">
                  <a:pos x="1658" y="237"/>
                </a:cxn>
                <a:cxn ang="0">
                  <a:pos x="1717" y="276"/>
                </a:cxn>
                <a:cxn ang="0">
                  <a:pos x="1747" y="298"/>
                </a:cxn>
                <a:cxn ang="0">
                  <a:pos x="1774" y="346"/>
                </a:cxn>
                <a:cxn ang="0">
                  <a:pos x="1749" y="448"/>
                </a:cxn>
                <a:cxn ang="0">
                  <a:pos x="1722" y="559"/>
                </a:cxn>
                <a:cxn ang="0">
                  <a:pos x="1764" y="622"/>
                </a:cxn>
                <a:cxn ang="0">
                  <a:pos x="1795" y="769"/>
                </a:cxn>
                <a:cxn ang="0">
                  <a:pos x="1792" y="938"/>
                </a:cxn>
                <a:cxn ang="0">
                  <a:pos x="1701" y="919"/>
                </a:cxn>
                <a:cxn ang="0">
                  <a:pos x="1640" y="897"/>
                </a:cxn>
                <a:cxn ang="0">
                  <a:pos x="1607" y="880"/>
                </a:cxn>
                <a:cxn ang="0">
                  <a:pos x="1506" y="854"/>
                </a:cxn>
                <a:cxn ang="0">
                  <a:pos x="1434" y="842"/>
                </a:cxn>
                <a:cxn ang="0">
                  <a:pos x="1348" y="825"/>
                </a:cxn>
                <a:cxn ang="0">
                  <a:pos x="1274" y="766"/>
                </a:cxn>
                <a:cxn ang="0">
                  <a:pos x="1217" y="713"/>
                </a:cxn>
                <a:cxn ang="0">
                  <a:pos x="1174" y="687"/>
                </a:cxn>
                <a:cxn ang="0">
                  <a:pos x="1054" y="713"/>
                </a:cxn>
                <a:cxn ang="0">
                  <a:pos x="1001" y="756"/>
                </a:cxn>
                <a:cxn ang="0">
                  <a:pos x="948" y="797"/>
                </a:cxn>
                <a:cxn ang="0">
                  <a:pos x="886" y="841"/>
                </a:cxn>
                <a:cxn ang="0">
                  <a:pos x="812" y="930"/>
                </a:cxn>
                <a:cxn ang="0">
                  <a:pos x="797" y="976"/>
                </a:cxn>
                <a:cxn ang="0">
                  <a:pos x="779" y="999"/>
                </a:cxn>
                <a:cxn ang="0">
                  <a:pos x="750" y="1032"/>
                </a:cxn>
                <a:cxn ang="0">
                  <a:pos x="713" y="1071"/>
                </a:cxn>
                <a:cxn ang="0">
                  <a:pos x="691" y="1085"/>
                </a:cxn>
                <a:cxn ang="0">
                  <a:pos x="635" y="1119"/>
                </a:cxn>
                <a:cxn ang="0">
                  <a:pos x="524" y="1192"/>
                </a:cxn>
                <a:cxn ang="0">
                  <a:pos x="486" y="1221"/>
                </a:cxn>
                <a:cxn ang="0">
                  <a:pos x="368" y="1232"/>
                </a:cxn>
                <a:cxn ang="0">
                  <a:pos x="99" y="1207"/>
                </a:cxn>
                <a:cxn ang="0">
                  <a:pos x="25" y="1138"/>
                </a:cxn>
                <a:cxn ang="0">
                  <a:pos x="51" y="1115"/>
                </a:cxn>
                <a:cxn ang="0">
                  <a:pos x="73" y="1077"/>
                </a:cxn>
                <a:cxn ang="0">
                  <a:pos x="199" y="998"/>
                </a:cxn>
                <a:cxn ang="0">
                  <a:pos x="281" y="917"/>
                </a:cxn>
                <a:cxn ang="0">
                  <a:pos x="332" y="817"/>
                </a:cxn>
                <a:cxn ang="0">
                  <a:pos x="479" y="707"/>
                </a:cxn>
                <a:cxn ang="0">
                  <a:pos x="549" y="590"/>
                </a:cxn>
                <a:cxn ang="0">
                  <a:pos x="572" y="563"/>
                </a:cxn>
              </a:cxnLst>
              <a:rect l="0" t="0" r="r" b="b"/>
              <a:pathLst>
                <a:path w="1796" h="1235">
                  <a:moveTo>
                    <a:pt x="613" y="545"/>
                  </a:moveTo>
                  <a:lnTo>
                    <a:pt x="617" y="546"/>
                  </a:lnTo>
                  <a:lnTo>
                    <a:pt x="630" y="537"/>
                  </a:lnTo>
                  <a:lnTo>
                    <a:pt x="641" y="528"/>
                  </a:lnTo>
                  <a:lnTo>
                    <a:pt x="641" y="537"/>
                  </a:lnTo>
                  <a:lnTo>
                    <a:pt x="647" y="537"/>
                  </a:lnTo>
                  <a:lnTo>
                    <a:pt x="650" y="538"/>
                  </a:lnTo>
                  <a:lnTo>
                    <a:pt x="652" y="538"/>
                  </a:lnTo>
                  <a:lnTo>
                    <a:pt x="652" y="539"/>
                  </a:lnTo>
                  <a:lnTo>
                    <a:pt x="652" y="541"/>
                  </a:lnTo>
                  <a:lnTo>
                    <a:pt x="652" y="542"/>
                  </a:lnTo>
                  <a:lnTo>
                    <a:pt x="653" y="542"/>
                  </a:lnTo>
                  <a:lnTo>
                    <a:pt x="655" y="542"/>
                  </a:lnTo>
                  <a:lnTo>
                    <a:pt x="660" y="546"/>
                  </a:lnTo>
                  <a:lnTo>
                    <a:pt x="662" y="554"/>
                  </a:lnTo>
                  <a:lnTo>
                    <a:pt x="665" y="561"/>
                  </a:lnTo>
                  <a:lnTo>
                    <a:pt x="670" y="565"/>
                  </a:lnTo>
                  <a:lnTo>
                    <a:pt x="679" y="573"/>
                  </a:lnTo>
                  <a:lnTo>
                    <a:pt x="689" y="580"/>
                  </a:lnTo>
                  <a:lnTo>
                    <a:pt x="691" y="584"/>
                  </a:lnTo>
                  <a:lnTo>
                    <a:pt x="693" y="588"/>
                  </a:lnTo>
                  <a:lnTo>
                    <a:pt x="702" y="588"/>
                  </a:lnTo>
                  <a:lnTo>
                    <a:pt x="704" y="591"/>
                  </a:lnTo>
                  <a:lnTo>
                    <a:pt x="710" y="592"/>
                  </a:lnTo>
                  <a:lnTo>
                    <a:pt x="718" y="593"/>
                  </a:lnTo>
                  <a:lnTo>
                    <a:pt x="727" y="593"/>
                  </a:lnTo>
                  <a:lnTo>
                    <a:pt x="745" y="594"/>
                  </a:lnTo>
                  <a:lnTo>
                    <a:pt x="755" y="594"/>
                  </a:lnTo>
                  <a:lnTo>
                    <a:pt x="768" y="580"/>
                  </a:lnTo>
                  <a:lnTo>
                    <a:pt x="769" y="565"/>
                  </a:lnTo>
                  <a:lnTo>
                    <a:pt x="770" y="548"/>
                  </a:lnTo>
                  <a:lnTo>
                    <a:pt x="772" y="532"/>
                  </a:lnTo>
                  <a:lnTo>
                    <a:pt x="776" y="514"/>
                  </a:lnTo>
                  <a:lnTo>
                    <a:pt x="778" y="496"/>
                  </a:lnTo>
                  <a:lnTo>
                    <a:pt x="780" y="479"/>
                  </a:lnTo>
                  <a:lnTo>
                    <a:pt x="782" y="462"/>
                  </a:lnTo>
                  <a:lnTo>
                    <a:pt x="782" y="448"/>
                  </a:lnTo>
                  <a:lnTo>
                    <a:pt x="793" y="442"/>
                  </a:lnTo>
                  <a:lnTo>
                    <a:pt x="793" y="439"/>
                  </a:lnTo>
                  <a:lnTo>
                    <a:pt x="794" y="433"/>
                  </a:lnTo>
                  <a:lnTo>
                    <a:pt x="796" y="427"/>
                  </a:lnTo>
                  <a:lnTo>
                    <a:pt x="798" y="420"/>
                  </a:lnTo>
                  <a:lnTo>
                    <a:pt x="801" y="414"/>
                  </a:lnTo>
                  <a:lnTo>
                    <a:pt x="806" y="410"/>
                  </a:lnTo>
                  <a:lnTo>
                    <a:pt x="810" y="407"/>
                  </a:lnTo>
                  <a:lnTo>
                    <a:pt x="816" y="405"/>
                  </a:lnTo>
                  <a:lnTo>
                    <a:pt x="816" y="402"/>
                  </a:lnTo>
                  <a:lnTo>
                    <a:pt x="818" y="399"/>
                  </a:lnTo>
                  <a:lnTo>
                    <a:pt x="822" y="397"/>
                  </a:lnTo>
                  <a:lnTo>
                    <a:pt x="825" y="395"/>
                  </a:lnTo>
                  <a:lnTo>
                    <a:pt x="826" y="394"/>
                  </a:lnTo>
                  <a:lnTo>
                    <a:pt x="828" y="392"/>
                  </a:lnTo>
                  <a:lnTo>
                    <a:pt x="832" y="389"/>
                  </a:lnTo>
                  <a:lnTo>
                    <a:pt x="835" y="386"/>
                  </a:lnTo>
                  <a:lnTo>
                    <a:pt x="843" y="383"/>
                  </a:lnTo>
                  <a:lnTo>
                    <a:pt x="848" y="382"/>
                  </a:lnTo>
                  <a:lnTo>
                    <a:pt x="851" y="380"/>
                  </a:lnTo>
                  <a:lnTo>
                    <a:pt x="854" y="374"/>
                  </a:lnTo>
                  <a:lnTo>
                    <a:pt x="858" y="370"/>
                  </a:lnTo>
                  <a:lnTo>
                    <a:pt x="863" y="368"/>
                  </a:lnTo>
                  <a:lnTo>
                    <a:pt x="864" y="363"/>
                  </a:lnTo>
                  <a:lnTo>
                    <a:pt x="866" y="359"/>
                  </a:lnTo>
                  <a:lnTo>
                    <a:pt x="868" y="354"/>
                  </a:lnTo>
                  <a:lnTo>
                    <a:pt x="872" y="349"/>
                  </a:lnTo>
                  <a:lnTo>
                    <a:pt x="875" y="343"/>
                  </a:lnTo>
                  <a:lnTo>
                    <a:pt x="878" y="338"/>
                  </a:lnTo>
                  <a:lnTo>
                    <a:pt x="881" y="334"/>
                  </a:lnTo>
                  <a:lnTo>
                    <a:pt x="882" y="330"/>
                  </a:lnTo>
                  <a:lnTo>
                    <a:pt x="885" y="328"/>
                  </a:lnTo>
                  <a:lnTo>
                    <a:pt x="889" y="325"/>
                  </a:lnTo>
                  <a:lnTo>
                    <a:pt x="891" y="322"/>
                  </a:lnTo>
                  <a:lnTo>
                    <a:pt x="891" y="321"/>
                  </a:lnTo>
                  <a:lnTo>
                    <a:pt x="894" y="320"/>
                  </a:lnTo>
                  <a:lnTo>
                    <a:pt x="900" y="317"/>
                  </a:lnTo>
                  <a:lnTo>
                    <a:pt x="906" y="313"/>
                  </a:lnTo>
                  <a:lnTo>
                    <a:pt x="915" y="307"/>
                  </a:lnTo>
                  <a:lnTo>
                    <a:pt x="933" y="295"/>
                  </a:lnTo>
                  <a:lnTo>
                    <a:pt x="953" y="279"/>
                  </a:lnTo>
                  <a:lnTo>
                    <a:pt x="973" y="264"/>
                  </a:lnTo>
                  <a:lnTo>
                    <a:pt x="990" y="249"/>
                  </a:lnTo>
                  <a:lnTo>
                    <a:pt x="1004" y="237"/>
                  </a:lnTo>
                  <a:lnTo>
                    <a:pt x="1009" y="230"/>
                  </a:lnTo>
                  <a:lnTo>
                    <a:pt x="1012" y="230"/>
                  </a:lnTo>
                  <a:lnTo>
                    <a:pt x="1017" y="228"/>
                  </a:lnTo>
                  <a:lnTo>
                    <a:pt x="1022" y="226"/>
                  </a:lnTo>
                  <a:lnTo>
                    <a:pt x="1027" y="224"/>
                  </a:lnTo>
                  <a:lnTo>
                    <a:pt x="1030" y="220"/>
                  </a:lnTo>
                  <a:lnTo>
                    <a:pt x="1034" y="217"/>
                  </a:lnTo>
                  <a:lnTo>
                    <a:pt x="1036" y="215"/>
                  </a:lnTo>
                  <a:lnTo>
                    <a:pt x="1037" y="212"/>
                  </a:lnTo>
                  <a:lnTo>
                    <a:pt x="1059" y="211"/>
                  </a:lnTo>
                  <a:lnTo>
                    <a:pt x="1083" y="210"/>
                  </a:lnTo>
                  <a:lnTo>
                    <a:pt x="1108" y="209"/>
                  </a:lnTo>
                  <a:lnTo>
                    <a:pt x="1134" y="207"/>
                  </a:lnTo>
                  <a:lnTo>
                    <a:pt x="1160" y="206"/>
                  </a:lnTo>
                  <a:lnTo>
                    <a:pt x="1184" y="203"/>
                  </a:lnTo>
                  <a:lnTo>
                    <a:pt x="1208" y="203"/>
                  </a:lnTo>
                  <a:lnTo>
                    <a:pt x="1230" y="202"/>
                  </a:lnTo>
                  <a:lnTo>
                    <a:pt x="1231" y="199"/>
                  </a:lnTo>
                  <a:lnTo>
                    <a:pt x="1233" y="196"/>
                  </a:lnTo>
                  <a:lnTo>
                    <a:pt x="1237" y="192"/>
                  </a:lnTo>
                  <a:lnTo>
                    <a:pt x="1240" y="190"/>
                  </a:lnTo>
                  <a:lnTo>
                    <a:pt x="1248" y="186"/>
                  </a:lnTo>
                  <a:lnTo>
                    <a:pt x="1254" y="183"/>
                  </a:lnTo>
                  <a:lnTo>
                    <a:pt x="1259" y="174"/>
                  </a:lnTo>
                  <a:lnTo>
                    <a:pt x="1275" y="164"/>
                  </a:lnTo>
                  <a:lnTo>
                    <a:pt x="1287" y="155"/>
                  </a:lnTo>
                  <a:lnTo>
                    <a:pt x="1287" y="145"/>
                  </a:lnTo>
                  <a:lnTo>
                    <a:pt x="1288" y="145"/>
                  </a:lnTo>
                  <a:lnTo>
                    <a:pt x="1289" y="144"/>
                  </a:lnTo>
                  <a:lnTo>
                    <a:pt x="1290" y="143"/>
                  </a:lnTo>
                  <a:lnTo>
                    <a:pt x="1292" y="141"/>
                  </a:lnTo>
                  <a:lnTo>
                    <a:pt x="1292" y="136"/>
                  </a:lnTo>
                  <a:lnTo>
                    <a:pt x="1292" y="132"/>
                  </a:lnTo>
                  <a:lnTo>
                    <a:pt x="1295" y="129"/>
                  </a:lnTo>
                  <a:lnTo>
                    <a:pt x="1299" y="125"/>
                  </a:lnTo>
                  <a:lnTo>
                    <a:pt x="1303" y="123"/>
                  </a:lnTo>
                  <a:lnTo>
                    <a:pt x="1306" y="122"/>
                  </a:lnTo>
                  <a:lnTo>
                    <a:pt x="1307" y="116"/>
                  </a:lnTo>
                  <a:lnTo>
                    <a:pt x="1309" y="110"/>
                  </a:lnTo>
                  <a:lnTo>
                    <a:pt x="1312" y="103"/>
                  </a:lnTo>
                  <a:lnTo>
                    <a:pt x="1315" y="96"/>
                  </a:lnTo>
                  <a:lnTo>
                    <a:pt x="1318" y="88"/>
                  </a:lnTo>
                  <a:lnTo>
                    <a:pt x="1322" y="81"/>
                  </a:lnTo>
                  <a:lnTo>
                    <a:pt x="1324" y="73"/>
                  </a:lnTo>
                  <a:lnTo>
                    <a:pt x="1325" y="66"/>
                  </a:lnTo>
                  <a:lnTo>
                    <a:pt x="1329" y="61"/>
                  </a:lnTo>
                  <a:lnTo>
                    <a:pt x="1338" y="61"/>
                  </a:lnTo>
                  <a:lnTo>
                    <a:pt x="1348" y="61"/>
                  </a:lnTo>
                  <a:lnTo>
                    <a:pt x="1350" y="58"/>
                  </a:lnTo>
                  <a:lnTo>
                    <a:pt x="1352" y="57"/>
                  </a:lnTo>
                  <a:lnTo>
                    <a:pt x="1354" y="56"/>
                  </a:lnTo>
                  <a:lnTo>
                    <a:pt x="1357" y="56"/>
                  </a:lnTo>
                  <a:lnTo>
                    <a:pt x="1362" y="53"/>
                  </a:lnTo>
                  <a:lnTo>
                    <a:pt x="1366" y="49"/>
                  </a:lnTo>
                  <a:lnTo>
                    <a:pt x="1371" y="46"/>
                  </a:lnTo>
                  <a:lnTo>
                    <a:pt x="1372" y="43"/>
                  </a:lnTo>
                  <a:lnTo>
                    <a:pt x="1381" y="43"/>
                  </a:lnTo>
                  <a:lnTo>
                    <a:pt x="1383" y="41"/>
                  </a:lnTo>
                  <a:lnTo>
                    <a:pt x="1386" y="35"/>
                  </a:lnTo>
                  <a:lnTo>
                    <a:pt x="1391" y="30"/>
                  </a:lnTo>
                  <a:lnTo>
                    <a:pt x="1395" y="28"/>
                  </a:lnTo>
                  <a:lnTo>
                    <a:pt x="1395" y="18"/>
                  </a:lnTo>
                  <a:lnTo>
                    <a:pt x="1402" y="11"/>
                  </a:lnTo>
                  <a:lnTo>
                    <a:pt x="1410" y="5"/>
                  </a:lnTo>
                  <a:lnTo>
                    <a:pt x="1429" y="5"/>
                  </a:lnTo>
                  <a:lnTo>
                    <a:pt x="1429" y="3"/>
                  </a:lnTo>
                  <a:lnTo>
                    <a:pt x="1431" y="1"/>
                  </a:lnTo>
                  <a:lnTo>
                    <a:pt x="1433" y="1"/>
                  </a:lnTo>
                  <a:lnTo>
                    <a:pt x="1436" y="0"/>
                  </a:lnTo>
                  <a:lnTo>
                    <a:pt x="1443" y="0"/>
                  </a:lnTo>
                  <a:lnTo>
                    <a:pt x="1452" y="1"/>
                  </a:lnTo>
                  <a:lnTo>
                    <a:pt x="1470" y="4"/>
                  </a:lnTo>
                  <a:lnTo>
                    <a:pt x="1480" y="5"/>
                  </a:lnTo>
                  <a:lnTo>
                    <a:pt x="1485" y="8"/>
                  </a:lnTo>
                  <a:lnTo>
                    <a:pt x="1491" y="13"/>
                  </a:lnTo>
                  <a:lnTo>
                    <a:pt x="1499" y="16"/>
                  </a:lnTo>
                  <a:lnTo>
                    <a:pt x="1507" y="19"/>
                  </a:lnTo>
                  <a:lnTo>
                    <a:pt x="1515" y="23"/>
                  </a:lnTo>
                  <a:lnTo>
                    <a:pt x="1524" y="26"/>
                  </a:lnTo>
                  <a:lnTo>
                    <a:pt x="1530" y="27"/>
                  </a:lnTo>
                  <a:lnTo>
                    <a:pt x="1537" y="28"/>
                  </a:lnTo>
                  <a:lnTo>
                    <a:pt x="1539" y="32"/>
                  </a:lnTo>
                  <a:lnTo>
                    <a:pt x="1542" y="34"/>
                  </a:lnTo>
                  <a:lnTo>
                    <a:pt x="1545" y="37"/>
                  </a:lnTo>
                  <a:lnTo>
                    <a:pt x="1549" y="38"/>
                  </a:lnTo>
                  <a:lnTo>
                    <a:pt x="1557" y="42"/>
                  </a:lnTo>
                  <a:lnTo>
                    <a:pt x="1565" y="43"/>
                  </a:lnTo>
                  <a:lnTo>
                    <a:pt x="1565" y="52"/>
                  </a:lnTo>
                  <a:lnTo>
                    <a:pt x="1568" y="53"/>
                  </a:lnTo>
                  <a:lnTo>
                    <a:pt x="1572" y="57"/>
                  </a:lnTo>
                  <a:lnTo>
                    <a:pt x="1574" y="62"/>
                  </a:lnTo>
                  <a:lnTo>
                    <a:pt x="1575" y="66"/>
                  </a:lnTo>
                  <a:lnTo>
                    <a:pt x="1584" y="71"/>
                  </a:lnTo>
                  <a:lnTo>
                    <a:pt x="1588" y="75"/>
                  </a:lnTo>
                  <a:lnTo>
                    <a:pt x="1590" y="81"/>
                  </a:lnTo>
                  <a:lnTo>
                    <a:pt x="1592" y="86"/>
                  </a:lnTo>
                  <a:lnTo>
                    <a:pt x="1593" y="90"/>
                  </a:lnTo>
                  <a:lnTo>
                    <a:pt x="1595" y="92"/>
                  </a:lnTo>
                  <a:lnTo>
                    <a:pt x="1596" y="93"/>
                  </a:lnTo>
                  <a:lnTo>
                    <a:pt x="1599" y="94"/>
                  </a:lnTo>
                  <a:lnTo>
                    <a:pt x="1600" y="105"/>
                  </a:lnTo>
                  <a:lnTo>
                    <a:pt x="1603" y="119"/>
                  </a:lnTo>
                  <a:lnTo>
                    <a:pt x="1607" y="132"/>
                  </a:lnTo>
                  <a:lnTo>
                    <a:pt x="1612" y="145"/>
                  </a:lnTo>
                  <a:lnTo>
                    <a:pt x="1617" y="159"/>
                  </a:lnTo>
                  <a:lnTo>
                    <a:pt x="1622" y="171"/>
                  </a:lnTo>
                  <a:lnTo>
                    <a:pt x="1625" y="183"/>
                  </a:lnTo>
                  <a:lnTo>
                    <a:pt x="1626" y="193"/>
                  </a:lnTo>
                  <a:lnTo>
                    <a:pt x="1631" y="199"/>
                  </a:lnTo>
                  <a:lnTo>
                    <a:pt x="1636" y="207"/>
                  </a:lnTo>
                  <a:lnTo>
                    <a:pt x="1643" y="216"/>
                  </a:lnTo>
                  <a:lnTo>
                    <a:pt x="1650" y="221"/>
                  </a:lnTo>
                  <a:lnTo>
                    <a:pt x="1650" y="226"/>
                  </a:lnTo>
                  <a:lnTo>
                    <a:pt x="1651" y="229"/>
                  </a:lnTo>
                  <a:lnTo>
                    <a:pt x="1652" y="232"/>
                  </a:lnTo>
                  <a:lnTo>
                    <a:pt x="1653" y="235"/>
                  </a:lnTo>
                  <a:lnTo>
                    <a:pt x="1658" y="237"/>
                  </a:lnTo>
                  <a:lnTo>
                    <a:pt x="1664" y="240"/>
                  </a:lnTo>
                  <a:lnTo>
                    <a:pt x="1667" y="247"/>
                  </a:lnTo>
                  <a:lnTo>
                    <a:pt x="1669" y="255"/>
                  </a:lnTo>
                  <a:lnTo>
                    <a:pt x="1683" y="259"/>
                  </a:lnTo>
                  <a:lnTo>
                    <a:pt x="1697" y="264"/>
                  </a:lnTo>
                  <a:lnTo>
                    <a:pt x="1700" y="268"/>
                  </a:lnTo>
                  <a:lnTo>
                    <a:pt x="1702" y="273"/>
                  </a:lnTo>
                  <a:lnTo>
                    <a:pt x="1716" y="273"/>
                  </a:lnTo>
                  <a:lnTo>
                    <a:pt x="1717" y="276"/>
                  </a:lnTo>
                  <a:lnTo>
                    <a:pt x="1719" y="277"/>
                  </a:lnTo>
                  <a:lnTo>
                    <a:pt x="1722" y="278"/>
                  </a:lnTo>
                  <a:lnTo>
                    <a:pt x="1726" y="278"/>
                  </a:lnTo>
                  <a:lnTo>
                    <a:pt x="1730" y="283"/>
                  </a:lnTo>
                  <a:lnTo>
                    <a:pt x="1735" y="292"/>
                  </a:lnTo>
                  <a:lnTo>
                    <a:pt x="1738" y="293"/>
                  </a:lnTo>
                  <a:lnTo>
                    <a:pt x="1741" y="294"/>
                  </a:lnTo>
                  <a:lnTo>
                    <a:pt x="1744" y="296"/>
                  </a:lnTo>
                  <a:lnTo>
                    <a:pt x="1747" y="298"/>
                  </a:lnTo>
                  <a:lnTo>
                    <a:pt x="1751" y="304"/>
                  </a:lnTo>
                  <a:lnTo>
                    <a:pt x="1756" y="311"/>
                  </a:lnTo>
                  <a:lnTo>
                    <a:pt x="1759" y="317"/>
                  </a:lnTo>
                  <a:lnTo>
                    <a:pt x="1764" y="324"/>
                  </a:lnTo>
                  <a:lnTo>
                    <a:pt x="1766" y="326"/>
                  </a:lnTo>
                  <a:lnTo>
                    <a:pt x="1768" y="328"/>
                  </a:lnTo>
                  <a:lnTo>
                    <a:pt x="1770" y="330"/>
                  </a:lnTo>
                  <a:lnTo>
                    <a:pt x="1773" y="330"/>
                  </a:lnTo>
                  <a:lnTo>
                    <a:pt x="1774" y="346"/>
                  </a:lnTo>
                  <a:lnTo>
                    <a:pt x="1777" y="365"/>
                  </a:lnTo>
                  <a:lnTo>
                    <a:pt x="1780" y="386"/>
                  </a:lnTo>
                  <a:lnTo>
                    <a:pt x="1782" y="405"/>
                  </a:lnTo>
                  <a:lnTo>
                    <a:pt x="1777" y="410"/>
                  </a:lnTo>
                  <a:lnTo>
                    <a:pt x="1768" y="414"/>
                  </a:lnTo>
                  <a:lnTo>
                    <a:pt x="1764" y="424"/>
                  </a:lnTo>
                  <a:lnTo>
                    <a:pt x="1758" y="433"/>
                  </a:lnTo>
                  <a:lnTo>
                    <a:pt x="1749" y="438"/>
                  </a:lnTo>
                  <a:lnTo>
                    <a:pt x="1749" y="448"/>
                  </a:lnTo>
                  <a:lnTo>
                    <a:pt x="1739" y="452"/>
                  </a:lnTo>
                  <a:lnTo>
                    <a:pt x="1735" y="474"/>
                  </a:lnTo>
                  <a:lnTo>
                    <a:pt x="1726" y="510"/>
                  </a:lnTo>
                  <a:lnTo>
                    <a:pt x="1721" y="529"/>
                  </a:lnTo>
                  <a:lnTo>
                    <a:pt x="1720" y="545"/>
                  </a:lnTo>
                  <a:lnTo>
                    <a:pt x="1720" y="552"/>
                  </a:lnTo>
                  <a:lnTo>
                    <a:pt x="1720" y="556"/>
                  </a:lnTo>
                  <a:lnTo>
                    <a:pt x="1721" y="558"/>
                  </a:lnTo>
                  <a:lnTo>
                    <a:pt x="1722" y="559"/>
                  </a:lnTo>
                  <a:lnTo>
                    <a:pt x="1724" y="561"/>
                  </a:lnTo>
                  <a:lnTo>
                    <a:pt x="1726" y="561"/>
                  </a:lnTo>
                  <a:lnTo>
                    <a:pt x="1726" y="575"/>
                  </a:lnTo>
                  <a:lnTo>
                    <a:pt x="1730" y="580"/>
                  </a:lnTo>
                  <a:lnTo>
                    <a:pt x="1739" y="584"/>
                  </a:lnTo>
                  <a:lnTo>
                    <a:pt x="1739" y="594"/>
                  </a:lnTo>
                  <a:lnTo>
                    <a:pt x="1750" y="605"/>
                  </a:lnTo>
                  <a:lnTo>
                    <a:pt x="1758" y="613"/>
                  </a:lnTo>
                  <a:lnTo>
                    <a:pt x="1764" y="622"/>
                  </a:lnTo>
                  <a:lnTo>
                    <a:pt x="1765" y="632"/>
                  </a:lnTo>
                  <a:lnTo>
                    <a:pt x="1768" y="645"/>
                  </a:lnTo>
                  <a:lnTo>
                    <a:pt x="1774" y="660"/>
                  </a:lnTo>
                  <a:lnTo>
                    <a:pt x="1779" y="677"/>
                  </a:lnTo>
                  <a:lnTo>
                    <a:pt x="1786" y="695"/>
                  </a:lnTo>
                  <a:lnTo>
                    <a:pt x="1791" y="712"/>
                  </a:lnTo>
                  <a:lnTo>
                    <a:pt x="1795" y="731"/>
                  </a:lnTo>
                  <a:lnTo>
                    <a:pt x="1796" y="749"/>
                  </a:lnTo>
                  <a:lnTo>
                    <a:pt x="1795" y="769"/>
                  </a:lnTo>
                  <a:lnTo>
                    <a:pt x="1793" y="807"/>
                  </a:lnTo>
                  <a:lnTo>
                    <a:pt x="1792" y="827"/>
                  </a:lnTo>
                  <a:lnTo>
                    <a:pt x="1793" y="845"/>
                  </a:lnTo>
                  <a:lnTo>
                    <a:pt x="1793" y="852"/>
                  </a:lnTo>
                  <a:lnTo>
                    <a:pt x="1794" y="857"/>
                  </a:lnTo>
                  <a:lnTo>
                    <a:pt x="1795" y="861"/>
                  </a:lnTo>
                  <a:lnTo>
                    <a:pt x="1796" y="862"/>
                  </a:lnTo>
                  <a:lnTo>
                    <a:pt x="1796" y="933"/>
                  </a:lnTo>
                  <a:lnTo>
                    <a:pt x="1792" y="938"/>
                  </a:lnTo>
                  <a:lnTo>
                    <a:pt x="1773" y="938"/>
                  </a:lnTo>
                  <a:lnTo>
                    <a:pt x="1755" y="936"/>
                  </a:lnTo>
                  <a:lnTo>
                    <a:pt x="1746" y="934"/>
                  </a:lnTo>
                  <a:lnTo>
                    <a:pt x="1738" y="932"/>
                  </a:lnTo>
                  <a:lnTo>
                    <a:pt x="1731" y="928"/>
                  </a:lnTo>
                  <a:lnTo>
                    <a:pt x="1726" y="923"/>
                  </a:lnTo>
                  <a:lnTo>
                    <a:pt x="1719" y="923"/>
                  </a:lnTo>
                  <a:lnTo>
                    <a:pt x="1710" y="921"/>
                  </a:lnTo>
                  <a:lnTo>
                    <a:pt x="1701" y="919"/>
                  </a:lnTo>
                  <a:lnTo>
                    <a:pt x="1691" y="915"/>
                  </a:lnTo>
                  <a:lnTo>
                    <a:pt x="1681" y="912"/>
                  </a:lnTo>
                  <a:lnTo>
                    <a:pt x="1672" y="908"/>
                  </a:lnTo>
                  <a:lnTo>
                    <a:pt x="1664" y="903"/>
                  </a:lnTo>
                  <a:lnTo>
                    <a:pt x="1660" y="900"/>
                  </a:lnTo>
                  <a:lnTo>
                    <a:pt x="1652" y="900"/>
                  </a:lnTo>
                  <a:lnTo>
                    <a:pt x="1645" y="899"/>
                  </a:lnTo>
                  <a:lnTo>
                    <a:pt x="1643" y="898"/>
                  </a:lnTo>
                  <a:lnTo>
                    <a:pt x="1640" y="897"/>
                  </a:lnTo>
                  <a:lnTo>
                    <a:pt x="1638" y="893"/>
                  </a:lnTo>
                  <a:lnTo>
                    <a:pt x="1636" y="891"/>
                  </a:lnTo>
                  <a:lnTo>
                    <a:pt x="1629" y="890"/>
                  </a:lnTo>
                  <a:lnTo>
                    <a:pt x="1623" y="888"/>
                  </a:lnTo>
                  <a:lnTo>
                    <a:pt x="1621" y="886"/>
                  </a:lnTo>
                  <a:lnTo>
                    <a:pt x="1619" y="884"/>
                  </a:lnTo>
                  <a:lnTo>
                    <a:pt x="1617" y="883"/>
                  </a:lnTo>
                  <a:lnTo>
                    <a:pt x="1617" y="881"/>
                  </a:lnTo>
                  <a:lnTo>
                    <a:pt x="1607" y="880"/>
                  </a:lnTo>
                  <a:lnTo>
                    <a:pt x="1595" y="878"/>
                  </a:lnTo>
                  <a:lnTo>
                    <a:pt x="1588" y="875"/>
                  </a:lnTo>
                  <a:lnTo>
                    <a:pt x="1584" y="873"/>
                  </a:lnTo>
                  <a:lnTo>
                    <a:pt x="1581" y="871"/>
                  </a:lnTo>
                  <a:lnTo>
                    <a:pt x="1580" y="868"/>
                  </a:lnTo>
                  <a:lnTo>
                    <a:pt x="1565" y="868"/>
                  </a:lnTo>
                  <a:lnTo>
                    <a:pt x="1547" y="861"/>
                  </a:lnTo>
                  <a:lnTo>
                    <a:pt x="1527" y="856"/>
                  </a:lnTo>
                  <a:lnTo>
                    <a:pt x="1506" y="854"/>
                  </a:lnTo>
                  <a:lnTo>
                    <a:pt x="1485" y="853"/>
                  </a:lnTo>
                  <a:lnTo>
                    <a:pt x="1481" y="850"/>
                  </a:lnTo>
                  <a:lnTo>
                    <a:pt x="1478" y="847"/>
                  </a:lnTo>
                  <a:lnTo>
                    <a:pt x="1473" y="846"/>
                  </a:lnTo>
                  <a:lnTo>
                    <a:pt x="1469" y="845"/>
                  </a:lnTo>
                  <a:lnTo>
                    <a:pt x="1461" y="844"/>
                  </a:lnTo>
                  <a:lnTo>
                    <a:pt x="1452" y="843"/>
                  </a:lnTo>
                  <a:lnTo>
                    <a:pt x="1443" y="843"/>
                  </a:lnTo>
                  <a:lnTo>
                    <a:pt x="1434" y="842"/>
                  </a:lnTo>
                  <a:lnTo>
                    <a:pt x="1431" y="841"/>
                  </a:lnTo>
                  <a:lnTo>
                    <a:pt x="1427" y="840"/>
                  </a:lnTo>
                  <a:lnTo>
                    <a:pt x="1423" y="837"/>
                  </a:lnTo>
                  <a:lnTo>
                    <a:pt x="1419" y="834"/>
                  </a:lnTo>
                  <a:lnTo>
                    <a:pt x="1405" y="833"/>
                  </a:lnTo>
                  <a:lnTo>
                    <a:pt x="1391" y="831"/>
                  </a:lnTo>
                  <a:lnTo>
                    <a:pt x="1379" y="828"/>
                  </a:lnTo>
                  <a:lnTo>
                    <a:pt x="1367" y="825"/>
                  </a:lnTo>
                  <a:lnTo>
                    <a:pt x="1348" y="825"/>
                  </a:lnTo>
                  <a:lnTo>
                    <a:pt x="1342" y="822"/>
                  </a:lnTo>
                  <a:lnTo>
                    <a:pt x="1334" y="820"/>
                  </a:lnTo>
                  <a:lnTo>
                    <a:pt x="1325" y="809"/>
                  </a:lnTo>
                  <a:lnTo>
                    <a:pt x="1315" y="796"/>
                  </a:lnTo>
                  <a:lnTo>
                    <a:pt x="1304" y="792"/>
                  </a:lnTo>
                  <a:lnTo>
                    <a:pt x="1292" y="787"/>
                  </a:lnTo>
                  <a:lnTo>
                    <a:pt x="1287" y="777"/>
                  </a:lnTo>
                  <a:lnTo>
                    <a:pt x="1278" y="773"/>
                  </a:lnTo>
                  <a:lnTo>
                    <a:pt x="1274" y="766"/>
                  </a:lnTo>
                  <a:lnTo>
                    <a:pt x="1265" y="755"/>
                  </a:lnTo>
                  <a:lnTo>
                    <a:pt x="1256" y="745"/>
                  </a:lnTo>
                  <a:lnTo>
                    <a:pt x="1249" y="740"/>
                  </a:lnTo>
                  <a:lnTo>
                    <a:pt x="1245" y="735"/>
                  </a:lnTo>
                  <a:lnTo>
                    <a:pt x="1240" y="726"/>
                  </a:lnTo>
                  <a:lnTo>
                    <a:pt x="1230" y="726"/>
                  </a:lnTo>
                  <a:lnTo>
                    <a:pt x="1226" y="716"/>
                  </a:lnTo>
                  <a:lnTo>
                    <a:pt x="1221" y="716"/>
                  </a:lnTo>
                  <a:lnTo>
                    <a:pt x="1217" y="713"/>
                  </a:lnTo>
                  <a:lnTo>
                    <a:pt x="1211" y="710"/>
                  </a:lnTo>
                  <a:lnTo>
                    <a:pt x="1206" y="706"/>
                  </a:lnTo>
                  <a:lnTo>
                    <a:pt x="1200" y="701"/>
                  </a:lnTo>
                  <a:lnTo>
                    <a:pt x="1194" y="697"/>
                  </a:lnTo>
                  <a:lnTo>
                    <a:pt x="1191" y="692"/>
                  </a:lnTo>
                  <a:lnTo>
                    <a:pt x="1188" y="688"/>
                  </a:lnTo>
                  <a:lnTo>
                    <a:pt x="1183" y="688"/>
                  </a:lnTo>
                  <a:lnTo>
                    <a:pt x="1177" y="688"/>
                  </a:lnTo>
                  <a:lnTo>
                    <a:pt x="1174" y="687"/>
                  </a:lnTo>
                  <a:lnTo>
                    <a:pt x="1171" y="686"/>
                  </a:lnTo>
                  <a:lnTo>
                    <a:pt x="1170" y="684"/>
                  </a:lnTo>
                  <a:lnTo>
                    <a:pt x="1169" y="683"/>
                  </a:lnTo>
                  <a:lnTo>
                    <a:pt x="1113" y="683"/>
                  </a:lnTo>
                  <a:lnTo>
                    <a:pt x="1101" y="689"/>
                  </a:lnTo>
                  <a:lnTo>
                    <a:pt x="1084" y="697"/>
                  </a:lnTo>
                  <a:lnTo>
                    <a:pt x="1067" y="703"/>
                  </a:lnTo>
                  <a:lnTo>
                    <a:pt x="1056" y="707"/>
                  </a:lnTo>
                  <a:lnTo>
                    <a:pt x="1054" y="713"/>
                  </a:lnTo>
                  <a:lnTo>
                    <a:pt x="1052" y="721"/>
                  </a:lnTo>
                  <a:lnTo>
                    <a:pt x="1041" y="721"/>
                  </a:lnTo>
                  <a:lnTo>
                    <a:pt x="1039" y="726"/>
                  </a:lnTo>
                  <a:lnTo>
                    <a:pt x="1037" y="730"/>
                  </a:lnTo>
                  <a:lnTo>
                    <a:pt x="1030" y="731"/>
                  </a:lnTo>
                  <a:lnTo>
                    <a:pt x="1024" y="735"/>
                  </a:lnTo>
                  <a:lnTo>
                    <a:pt x="1018" y="738"/>
                  </a:lnTo>
                  <a:lnTo>
                    <a:pt x="1011" y="744"/>
                  </a:lnTo>
                  <a:lnTo>
                    <a:pt x="1001" y="756"/>
                  </a:lnTo>
                  <a:lnTo>
                    <a:pt x="990" y="768"/>
                  </a:lnTo>
                  <a:lnTo>
                    <a:pt x="981" y="768"/>
                  </a:lnTo>
                  <a:lnTo>
                    <a:pt x="976" y="773"/>
                  </a:lnTo>
                  <a:lnTo>
                    <a:pt x="971" y="783"/>
                  </a:lnTo>
                  <a:lnTo>
                    <a:pt x="967" y="784"/>
                  </a:lnTo>
                  <a:lnTo>
                    <a:pt x="960" y="787"/>
                  </a:lnTo>
                  <a:lnTo>
                    <a:pt x="954" y="792"/>
                  </a:lnTo>
                  <a:lnTo>
                    <a:pt x="952" y="796"/>
                  </a:lnTo>
                  <a:lnTo>
                    <a:pt x="948" y="797"/>
                  </a:lnTo>
                  <a:lnTo>
                    <a:pt x="942" y="801"/>
                  </a:lnTo>
                  <a:lnTo>
                    <a:pt x="937" y="804"/>
                  </a:lnTo>
                  <a:lnTo>
                    <a:pt x="930" y="808"/>
                  </a:lnTo>
                  <a:lnTo>
                    <a:pt x="924" y="814"/>
                  </a:lnTo>
                  <a:lnTo>
                    <a:pt x="919" y="818"/>
                  </a:lnTo>
                  <a:lnTo>
                    <a:pt x="915" y="822"/>
                  </a:lnTo>
                  <a:lnTo>
                    <a:pt x="914" y="825"/>
                  </a:lnTo>
                  <a:lnTo>
                    <a:pt x="902" y="831"/>
                  </a:lnTo>
                  <a:lnTo>
                    <a:pt x="886" y="841"/>
                  </a:lnTo>
                  <a:lnTo>
                    <a:pt x="870" y="854"/>
                  </a:lnTo>
                  <a:lnTo>
                    <a:pt x="852" y="871"/>
                  </a:lnTo>
                  <a:lnTo>
                    <a:pt x="844" y="879"/>
                  </a:lnTo>
                  <a:lnTo>
                    <a:pt x="836" y="888"/>
                  </a:lnTo>
                  <a:lnTo>
                    <a:pt x="829" y="897"/>
                  </a:lnTo>
                  <a:lnTo>
                    <a:pt x="823" y="905"/>
                  </a:lnTo>
                  <a:lnTo>
                    <a:pt x="818" y="914"/>
                  </a:lnTo>
                  <a:lnTo>
                    <a:pt x="814" y="922"/>
                  </a:lnTo>
                  <a:lnTo>
                    <a:pt x="812" y="930"/>
                  </a:lnTo>
                  <a:lnTo>
                    <a:pt x="810" y="938"/>
                  </a:lnTo>
                  <a:lnTo>
                    <a:pt x="809" y="938"/>
                  </a:lnTo>
                  <a:lnTo>
                    <a:pt x="808" y="940"/>
                  </a:lnTo>
                  <a:lnTo>
                    <a:pt x="807" y="942"/>
                  </a:lnTo>
                  <a:lnTo>
                    <a:pt x="807" y="946"/>
                  </a:lnTo>
                  <a:lnTo>
                    <a:pt x="806" y="951"/>
                  </a:lnTo>
                  <a:lnTo>
                    <a:pt x="806" y="957"/>
                  </a:lnTo>
                  <a:lnTo>
                    <a:pt x="797" y="966"/>
                  </a:lnTo>
                  <a:lnTo>
                    <a:pt x="797" y="976"/>
                  </a:lnTo>
                  <a:lnTo>
                    <a:pt x="794" y="976"/>
                  </a:lnTo>
                  <a:lnTo>
                    <a:pt x="793" y="978"/>
                  </a:lnTo>
                  <a:lnTo>
                    <a:pt x="793" y="981"/>
                  </a:lnTo>
                  <a:lnTo>
                    <a:pt x="793" y="985"/>
                  </a:lnTo>
                  <a:lnTo>
                    <a:pt x="789" y="986"/>
                  </a:lnTo>
                  <a:lnTo>
                    <a:pt x="786" y="987"/>
                  </a:lnTo>
                  <a:lnTo>
                    <a:pt x="784" y="989"/>
                  </a:lnTo>
                  <a:lnTo>
                    <a:pt x="781" y="993"/>
                  </a:lnTo>
                  <a:lnTo>
                    <a:pt x="779" y="999"/>
                  </a:lnTo>
                  <a:lnTo>
                    <a:pt x="778" y="1004"/>
                  </a:lnTo>
                  <a:lnTo>
                    <a:pt x="775" y="1004"/>
                  </a:lnTo>
                  <a:lnTo>
                    <a:pt x="771" y="1006"/>
                  </a:lnTo>
                  <a:lnTo>
                    <a:pt x="769" y="1007"/>
                  </a:lnTo>
                  <a:lnTo>
                    <a:pt x="767" y="1009"/>
                  </a:lnTo>
                  <a:lnTo>
                    <a:pt x="765" y="1016"/>
                  </a:lnTo>
                  <a:lnTo>
                    <a:pt x="764" y="1023"/>
                  </a:lnTo>
                  <a:lnTo>
                    <a:pt x="759" y="1027"/>
                  </a:lnTo>
                  <a:lnTo>
                    <a:pt x="750" y="1032"/>
                  </a:lnTo>
                  <a:lnTo>
                    <a:pt x="749" y="1036"/>
                  </a:lnTo>
                  <a:lnTo>
                    <a:pt x="748" y="1039"/>
                  </a:lnTo>
                  <a:lnTo>
                    <a:pt x="746" y="1042"/>
                  </a:lnTo>
                  <a:lnTo>
                    <a:pt x="743" y="1045"/>
                  </a:lnTo>
                  <a:lnTo>
                    <a:pt x="738" y="1052"/>
                  </a:lnTo>
                  <a:lnTo>
                    <a:pt x="731" y="1057"/>
                  </a:lnTo>
                  <a:lnTo>
                    <a:pt x="723" y="1062"/>
                  </a:lnTo>
                  <a:lnTo>
                    <a:pt x="718" y="1066"/>
                  </a:lnTo>
                  <a:lnTo>
                    <a:pt x="713" y="1071"/>
                  </a:lnTo>
                  <a:lnTo>
                    <a:pt x="712" y="1074"/>
                  </a:lnTo>
                  <a:lnTo>
                    <a:pt x="708" y="1075"/>
                  </a:lnTo>
                  <a:lnTo>
                    <a:pt x="703" y="1075"/>
                  </a:lnTo>
                  <a:lnTo>
                    <a:pt x="701" y="1076"/>
                  </a:lnTo>
                  <a:lnTo>
                    <a:pt x="700" y="1078"/>
                  </a:lnTo>
                  <a:lnTo>
                    <a:pt x="698" y="1081"/>
                  </a:lnTo>
                  <a:lnTo>
                    <a:pt x="698" y="1084"/>
                  </a:lnTo>
                  <a:lnTo>
                    <a:pt x="694" y="1084"/>
                  </a:lnTo>
                  <a:lnTo>
                    <a:pt x="691" y="1085"/>
                  </a:lnTo>
                  <a:lnTo>
                    <a:pt x="688" y="1087"/>
                  </a:lnTo>
                  <a:lnTo>
                    <a:pt x="685" y="1090"/>
                  </a:lnTo>
                  <a:lnTo>
                    <a:pt x="681" y="1094"/>
                  </a:lnTo>
                  <a:lnTo>
                    <a:pt x="679" y="1099"/>
                  </a:lnTo>
                  <a:lnTo>
                    <a:pt x="672" y="1101"/>
                  </a:lnTo>
                  <a:lnTo>
                    <a:pt x="662" y="1105"/>
                  </a:lnTo>
                  <a:lnTo>
                    <a:pt x="652" y="1112"/>
                  </a:lnTo>
                  <a:lnTo>
                    <a:pt x="646" y="1116"/>
                  </a:lnTo>
                  <a:lnTo>
                    <a:pt x="635" y="1119"/>
                  </a:lnTo>
                  <a:lnTo>
                    <a:pt x="624" y="1122"/>
                  </a:lnTo>
                  <a:lnTo>
                    <a:pt x="613" y="1128"/>
                  </a:lnTo>
                  <a:lnTo>
                    <a:pt x="602" y="1133"/>
                  </a:lnTo>
                  <a:lnTo>
                    <a:pt x="589" y="1140"/>
                  </a:lnTo>
                  <a:lnTo>
                    <a:pt x="578" y="1144"/>
                  </a:lnTo>
                  <a:lnTo>
                    <a:pt x="567" y="1149"/>
                  </a:lnTo>
                  <a:lnTo>
                    <a:pt x="556" y="1150"/>
                  </a:lnTo>
                  <a:lnTo>
                    <a:pt x="524" y="1183"/>
                  </a:lnTo>
                  <a:lnTo>
                    <a:pt x="524" y="1192"/>
                  </a:lnTo>
                  <a:lnTo>
                    <a:pt x="513" y="1192"/>
                  </a:lnTo>
                  <a:lnTo>
                    <a:pt x="513" y="1201"/>
                  </a:lnTo>
                  <a:lnTo>
                    <a:pt x="510" y="1203"/>
                  </a:lnTo>
                  <a:lnTo>
                    <a:pt x="508" y="1207"/>
                  </a:lnTo>
                  <a:lnTo>
                    <a:pt x="506" y="1210"/>
                  </a:lnTo>
                  <a:lnTo>
                    <a:pt x="505" y="1211"/>
                  </a:lnTo>
                  <a:lnTo>
                    <a:pt x="499" y="1212"/>
                  </a:lnTo>
                  <a:lnTo>
                    <a:pt x="492" y="1217"/>
                  </a:lnTo>
                  <a:lnTo>
                    <a:pt x="486" y="1221"/>
                  </a:lnTo>
                  <a:lnTo>
                    <a:pt x="481" y="1226"/>
                  </a:lnTo>
                  <a:lnTo>
                    <a:pt x="474" y="1226"/>
                  </a:lnTo>
                  <a:lnTo>
                    <a:pt x="465" y="1227"/>
                  </a:lnTo>
                  <a:lnTo>
                    <a:pt x="460" y="1228"/>
                  </a:lnTo>
                  <a:lnTo>
                    <a:pt x="457" y="1229"/>
                  </a:lnTo>
                  <a:lnTo>
                    <a:pt x="453" y="1231"/>
                  </a:lnTo>
                  <a:lnTo>
                    <a:pt x="453" y="1235"/>
                  </a:lnTo>
                  <a:lnTo>
                    <a:pt x="411" y="1234"/>
                  </a:lnTo>
                  <a:lnTo>
                    <a:pt x="368" y="1232"/>
                  </a:lnTo>
                  <a:lnTo>
                    <a:pt x="325" y="1230"/>
                  </a:lnTo>
                  <a:lnTo>
                    <a:pt x="281" y="1228"/>
                  </a:lnTo>
                  <a:lnTo>
                    <a:pt x="239" y="1225"/>
                  </a:lnTo>
                  <a:lnTo>
                    <a:pt x="196" y="1222"/>
                  </a:lnTo>
                  <a:lnTo>
                    <a:pt x="156" y="1221"/>
                  </a:lnTo>
                  <a:lnTo>
                    <a:pt x="118" y="1220"/>
                  </a:lnTo>
                  <a:lnTo>
                    <a:pt x="113" y="1216"/>
                  </a:lnTo>
                  <a:lnTo>
                    <a:pt x="108" y="1207"/>
                  </a:lnTo>
                  <a:lnTo>
                    <a:pt x="99" y="1207"/>
                  </a:lnTo>
                  <a:lnTo>
                    <a:pt x="97" y="1203"/>
                  </a:lnTo>
                  <a:lnTo>
                    <a:pt x="95" y="1200"/>
                  </a:lnTo>
                  <a:lnTo>
                    <a:pt x="91" y="1198"/>
                  </a:lnTo>
                  <a:lnTo>
                    <a:pt x="89" y="1197"/>
                  </a:lnTo>
                  <a:lnTo>
                    <a:pt x="86" y="1191"/>
                  </a:lnTo>
                  <a:lnTo>
                    <a:pt x="78" y="1182"/>
                  </a:lnTo>
                  <a:lnTo>
                    <a:pt x="66" y="1172"/>
                  </a:lnTo>
                  <a:lnTo>
                    <a:pt x="51" y="1160"/>
                  </a:lnTo>
                  <a:lnTo>
                    <a:pt x="25" y="1138"/>
                  </a:lnTo>
                  <a:lnTo>
                    <a:pt x="10" y="1126"/>
                  </a:lnTo>
                  <a:lnTo>
                    <a:pt x="4" y="1121"/>
                  </a:lnTo>
                  <a:lnTo>
                    <a:pt x="0" y="1115"/>
                  </a:lnTo>
                  <a:lnTo>
                    <a:pt x="0" y="1115"/>
                  </a:lnTo>
                  <a:lnTo>
                    <a:pt x="12" y="1118"/>
                  </a:lnTo>
                  <a:lnTo>
                    <a:pt x="25" y="1119"/>
                  </a:lnTo>
                  <a:lnTo>
                    <a:pt x="36" y="1119"/>
                  </a:lnTo>
                  <a:lnTo>
                    <a:pt x="47" y="1116"/>
                  </a:lnTo>
                  <a:lnTo>
                    <a:pt x="51" y="1115"/>
                  </a:lnTo>
                  <a:lnTo>
                    <a:pt x="56" y="1113"/>
                  </a:lnTo>
                  <a:lnTo>
                    <a:pt x="59" y="1111"/>
                  </a:lnTo>
                  <a:lnTo>
                    <a:pt x="62" y="1107"/>
                  </a:lnTo>
                  <a:lnTo>
                    <a:pt x="66" y="1103"/>
                  </a:lnTo>
                  <a:lnTo>
                    <a:pt x="67" y="1099"/>
                  </a:lnTo>
                  <a:lnTo>
                    <a:pt x="68" y="1093"/>
                  </a:lnTo>
                  <a:lnTo>
                    <a:pt x="69" y="1086"/>
                  </a:lnTo>
                  <a:lnTo>
                    <a:pt x="70" y="1082"/>
                  </a:lnTo>
                  <a:lnTo>
                    <a:pt x="73" y="1077"/>
                  </a:lnTo>
                  <a:lnTo>
                    <a:pt x="76" y="1073"/>
                  </a:lnTo>
                  <a:lnTo>
                    <a:pt x="80" y="1067"/>
                  </a:lnTo>
                  <a:lnTo>
                    <a:pt x="93" y="1057"/>
                  </a:lnTo>
                  <a:lnTo>
                    <a:pt x="107" y="1047"/>
                  </a:lnTo>
                  <a:lnTo>
                    <a:pt x="135" y="1029"/>
                  </a:lnTo>
                  <a:lnTo>
                    <a:pt x="154" y="1019"/>
                  </a:lnTo>
                  <a:lnTo>
                    <a:pt x="171" y="1013"/>
                  </a:lnTo>
                  <a:lnTo>
                    <a:pt x="185" y="1005"/>
                  </a:lnTo>
                  <a:lnTo>
                    <a:pt x="199" y="998"/>
                  </a:lnTo>
                  <a:lnTo>
                    <a:pt x="211" y="991"/>
                  </a:lnTo>
                  <a:lnTo>
                    <a:pt x="223" y="984"/>
                  </a:lnTo>
                  <a:lnTo>
                    <a:pt x="233" y="976"/>
                  </a:lnTo>
                  <a:lnTo>
                    <a:pt x="243" y="968"/>
                  </a:lnTo>
                  <a:lnTo>
                    <a:pt x="252" y="959"/>
                  </a:lnTo>
                  <a:lnTo>
                    <a:pt x="260" y="950"/>
                  </a:lnTo>
                  <a:lnTo>
                    <a:pt x="268" y="940"/>
                  </a:lnTo>
                  <a:lnTo>
                    <a:pt x="275" y="929"/>
                  </a:lnTo>
                  <a:lnTo>
                    <a:pt x="281" y="917"/>
                  </a:lnTo>
                  <a:lnTo>
                    <a:pt x="288" y="904"/>
                  </a:lnTo>
                  <a:lnTo>
                    <a:pt x="294" y="891"/>
                  </a:lnTo>
                  <a:lnTo>
                    <a:pt x="299" y="875"/>
                  </a:lnTo>
                  <a:lnTo>
                    <a:pt x="305" y="859"/>
                  </a:lnTo>
                  <a:lnTo>
                    <a:pt x="308" y="852"/>
                  </a:lnTo>
                  <a:lnTo>
                    <a:pt x="311" y="844"/>
                  </a:lnTo>
                  <a:lnTo>
                    <a:pt x="316" y="837"/>
                  </a:lnTo>
                  <a:lnTo>
                    <a:pt x="320" y="831"/>
                  </a:lnTo>
                  <a:lnTo>
                    <a:pt x="332" y="817"/>
                  </a:lnTo>
                  <a:lnTo>
                    <a:pt x="345" y="804"/>
                  </a:lnTo>
                  <a:lnTo>
                    <a:pt x="359" y="792"/>
                  </a:lnTo>
                  <a:lnTo>
                    <a:pt x="376" y="780"/>
                  </a:lnTo>
                  <a:lnTo>
                    <a:pt x="393" y="768"/>
                  </a:lnTo>
                  <a:lnTo>
                    <a:pt x="410" y="756"/>
                  </a:lnTo>
                  <a:lnTo>
                    <a:pt x="428" y="745"/>
                  </a:lnTo>
                  <a:lnTo>
                    <a:pt x="445" y="732"/>
                  </a:lnTo>
                  <a:lnTo>
                    <a:pt x="462" y="720"/>
                  </a:lnTo>
                  <a:lnTo>
                    <a:pt x="479" y="707"/>
                  </a:lnTo>
                  <a:lnTo>
                    <a:pt x="493" y="693"/>
                  </a:lnTo>
                  <a:lnTo>
                    <a:pt x="507" y="679"/>
                  </a:lnTo>
                  <a:lnTo>
                    <a:pt x="513" y="672"/>
                  </a:lnTo>
                  <a:lnTo>
                    <a:pt x="519" y="664"/>
                  </a:lnTo>
                  <a:lnTo>
                    <a:pt x="524" y="657"/>
                  </a:lnTo>
                  <a:lnTo>
                    <a:pt x="528" y="649"/>
                  </a:lnTo>
                  <a:lnTo>
                    <a:pt x="535" y="630"/>
                  </a:lnTo>
                  <a:lnTo>
                    <a:pt x="544" y="603"/>
                  </a:lnTo>
                  <a:lnTo>
                    <a:pt x="549" y="590"/>
                  </a:lnTo>
                  <a:lnTo>
                    <a:pt x="556" y="578"/>
                  </a:lnTo>
                  <a:lnTo>
                    <a:pt x="558" y="574"/>
                  </a:lnTo>
                  <a:lnTo>
                    <a:pt x="561" y="571"/>
                  </a:lnTo>
                  <a:lnTo>
                    <a:pt x="564" y="568"/>
                  </a:lnTo>
                  <a:lnTo>
                    <a:pt x="567" y="568"/>
                  </a:lnTo>
                  <a:lnTo>
                    <a:pt x="567" y="564"/>
                  </a:lnTo>
                  <a:lnTo>
                    <a:pt x="568" y="564"/>
                  </a:lnTo>
                  <a:lnTo>
                    <a:pt x="570" y="564"/>
                  </a:lnTo>
                  <a:lnTo>
                    <a:pt x="572" y="563"/>
                  </a:lnTo>
                  <a:lnTo>
                    <a:pt x="573" y="561"/>
                  </a:lnTo>
                  <a:lnTo>
                    <a:pt x="576" y="561"/>
                  </a:lnTo>
                  <a:lnTo>
                    <a:pt x="579" y="559"/>
                  </a:lnTo>
                  <a:lnTo>
                    <a:pt x="589" y="556"/>
                  </a:lnTo>
                  <a:lnTo>
                    <a:pt x="601" y="552"/>
                  </a:lnTo>
                  <a:lnTo>
                    <a:pt x="613" y="54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5" name="Freeform 58">
              <a:extLst>
                <a:ext uri="{FF2B5EF4-FFF2-40B4-BE49-F238E27FC236}">
                  <a16:creationId xmlns:a16="http://schemas.microsoft.com/office/drawing/2014/main" id="{D6CD54DB-0CDA-4FE7-9BFD-4CE2C82DE556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312150" y="2809875"/>
              <a:ext cx="262137" cy="234950"/>
            </a:xfrm>
            <a:custGeom>
              <a:avLst/>
              <a:gdLst/>
              <a:ahLst/>
              <a:cxnLst>
                <a:cxn ang="0">
                  <a:pos x="691" y="73"/>
                </a:cxn>
                <a:cxn ang="0">
                  <a:pos x="753" y="35"/>
                </a:cxn>
                <a:cxn ang="0">
                  <a:pos x="833" y="10"/>
                </a:cxn>
                <a:cxn ang="0">
                  <a:pos x="993" y="4"/>
                </a:cxn>
                <a:cxn ang="0">
                  <a:pos x="1022" y="79"/>
                </a:cxn>
                <a:cxn ang="0">
                  <a:pos x="1061" y="109"/>
                </a:cxn>
                <a:cxn ang="0">
                  <a:pos x="1227" y="153"/>
                </a:cxn>
                <a:cxn ang="0">
                  <a:pos x="1283" y="181"/>
                </a:cxn>
                <a:cxn ang="0">
                  <a:pos x="1339" y="271"/>
                </a:cxn>
                <a:cxn ang="0">
                  <a:pos x="1378" y="305"/>
                </a:cxn>
                <a:cxn ang="0">
                  <a:pos x="1383" y="369"/>
                </a:cxn>
                <a:cxn ang="0">
                  <a:pos x="1425" y="403"/>
                </a:cxn>
                <a:cxn ang="0">
                  <a:pos x="1409" y="426"/>
                </a:cxn>
                <a:cxn ang="0">
                  <a:pos x="1349" y="475"/>
                </a:cxn>
                <a:cxn ang="0">
                  <a:pos x="1297" y="544"/>
                </a:cxn>
                <a:cxn ang="0">
                  <a:pos x="1263" y="564"/>
                </a:cxn>
                <a:cxn ang="0">
                  <a:pos x="1171" y="640"/>
                </a:cxn>
                <a:cxn ang="0">
                  <a:pos x="1113" y="691"/>
                </a:cxn>
                <a:cxn ang="0">
                  <a:pos x="1094" y="738"/>
                </a:cxn>
                <a:cxn ang="0">
                  <a:pos x="1144" y="797"/>
                </a:cxn>
                <a:cxn ang="0">
                  <a:pos x="1140" y="863"/>
                </a:cxn>
                <a:cxn ang="0">
                  <a:pos x="1094" y="897"/>
                </a:cxn>
                <a:cxn ang="0">
                  <a:pos x="1081" y="959"/>
                </a:cxn>
                <a:cxn ang="0">
                  <a:pos x="1104" y="980"/>
                </a:cxn>
                <a:cxn ang="0">
                  <a:pos x="1150" y="1010"/>
                </a:cxn>
                <a:cxn ang="0">
                  <a:pos x="1157" y="1038"/>
                </a:cxn>
                <a:cxn ang="0">
                  <a:pos x="1045" y="1076"/>
                </a:cxn>
                <a:cxn ang="0">
                  <a:pos x="1000" y="1121"/>
                </a:cxn>
                <a:cxn ang="0">
                  <a:pos x="1004" y="1170"/>
                </a:cxn>
                <a:cxn ang="0">
                  <a:pos x="966" y="1236"/>
                </a:cxn>
                <a:cxn ang="0">
                  <a:pos x="864" y="1260"/>
                </a:cxn>
                <a:cxn ang="0">
                  <a:pos x="797" y="1297"/>
                </a:cxn>
                <a:cxn ang="0">
                  <a:pos x="764" y="1324"/>
                </a:cxn>
                <a:cxn ang="0">
                  <a:pos x="628" y="1426"/>
                </a:cxn>
                <a:cxn ang="0">
                  <a:pos x="581" y="1392"/>
                </a:cxn>
                <a:cxn ang="0">
                  <a:pos x="562" y="1207"/>
                </a:cxn>
                <a:cxn ang="0">
                  <a:pos x="514" y="1122"/>
                </a:cxn>
                <a:cxn ang="0">
                  <a:pos x="514" y="1057"/>
                </a:cxn>
                <a:cxn ang="0">
                  <a:pos x="570" y="952"/>
                </a:cxn>
                <a:cxn ang="0">
                  <a:pos x="547" y="864"/>
                </a:cxn>
                <a:cxn ang="0">
                  <a:pos x="514" y="825"/>
                </a:cxn>
                <a:cxn ang="0">
                  <a:pos x="457" y="802"/>
                </a:cxn>
                <a:cxn ang="0">
                  <a:pos x="431" y="763"/>
                </a:cxn>
                <a:cxn ang="0">
                  <a:pos x="391" y="666"/>
                </a:cxn>
                <a:cxn ang="0">
                  <a:pos x="372" y="618"/>
                </a:cxn>
                <a:cxn ang="0">
                  <a:pos x="333" y="584"/>
                </a:cxn>
                <a:cxn ang="0">
                  <a:pos x="279" y="560"/>
                </a:cxn>
                <a:cxn ang="0">
                  <a:pos x="217" y="550"/>
                </a:cxn>
                <a:cxn ang="0">
                  <a:pos x="169" y="590"/>
                </a:cxn>
                <a:cxn ang="0">
                  <a:pos x="136" y="608"/>
                </a:cxn>
                <a:cxn ang="0">
                  <a:pos x="97" y="657"/>
                </a:cxn>
                <a:cxn ang="0">
                  <a:pos x="78" y="690"/>
                </a:cxn>
                <a:cxn ang="0">
                  <a:pos x="28" y="737"/>
                </a:cxn>
                <a:cxn ang="0">
                  <a:pos x="6" y="723"/>
                </a:cxn>
                <a:cxn ang="0">
                  <a:pos x="7" y="523"/>
                </a:cxn>
                <a:cxn ang="0">
                  <a:pos x="107" y="418"/>
                </a:cxn>
                <a:cxn ang="0">
                  <a:pos x="227" y="381"/>
                </a:cxn>
                <a:cxn ang="0">
                  <a:pos x="314" y="263"/>
                </a:cxn>
                <a:cxn ang="0">
                  <a:pos x="432" y="207"/>
                </a:cxn>
                <a:cxn ang="0">
                  <a:pos x="510" y="166"/>
                </a:cxn>
                <a:cxn ang="0">
                  <a:pos x="624" y="101"/>
                </a:cxn>
              </a:cxnLst>
              <a:rect l="0" t="0" r="r" b="b"/>
              <a:pathLst>
                <a:path w="1425" h="1461">
                  <a:moveTo>
                    <a:pt x="624" y="98"/>
                  </a:moveTo>
                  <a:lnTo>
                    <a:pt x="637" y="99"/>
                  </a:lnTo>
                  <a:lnTo>
                    <a:pt x="649" y="99"/>
                  </a:lnTo>
                  <a:lnTo>
                    <a:pt x="661" y="100"/>
                  </a:lnTo>
                  <a:lnTo>
                    <a:pt x="675" y="100"/>
                  </a:lnTo>
                  <a:lnTo>
                    <a:pt x="680" y="95"/>
                  </a:lnTo>
                  <a:lnTo>
                    <a:pt x="680" y="85"/>
                  </a:lnTo>
                  <a:lnTo>
                    <a:pt x="689" y="81"/>
                  </a:lnTo>
                  <a:lnTo>
                    <a:pt x="691" y="73"/>
                  </a:lnTo>
                  <a:lnTo>
                    <a:pt x="693" y="66"/>
                  </a:lnTo>
                  <a:lnTo>
                    <a:pt x="699" y="62"/>
                  </a:lnTo>
                  <a:lnTo>
                    <a:pt x="708" y="62"/>
                  </a:lnTo>
                  <a:lnTo>
                    <a:pt x="712" y="57"/>
                  </a:lnTo>
                  <a:lnTo>
                    <a:pt x="715" y="52"/>
                  </a:lnTo>
                  <a:lnTo>
                    <a:pt x="718" y="47"/>
                  </a:lnTo>
                  <a:lnTo>
                    <a:pt x="729" y="45"/>
                  </a:lnTo>
                  <a:lnTo>
                    <a:pt x="745" y="40"/>
                  </a:lnTo>
                  <a:lnTo>
                    <a:pt x="753" y="35"/>
                  </a:lnTo>
                  <a:lnTo>
                    <a:pt x="759" y="32"/>
                  </a:lnTo>
                  <a:lnTo>
                    <a:pt x="764" y="27"/>
                  </a:lnTo>
                  <a:lnTo>
                    <a:pt x="765" y="24"/>
                  </a:lnTo>
                  <a:lnTo>
                    <a:pt x="779" y="24"/>
                  </a:lnTo>
                  <a:lnTo>
                    <a:pt x="786" y="18"/>
                  </a:lnTo>
                  <a:lnTo>
                    <a:pt x="794" y="15"/>
                  </a:lnTo>
                  <a:lnTo>
                    <a:pt x="803" y="12"/>
                  </a:lnTo>
                  <a:lnTo>
                    <a:pt x="812" y="10"/>
                  </a:lnTo>
                  <a:lnTo>
                    <a:pt x="833" y="10"/>
                  </a:lnTo>
                  <a:lnTo>
                    <a:pt x="855" y="12"/>
                  </a:lnTo>
                  <a:lnTo>
                    <a:pt x="878" y="14"/>
                  </a:lnTo>
                  <a:lnTo>
                    <a:pt x="898" y="13"/>
                  </a:lnTo>
                  <a:lnTo>
                    <a:pt x="908" y="12"/>
                  </a:lnTo>
                  <a:lnTo>
                    <a:pt x="917" y="9"/>
                  </a:lnTo>
                  <a:lnTo>
                    <a:pt x="925" y="5"/>
                  </a:lnTo>
                  <a:lnTo>
                    <a:pt x="931" y="0"/>
                  </a:lnTo>
                  <a:lnTo>
                    <a:pt x="988" y="0"/>
                  </a:lnTo>
                  <a:lnTo>
                    <a:pt x="993" y="4"/>
                  </a:lnTo>
                  <a:lnTo>
                    <a:pt x="997" y="8"/>
                  </a:lnTo>
                  <a:lnTo>
                    <a:pt x="1003" y="13"/>
                  </a:lnTo>
                  <a:lnTo>
                    <a:pt x="1007" y="14"/>
                  </a:lnTo>
                  <a:lnTo>
                    <a:pt x="1008" y="27"/>
                  </a:lnTo>
                  <a:lnTo>
                    <a:pt x="1009" y="42"/>
                  </a:lnTo>
                  <a:lnTo>
                    <a:pt x="1013" y="54"/>
                  </a:lnTo>
                  <a:lnTo>
                    <a:pt x="1016" y="62"/>
                  </a:lnTo>
                  <a:lnTo>
                    <a:pt x="1016" y="76"/>
                  </a:lnTo>
                  <a:lnTo>
                    <a:pt x="1022" y="79"/>
                  </a:lnTo>
                  <a:lnTo>
                    <a:pt x="1027" y="86"/>
                  </a:lnTo>
                  <a:lnTo>
                    <a:pt x="1033" y="94"/>
                  </a:lnTo>
                  <a:lnTo>
                    <a:pt x="1035" y="100"/>
                  </a:lnTo>
                  <a:lnTo>
                    <a:pt x="1045" y="100"/>
                  </a:lnTo>
                  <a:lnTo>
                    <a:pt x="1046" y="101"/>
                  </a:lnTo>
                  <a:lnTo>
                    <a:pt x="1048" y="103"/>
                  </a:lnTo>
                  <a:lnTo>
                    <a:pt x="1051" y="104"/>
                  </a:lnTo>
                  <a:lnTo>
                    <a:pt x="1054" y="106"/>
                  </a:lnTo>
                  <a:lnTo>
                    <a:pt x="1061" y="109"/>
                  </a:lnTo>
                  <a:lnTo>
                    <a:pt x="1064" y="109"/>
                  </a:lnTo>
                  <a:lnTo>
                    <a:pt x="1076" y="110"/>
                  </a:lnTo>
                  <a:lnTo>
                    <a:pt x="1090" y="111"/>
                  </a:lnTo>
                  <a:lnTo>
                    <a:pt x="1103" y="114"/>
                  </a:lnTo>
                  <a:lnTo>
                    <a:pt x="1118" y="118"/>
                  </a:lnTo>
                  <a:lnTo>
                    <a:pt x="1146" y="125"/>
                  </a:lnTo>
                  <a:lnTo>
                    <a:pt x="1174" y="135"/>
                  </a:lnTo>
                  <a:lnTo>
                    <a:pt x="1201" y="144"/>
                  </a:lnTo>
                  <a:lnTo>
                    <a:pt x="1227" y="153"/>
                  </a:lnTo>
                  <a:lnTo>
                    <a:pt x="1239" y="157"/>
                  </a:lnTo>
                  <a:lnTo>
                    <a:pt x="1252" y="159"/>
                  </a:lnTo>
                  <a:lnTo>
                    <a:pt x="1263" y="161"/>
                  </a:lnTo>
                  <a:lnTo>
                    <a:pt x="1273" y="161"/>
                  </a:lnTo>
                  <a:lnTo>
                    <a:pt x="1275" y="168"/>
                  </a:lnTo>
                  <a:lnTo>
                    <a:pt x="1277" y="176"/>
                  </a:lnTo>
                  <a:lnTo>
                    <a:pt x="1280" y="177"/>
                  </a:lnTo>
                  <a:lnTo>
                    <a:pt x="1281" y="179"/>
                  </a:lnTo>
                  <a:lnTo>
                    <a:pt x="1283" y="181"/>
                  </a:lnTo>
                  <a:lnTo>
                    <a:pt x="1284" y="186"/>
                  </a:lnTo>
                  <a:lnTo>
                    <a:pt x="1286" y="194"/>
                  </a:lnTo>
                  <a:lnTo>
                    <a:pt x="1287" y="199"/>
                  </a:lnTo>
                  <a:lnTo>
                    <a:pt x="1296" y="209"/>
                  </a:lnTo>
                  <a:lnTo>
                    <a:pt x="1296" y="223"/>
                  </a:lnTo>
                  <a:lnTo>
                    <a:pt x="1309" y="235"/>
                  </a:lnTo>
                  <a:lnTo>
                    <a:pt x="1321" y="248"/>
                  </a:lnTo>
                  <a:lnTo>
                    <a:pt x="1332" y="260"/>
                  </a:lnTo>
                  <a:lnTo>
                    <a:pt x="1339" y="271"/>
                  </a:lnTo>
                  <a:lnTo>
                    <a:pt x="1351" y="275"/>
                  </a:lnTo>
                  <a:lnTo>
                    <a:pt x="1363" y="279"/>
                  </a:lnTo>
                  <a:lnTo>
                    <a:pt x="1368" y="290"/>
                  </a:lnTo>
                  <a:lnTo>
                    <a:pt x="1371" y="291"/>
                  </a:lnTo>
                  <a:lnTo>
                    <a:pt x="1374" y="293"/>
                  </a:lnTo>
                  <a:lnTo>
                    <a:pt x="1377" y="295"/>
                  </a:lnTo>
                  <a:lnTo>
                    <a:pt x="1377" y="298"/>
                  </a:lnTo>
                  <a:lnTo>
                    <a:pt x="1378" y="301"/>
                  </a:lnTo>
                  <a:lnTo>
                    <a:pt x="1378" y="305"/>
                  </a:lnTo>
                  <a:lnTo>
                    <a:pt x="1376" y="311"/>
                  </a:lnTo>
                  <a:lnTo>
                    <a:pt x="1373" y="319"/>
                  </a:lnTo>
                  <a:lnTo>
                    <a:pt x="1368" y="334"/>
                  </a:lnTo>
                  <a:lnTo>
                    <a:pt x="1366" y="345"/>
                  </a:lnTo>
                  <a:lnTo>
                    <a:pt x="1374" y="350"/>
                  </a:lnTo>
                  <a:lnTo>
                    <a:pt x="1380" y="360"/>
                  </a:lnTo>
                  <a:lnTo>
                    <a:pt x="1380" y="363"/>
                  </a:lnTo>
                  <a:lnTo>
                    <a:pt x="1381" y="367"/>
                  </a:lnTo>
                  <a:lnTo>
                    <a:pt x="1383" y="369"/>
                  </a:lnTo>
                  <a:lnTo>
                    <a:pt x="1387" y="372"/>
                  </a:lnTo>
                  <a:lnTo>
                    <a:pt x="1393" y="377"/>
                  </a:lnTo>
                  <a:lnTo>
                    <a:pt x="1402" y="381"/>
                  </a:lnTo>
                  <a:lnTo>
                    <a:pt x="1410" y="387"/>
                  </a:lnTo>
                  <a:lnTo>
                    <a:pt x="1418" y="391"/>
                  </a:lnTo>
                  <a:lnTo>
                    <a:pt x="1420" y="393"/>
                  </a:lnTo>
                  <a:lnTo>
                    <a:pt x="1422" y="397"/>
                  </a:lnTo>
                  <a:lnTo>
                    <a:pt x="1425" y="400"/>
                  </a:lnTo>
                  <a:lnTo>
                    <a:pt x="1425" y="403"/>
                  </a:lnTo>
                  <a:lnTo>
                    <a:pt x="1424" y="403"/>
                  </a:lnTo>
                  <a:lnTo>
                    <a:pt x="1422" y="404"/>
                  </a:lnTo>
                  <a:lnTo>
                    <a:pt x="1421" y="407"/>
                  </a:lnTo>
                  <a:lnTo>
                    <a:pt x="1420" y="409"/>
                  </a:lnTo>
                  <a:lnTo>
                    <a:pt x="1420" y="413"/>
                  </a:lnTo>
                  <a:lnTo>
                    <a:pt x="1420" y="418"/>
                  </a:lnTo>
                  <a:lnTo>
                    <a:pt x="1415" y="420"/>
                  </a:lnTo>
                  <a:lnTo>
                    <a:pt x="1410" y="422"/>
                  </a:lnTo>
                  <a:lnTo>
                    <a:pt x="1409" y="426"/>
                  </a:lnTo>
                  <a:lnTo>
                    <a:pt x="1408" y="429"/>
                  </a:lnTo>
                  <a:lnTo>
                    <a:pt x="1405" y="431"/>
                  </a:lnTo>
                  <a:lnTo>
                    <a:pt x="1401" y="431"/>
                  </a:lnTo>
                  <a:lnTo>
                    <a:pt x="1396" y="441"/>
                  </a:lnTo>
                  <a:lnTo>
                    <a:pt x="1384" y="448"/>
                  </a:lnTo>
                  <a:lnTo>
                    <a:pt x="1372" y="456"/>
                  </a:lnTo>
                  <a:lnTo>
                    <a:pt x="1364" y="463"/>
                  </a:lnTo>
                  <a:lnTo>
                    <a:pt x="1353" y="469"/>
                  </a:lnTo>
                  <a:lnTo>
                    <a:pt x="1349" y="475"/>
                  </a:lnTo>
                  <a:lnTo>
                    <a:pt x="1344" y="479"/>
                  </a:lnTo>
                  <a:lnTo>
                    <a:pt x="1339" y="484"/>
                  </a:lnTo>
                  <a:lnTo>
                    <a:pt x="1336" y="500"/>
                  </a:lnTo>
                  <a:lnTo>
                    <a:pt x="1334" y="517"/>
                  </a:lnTo>
                  <a:lnTo>
                    <a:pt x="1328" y="522"/>
                  </a:lnTo>
                  <a:lnTo>
                    <a:pt x="1316" y="532"/>
                  </a:lnTo>
                  <a:lnTo>
                    <a:pt x="1311" y="536"/>
                  </a:lnTo>
                  <a:lnTo>
                    <a:pt x="1304" y="541"/>
                  </a:lnTo>
                  <a:lnTo>
                    <a:pt x="1297" y="544"/>
                  </a:lnTo>
                  <a:lnTo>
                    <a:pt x="1292" y="545"/>
                  </a:lnTo>
                  <a:lnTo>
                    <a:pt x="1291" y="550"/>
                  </a:lnTo>
                  <a:lnTo>
                    <a:pt x="1288" y="553"/>
                  </a:lnTo>
                  <a:lnTo>
                    <a:pt x="1285" y="556"/>
                  </a:lnTo>
                  <a:lnTo>
                    <a:pt x="1281" y="558"/>
                  </a:lnTo>
                  <a:lnTo>
                    <a:pt x="1276" y="561"/>
                  </a:lnTo>
                  <a:lnTo>
                    <a:pt x="1272" y="563"/>
                  </a:lnTo>
                  <a:lnTo>
                    <a:pt x="1267" y="564"/>
                  </a:lnTo>
                  <a:lnTo>
                    <a:pt x="1263" y="564"/>
                  </a:lnTo>
                  <a:lnTo>
                    <a:pt x="1258" y="571"/>
                  </a:lnTo>
                  <a:lnTo>
                    <a:pt x="1248" y="581"/>
                  </a:lnTo>
                  <a:lnTo>
                    <a:pt x="1235" y="593"/>
                  </a:lnTo>
                  <a:lnTo>
                    <a:pt x="1219" y="606"/>
                  </a:lnTo>
                  <a:lnTo>
                    <a:pt x="1204" y="619"/>
                  </a:lnTo>
                  <a:lnTo>
                    <a:pt x="1188" y="630"/>
                  </a:lnTo>
                  <a:lnTo>
                    <a:pt x="1182" y="634"/>
                  </a:lnTo>
                  <a:lnTo>
                    <a:pt x="1177" y="638"/>
                  </a:lnTo>
                  <a:lnTo>
                    <a:pt x="1171" y="640"/>
                  </a:lnTo>
                  <a:lnTo>
                    <a:pt x="1168" y="640"/>
                  </a:lnTo>
                  <a:lnTo>
                    <a:pt x="1163" y="650"/>
                  </a:lnTo>
                  <a:lnTo>
                    <a:pt x="1157" y="652"/>
                  </a:lnTo>
                  <a:lnTo>
                    <a:pt x="1149" y="654"/>
                  </a:lnTo>
                  <a:lnTo>
                    <a:pt x="1143" y="661"/>
                  </a:lnTo>
                  <a:lnTo>
                    <a:pt x="1130" y="672"/>
                  </a:lnTo>
                  <a:lnTo>
                    <a:pt x="1123" y="679"/>
                  </a:lnTo>
                  <a:lnTo>
                    <a:pt x="1118" y="686"/>
                  </a:lnTo>
                  <a:lnTo>
                    <a:pt x="1113" y="691"/>
                  </a:lnTo>
                  <a:lnTo>
                    <a:pt x="1111" y="697"/>
                  </a:lnTo>
                  <a:lnTo>
                    <a:pt x="1105" y="698"/>
                  </a:lnTo>
                  <a:lnTo>
                    <a:pt x="1101" y="701"/>
                  </a:lnTo>
                  <a:lnTo>
                    <a:pt x="1099" y="705"/>
                  </a:lnTo>
                  <a:lnTo>
                    <a:pt x="1095" y="710"/>
                  </a:lnTo>
                  <a:lnTo>
                    <a:pt x="1094" y="716"/>
                  </a:lnTo>
                  <a:lnTo>
                    <a:pt x="1094" y="723"/>
                  </a:lnTo>
                  <a:lnTo>
                    <a:pt x="1094" y="730"/>
                  </a:lnTo>
                  <a:lnTo>
                    <a:pt x="1094" y="738"/>
                  </a:lnTo>
                  <a:lnTo>
                    <a:pt x="1099" y="765"/>
                  </a:lnTo>
                  <a:lnTo>
                    <a:pt x="1102" y="778"/>
                  </a:lnTo>
                  <a:lnTo>
                    <a:pt x="1109" y="781"/>
                  </a:lnTo>
                  <a:lnTo>
                    <a:pt x="1117" y="783"/>
                  </a:lnTo>
                  <a:lnTo>
                    <a:pt x="1118" y="786"/>
                  </a:lnTo>
                  <a:lnTo>
                    <a:pt x="1121" y="790"/>
                  </a:lnTo>
                  <a:lnTo>
                    <a:pt x="1127" y="794"/>
                  </a:lnTo>
                  <a:lnTo>
                    <a:pt x="1130" y="797"/>
                  </a:lnTo>
                  <a:lnTo>
                    <a:pt x="1144" y="797"/>
                  </a:lnTo>
                  <a:lnTo>
                    <a:pt x="1146" y="800"/>
                  </a:lnTo>
                  <a:lnTo>
                    <a:pt x="1148" y="802"/>
                  </a:lnTo>
                  <a:lnTo>
                    <a:pt x="1151" y="802"/>
                  </a:lnTo>
                  <a:lnTo>
                    <a:pt x="1155" y="802"/>
                  </a:lnTo>
                  <a:lnTo>
                    <a:pt x="1153" y="817"/>
                  </a:lnTo>
                  <a:lnTo>
                    <a:pt x="1152" y="834"/>
                  </a:lnTo>
                  <a:lnTo>
                    <a:pt x="1150" y="851"/>
                  </a:lnTo>
                  <a:lnTo>
                    <a:pt x="1149" y="863"/>
                  </a:lnTo>
                  <a:lnTo>
                    <a:pt x="1140" y="863"/>
                  </a:lnTo>
                  <a:lnTo>
                    <a:pt x="1138" y="871"/>
                  </a:lnTo>
                  <a:lnTo>
                    <a:pt x="1136" y="878"/>
                  </a:lnTo>
                  <a:lnTo>
                    <a:pt x="1126" y="878"/>
                  </a:lnTo>
                  <a:lnTo>
                    <a:pt x="1121" y="882"/>
                  </a:lnTo>
                  <a:lnTo>
                    <a:pt x="1113" y="887"/>
                  </a:lnTo>
                  <a:lnTo>
                    <a:pt x="1105" y="890"/>
                  </a:lnTo>
                  <a:lnTo>
                    <a:pt x="1098" y="892"/>
                  </a:lnTo>
                  <a:lnTo>
                    <a:pt x="1096" y="894"/>
                  </a:lnTo>
                  <a:lnTo>
                    <a:pt x="1094" y="897"/>
                  </a:lnTo>
                  <a:lnTo>
                    <a:pt x="1091" y="897"/>
                  </a:lnTo>
                  <a:lnTo>
                    <a:pt x="1088" y="897"/>
                  </a:lnTo>
                  <a:lnTo>
                    <a:pt x="1083" y="901"/>
                  </a:lnTo>
                  <a:lnTo>
                    <a:pt x="1079" y="907"/>
                  </a:lnTo>
                  <a:lnTo>
                    <a:pt x="1079" y="918"/>
                  </a:lnTo>
                  <a:lnTo>
                    <a:pt x="1079" y="932"/>
                  </a:lnTo>
                  <a:lnTo>
                    <a:pt x="1079" y="946"/>
                  </a:lnTo>
                  <a:lnTo>
                    <a:pt x="1079" y="958"/>
                  </a:lnTo>
                  <a:lnTo>
                    <a:pt x="1081" y="959"/>
                  </a:lnTo>
                  <a:lnTo>
                    <a:pt x="1082" y="961"/>
                  </a:lnTo>
                  <a:lnTo>
                    <a:pt x="1083" y="965"/>
                  </a:lnTo>
                  <a:lnTo>
                    <a:pt x="1083" y="968"/>
                  </a:lnTo>
                  <a:lnTo>
                    <a:pt x="1088" y="973"/>
                  </a:lnTo>
                  <a:lnTo>
                    <a:pt x="1098" y="973"/>
                  </a:lnTo>
                  <a:lnTo>
                    <a:pt x="1098" y="975"/>
                  </a:lnTo>
                  <a:lnTo>
                    <a:pt x="1099" y="976"/>
                  </a:lnTo>
                  <a:lnTo>
                    <a:pt x="1102" y="978"/>
                  </a:lnTo>
                  <a:lnTo>
                    <a:pt x="1104" y="980"/>
                  </a:lnTo>
                  <a:lnTo>
                    <a:pt x="1112" y="984"/>
                  </a:lnTo>
                  <a:lnTo>
                    <a:pt x="1121" y="988"/>
                  </a:lnTo>
                  <a:lnTo>
                    <a:pt x="1130" y="993"/>
                  </a:lnTo>
                  <a:lnTo>
                    <a:pt x="1137" y="998"/>
                  </a:lnTo>
                  <a:lnTo>
                    <a:pt x="1140" y="1000"/>
                  </a:lnTo>
                  <a:lnTo>
                    <a:pt x="1142" y="1004"/>
                  </a:lnTo>
                  <a:lnTo>
                    <a:pt x="1144" y="1007"/>
                  </a:lnTo>
                  <a:lnTo>
                    <a:pt x="1144" y="1010"/>
                  </a:lnTo>
                  <a:lnTo>
                    <a:pt x="1150" y="1010"/>
                  </a:lnTo>
                  <a:lnTo>
                    <a:pt x="1153" y="1012"/>
                  </a:lnTo>
                  <a:lnTo>
                    <a:pt x="1155" y="1012"/>
                  </a:lnTo>
                  <a:lnTo>
                    <a:pt x="1156" y="1013"/>
                  </a:lnTo>
                  <a:lnTo>
                    <a:pt x="1156" y="1014"/>
                  </a:lnTo>
                  <a:lnTo>
                    <a:pt x="1156" y="1015"/>
                  </a:lnTo>
                  <a:lnTo>
                    <a:pt x="1157" y="1015"/>
                  </a:lnTo>
                  <a:lnTo>
                    <a:pt x="1159" y="1015"/>
                  </a:lnTo>
                  <a:lnTo>
                    <a:pt x="1158" y="1027"/>
                  </a:lnTo>
                  <a:lnTo>
                    <a:pt x="1157" y="1038"/>
                  </a:lnTo>
                  <a:lnTo>
                    <a:pt x="1155" y="1050"/>
                  </a:lnTo>
                  <a:lnTo>
                    <a:pt x="1155" y="1058"/>
                  </a:lnTo>
                  <a:lnTo>
                    <a:pt x="1141" y="1058"/>
                  </a:lnTo>
                  <a:lnTo>
                    <a:pt x="1127" y="1061"/>
                  </a:lnTo>
                  <a:lnTo>
                    <a:pt x="1111" y="1064"/>
                  </a:lnTo>
                  <a:lnTo>
                    <a:pt x="1094" y="1067"/>
                  </a:lnTo>
                  <a:lnTo>
                    <a:pt x="1078" y="1071"/>
                  </a:lnTo>
                  <a:lnTo>
                    <a:pt x="1062" y="1074"/>
                  </a:lnTo>
                  <a:lnTo>
                    <a:pt x="1045" y="1076"/>
                  </a:lnTo>
                  <a:lnTo>
                    <a:pt x="1031" y="1077"/>
                  </a:lnTo>
                  <a:lnTo>
                    <a:pt x="1028" y="1082"/>
                  </a:lnTo>
                  <a:lnTo>
                    <a:pt x="1026" y="1086"/>
                  </a:lnTo>
                  <a:lnTo>
                    <a:pt x="1016" y="1086"/>
                  </a:lnTo>
                  <a:lnTo>
                    <a:pt x="1012" y="1091"/>
                  </a:lnTo>
                  <a:lnTo>
                    <a:pt x="1007" y="1101"/>
                  </a:lnTo>
                  <a:lnTo>
                    <a:pt x="1003" y="1105"/>
                  </a:lnTo>
                  <a:lnTo>
                    <a:pt x="1003" y="1120"/>
                  </a:lnTo>
                  <a:lnTo>
                    <a:pt x="1000" y="1121"/>
                  </a:lnTo>
                  <a:lnTo>
                    <a:pt x="999" y="1125"/>
                  </a:lnTo>
                  <a:lnTo>
                    <a:pt x="998" y="1132"/>
                  </a:lnTo>
                  <a:lnTo>
                    <a:pt x="998" y="1139"/>
                  </a:lnTo>
                  <a:lnTo>
                    <a:pt x="997" y="1153"/>
                  </a:lnTo>
                  <a:lnTo>
                    <a:pt x="997" y="1162"/>
                  </a:lnTo>
                  <a:lnTo>
                    <a:pt x="999" y="1163"/>
                  </a:lnTo>
                  <a:lnTo>
                    <a:pt x="1000" y="1165"/>
                  </a:lnTo>
                  <a:lnTo>
                    <a:pt x="1003" y="1167"/>
                  </a:lnTo>
                  <a:lnTo>
                    <a:pt x="1004" y="1170"/>
                  </a:lnTo>
                  <a:lnTo>
                    <a:pt x="1006" y="1178"/>
                  </a:lnTo>
                  <a:lnTo>
                    <a:pt x="1008" y="1187"/>
                  </a:lnTo>
                  <a:lnTo>
                    <a:pt x="1011" y="1207"/>
                  </a:lnTo>
                  <a:lnTo>
                    <a:pt x="1012" y="1219"/>
                  </a:lnTo>
                  <a:lnTo>
                    <a:pt x="1000" y="1221"/>
                  </a:lnTo>
                  <a:lnTo>
                    <a:pt x="985" y="1227"/>
                  </a:lnTo>
                  <a:lnTo>
                    <a:pt x="977" y="1230"/>
                  </a:lnTo>
                  <a:lnTo>
                    <a:pt x="970" y="1234"/>
                  </a:lnTo>
                  <a:lnTo>
                    <a:pt x="966" y="1236"/>
                  </a:lnTo>
                  <a:lnTo>
                    <a:pt x="965" y="1238"/>
                  </a:lnTo>
                  <a:lnTo>
                    <a:pt x="952" y="1239"/>
                  </a:lnTo>
                  <a:lnTo>
                    <a:pt x="938" y="1240"/>
                  </a:lnTo>
                  <a:lnTo>
                    <a:pt x="922" y="1243"/>
                  </a:lnTo>
                  <a:lnTo>
                    <a:pt x="906" y="1246"/>
                  </a:lnTo>
                  <a:lnTo>
                    <a:pt x="890" y="1249"/>
                  </a:lnTo>
                  <a:lnTo>
                    <a:pt x="877" y="1255"/>
                  </a:lnTo>
                  <a:lnTo>
                    <a:pt x="870" y="1257"/>
                  </a:lnTo>
                  <a:lnTo>
                    <a:pt x="864" y="1260"/>
                  </a:lnTo>
                  <a:lnTo>
                    <a:pt x="859" y="1264"/>
                  </a:lnTo>
                  <a:lnTo>
                    <a:pt x="855" y="1267"/>
                  </a:lnTo>
                  <a:lnTo>
                    <a:pt x="841" y="1267"/>
                  </a:lnTo>
                  <a:lnTo>
                    <a:pt x="834" y="1273"/>
                  </a:lnTo>
                  <a:lnTo>
                    <a:pt x="822" y="1281"/>
                  </a:lnTo>
                  <a:lnTo>
                    <a:pt x="811" y="1287"/>
                  </a:lnTo>
                  <a:lnTo>
                    <a:pt x="803" y="1291"/>
                  </a:lnTo>
                  <a:lnTo>
                    <a:pt x="802" y="1294"/>
                  </a:lnTo>
                  <a:lnTo>
                    <a:pt x="797" y="1297"/>
                  </a:lnTo>
                  <a:lnTo>
                    <a:pt x="793" y="1300"/>
                  </a:lnTo>
                  <a:lnTo>
                    <a:pt x="788" y="1300"/>
                  </a:lnTo>
                  <a:lnTo>
                    <a:pt x="786" y="1305"/>
                  </a:lnTo>
                  <a:lnTo>
                    <a:pt x="784" y="1310"/>
                  </a:lnTo>
                  <a:lnTo>
                    <a:pt x="775" y="1310"/>
                  </a:lnTo>
                  <a:lnTo>
                    <a:pt x="769" y="1314"/>
                  </a:lnTo>
                  <a:lnTo>
                    <a:pt x="769" y="1317"/>
                  </a:lnTo>
                  <a:lnTo>
                    <a:pt x="767" y="1321"/>
                  </a:lnTo>
                  <a:lnTo>
                    <a:pt x="764" y="1324"/>
                  </a:lnTo>
                  <a:lnTo>
                    <a:pt x="758" y="1326"/>
                  </a:lnTo>
                  <a:lnTo>
                    <a:pt x="747" y="1333"/>
                  </a:lnTo>
                  <a:lnTo>
                    <a:pt x="733" y="1339"/>
                  </a:lnTo>
                  <a:lnTo>
                    <a:pt x="718" y="1345"/>
                  </a:lnTo>
                  <a:lnTo>
                    <a:pt x="702" y="1352"/>
                  </a:lnTo>
                  <a:lnTo>
                    <a:pt x="689" y="1360"/>
                  </a:lnTo>
                  <a:lnTo>
                    <a:pt x="679" y="1369"/>
                  </a:lnTo>
                  <a:lnTo>
                    <a:pt x="652" y="1398"/>
                  </a:lnTo>
                  <a:lnTo>
                    <a:pt x="628" y="1426"/>
                  </a:lnTo>
                  <a:lnTo>
                    <a:pt x="616" y="1437"/>
                  </a:lnTo>
                  <a:lnTo>
                    <a:pt x="605" y="1448"/>
                  </a:lnTo>
                  <a:lnTo>
                    <a:pt x="594" y="1456"/>
                  </a:lnTo>
                  <a:lnTo>
                    <a:pt x="584" y="1461"/>
                  </a:lnTo>
                  <a:lnTo>
                    <a:pt x="584" y="1409"/>
                  </a:lnTo>
                  <a:lnTo>
                    <a:pt x="583" y="1408"/>
                  </a:lnTo>
                  <a:lnTo>
                    <a:pt x="582" y="1404"/>
                  </a:lnTo>
                  <a:lnTo>
                    <a:pt x="581" y="1399"/>
                  </a:lnTo>
                  <a:lnTo>
                    <a:pt x="581" y="1392"/>
                  </a:lnTo>
                  <a:lnTo>
                    <a:pt x="580" y="1374"/>
                  </a:lnTo>
                  <a:lnTo>
                    <a:pt x="581" y="1354"/>
                  </a:lnTo>
                  <a:lnTo>
                    <a:pt x="583" y="1316"/>
                  </a:lnTo>
                  <a:lnTo>
                    <a:pt x="584" y="1296"/>
                  </a:lnTo>
                  <a:lnTo>
                    <a:pt x="583" y="1278"/>
                  </a:lnTo>
                  <a:lnTo>
                    <a:pt x="579" y="1259"/>
                  </a:lnTo>
                  <a:lnTo>
                    <a:pt x="574" y="1242"/>
                  </a:lnTo>
                  <a:lnTo>
                    <a:pt x="567" y="1224"/>
                  </a:lnTo>
                  <a:lnTo>
                    <a:pt x="562" y="1207"/>
                  </a:lnTo>
                  <a:lnTo>
                    <a:pt x="556" y="1192"/>
                  </a:lnTo>
                  <a:lnTo>
                    <a:pt x="553" y="1179"/>
                  </a:lnTo>
                  <a:lnTo>
                    <a:pt x="552" y="1169"/>
                  </a:lnTo>
                  <a:lnTo>
                    <a:pt x="546" y="1160"/>
                  </a:lnTo>
                  <a:lnTo>
                    <a:pt x="538" y="1152"/>
                  </a:lnTo>
                  <a:lnTo>
                    <a:pt x="527" y="1141"/>
                  </a:lnTo>
                  <a:lnTo>
                    <a:pt x="527" y="1131"/>
                  </a:lnTo>
                  <a:lnTo>
                    <a:pt x="518" y="1127"/>
                  </a:lnTo>
                  <a:lnTo>
                    <a:pt x="514" y="1122"/>
                  </a:lnTo>
                  <a:lnTo>
                    <a:pt x="514" y="1108"/>
                  </a:lnTo>
                  <a:lnTo>
                    <a:pt x="512" y="1108"/>
                  </a:lnTo>
                  <a:lnTo>
                    <a:pt x="510" y="1106"/>
                  </a:lnTo>
                  <a:lnTo>
                    <a:pt x="509" y="1105"/>
                  </a:lnTo>
                  <a:lnTo>
                    <a:pt x="508" y="1103"/>
                  </a:lnTo>
                  <a:lnTo>
                    <a:pt x="508" y="1099"/>
                  </a:lnTo>
                  <a:lnTo>
                    <a:pt x="508" y="1092"/>
                  </a:lnTo>
                  <a:lnTo>
                    <a:pt x="509" y="1076"/>
                  </a:lnTo>
                  <a:lnTo>
                    <a:pt x="514" y="1057"/>
                  </a:lnTo>
                  <a:lnTo>
                    <a:pt x="523" y="1021"/>
                  </a:lnTo>
                  <a:lnTo>
                    <a:pt x="527" y="999"/>
                  </a:lnTo>
                  <a:lnTo>
                    <a:pt x="537" y="995"/>
                  </a:lnTo>
                  <a:lnTo>
                    <a:pt x="537" y="985"/>
                  </a:lnTo>
                  <a:lnTo>
                    <a:pt x="546" y="980"/>
                  </a:lnTo>
                  <a:lnTo>
                    <a:pt x="552" y="971"/>
                  </a:lnTo>
                  <a:lnTo>
                    <a:pt x="556" y="961"/>
                  </a:lnTo>
                  <a:lnTo>
                    <a:pt x="565" y="957"/>
                  </a:lnTo>
                  <a:lnTo>
                    <a:pt x="570" y="952"/>
                  </a:lnTo>
                  <a:lnTo>
                    <a:pt x="568" y="933"/>
                  </a:lnTo>
                  <a:lnTo>
                    <a:pt x="565" y="912"/>
                  </a:lnTo>
                  <a:lnTo>
                    <a:pt x="562" y="893"/>
                  </a:lnTo>
                  <a:lnTo>
                    <a:pt x="561" y="877"/>
                  </a:lnTo>
                  <a:lnTo>
                    <a:pt x="558" y="877"/>
                  </a:lnTo>
                  <a:lnTo>
                    <a:pt x="556" y="875"/>
                  </a:lnTo>
                  <a:lnTo>
                    <a:pt x="554" y="873"/>
                  </a:lnTo>
                  <a:lnTo>
                    <a:pt x="552" y="871"/>
                  </a:lnTo>
                  <a:lnTo>
                    <a:pt x="547" y="864"/>
                  </a:lnTo>
                  <a:lnTo>
                    <a:pt x="544" y="858"/>
                  </a:lnTo>
                  <a:lnTo>
                    <a:pt x="539" y="851"/>
                  </a:lnTo>
                  <a:lnTo>
                    <a:pt x="535" y="845"/>
                  </a:lnTo>
                  <a:lnTo>
                    <a:pt x="532" y="843"/>
                  </a:lnTo>
                  <a:lnTo>
                    <a:pt x="529" y="841"/>
                  </a:lnTo>
                  <a:lnTo>
                    <a:pt x="526" y="840"/>
                  </a:lnTo>
                  <a:lnTo>
                    <a:pt x="523" y="839"/>
                  </a:lnTo>
                  <a:lnTo>
                    <a:pt x="518" y="830"/>
                  </a:lnTo>
                  <a:lnTo>
                    <a:pt x="514" y="825"/>
                  </a:lnTo>
                  <a:lnTo>
                    <a:pt x="510" y="825"/>
                  </a:lnTo>
                  <a:lnTo>
                    <a:pt x="507" y="824"/>
                  </a:lnTo>
                  <a:lnTo>
                    <a:pt x="505" y="823"/>
                  </a:lnTo>
                  <a:lnTo>
                    <a:pt x="504" y="820"/>
                  </a:lnTo>
                  <a:lnTo>
                    <a:pt x="490" y="820"/>
                  </a:lnTo>
                  <a:lnTo>
                    <a:pt x="488" y="815"/>
                  </a:lnTo>
                  <a:lnTo>
                    <a:pt x="485" y="811"/>
                  </a:lnTo>
                  <a:lnTo>
                    <a:pt x="471" y="806"/>
                  </a:lnTo>
                  <a:lnTo>
                    <a:pt x="457" y="802"/>
                  </a:lnTo>
                  <a:lnTo>
                    <a:pt x="455" y="794"/>
                  </a:lnTo>
                  <a:lnTo>
                    <a:pt x="452" y="787"/>
                  </a:lnTo>
                  <a:lnTo>
                    <a:pt x="446" y="784"/>
                  </a:lnTo>
                  <a:lnTo>
                    <a:pt x="441" y="782"/>
                  </a:lnTo>
                  <a:lnTo>
                    <a:pt x="440" y="779"/>
                  </a:lnTo>
                  <a:lnTo>
                    <a:pt x="439" y="776"/>
                  </a:lnTo>
                  <a:lnTo>
                    <a:pt x="438" y="773"/>
                  </a:lnTo>
                  <a:lnTo>
                    <a:pt x="438" y="768"/>
                  </a:lnTo>
                  <a:lnTo>
                    <a:pt x="431" y="763"/>
                  </a:lnTo>
                  <a:lnTo>
                    <a:pt x="424" y="754"/>
                  </a:lnTo>
                  <a:lnTo>
                    <a:pt x="419" y="746"/>
                  </a:lnTo>
                  <a:lnTo>
                    <a:pt x="414" y="740"/>
                  </a:lnTo>
                  <a:lnTo>
                    <a:pt x="413" y="730"/>
                  </a:lnTo>
                  <a:lnTo>
                    <a:pt x="410" y="718"/>
                  </a:lnTo>
                  <a:lnTo>
                    <a:pt x="405" y="706"/>
                  </a:lnTo>
                  <a:lnTo>
                    <a:pt x="400" y="692"/>
                  </a:lnTo>
                  <a:lnTo>
                    <a:pt x="395" y="679"/>
                  </a:lnTo>
                  <a:lnTo>
                    <a:pt x="391" y="666"/>
                  </a:lnTo>
                  <a:lnTo>
                    <a:pt x="388" y="652"/>
                  </a:lnTo>
                  <a:lnTo>
                    <a:pt x="387" y="641"/>
                  </a:lnTo>
                  <a:lnTo>
                    <a:pt x="384" y="640"/>
                  </a:lnTo>
                  <a:lnTo>
                    <a:pt x="383" y="639"/>
                  </a:lnTo>
                  <a:lnTo>
                    <a:pt x="381" y="637"/>
                  </a:lnTo>
                  <a:lnTo>
                    <a:pt x="380" y="633"/>
                  </a:lnTo>
                  <a:lnTo>
                    <a:pt x="378" y="628"/>
                  </a:lnTo>
                  <a:lnTo>
                    <a:pt x="376" y="622"/>
                  </a:lnTo>
                  <a:lnTo>
                    <a:pt x="372" y="618"/>
                  </a:lnTo>
                  <a:lnTo>
                    <a:pt x="363" y="613"/>
                  </a:lnTo>
                  <a:lnTo>
                    <a:pt x="362" y="609"/>
                  </a:lnTo>
                  <a:lnTo>
                    <a:pt x="360" y="604"/>
                  </a:lnTo>
                  <a:lnTo>
                    <a:pt x="356" y="600"/>
                  </a:lnTo>
                  <a:lnTo>
                    <a:pt x="353" y="599"/>
                  </a:lnTo>
                  <a:lnTo>
                    <a:pt x="353" y="590"/>
                  </a:lnTo>
                  <a:lnTo>
                    <a:pt x="345" y="589"/>
                  </a:lnTo>
                  <a:lnTo>
                    <a:pt x="337" y="585"/>
                  </a:lnTo>
                  <a:lnTo>
                    <a:pt x="333" y="584"/>
                  </a:lnTo>
                  <a:lnTo>
                    <a:pt x="330" y="581"/>
                  </a:lnTo>
                  <a:lnTo>
                    <a:pt x="327" y="579"/>
                  </a:lnTo>
                  <a:lnTo>
                    <a:pt x="325" y="575"/>
                  </a:lnTo>
                  <a:lnTo>
                    <a:pt x="318" y="574"/>
                  </a:lnTo>
                  <a:lnTo>
                    <a:pt x="312" y="573"/>
                  </a:lnTo>
                  <a:lnTo>
                    <a:pt x="303" y="570"/>
                  </a:lnTo>
                  <a:lnTo>
                    <a:pt x="295" y="566"/>
                  </a:lnTo>
                  <a:lnTo>
                    <a:pt x="287" y="563"/>
                  </a:lnTo>
                  <a:lnTo>
                    <a:pt x="279" y="560"/>
                  </a:lnTo>
                  <a:lnTo>
                    <a:pt x="273" y="555"/>
                  </a:lnTo>
                  <a:lnTo>
                    <a:pt x="268" y="552"/>
                  </a:lnTo>
                  <a:lnTo>
                    <a:pt x="258" y="551"/>
                  </a:lnTo>
                  <a:lnTo>
                    <a:pt x="240" y="548"/>
                  </a:lnTo>
                  <a:lnTo>
                    <a:pt x="231" y="547"/>
                  </a:lnTo>
                  <a:lnTo>
                    <a:pt x="224" y="547"/>
                  </a:lnTo>
                  <a:lnTo>
                    <a:pt x="221" y="548"/>
                  </a:lnTo>
                  <a:lnTo>
                    <a:pt x="219" y="548"/>
                  </a:lnTo>
                  <a:lnTo>
                    <a:pt x="217" y="550"/>
                  </a:lnTo>
                  <a:lnTo>
                    <a:pt x="217" y="552"/>
                  </a:lnTo>
                  <a:lnTo>
                    <a:pt x="198" y="552"/>
                  </a:lnTo>
                  <a:lnTo>
                    <a:pt x="190" y="558"/>
                  </a:lnTo>
                  <a:lnTo>
                    <a:pt x="183" y="565"/>
                  </a:lnTo>
                  <a:lnTo>
                    <a:pt x="183" y="575"/>
                  </a:lnTo>
                  <a:lnTo>
                    <a:pt x="179" y="577"/>
                  </a:lnTo>
                  <a:lnTo>
                    <a:pt x="174" y="582"/>
                  </a:lnTo>
                  <a:lnTo>
                    <a:pt x="171" y="588"/>
                  </a:lnTo>
                  <a:lnTo>
                    <a:pt x="169" y="590"/>
                  </a:lnTo>
                  <a:lnTo>
                    <a:pt x="160" y="590"/>
                  </a:lnTo>
                  <a:lnTo>
                    <a:pt x="159" y="593"/>
                  </a:lnTo>
                  <a:lnTo>
                    <a:pt x="154" y="596"/>
                  </a:lnTo>
                  <a:lnTo>
                    <a:pt x="150" y="600"/>
                  </a:lnTo>
                  <a:lnTo>
                    <a:pt x="145" y="603"/>
                  </a:lnTo>
                  <a:lnTo>
                    <a:pt x="142" y="603"/>
                  </a:lnTo>
                  <a:lnTo>
                    <a:pt x="140" y="604"/>
                  </a:lnTo>
                  <a:lnTo>
                    <a:pt x="138" y="605"/>
                  </a:lnTo>
                  <a:lnTo>
                    <a:pt x="136" y="608"/>
                  </a:lnTo>
                  <a:lnTo>
                    <a:pt x="126" y="608"/>
                  </a:lnTo>
                  <a:lnTo>
                    <a:pt x="117" y="608"/>
                  </a:lnTo>
                  <a:lnTo>
                    <a:pt x="113" y="613"/>
                  </a:lnTo>
                  <a:lnTo>
                    <a:pt x="112" y="620"/>
                  </a:lnTo>
                  <a:lnTo>
                    <a:pt x="110" y="628"/>
                  </a:lnTo>
                  <a:lnTo>
                    <a:pt x="106" y="635"/>
                  </a:lnTo>
                  <a:lnTo>
                    <a:pt x="103" y="643"/>
                  </a:lnTo>
                  <a:lnTo>
                    <a:pt x="100" y="650"/>
                  </a:lnTo>
                  <a:lnTo>
                    <a:pt x="97" y="657"/>
                  </a:lnTo>
                  <a:lnTo>
                    <a:pt x="95" y="663"/>
                  </a:lnTo>
                  <a:lnTo>
                    <a:pt x="94" y="669"/>
                  </a:lnTo>
                  <a:lnTo>
                    <a:pt x="91" y="670"/>
                  </a:lnTo>
                  <a:lnTo>
                    <a:pt x="87" y="672"/>
                  </a:lnTo>
                  <a:lnTo>
                    <a:pt x="83" y="676"/>
                  </a:lnTo>
                  <a:lnTo>
                    <a:pt x="80" y="679"/>
                  </a:lnTo>
                  <a:lnTo>
                    <a:pt x="80" y="683"/>
                  </a:lnTo>
                  <a:lnTo>
                    <a:pt x="80" y="688"/>
                  </a:lnTo>
                  <a:lnTo>
                    <a:pt x="78" y="690"/>
                  </a:lnTo>
                  <a:lnTo>
                    <a:pt x="77" y="691"/>
                  </a:lnTo>
                  <a:lnTo>
                    <a:pt x="76" y="692"/>
                  </a:lnTo>
                  <a:lnTo>
                    <a:pt x="75" y="692"/>
                  </a:lnTo>
                  <a:lnTo>
                    <a:pt x="75" y="702"/>
                  </a:lnTo>
                  <a:lnTo>
                    <a:pt x="63" y="711"/>
                  </a:lnTo>
                  <a:lnTo>
                    <a:pt x="47" y="721"/>
                  </a:lnTo>
                  <a:lnTo>
                    <a:pt x="42" y="730"/>
                  </a:lnTo>
                  <a:lnTo>
                    <a:pt x="36" y="733"/>
                  </a:lnTo>
                  <a:lnTo>
                    <a:pt x="28" y="737"/>
                  </a:lnTo>
                  <a:lnTo>
                    <a:pt x="25" y="739"/>
                  </a:lnTo>
                  <a:lnTo>
                    <a:pt x="21" y="743"/>
                  </a:lnTo>
                  <a:lnTo>
                    <a:pt x="19" y="746"/>
                  </a:lnTo>
                  <a:lnTo>
                    <a:pt x="18" y="749"/>
                  </a:lnTo>
                  <a:lnTo>
                    <a:pt x="13" y="749"/>
                  </a:lnTo>
                  <a:lnTo>
                    <a:pt x="6" y="749"/>
                  </a:lnTo>
                  <a:lnTo>
                    <a:pt x="6" y="740"/>
                  </a:lnTo>
                  <a:lnTo>
                    <a:pt x="6" y="731"/>
                  </a:lnTo>
                  <a:lnTo>
                    <a:pt x="6" y="723"/>
                  </a:lnTo>
                  <a:lnTo>
                    <a:pt x="6" y="713"/>
                  </a:lnTo>
                  <a:lnTo>
                    <a:pt x="6" y="679"/>
                  </a:lnTo>
                  <a:lnTo>
                    <a:pt x="4" y="646"/>
                  </a:lnTo>
                  <a:lnTo>
                    <a:pt x="3" y="615"/>
                  </a:lnTo>
                  <a:lnTo>
                    <a:pt x="0" y="588"/>
                  </a:lnTo>
                  <a:lnTo>
                    <a:pt x="0" y="562"/>
                  </a:lnTo>
                  <a:lnTo>
                    <a:pt x="3" y="541"/>
                  </a:lnTo>
                  <a:lnTo>
                    <a:pt x="5" y="531"/>
                  </a:lnTo>
                  <a:lnTo>
                    <a:pt x="7" y="523"/>
                  </a:lnTo>
                  <a:lnTo>
                    <a:pt x="11" y="516"/>
                  </a:lnTo>
                  <a:lnTo>
                    <a:pt x="16" y="510"/>
                  </a:lnTo>
                  <a:lnTo>
                    <a:pt x="33" y="492"/>
                  </a:lnTo>
                  <a:lnTo>
                    <a:pt x="53" y="468"/>
                  </a:lnTo>
                  <a:lnTo>
                    <a:pt x="73" y="446"/>
                  </a:lnTo>
                  <a:lnTo>
                    <a:pt x="90" y="427"/>
                  </a:lnTo>
                  <a:lnTo>
                    <a:pt x="94" y="423"/>
                  </a:lnTo>
                  <a:lnTo>
                    <a:pt x="100" y="421"/>
                  </a:lnTo>
                  <a:lnTo>
                    <a:pt x="107" y="418"/>
                  </a:lnTo>
                  <a:lnTo>
                    <a:pt x="116" y="415"/>
                  </a:lnTo>
                  <a:lnTo>
                    <a:pt x="136" y="409"/>
                  </a:lnTo>
                  <a:lnTo>
                    <a:pt x="159" y="404"/>
                  </a:lnTo>
                  <a:lnTo>
                    <a:pt x="180" y="399"/>
                  </a:lnTo>
                  <a:lnTo>
                    <a:pt x="200" y="393"/>
                  </a:lnTo>
                  <a:lnTo>
                    <a:pt x="209" y="391"/>
                  </a:lnTo>
                  <a:lnTo>
                    <a:pt x="217" y="388"/>
                  </a:lnTo>
                  <a:lnTo>
                    <a:pt x="222" y="384"/>
                  </a:lnTo>
                  <a:lnTo>
                    <a:pt x="227" y="381"/>
                  </a:lnTo>
                  <a:lnTo>
                    <a:pt x="238" y="369"/>
                  </a:lnTo>
                  <a:lnTo>
                    <a:pt x="248" y="355"/>
                  </a:lnTo>
                  <a:lnTo>
                    <a:pt x="258" y="339"/>
                  </a:lnTo>
                  <a:lnTo>
                    <a:pt x="267" y="323"/>
                  </a:lnTo>
                  <a:lnTo>
                    <a:pt x="277" y="306"/>
                  </a:lnTo>
                  <a:lnTo>
                    <a:pt x="286" y="292"/>
                  </a:lnTo>
                  <a:lnTo>
                    <a:pt x="294" y="279"/>
                  </a:lnTo>
                  <a:lnTo>
                    <a:pt x="301" y="271"/>
                  </a:lnTo>
                  <a:lnTo>
                    <a:pt x="314" y="263"/>
                  </a:lnTo>
                  <a:lnTo>
                    <a:pt x="332" y="254"/>
                  </a:lnTo>
                  <a:lnTo>
                    <a:pt x="349" y="246"/>
                  </a:lnTo>
                  <a:lnTo>
                    <a:pt x="356" y="243"/>
                  </a:lnTo>
                  <a:lnTo>
                    <a:pt x="361" y="239"/>
                  </a:lnTo>
                  <a:lnTo>
                    <a:pt x="368" y="236"/>
                  </a:lnTo>
                  <a:lnTo>
                    <a:pt x="375" y="231"/>
                  </a:lnTo>
                  <a:lnTo>
                    <a:pt x="385" y="227"/>
                  </a:lnTo>
                  <a:lnTo>
                    <a:pt x="408" y="217"/>
                  </a:lnTo>
                  <a:lnTo>
                    <a:pt x="432" y="207"/>
                  </a:lnTo>
                  <a:lnTo>
                    <a:pt x="456" y="198"/>
                  </a:lnTo>
                  <a:lnTo>
                    <a:pt x="476" y="190"/>
                  </a:lnTo>
                  <a:lnTo>
                    <a:pt x="484" y="187"/>
                  </a:lnTo>
                  <a:lnTo>
                    <a:pt x="489" y="183"/>
                  </a:lnTo>
                  <a:lnTo>
                    <a:pt x="493" y="181"/>
                  </a:lnTo>
                  <a:lnTo>
                    <a:pt x="495" y="179"/>
                  </a:lnTo>
                  <a:lnTo>
                    <a:pt x="497" y="175"/>
                  </a:lnTo>
                  <a:lnTo>
                    <a:pt x="503" y="171"/>
                  </a:lnTo>
                  <a:lnTo>
                    <a:pt x="510" y="166"/>
                  </a:lnTo>
                  <a:lnTo>
                    <a:pt x="520" y="161"/>
                  </a:lnTo>
                  <a:lnTo>
                    <a:pt x="543" y="150"/>
                  </a:lnTo>
                  <a:lnTo>
                    <a:pt x="567" y="138"/>
                  </a:lnTo>
                  <a:lnTo>
                    <a:pt x="591" y="127"/>
                  </a:lnTo>
                  <a:lnTo>
                    <a:pt x="610" y="115"/>
                  </a:lnTo>
                  <a:lnTo>
                    <a:pt x="618" y="110"/>
                  </a:lnTo>
                  <a:lnTo>
                    <a:pt x="622" y="105"/>
                  </a:lnTo>
                  <a:lnTo>
                    <a:pt x="624" y="103"/>
                  </a:lnTo>
                  <a:lnTo>
                    <a:pt x="624" y="101"/>
                  </a:lnTo>
                  <a:lnTo>
                    <a:pt x="624" y="99"/>
                  </a:lnTo>
                  <a:lnTo>
                    <a:pt x="624" y="9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6" name="Freeform 59">
              <a:extLst>
                <a:ext uri="{FF2B5EF4-FFF2-40B4-BE49-F238E27FC236}">
                  <a16:creationId xmlns:a16="http://schemas.microsoft.com/office/drawing/2014/main" id="{68B0766C-0319-4B33-90D1-EC6EF1E9970B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453438" y="2854325"/>
              <a:ext cx="308709" cy="203200"/>
            </a:xfrm>
            <a:custGeom>
              <a:avLst/>
              <a:gdLst/>
              <a:ahLst/>
              <a:cxnLst>
                <a:cxn ang="0">
                  <a:pos x="427" y="228"/>
                </a:cxn>
                <a:cxn ang="0">
                  <a:pos x="507" y="245"/>
                </a:cxn>
                <a:cxn ang="0">
                  <a:pos x="620" y="228"/>
                </a:cxn>
                <a:cxn ang="0">
                  <a:pos x="666" y="207"/>
                </a:cxn>
                <a:cxn ang="0">
                  <a:pos x="845" y="206"/>
                </a:cxn>
                <a:cxn ang="0">
                  <a:pos x="909" y="169"/>
                </a:cxn>
                <a:cxn ang="0">
                  <a:pos x="952" y="138"/>
                </a:cxn>
                <a:cxn ang="0">
                  <a:pos x="990" y="109"/>
                </a:cxn>
                <a:cxn ang="0">
                  <a:pos x="1063" y="99"/>
                </a:cxn>
                <a:cxn ang="0">
                  <a:pos x="1381" y="64"/>
                </a:cxn>
                <a:cxn ang="0">
                  <a:pos x="1513" y="21"/>
                </a:cxn>
                <a:cxn ang="0">
                  <a:pos x="1570" y="2"/>
                </a:cxn>
                <a:cxn ang="0">
                  <a:pos x="1614" y="23"/>
                </a:cxn>
                <a:cxn ang="0">
                  <a:pos x="1628" y="51"/>
                </a:cxn>
                <a:cxn ang="0">
                  <a:pos x="1636" y="224"/>
                </a:cxn>
                <a:cxn ang="0">
                  <a:pos x="1632" y="425"/>
                </a:cxn>
                <a:cxn ang="0">
                  <a:pos x="1652" y="473"/>
                </a:cxn>
                <a:cxn ang="0">
                  <a:pos x="1689" y="516"/>
                </a:cxn>
                <a:cxn ang="0">
                  <a:pos x="1693" y="548"/>
                </a:cxn>
                <a:cxn ang="0">
                  <a:pos x="1655" y="604"/>
                </a:cxn>
                <a:cxn ang="0">
                  <a:pos x="1564" y="736"/>
                </a:cxn>
                <a:cxn ang="0">
                  <a:pos x="1501" y="879"/>
                </a:cxn>
                <a:cxn ang="0">
                  <a:pos x="1487" y="943"/>
                </a:cxn>
                <a:cxn ang="0">
                  <a:pos x="1177" y="960"/>
                </a:cxn>
                <a:cxn ang="0">
                  <a:pos x="1178" y="1110"/>
                </a:cxn>
                <a:cxn ang="0">
                  <a:pos x="1176" y="1198"/>
                </a:cxn>
                <a:cxn ang="0">
                  <a:pos x="1151" y="1258"/>
                </a:cxn>
                <a:cxn ang="0">
                  <a:pos x="1076" y="1253"/>
                </a:cxn>
                <a:cxn ang="0">
                  <a:pos x="1022" y="1233"/>
                </a:cxn>
                <a:cxn ang="0">
                  <a:pos x="903" y="1205"/>
                </a:cxn>
                <a:cxn ang="0">
                  <a:pos x="739" y="1197"/>
                </a:cxn>
                <a:cxn ang="0">
                  <a:pos x="719" y="1187"/>
                </a:cxn>
                <a:cxn ang="0">
                  <a:pos x="653" y="1149"/>
                </a:cxn>
                <a:cxn ang="0">
                  <a:pos x="534" y="1136"/>
                </a:cxn>
                <a:cxn ang="0">
                  <a:pos x="484" y="1093"/>
                </a:cxn>
                <a:cxn ang="0">
                  <a:pos x="451" y="1071"/>
                </a:cxn>
                <a:cxn ang="0">
                  <a:pos x="386" y="1036"/>
                </a:cxn>
                <a:cxn ang="0">
                  <a:pos x="311" y="1062"/>
                </a:cxn>
                <a:cxn ang="0">
                  <a:pos x="225" y="1079"/>
                </a:cxn>
                <a:cxn ang="0">
                  <a:pos x="182" y="1072"/>
                </a:cxn>
                <a:cxn ang="0">
                  <a:pos x="138" y="1007"/>
                </a:cxn>
                <a:cxn ang="0">
                  <a:pos x="131" y="976"/>
                </a:cxn>
                <a:cxn ang="0">
                  <a:pos x="152" y="879"/>
                </a:cxn>
                <a:cxn ang="0">
                  <a:pos x="136" y="722"/>
                </a:cxn>
                <a:cxn ang="0">
                  <a:pos x="83" y="667"/>
                </a:cxn>
                <a:cxn ang="0">
                  <a:pos x="52" y="635"/>
                </a:cxn>
                <a:cxn ang="0">
                  <a:pos x="15" y="616"/>
                </a:cxn>
                <a:cxn ang="0">
                  <a:pos x="1" y="545"/>
                </a:cxn>
                <a:cxn ang="0">
                  <a:pos x="29" y="514"/>
                </a:cxn>
                <a:cxn ang="0">
                  <a:pos x="77" y="475"/>
                </a:cxn>
                <a:cxn ang="0">
                  <a:pos x="154" y="416"/>
                </a:cxn>
                <a:cxn ang="0">
                  <a:pos x="191" y="391"/>
                </a:cxn>
                <a:cxn ang="0">
                  <a:pos x="222" y="367"/>
                </a:cxn>
                <a:cxn ang="0">
                  <a:pos x="259" y="304"/>
                </a:cxn>
                <a:cxn ang="0">
                  <a:pos x="314" y="264"/>
                </a:cxn>
                <a:cxn ang="0">
                  <a:pos x="327" y="242"/>
                </a:cxn>
                <a:cxn ang="0">
                  <a:pos x="317" y="222"/>
                </a:cxn>
              </a:cxnLst>
              <a:rect l="0" t="0" r="r" b="b"/>
              <a:pathLst>
                <a:path w="1694" h="1266">
                  <a:moveTo>
                    <a:pt x="294" y="208"/>
                  </a:moveTo>
                  <a:lnTo>
                    <a:pt x="325" y="215"/>
                  </a:lnTo>
                  <a:lnTo>
                    <a:pt x="357" y="222"/>
                  </a:lnTo>
                  <a:lnTo>
                    <a:pt x="374" y="224"/>
                  </a:lnTo>
                  <a:lnTo>
                    <a:pt x="391" y="226"/>
                  </a:lnTo>
                  <a:lnTo>
                    <a:pt x="409" y="228"/>
                  </a:lnTo>
                  <a:lnTo>
                    <a:pt x="427" y="228"/>
                  </a:lnTo>
                  <a:lnTo>
                    <a:pt x="437" y="229"/>
                  </a:lnTo>
                  <a:lnTo>
                    <a:pt x="448" y="232"/>
                  </a:lnTo>
                  <a:lnTo>
                    <a:pt x="459" y="234"/>
                  </a:lnTo>
                  <a:lnTo>
                    <a:pt x="472" y="237"/>
                  </a:lnTo>
                  <a:lnTo>
                    <a:pt x="485" y="241"/>
                  </a:lnTo>
                  <a:lnTo>
                    <a:pt x="497" y="244"/>
                  </a:lnTo>
                  <a:lnTo>
                    <a:pt x="507" y="245"/>
                  </a:lnTo>
                  <a:lnTo>
                    <a:pt x="517" y="246"/>
                  </a:lnTo>
                  <a:lnTo>
                    <a:pt x="531" y="245"/>
                  </a:lnTo>
                  <a:lnTo>
                    <a:pt x="546" y="244"/>
                  </a:lnTo>
                  <a:lnTo>
                    <a:pt x="561" y="241"/>
                  </a:lnTo>
                  <a:lnTo>
                    <a:pt x="575" y="237"/>
                  </a:lnTo>
                  <a:lnTo>
                    <a:pt x="602" y="232"/>
                  </a:lnTo>
                  <a:lnTo>
                    <a:pt x="620" y="228"/>
                  </a:lnTo>
                  <a:lnTo>
                    <a:pt x="621" y="225"/>
                  </a:lnTo>
                  <a:lnTo>
                    <a:pt x="622" y="223"/>
                  </a:lnTo>
                  <a:lnTo>
                    <a:pt x="625" y="219"/>
                  </a:lnTo>
                  <a:lnTo>
                    <a:pt x="629" y="217"/>
                  </a:lnTo>
                  <a:lnTo>
                    <a:pt x="638" y="213"/>
                  </a:lnTo>
                  <a:lnTo>
                    <a:pt x="650" y="209"/>
                  </a:lnTo>
                  <a:lnTo>
                    <a:pt x="666" y="207"/>
                  </a:lnTo>
                  <a:lnTo>
                    <a:pt x="682" y="206"/>
                  </a:lnTo>
                  <a:lnTo>
                    <a:pt x="700" y="205"/>
                  </a:lnTo>
                  <a:lnTo>
                    <a:pt x="719" y="204"/>
                  </a:lnTo>
                  <a:lnTo>
                    <a:pt x="758" y="204"/>
                  </a:lnTo>
                  <a:lnTo>
                    <a:pt x="795" y="205"/>
                  </a:lnTo>
                  <a:lnTo>
                    <a:pt x="825" y="205"/>
                  </a:lnTo>
                  <a:lnTo>
                    <a:pt x="845" y="206"/>
                  </a:lnTo>
                  <a:lnTo>
                    <a:pt x="846" y="204"/>
                  </a:lnTo>
                  <a:lnTo>
                    <a:pt x="849" y="200"/>
                  </a:lnTo>
                  <a:lnTo>
                    <a:pt x="853" y="197"/>
                  </a:lnTo>
                  <a:lnTo>
                    <a:pt x="860" y="194"/>
                  </a:lnTo>
                  <a:lnTo>
                    <a:pt x="874" y="186"/>
                  </a:lnTo>
                  <a:lnTo>
                    <a:pt x="892" y="178"/>
                  </a:lnTo>
                  <a:lnTo>
                    <a:pt x="909" y="169"/>
                  </a:lnTo>
                  <a:lnTo>
                    <a:pt x="925" y="160"/>
                  </a:lnTo>
                  <a:lnTo>
                    <a:pt x="930" y="156"/>
                  </a:lnTo>
                  <a:lnTo>
                    <a:pt x="935" y="151"/>
                  </a:lnTo>
                  <a:lnTo>
                    <a:pt x="938" y="147"/>
                  </a:lnTo>
                  <a:lnTo>
                    <a:pt x="939" y="143"/>
                  </a:lnTo>
                  <a:lnTo>
                    <a:pt x="946" y="141"/>
                  </a:lnTo>
                  <a:lnTo>
                    <a:pt x="952" y="138"/>
                  </a:lnTo>
                  <a:lnTo>
                    <a:pt x="958" y="133"/>
                  </a:lnTo>
                  <a:lnTo>
                    <a:pt x="964" y="128"/>
                  </a:lnTo>
                  <a:lnTo>
                    <a:pt x="969" y="121"/>
                  </a:lnTo>
                  <a:lnTo>
                    <a:pt x="976" y="117"/>
                  </a:lnTo>
                  <a:lnTo>
                    <a:pt x="981" y="113"/>
                  </a:lnTo>
                  <a:lnTo>
                    <a:pt x="988" y="111"/>
                  </a:lnTo>
                  <a:lnTo>
                    <a:pt x="990" y="109"/>
                  </a:lnTo>
                  <a:lnTo>
                    <a:pt x="994" y="106"/>
                  </a:lnTo>
                  <a:lnTo>
                    <a:pt x="1000" y="103"/>
                  </a:lnTo>
                  <a:lnTo>
                    <a:pt x="1006" y="102"/>
                  </a:lnTo>
                  <a:lnTo>
                    <a:pt x="1012" y="101"/>
                  </a:lnTo>
                  <a:lnTo>
                    <a:pt x="1024" y="100"/>
                  </a:lnTo>
                  <a:lnTo>
                    <a:pt x="1042" y="99"/>
                  </a:lnTo>
                  <a:lnTo>
                    <a:pt x="1063" y="99"/>
                  </a:lnTo>
                  <a:lnTo>
                    <a:pt x="1105" y="98"/>
                  </a:lnTo>
                  <a:lnTo>
                    <a:pt x="1132" y="98"/>
                  </a:lnTo>
                  <a:lnTo>
                    <a:pt x="1162" y="97"/>
                  </a:lnTo>
                  <a:lnTo>
                    <a:pt x="1213" y="91"/>
                  </a:lnTo>
                  <a:lnTo>
                    <a:pt x="1277" y="82"/>
                  </a:lnTo>
                  <a:lnTo>
                    <a:pt x="1347" y="71"/>
                  </a:lnTo>
                  <a:lnTo>
                    <a:pt x="1381" y="64"/>
                  </a:lnTo>
                  <a:lnTo>
                    <a:pt x="1415" y="56"/>
                  </a:lnTo>
                  <a:lnTo>
                    <a:pt x="1445" y="49"/>
                  </a:lnTo>
                  <a:lnTo>
                    <a:pt x="1473" y="40"/>
                  </a:lnTo>
                  <a:lnTo>
                    <a:pt x="1484" y="35"/>
                  </a:lnTo>
                  <a:lnTo>
                    <a:pt x="1495" y="30"/>
                  </a:lnTo>
                  <a:lnTo>
                    <a:pt x="1504" y="25"/>
                  </a:lnTo>
                  <a:lnTo>
                    <a:pt x="1513" y="21"/>
                  </a:lnTo>
                  <a:lnTo>
                    <a:pt x="1518" y="15"/>
                  </a:lnTo>
                  <a:lnTo>
                    <a:pt x="1524" y="10"/>
                  </a:lnTo>
                  <a:lnTo>
                    <a:pt x="1526" y="5"/>
                  </a:lnTo>
                  <a:lnTo>
                    <a:pt x="1527" y="0"/>
                  </a:lnTo>
                  <a:lnTo>
                    <a:pt x="1541" y="0"/>
                  </a:lnTo>
                  <a:lnTo>
                    <a:pt x="1555" y="0"/>
                  </a:lnTo>
                  <a:lnTo>
                    <a:pt x="1570" y="2"/>
                  </a:lnTo>
                  <a:lnTo>
                    <a:pt x="1584" y="4"/>
                  </a:lnTo>
                  <a:lnTo>
                    <a:pt x="1591" y="6"/>
                  </a:lnTo>
                  <a:lnTo>
                    <a:pt x="1598" y="8"/>
                  </a:lnTo>
                  <a:lnTo>
                    <a:pt x="1603" y="11"/>
                  </a:lnTo>
                  <a:lnTo>
                    <a:pt x="1608" y="14"/>
                  </a:lnTo>
                  <a:lnTo>
                    <a:pt x="1612" y="18"/>
                  </a:lnTo>
                  <a:lnTo>
                    <a:pt x="1614" y="23"/>
                  </a:lnTo>
                  <a:lnTo>
                    <a:pt x="1617" y="29"/>
                  </a:lnTo>
                  <a:lnTo>
                    <a:pt x="1618" y="35"/>
                  </a:lnTo>
                  <a:lnTo>
                    <a:pt x="1619" y="35"/>
                  </a:lnTo>
                  <a:lnTo>
                    <a:pt x="1621" y="37"/>
                  </a:lnTo>
                  <a:lnTo>
                    <a:pt x="1623" y="40"/>
                  </a:lnTo>
                  <a:lnTo>
                    <a:pt x="1624" y="42"/>
                  </a:lnTo>
                  <a:lnTo>
                    <a:pt x="1628" y="51"/>
                  </a:lnTo>
                  <a:lnTo>
                    <a:pt x="1630" y="61"/>
                  </a:lnTo>
                  <a:lnTo>
                    <a:pt x="1633" y="88"/>
                  </a:lnTo>
                  <a:lnTo>
                    <a:pt x="1635" y="119"/>
                  </a:lnTo>
                  <a:lnTo>
                    <a:pt x="1636" y="152"/>
                  </a:lnTo>
                  <a:lnTo>
                    <a:pt x="1636" y="183"/>
                  </a:lnTo>
                  <a:lnTo>
                    <a:pt x="1636" y="208"/>
                  </a:lnTo>
                  <a:lnTo>
                    <a:pt x="1636" y="224"/>
                  </a:lnTo>
                  <a:lnTo>
                    <a:pt x="1635" y="241"/>
                  </a:lnTo>
                  <a:lnTo>
                    <a:pt x="1635" y="268"/>
                  </a:lnTo>
                  <a:lnTo>
                    <a:pt x="1633" y="304"/>
                  </a:lnTo>
                  <a:lnTo>
                    <a:pt x="1632" y="342"/>
                  </a:lnTo>
                  <a:lnTo>
                    <a:pt x="1631" y="379"/>
                  </a:lnTo>
                  <a:lnTo>
                    <a:pt x="1631" y="411"/>
                  </a:lnTo>
                  <a:lnTo>
                    <a:pt x="1632" y="425"/>
                  </a:lnTo>
                  <a:lnTo>
                    <a:pt x="1632" y="435"/>
                  </a:lnTo>
                  <a:lnTo>
                    <a:pt x="1633" y="441"/>
                  </a:lnTo>
                  <a:lnTo>
                    <a:pt x="1636" y="444"/>
                  </a:lnTo>
                  <a:lnTo>
                    <a:pt x="1636" y="453"/>
                  </a:lnTo>
                  <a:lnTo>
                    <a:pt x="1640" y="456"/>
                  </a:lnTo>
                  <a:lnTo>
                    <a:pt x="1646" y="463"/>
                  </a:lnTo>
                  <a:lnTo>
                    <a:pt x="1652" y="473"/>
                  </a:lnTo>
                  <a:lnTo>
                    <a:pt x="1660" y="484"/>
                  </a:lnTo>
                  <a:lnTo>
                    <a:pt x="1669" y="496"/>
                  </a:lnTo>
                  <a:lnTo>
                    <a:pt x="1677" y="506"/>
                  </a:lnTo>
                  <a:lnTo>
                    <a:pt x="1680" y="510"/>
                  </a:lnTo>
                  <a:lnTo>
                    <a:pt x="1684" y="513"/>
                  </a:lnTo>
                  <a:lnTo>
                    <a:pt x="1687" y="515"/>
                  </a:lnTo>
                  <a:lnTo>
                    <a:pt x="1689" y="516"/>
                  </a:lnTo>
                  <a:lnTo>
                    <a:pt x="1689" y="534"/>
                  </a:lnTo>
                  <a:lnTo>
                    <a:pt x="1690" y="534"/>
                  </a:lnTo>
                  <a:lnTo>
                    <a:pt x="1691" y="535"/>
                  </a:lnTo>
                  <a:lnTo>
                    <a:pt x="1693" y="536"/>
                  </a:lnTo>
                  <a:lnTo>
                    <a:pt x="1693" y="539"/>
                  </a:lnTo>
                  <a:lnTo>
                    <a:pt x="1694" y="543"/>
                  </a:lnTo>
                  <a:lnTo>
                    <a:pt x="1693" y="548"/>
                  </a:lnTo>
                  <a:lnTo>
                    <a:pt x="1690" y="559"/>
                  </a:lnTo>
                  <a:lnTo>
                    <a:pt x="1689" y="565"/>
                  </a:lnTo>
                  <a:lnTo>
                    <a:pt x="1686" y="566"/>
                  </a:lnTo>
                  <a:lnTo>
                    <a:pt x="1681" y="571"/>
                  </a:lnTo>
                  <a:lnTo>
                    <a:pt x="1676" y="577"/>
                  </a:lnTo>
                  <a:lnTo>
                    <a:pt x="1669" y="584"/>
                  </a:lnTo>
                  <a:lnTo>
                    <a:pt x="1655" y="604"/>
                  </a:lnTo>
                  <a:lnTo>
                    <a:pt x="1638" y="628"/>
                  </a:lnTo>
                  <a:lnTo>
                    <a:pt x="1606" y="674"/>
                  </a:lnTo>
                  <a:lnTo>
                    <a:pt x="1587" y="700"/>
                  </a:lnTo>
                  <a:lnTo>
                    <a:pt x="1581" y="706"/>
                  </a:lnTo>
                  <a:lnTo>
                    <a:pt x="1576" y="714"/>
                  </a:lnTo>
                  <a:lnTo>
                    <a:pt x="1570" y="724"/>
                  </a:lnTo>
                  <a:lnTo>
                    <a:pt x="1564" y="736"/>
                  </a:lnTo>
                  <a:lnTo>
                    <a:pt x="1551" y="764"/>
                  </a:lnTo>
                  <a:lnTo>
                    <a:pt x="1536" y="794"/>
                  </a:lnTo>
                  <a:lnTo>
                    <a:pt x="1524" y="822"/>
                  </a:lnTo>
                  <a:lnTo>
                    <a:pt x="1513" y="847"/>
                  </a:lnTo>
                  <a:lnTo>
                    <a:pt x="1505" y="864"/>
                  </a:lnTo>
                  <a:lnTo>
                    <a:pt x="1501" y="870"/>
                  </a:lnTo>
                  <a:lnTo>
                    <a:pt x="1501" y="879"/>
                  </a:lnTo>
                  <a:lnTo>
                    <a:pt x="1498" y="888"/>
                  </a:lnTo>
                  <a:lnTo>
                    <a:pt x="1496" y="896"/>
                  </a:lnTo>
                  <a:lnTo>
                    <a:pt x="1494" y="905"/>
                  </a:lnTo>
                  <a:lnTo>
                    <a:pt x="1492" y="914"/>
                  </a:lnTo>
                  <a:lnTo>
                    <a:pt x="1489" y="923"/>
                  </a:lnTo>
                  <a:lnTo>
                    <a:pt x="1488" y="933"/>
                  </a:lnTo>
                  <a:lnTo>
                    <a:pt x="1487" y="943"/>
                  </a:lnTo>
                  <a:lnTo>
                    <a:pt x="1479" y="946"/>
                  </a:lnTo>
                  <a:lnTo>
                    <a:pt x="1465" y="954"/>
                  </a:lnTo>
                  <a:lnTo>
                    <a:pt x="1457" y="958"/>
                  </a:lnTo>
                  <a:lnTo>
                    <a:pt x="1448" y="962"/>
                  </a:lnTo>
                  <a:lnTo>
                    <a:pt x="1440" y="964"/>
                  </a:lnTo>
                  <a:lnTo>
                    <a:pt x="1434" y="965"/>
                  </a:lnTo>
                  <a:lnTo>
                    <a:pt x="1177" y="960"/>
                  </a:lnTo>
                  <a:lnTo>
                    <a:pt x="1168" y="972"/>
                  </a:lnTo>
                  <a:lnTo>
                    <a:pt x="1159" y="983"/>
                  </a:lnTo>
                  <a:lnTo>
                    <a:pt x="1160" y="1010"/>
                  </a:lnTo>
                  <a:lnTo>
                    <a:pt x="1163" y="1035"/>
                  </a:lnTo>
                  <a:lnTo>
                    <a:pt x="1168" y="1061"/>
                  </a:lnTo>
                  <a:lnTo>
                    <a:pt x="1172" y="1085"/>
                  </a:lnTo>
                  <a:lnTo>
                    <a:pt x="1178" y="1110"/>
                  </a:lnTo>
                  <a:lnTo>
                    <a:pt x="1182" y="1135"/>
                  </a:lnTo>
                  <a:lnTo>
                    <a:pt x="1185" y="1160"/>
                  </a:lnTo>
                  <a:lnTo>
                    <a:pt x="1186" y="1185"/>
                  </a:lnTo>
                  <a:lnTo>
                    <a:pt x="1184" y="1186"/>
                  </a:lnTo>
                  <a:lnTo>
                    <a:pt x="1180" y="1188"/>
                  </a:lnTo>
                  <a:lnTo>
                    <a:pt x="1178" y="1193"/>
                  </a:lnTo>
                  <a:lnTo>
                    <a:pt x="1176" y="1198"/>
                  </a:lnTo>
                  <a:lnTo>
                    <a:pt x="1172" y="1210"/>
                  </a:lnTo>
                  <a:lnTo>
                    <a:pt x="1168" y="1225"/>
                  </a:lnTo>
                  <a:lnTo>
                    <a:pt x="1166" y="1233"/>
                  </a:lnTo>
                  <a:lnTo>
                    <a:pt x="1162" y="1241"/>
                  </a:lnTo>
                  <a:lnTo>
                    <a:pt x="1159" y="1247"/>
                  </a:lnTo>
                  <a:lnTo>
                    <a:pt x="1156" y="1253"/>
                  </a:lnTo>
                  <a:lnTo>
                    <a:pt x="1151" y="1258"/>
                  </a:lnTo>
                  <a:lnTo>
                    <a:pt x="1146" y="1263"/>
                  </a:lnTo>
                  <a:lnTo>
                    <a:pt x="1139" y="1265"/>
                  </a:lnTo>
                  <a:lnTo>
                    <a:pt x="1132" y="1266"/>
                  </a:lnTo>
                  <a:lnTo>
                    <a:pt x="1118" y="1265"/>
                  </a:lnTo>
                  <a:lnTo>
                    <a:pt x="1103" y="1262"/>
                  </a:lnTo>
                  <a:lnTo>
                    <a:pt x="1090" y="1257"/>
                  </a:lnTo>
                  <a:lnTo>
                    <a:pt x="1076" y="1253"/>
                  </a:lnTo>
                  <a:lnTo>
                    <a:pt x="1064" y="1247"/>
                  </a:lnTo>
                  <a:lnTo>
                    <a:pt x="1051" y="1243"/>
                  </a:lnTo>
                  <a:lnTo>
                    <a:pt x="1037" y="1241"/>
                  </a:lnTo>
                  <a:lnTo>
                    <a:pt x="1025" y="1238"/>
                  </a:lnTo>
                  <a:lnTo>
                    <a:pt x="1024" y="1237"/>
                  </a:lnTo>
                  <a:lnTo>
                    <a:pt x="1023" y="1235"/>
                  </a:lnTo>
                  <a:lnTo>
                    <a:pt x="1022" y="1233"/>
                  </a:lnTo>
                  <a:lnTo>
                    <a:pt x="1018" y="1231"/>
                  </a:lnTo>
                  <a:lnTo>
                    <a:pt x="1013" y="1227"/>
                  </a:lnTo>
                  <a:lnTo>
                    <a:pt x="1004" y="1224"/>
                  </a:lnTo>
                  <a:lnTo>
                    <a:pt x="981" y="1217"/>
                  </a:lnTo>
                  <a:lnTo>
                    <a:pt x="956" y="1213"/>
                  </a:lnTo>
                  <a:lnTo>
                    <a:pt x="929" y="1208"/>
                  </a:lnTo>
                  <a:lnTo>
                    <a:pt x="903" y="1205"/>
                  </a:lnTo>
                  <a:lnTo>
                    <a:pt x="882" y="1204"/>
                  </a:lnTo>
                  <a:lnTo>
                    <a:pt x="868" y="1203"/>
                  </a:lnTo>
                  <a:lnTo>
                    <a:pt x="837" y="1204"/>
                  </a:lnTo>
                  <a:lnTo>
                    <a:pt x="791" y="1203"/>
                  </a:lnTo>
                  <a:lnTo>
                    <a:pt x="767" y="1202"/>
                  </a:lnTo>
                  <a:lnTo>
                    <a:pt x="747" y="1199"/>
                  </a:lnTo>
                  <a:lnTo>
                    <a:pt x="739" y="1197"/>
                  </a:lnTo>
                  <a:lnTo>
                    <a:pt x="734" y="1195"/>
                  </a:lnTo>
                  <a:lnTo>
                    <a:pt x="731" y="1194"/>
                  </a:lnTo>
                  <a:lnTo>
                    <a:pt x="729" y="1193"/>
                  </a:lnTo>
                  <a:lnTo>
                    <a:pt x="728" y="1191"/>
                  </a:lnTo>
                  <a:lnTo>
                    <a:pt x="728" y="1189"/>
                  </a:lnTo>
                  <a:lnTo>
                    <a:pt x="724" y="1189"/>
                  </a:lnTo>
                  <a:lnTo>
                    <a:pt x="719" y="1187"/>
                  </a:lnTo>
                  <a:lnTo>
                    <a:pt x="714" y="1186"/>
                  </a:lnTo>
                  <a:lnTo>
                    <a:pt x="709" y="1183"/>
                  </a:lnTo>
                  <a:lnTo>
                    <a:pt x="698" y="1175"/>
                  </a:lnTo>
                  <a:lnTo>
                    <a:pt x="686" y="1167"/>
                  </a:lnTo>
                  <a:lnTo>
                    <a:pt x="673" y="1159"/>
                  </a:lnTo>
                  <a:lnTo>
                    <a:pt x="660" y="1151"/>
                  </a:lnTo>
                  <a:lnTo>
                    <a:pt x="653" y="1149"/>
                  </a:lnTo>
                  <a:lnTo>
                    <a:pt x="648" y="1147"/>
                  </a:lnTo>
                  <a:lnTo>
                    <a:pt x="640" y="1145"/>
                  </a:lnTo>
                  <a:lnTo>
                    <a:pt x="633" y="1145"/>
                  </a:lnTo>
                  <a:lnTo>
                    <a:pt x="539" y="1145"/>
                  </a:lnTo>
                  <a:lnTo>
                    <a:pt x="538" y="1142"/>
                  </a:lnTo>
                  <a:lnTo>
                    <a:pt x="537" y="1139"/>
                  </a:lnTo>
                  <a:lnTo>
                    <a:pt x="534" y="1136"/>
                  </a:lnTo>
                  <a:lnTo>
                    <a:pt x="531" y="1132"/>
                  </a:lnTo>
                  <a:lnTo>
                    <a:pt x="520" y="1125"/>
                  </a:lnTo>
                  <a:lnTo>
                    <a:pt x="510" y="1117"/>
                  </a:lnTo>
                  <a:lnTo>
                    <a:pt x="499" y="1109"/>
                  </a:lnTo>
                  <a:lnTo>
                    <a:pt x="490" y="1101"/>
                  </a:lnTo>
                  <a:lnTo>
                    <a:pt x="486" y="1097"/>
                  </a:lnTo>
                  <a:lnTo>
                    <a:pt x="484" y="1093"/>
                  </a:lnTo>
                  <a:lnTo>
                    <a:pt x="481" y="1090"/>
                  </a:lnTo>
                  <a:lnTo>
                    <a:pt x="481" y="1087"/>
                  </a:lnTo>
                  <a:lnTo>
                    <a:pt x="477" y="1085"/>
                  </a:lnTo>
                  <a:lnTo>
                    <a:pt x="474" y="1084"/>
                  </a:lnTo>
                  <a:lnTo>
                    <a:pt x="468" y="1082"/>
                  </a:lnTo>
                  <a:lnTo>
                    <a:pt x="464" y="1079"/>
                  </a:lnTo>
                  <a:lnTo>
                    <a:pt x="451" y="1071"/>
                  </a:lnTo>
                  <a:lnTo>
                    <a:pt x="439" y="1062"/>
                  </a:lnTo>
                  <a:lnTo>
                    <a:pt x="426" y="1052"/>
                  </a:lnTo>
                  <a:lnTo>
                    <a:pt x="412" y="1044"/>
                  </a:lnTo>
                  <a:lnTo>
                    <a:pt x="405" y="1041"/>
                  </a:lnTo>
                  <a:lnTo>
                    <a:pt x="399" y="1039"/>
                  </a:lnTo>
                  <a:lnTo>
                    <a:pt x="393" y="1037"/>
                  </a:lnTo>
                  <a:lnTo>
                    <a:pt x="386" y="1036"/>
                  </a:lnTo>
                  <a:lnTo>
                    <a:pt x="371" y="1040"/>
                  </a:lnTo>
                  <a:lnTo>
                    <a:pt x="345" y="1046"/>
                  </a:lnTo>
                  <a:lnTo>
                    <a:pt x="332" y="1051"/>
                  </a:lnTo>
                  <a:lnTo>
                    <a:pt x="321" y="1055"/>
                  </a:lnTo>
                  <a:lnTo>
                    <a:pt x="316" y="1058"/>
                  </a:lnTo>
                  <a:lnTo>
                    <a:pt x="313" y="1060"/>
                  </a:lnTo>
                  <a:lnTo>
                    <a:pt x="311" y="1062"/>
                  </a:lnTo>
                  <a:lnTo>
                    <a:pt x="311" y="1064"/>
                  </a:lnTo>
                  <a:lnTo>
                    <a:pt x="298" y="1064"/>
                  </a:lnTo>
                  <a:lnTo>
                    <a:pt x="285" y="1066"/>
                  </a:lnTo>
                  <a:lnTo>
                    <a:pt x="270" y="1070"/>
                  </a:lnTo>
                  <a:lnTo>
                    <a:pt x="255" y="1073"/>
                  </a:lnTo>
                  <a:lnTo>
                    <a:pt x="240" y="1077"/>
                  </a:lnTo>
                  <a:lnTo>
                    <a:pt x="225" y="1079"/>
                  </a:lnTo>
                  <a:lnTo>
                    <a:pt x="209" y="1081"/>
                  </a:lnTo>
                  <a:lnTo>
                    <a:pt x="193" y="1082"/>
                  </a:lnTo>
                  <a:lnTo>
                    <a:pt x="192" y="1079"/>
                  </a:lnTo>
                  <a:lnTo>
                    <a:pt x="191" y="1078"/>
                  </a:lnTo>
                  <a:lnTo>
                    <a:pt x="188" y="1078"/>
                  </a:lnTo>
                  <a:lnTo>
                    <a:pt x="184" y="1078"/>
                  </a:lnTo>
                  <a:lnTo>
                    <a:pt x="182" y="1072"/>
                  </a:lnTo>
                  <a:lnTo>
                    <a:pt x="177" y="1064"/>
                  </a:lnTo>
                  <a:lnTo>
                    <a:pt x="169" y="1055"/>
                  </a:lnTo>
                  <a:lnTo>
                    <a:pt x="160" y="1043"/>
                  </a:lnTo>
                  <a:lnTo>
                    <a:pt x="151" y="1032"/>
                  </a:lnTo>
                  <a:lnTo>
                    <a:pt x="143" y="1020"/>
                  </a:lnTo>
                  <a:lnTo>
                    <a:pt x="140" y="1013"/>
                  </a:lnTo>
                  <a:lnTo>
                    <a:pt x="138" y="1007"/>
                  </a:lnTo>
                  <a:lnTo>
                    <a:pt x="135" y="1002"/>
                  </a:lnTo>
                  <a:lnTo>
                    <a:pt x="135" y="996"/>
                  </a:lnTo>
                  <a:lnTo>
                    <a:pt x="133" y="996"/>
                  </a:lnTo>
                  <a:lnTo>
                    <a:pt x="131" y="994"/>
                  </a:lnTo>
                  <a:lnTo>
                    <a:pt x="131" y="991"/>
                  </a:lnTo>
                  <a:lnTo>
                    <a:pt x="130" y="986"/>
                  </a:lnTo>
                  <a:lnTo>
                    <a:pt x="131" y="976"/>
                  </a:lnTo>
                  <a:lnTo>
                    <a:pt x="132" y="965"/>
                  </a:lnTo>
                  <a:lnTo>
                    <a:pt x="136" y="944"/>
                  </a:lnTo>
                  <a:lnTo>
                    <a:pt x="140" y="934"/>
                  </a:lnTo>
                  <a:lnTo>
                    <a:pt x="144" y="921"/>
                  </a:lnTo>
                  <a:lnTo>
                    <a:pt x="149" y="908"/>
                  </a:lnTo>
                  <a:lnTo>
                    <a:pt x="151" y="893"/>
                  </a:lnTo>
                  <a:lnTo>
                    <a:pt x="152" y="879"/>
                  </a:lnTo>
                  <a:lnTo>
                    <a:pt x="152" y="863"/>
                  </a:lnTo>
                  <a:lnTo>
                    <a:pt x="152" y="847"/>
                  </a:lnTo>
                  <a:lnTo>
                    <a:pt x="151" y="831"/>
                  </a:lnTo>
                  <a:lnTo>
                    <a:pt x="149" y="814"/>
                  </a:lnTo>
                  <a:lnTo>
                    <a:pt x="144" y="782"/>
                  </a:lnTo>
                  <a:lnTo>
                    <a:pt x="140" y="751"/>
                  </a:lnTo>
                  <a:lnTo>
                    <a:pt x="136" y="722"/>
                  </a:lnTo>
                  <a:lnTo>
                    <a:pt x="135" y="696"/>
                  </a:lnTo>
                  <a:lnTo>
                    <a:pt x="131" y="691"/>
                  </a:lnTo>
                  <a:lnTo>
                    <a:pt x="122" y="684"/>
                  </a:lnTo>
                  <a:lnTo>
                    <a:pt x="112" y="675"/>
                  </a:lnTo>
                  <a:lnTo>
                    <a:pt x="109" y="668"/>
                  </a:lnTo>
                  <a:lnTo>
                    <a:pt x="95" y="668"/>
                  </a:lnTo>
                  <a:lnTo>
                    <a:pt x="83" y="667"/>
                  </a:lnTo>
                  <a:lnTo>
                    <a:pt x="71" y="666"/>
                  </a:lnTo>
                  <a:lnTo>
                    <a:pt x="58" y="665"/>
                  </a:lnTo>
                  <a:lnTo>
                    <a:pt x="59" y="650"/>
                  </a:lnTo>
                  <a:lnTo>
                    <a:pt x="61" y="637"/>
                  </a:lnTo>
                  <a:lnTo>
                    <a:pt x="57" y="637"/>
                  </a:lnTo>
                  <a:lnTo>
                    <a:pt x="54" y="637"/>
                  </a:lnTo>
                  <a:lnTo>
                    <a:pt x="52" y="635"/>
                  </a:lnTo>
                  <a:lnTo>
                    <a:pt x="50" y="632"/>
                  </a:lnTo>
                  <a:lnTo>
                    <a:pt x="36" y="632"/>
                  </a:lnTo>
                  <a:lnTo>
                    <a:pt x="33" y="629"/>
                  </a:lnTo>
                  <a:lnTo>
                    <a:pt x="27" y="625"/>
                  </a:lnTo>
                  <a:lnTo>
                    <a:pt x="24" y="621"/>
                  </a:lnTo>
                  <a:lnTo>
                    <a:pt x="23" y="618"/>
                  </a:lnTo>
                  <a:lnTo>
                    <a:pt x="15" y="616"/>
                  </a:lnTo>
                  <a:lnTo>
                    <a:pt x="8" y="613"/>
                  </a:lnTo>
                  <a:lnTo>
                    <a:pt x="5" y="600"/>
                  </a:lnTo>
                  <a:lnTo>
                    <a:pt x="0" y="573"/>
                  </a:lnTo>
                  <a:lnTo>
                    <a:pt x="0" y="565"/>
                  </a:lnTo>
                  <a:lnTo>
                    <a:pt x="0" y="558"/>
                  </a:lnTo>
                  <a:lnTo>
                    <a:pt x="0" y="551"/>
                  </a:lnTo>
                  <a:lnTo>
                    <a:pt x="1" y="545"/>
                  </a:lnTo>
                  <a:lnTo>
                    <a:pt x="5" y="540"/>
                  </a:lnTo>
                  <a:lnTo>
                    <a:pt x="7" y="536"/>
                  </a:lnTo>
                  <a:lnTo>
                    <a:pt x="11" y="533"/>
                  </a:lnTo>
                  <a:lnTo>
                    <a:pt x="17" y="532"/>
                  </a:lnTo>
                  <a:lnTo>
                    <a:pt x="19" y="526"/>
                  </a:lnTo>
                  <a:lnTo>
                    <a:pt x="24" y="521"/>
                  </a:lnTo>
                  <a:lnTo>
                    <a:pt x="29" y="514"/>
                  </a:lnTo>
                  <a:lnTo>
                    <a:pt x="36" y="507"/>
                  </a:lnTo>
                  <a:lnTo>
                    <a:pt x="49" y="496"/>
                  </a:lnTo>
                  <a:lnTo>
                    <a:pt x="55" y="489"/>
                  </a:lnTo>
                  <a:lnTo>
                    <a:pt x="63" y="487"/>
                  </a:lnTo>
                  <a:lnTo>
                    <a:pt x="69" y="485"/>
                  </a:lnTo>
                  <a:lnTo>
                    <a:pt x="74" y="475"/>
                  </a:lnTo>
                  <a:lnTo>
                    <a:pt x="77" y="475"/>
                  </a:lnTo>
                  <a:lnTo>
                    <a:pt x="83" y="473"/>
                  </a:lnTo>
                  <a:lnTo>
                    <a:pt x="88" y="469"/>
                  </a:lnTo>
                  <a:lnTo>
                    <a:pt x="94" y="465"/>
                  </a:lnTo>
                  <a:lnTo>
                    <a:pt x="110" y="454"/>
                  </a:lnTo>
                  <a:lnTo>
                    <a:pt x="125" y="441"/>
                  </a:lnTo>
                  <a:lnTo>
                    <a:pt x="141" y="428"/>
                  </a:lnTo>
                  <a:lnTo>
                    <a:pt x="154" y="416"/>
                  </a:lnTo>
                  <a:lnTo>
                    <a:pt x="164" y="406"/>
                  </a:lnTo>
                  <a:lnTo>
                    <a:pt x="169" y="399"/>
                  </a:lnTo>
                  <a:lnTo>
                    <a:pt x="173" y="399"/>
                  </a:lnTo>
                  <a:lnTo>
                    <a:pt x="178" y="398"/>
                  </a:lnTo>
                  <a:lnTo>
                    <a:pt x="182" y="396"/>
                  </a:lnTo>
                  <a:lnTo>
                    <a:pt x="187" y="393"/>
                  </a:lnTo>
                  <a:lnTo>
                    <a:pt x="191" y="391"/>
                  </a:lnTo>
                  <a:lnTo>
                    <a:pt x="194" y="388"/>
                  </a:lnTo>
                  <a:lnTo>
                    <a:pt x="197" y="385"/>
                  </a:lnTo>
                  <a:lnTo>
                    <a:pt x="198" y="380"/>
                  </a:lnTo>
                  <a:lnTo>
                    <a:pt x="203" y="379"/>
                  </a:lnTo>
                  <a:lnTo>
                    <a:pt x="210" y="376"/>
                  </a:lnTo>
                  <a:lnTo>
                    <a:pt x="217" y="371"/>
                  </a:lnTo>
                  <a:lnTo>
                    <a:pt x="222" y="367"/>
                  </a:lnTo>
                  <a:lnTo>
                    <a:pt x="234" y="357"/>
                  </a:lnTo>
                  <a:lnTo>
                    <a:pt x="240" y="352"/>
                  </a:lnTo>
                  <a:lnTo>
                    <a:pt x="242" y="335"/>
                  </a:lnTo>
                  <a:lnTo>
                    <a:pt x="245" y="319"/>
                  </a:lnTo>
                  <a:lnTo>
                    <a:pt x="250" y="314"/>
                  </a:lnTo>
                  <a:lnTo>
                    <a:pt x="255" y="310"/>
                  </a:lnTo>
                  <a:lnTo>
                    <a:pt x="259" y="304"/>
                  </a:lnTo>
                  <a:lnTo>
                    <a:pt x="270" y="298"/>
                  </a:lnTo>
                  <a:lnTo>
                    <a:pt x="278" y="291"/>
                  </a:lnTo>
                  <a:lnTo>
                    <a:pt x="290" y="283"/>
                  </a:lnTo>
                  <a:lnTo>
                    <a:pt x="302" y="276"/>
                  </a:lnTo>
                  <a:lnTo>
                    <a:pt x="307" y="266"/>
                  </a:lnTo>
                  <a:lnTo>
                    <a:pt x="311" y="266"/>
                  </a:lnTo>
                  <a:lnTo>
                    <a:pt x="314" y="264"/>
                  </a:lnTo>
                  <a:lnTo>
                    <a:pt x="315" y="261"/>
                  </a:lnTo>
                  <a:lnTo>
                    <a:pt x="316" y="257"/>
                  </a:lnTo>
                  <a:lnTo>
                    <a:pt x="321" y="255"/>
                  </a:lnTo>
                  <a:lnTo>
                    <a:pt x="326" y="253"/>
                  </a:lnTo>
                  <a:lnTo>
                    <a:pt x="326" y="248"/>
                  </a:lnTo>
                  <a:lnTo>
                    <a:pt x="326" y="244"/>
                  </a:lnTo>
                  <a:lnTo>
                    <a:pt x="327" y="242"/>
                  </a:lnTo>
                  <a:lnTo>
                    <a:pt x="328" y="239"/>
                  </a:lnTo>
                  <a:lnTo>
                    <a:pt x="330" y="238"/>
                  </a:lnTo>
                  <a:lnTo>
                    <a:pt x="331" y="238"/>
                  </a:lnTo>
                  <a:lnTo>
                    <a:pt x="330" y="234"/>
                  </a:lnTo>
                  <a:lnTo>
                    <a:pt x="327" y="229"/>
                  </a:lnTo>
                  <a:lnTo>
                    <a:pt x="323" y="225"/>
                  </a:lnTo>
                  <a:lnTo>
                    <a:pt x="317" y="222"/>
                  </a:lnTo>
                  <a:lnTo>
                    <a:pt x="305" y="215"/>
                  </a:lnTo>
                  <a:lnTo>
                    <a:pt x="294" y="20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7" name="Freeform 60">
              <a:extLst>
                <a:ext uri="{FF2B5EF4-FFF2-40B4-BE49-F238E27FC236}">
                  <a16:creationId xmlns:a16="http://schemas.microsoft.com/office/drawing/2014/main" id="{FE61C9E9-D3E3-4FDE-90BD-59A60269FBC8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653463" y="2700338"/>
              <a:ext cx="354524" cy="427038"/>
            </a:xfrm>
            <a:custGeom>
              <a:avLst/>
              <a:gdLst/>
              <a:ahLst/>
              <a:cxnLst>
                <a:cxn ang="0">
                  <a:pos x="683" y="1014"/>
                </a:cxn>
                <a:cxn ang="0">
                  <a:pos x="729" y="976"/>
                </a:cxn>
                <a:cxn ang="0">
                  <a:pos x="774" y="963"/>
                </a:cxn>
                <a:cxn ang="0">
                  <a:pos x="864" y="927"/>
                </a:cxn>
                <a:cxn ang="0">
                  <a:pos x="920" y="877"/>
                </a:cxn>
                <a:cxn ang="0">
                  <a:pos x="964" y="809"/>
                </a:cxn>
                <a:cxn ang="0">
                  <a:pos x="945" y="514"/>
                </a:cxn>
                <a:cxn ang="0">
                  <a:pos x="903" y="454"/>
                </a:cxn>
                <a:cxn ang="0">
                  <a:pos x="871" y="409"/>
                </a:cxn>
                <a:cxn ang="0">
                  <a:pos x="833" y="364"/>
                </a:cxn>
                <a:cxn ang="0">
                  <a:pos x="789" y="237"/>
                </a:cxn>
                <a:cxn ang="0">
                  <a:pos x="814" y="75"/>
                </a:cxn>
                <a:cxn ang="0">
                  <a:pos x="894" y="12"/>
                </a:cxn>
                <a:cxn ang="0">
                  <a:pos x="1082" y="5"/>
                </a:cxn>
                <a:cxn ang="0">
                  <a:pos x="1322" y="56"/>
                </a:cxn>
                <a:cxn ang="0">
                  <a:pos x="1371" y="94"/>
                </a:cxn>
                <a:cxn ang="0">
                  <a:pos x="1411" y="118"/>
                </a:cxn>
                <a:cxn ang="0">
                  <a:pos x="1537" y="171"/>
                </a:cxn>
                <a:cxn ang="0">
                  <a:pos x="1676" y="234"/>
                </a:cxn>
                <a:cxn ang="0">
                  <a:pos x="1716" y="290"/>
                </a:cxn>
                <a:cxn ang="0">
                  <a:pos x="1753" y="340"/>
                </a:cxn>
                <a:cxn ang="0">
                  <a:pos x="1792" y="410"/>
                </a:cxn>
                <a:cxn ang="0">
                  <a:pos x="1811" y="646"/>
                </a:cxn>
                <a:cxn ang="0">
                  <a:pos x="1861" y="759"/>
                </a:cxn>
                <a:cxn ang="0">
                  <a:pos x="1927" y="879"/>
                </a:cxn>
                <a:cxn ang="0">
                  <a:pos x="1934" y="1107"/>
                </a:cxn>
                <a:cxn ang="0">
                  <a:pos x="1660" y="1163"/>
                </a:cxn>
                <a:cxn ang="0">
                  <a:pos x="1598" y="1227"/>
                </a:cxn>
                <a:cxn ang="0">
                  <a:pos x="1552" y="1268"/>
                </a:cxn>
                <a:cxn ang="0">
                  <a:pos x="1484" y="1303"/>
                </a:cxn>
                <a:cxn ang="0">
                  <a:pos x="1387" y="1331"/>
                </a:cxn>
                <a:cxn ang="0">
                  <a:pos x="1322" y="1355"/>
                </a:cxn>
                <a:cxn ang="0">
                  <a:pos x="1288" y="1396"/>
                </a:cxn>
                <a:cxn ang="0">
                  <a:pos x="1268" y="1450"/>
                </a:cxn>
                <a:cxn ang="0">
                  <a:pos x="1249" y="1553"/>
                </a:cxn>
                <a:cxn ang="0">
                  <a:pos x="1320" y="1652"/>
                </a:cxn>
                <a:cxn ang="0">
                  <a:pos x="1450" y="1868"/>
                </a:cxn>
                <a:cxn ang="0">
                  <a:pos x="1437" y="2057"/>
                </a:cxn>
                <a:cxn ang="0">
                  <a:pos x="1325" y="2159"/>
                </a:cxn>
                <a:cxn ang="0">
                  <a:pos x="1205" y="2198"/>
                </a:cxn>
                <a:cxn ang="0">
                  <a:pos x="1112" y="2245"/>
                </a:cxn>
                <a:cxn ang="0">
                  <a:pos x="1069" y="2277"/>
                </a:cxn>
                <a:cxn ang="0">
                  <a:pos x="1029" y="2368"/>
                </a:cxn>
                <a:cxn ang="0">
                  <a:pos x="988" y="2569"/>
                </a:cxn>
                <a:cxn ang="0">
                  <a:pos x="967" y="2599"/>
                </a:cxn>
                <a:cxn ang="0">
                  <a:pos x="889" y="2638"/>
                </a:cxn>
                <a:cxn ang="0">
                  <a:pos x="754" y="2610"/>
                </a:cxn>
                <a:cxn ang="0">
                  <a:pos x="722" y="2450"/>
                </a:cxn>
                <a:cxn ang="0">
                  <a:pos x="637" y="2384"/>
                </a:cxn>
                <a:cxn ang="0">
                  <a:pos x="581" y="2419"/>
                </a:cxn>
                <a:cxn ang="0">
                  <a:pos x="504" y="2466"/>
                </a:cxn>
                <a:cxn ang="0">
                  <a:pos x="412" y="2443"/>
                </a:cxn>
                <a:cxn ang="0">
                  <a:pos x="256" y="2342"/>
                </a:cxn>
                <a:cxn ang="0">
                  <a:pos x="26" y="2320"/>
                </a:cxn>
                <a:cxn ang="0">
                  <a:pos x="65" y="2239"/>
                </a:cxn>
                <a:cxn ang="0">
                  <a:pos x="327" y="2010"/>
                </a:cxn>
                <a:cxn ang="0">
                  <a:pos x="400" y="1893"/>
                </a:cxn>
                <a:cxn ang="0">
                  <a:pos x="573" y="1612"/>
                </a:cxn>
                <a:cxn ang="0">
                  <a:pos x="556" y="1542"/>
                </a:cxn>
                <a:cxn ang="0">
                  <a:pos x="522" y="1287"/>
                </a:cxn>
                <a:cxn ang="0">
                  <a:pos x="503" y="1071"/>
                </a:cxn>
              </a:cxnLst>
              <a:rect l="0" t="0" r="r" b="b"/>
              <a:pathLst>
                <a:path w="1956" h="2656">
                  <a:moveTo>
                    <a:pt x="498" y="1063"/>
                  </a:moveTo>
                  <a:lnTo>
                    <a:pt x="518" y="1060"/>
                  </a:lnTo>
                  <a:lnTo>
                    <a:pt x="554" y="1053"/>
                  </a:lnTo>
                  <a:lnTo>
                    <a:pt x="589" y="1048"/>
                  </a:lnTo>
                  <a:lnTo>
                    <a:pt x="609" y="1046"/>
                  </a:lnTo>
                  <a:lnTo>
                    <a:pt x="615" y="1042"/>
                  </a:lnTo>
                  <a:lnTo>
                    <a:pt x="628" y="1039"/>
                  </a:lnTo>
                  <a:lnTo>
                    <a:pt x="640" y="1027"/>
                  </a:lnTo>
                  <a:lnTo>
                    <a:pt x="652" y="1027"/>
                  </a:lnTo>
                  <a:lnTo>
                    <a:pt x="653" y="1024"/>
                  </a:lnTo>
                  <a:lnTo>
                    <a:pt x="657" y="1022"/>
                  </a:lnTo>
                  <a:lnTo>
                    <a:pt x="660" y="1020"/>
                  </a:lnTo>
                  <a:lnTo>
                    <a:pt x="666" y="1018"/>
                  </a:lnTo>
                  <a:lnTo>
                    <a:pt x="676" y="1015"/>
                  </a:lnTo>
                  <a:lnTo>
                    <a:pt x="683" y="1014"/>
                  </a:lnTo>
                  <a:lnTo>
                    <a:pt x="685" y="1011"/>
                  </a:lnTo>
                  <a:lnTo>
                    <a:pt x="687" y="1009"/>
                  </a:lnTo>
                  <a:lnTo>
                    <a:pt x="689" y="1005"/>
                  </a:lnTo>
                  <a:lnTo>
                    <a:pt x="693" y="1002"/>
                  </a:lnTo>
                  <a:lnTo>
                    <a:pt x="701" y="998"/>
                  </a:lnTo>
                  <a:lnTo>
                    <a:pt x="708" y="995"/>
                  </a:lnTo>
                  <a:lnTo>
                    <a:pt x="709" y="993"/>
                  </a:lnTo>
                  <a:lnTo>
                    <a:pt x="710" y="991"/>
                  </a:lnTo>
                  <a:lnTo>
                    <a:pt x="712" y="989"/>
                  </a:lnTo>
                  <a:lnTo>
                    <a:pt x="715" y="986"/>
                  </a:lnTo>
                  <a:lnTo>
                    <a:pt x="721" y="984"/>
                  </a:lnTo>
                  <a:lnTo>
                    <a:pt x="727" y="983"/>
                  </a:lnTo>
                  <a:lnTo>
                    <a:pt x="727" y="980"/>
                  </a:lnTo>
                  <a:lnTo>
                    <a:pt x="728" y="977"/>
                  </a:lnTo>
                  <a:lnTo>
                    <a:pt x="729" y="976"/>
                  </a:lnTo>
                  <a:lnTo>
                    <a:pt x="730" y="976"/>
                  </a:lnTo>
                  <a:lnTo>
                    <a:pt x="731" y="976"/>
                  </a:lnTo>
                  <a:lnTo>
                    <a:pt x="733" y="976"/>
                  </a:lnTo>
                  <a:lnTo>
                    <a:pt x="733" y="974"/>
                  </a:lnTo>
                  <a:lnTo>
                    <a:pt x="733" y="971"/>
                  </a:lnTo>
                  <a:lnTo>
                    <a:pt x="751" y="971"/>
                  </a:lnTo>
                  <a:lnTo>
                    <a:pt x="751" y="969"/>
                  </a:lnTo>
                  <a:lnTo>
                    <a:pt x="753" y="967"/>
                  </a:lnTo>
                  <a:lnTo>
                    <a:pt x="754" y="966"/>
                  </a:lnTo>
                  <a:lnTo>
                    <a:pt x="756" y="965"/>
                  </a:lnTo>
                  <a:lnTo>
                    <a:pt x="759" y="964"/>
                  </a:lnTo>
                  <a:lnTo>
                    <a:pt x="764" y="964"/>
                  </a:lnTo>
                  <a:lnTo>
                    <a:pt x="768" y="964"/>
                  </a:lnTo>
                  <a:lnTo>
                    <a:pt x="773" y="963"/>
                  </a:lnTo>
                  <a:lnTo>
                    <a:pt x="774" y="963"/>
                  </a:lnTo>
                  <a:lnTo>
                    <a:pt x="775" y="962"/>
                  </a:lnTo>
                  <a:lnTo>
                    <a:pt x="776" y="960"/>
                  </a:lnTo>
                  <a:lnTo>
                    <a:pt x="776" y="958"/>
                  </a:lnTo>
                  <a:lnTo>
                    <a:pt x="814" y="958"/>
                  </a:lnTo>
                  <a:lnTo>
                    <a:pt x="826" y="945"/>
                  </a:lnTo>
                  <a:lnTo>
                    <a:pt x="839" y="945"/>
                  </a:lnTo>
                  <a:lnTo>
                    <a:pt x="840" y="944"/>
                  </a:lnTo>
                  <a:lnTo>
                    <a:pt x="841" y="942"/>
                  </a:lnTo>
                  <a:lnTo>
                    <a:pt x="843" y="941"/>
                  </a:lnTo>
                  <a:lnTo>
                    <a:pt x="845" y="941"/>
                  </a:lnTo>
                  <a:lnTo>
                    <a:pt x="852" y="939"/>
                  </a:lnTo>
                  <a:lnTo>
                    <a:pt x="858" y="939"/>
                  </a:lnTo>
                  <a:lnTo>
                    <a:pt x="863" y="933"/>
                  </a:lnTo>
                  <a:lnTo>
                    <a:pt x="864" y="929"/>
                  </a:lnTo>
                  <a:lnTo>
                    <a:pt x="864" y="927"/>
                  </a:lnTo>
                  <a:lnTo>
                    <a:pt x="865" y="927"/>
                  </a:lnTo>
                  <a:lnTo>
                    <a:pt x="866" y="927"/>
                  </a:lnTo>
                  <a:lnTo>
                    <a:pt x="868" y="927"/>
                  </a:lnTo>
                  <a:lnTo>
                    <a:pt x="869" y="926"/>
                  </a:lnTo>
                  <a:lnTo>
                    <a:pt x="870" y="924"/>
                  </a:lnTo>
                  <a:lnTo>
                    <a:pt x="870" y="921"/>
                  </a:lnTo>
                  <a:lnTo>
                    <a:pt x="882" y="921"/>
                  </a:lnTo>
                  <a:lnTo>
                    <a:pt x="889" y="915"/>
                  </a:lnTo>
                  <a:lnTo>
                    <a:pt x="890" y="909"/>
                  </a:lnTo>
                  <a:lnTo>
                    <a:pt x="892" y="905"/>
                  </a:lnTo>
                  <a:lnTo>
                    <a:pt x="897" y="900"/>
                  </a:lnTo>
                  <a:lnTo>
                    <a:pt x="901" y="896"/>
                  </a:lnTo>
                  <a:lnTo>
                    <a:pt x="913" y="896"/>
                  </a:lnTo>
                  <a:lnTo>
                    <a:pt x="920" y="889"/>
                  </a:lnTo>
                  <a:lnTo>
                    <a:pt x="920" y="877"/>
                  </a:lnTo>
                  <a:lnTo>
                    <a:pt x="926" y="871"/>
                  </a:lnTo>
                  <a:lnTo>
                    <a:pt x="932" y="865"/>
                  </a:lnTo>
                  <a:lnTo>
                    <a:pt x="936" y="865"/>
                  </a:lnTo>
                  <a:lnTo>
                    <a:pt x="938" y="864"/>
                  </a:lnTo>
                  <a:lnTo>
                    <a:pt x="938" y="862"/>
                  </a:lnTo>
                  <a:lnTo>
                    <a:pt x="938" y="861"/>
                  </a:lnTo>
                  <a:lnTo>
                    <a:pt x="938" y="860"/>
                  </a:lnTo>
                  <a:lnTo>
                    <a:pt x="939" y="859"/>
                  </a:lnTo>
                  <a:lnTo>
                    <a:pt x="941" y="859"/>
                  </a:lnTo>
                  <a:lnTo>
                    <a:pt x="945" y="858"/>
                  </a:lnTo>
                  <a:lnTo>
                    <a:pt x="946" y="849"/>
                  </a:lnTo>
                  <a:lnTo>
                    <a:pt x="948" y="840"/>
                  </a:lnTo>
                  <a:lnTo>
                    <a:pt x="950" y="830"/>
                  </a:lnTo>
                  <a:lnTo>
                    <a:pt x="950" y="821"/>
                  </a:lnTo>
                  <a:lnTo>
                    <a:pt x="964" y="809"/>
                  </a:lnTo>
                  <a:lnTo>
                    <a:pt x="964" y="775"/>
                  </a:lnTo>
                  <a:lnTo>
                    <a:pt x="964" y="742"/>
                  </a:lnTo>
                  <a:lnTo>
                    <a:pt x="964" y="707"/>
                  </a:lnTo>
                  <a:lnTo>
                    <a:pt x="964" y="672"/>
                  </a:lnTo>
                  <a:lnTo>
                    <a:pt x="964" y="637"/>
                  </a:lnTo>
                  <a:lnTo>
                    <a:pt x="964" y="602"/>
                  </a:lnTo>
                  <a:lnTo>
                    <a:pt x="964" y="568"/>
                  </a:lnTo>
                  <a:lnTo>
                    <a:pt x="964" y="535"/>
                  </a:lnTo>
                  <a:lnTo>
                    <a:pt x="959" y="530"/>
                  </a:lnTo>
                  <a:lnTo>
                    <a:pt x="955" y="525"/>
                  </a:lnTo>
                  <a:lnTo>
                    <a:pt x="951" y="521"/>
                  </a:lnTo>
                  <a:lnTo>
                    <a:pt x="950" y="517"/>
                  </a:lnTo>
                  <a:lnTo>
                    <a:pt x="947" y="517"/>
                  </a:lnTo>
                  <a:lnTo>
                    <a:pt x="946" y="515"/>
                  </a:lnTo>
                  <a:lnTo>
                    <a:pt x="945" y="514"/>
                  </a:lnTo>
                  <a:lnTo>
                    <a:pt x="945" y="513"/>
                  </a:lnTo>
                  <a:lnTo>
                    <a:pt x="945" y="512"/>
                  </a:lnTo>
                  <a:lnTo>
                    <a:pt x="943" y="511"/>
                  </a:lnTo>
                  <a:lnTo>
                    <a:pt x="942" y="511"/>
                  </a:lnTo>
                  <a:lnTo>
                    <a:pt x="938" y="510"/>
                  </a:lnTo>
                  <a:lnTo>
                    <a:pt x="937" y="505"/>
                  </a:lnTo>
                  <a:lnTo>
                    <a:pt x="935" y="502"/>
                  </a:lnTo>
                  <a:lnTo>
                    <a:pt x="930" y="499"/>
                  </a:lnTo>
                  <a:lnTo>
                    <a:pt x="926" y="498"/>
                  </a:lnTo>
                  <a:lnTo>
                    <a:pt x="923" y="491"/>
                  </a:lnTo>
                  <a:lnTo>
                    <a:pt x="919" y="482"/>
                  </a:lnTo>
                  <a:lnTo>
                    <a:pt x="912" y="473"/>
                  </a:lnTo>
                  <a:lnTo>
                    <a:pt x="907" y="466"/>
                  </a:lnTo>
                  <a:lnTo>
                    <a:pt x="907" y="454"/>
                  </a:lnTo>
                  <a:lnTo>
                    <a:pt x="903" y="454"/>
                  </a:lnTo>
                  <a:lnTo>
                    <a:pt x="902" y="453"/>
                  </a:lnTo>
                  <a:lnTo>
                    <a:pt x="901" y="452"/>
                  </a:lnTo>
                  <a:lnTo>
                    <a:pt x="901" y="451"/>
                  </a:lnTo>
                  <a:lnTo>
                    <a:pt x="901" y="450"/>
                  </a:lnTo>
                  <a:lnTo>
                    <a:pt x="900" y="448"/>
                  </a:lnTo>
                  <a:lnTo>
                    <a:pt x="899" y="448"/>
                  </a:lnTo>
                  <a:lnTo>
                    <a:pt x="894" y="448"/>
                  </a:lnTo>
                  <a:lnTo>
                    <a:pt x="894" y="429"/>
                  </a:lnTo>
                  <a:lnTo>
                    <a:pt x="890" y="428"/>
                  </a:lnTo>
                  <a:lnTo>
                    <a:pt x="887" y="425"/>
                  </a:lnTo>
                  <a:lnTo>
                    <a:pt x="883" y="422"/>
                  </a:lnTo>
                  <a:lnTo>
                    <a:pt x="882" y="417"/>
                  </a:lnTo>
                  <a:lnTo>
                    <a:pt x="878" y="416"/>
                  </a:lnTo>
                  <a:lnTo>
                    <a:pt x="874" y="413"/>
                  </a:lnTo>
                  <a:lnTo>
                    <a:pt x="871" y="409"/>
                  </a:lnTo>
                  <a:lnTo>
                    <a:pt x="870" y="405"/>
                  </a:lnTo>
                  <a:lnTo>
                    <a:pt x="865" y="404"/>
                  </a:lnTo>
                  <a:lnTo>
                    <a:pt x="861" y="400"/>
                  </a:lnTo>
                  <a:lnTo>
                    <a:pt x="859" y="396"/>
                  </a:lnTo>
                  <a:lnTo>
                    <a:pt x="858" y="392"/>
                  </a:lnTo>
                  <a:lnTo>
                    <a:pt x="855" y="392"/>
                  </a:lnTo>
                  <a:lnTo>
                    <a:pt x="853" y="390"/>
                  </a:lnTo>
                  <a:lnTo>
                    <a:pt x="851" y="388"/>
                  </a:lnTo>
                  <a:lnTo>
                    <a:pt x="849" y="385"/>
                  </a:lnTo>
                  <a:lnTo>
                    <a:pt x="846" y="379"/>
                  </a:lnTo>
                  <a:lnTo>
                    <a:pt x="845" y="374"/>
                  </a:lnTo>
                  <a:lnTo>
                    <a:pt x="842" y="373"/>
                  </a:lnTo>
                  <a:lnTo>
                    <a:pt x="840" y="370"/>
                  </a:lnTo>
                  <a:lnTo>
                    <a:pt x="836" y="367"/>
                  </a:lnTo>
                  <a:lnTo>
                    <a:pt x="833" y="364"/>
                  </a:lnTo>
                  <a:lnTo>
                    <a:pt x="829" y="355"/>
                  </a:lnTo>
                  <a:lnTo>
                    <a:pt x="826" y="348"/>
                  </a:lnTo>
                  <a:lnTo>
                    <a:pt x="824" y="348"/>
                  </a:lnTo>
                  <a:lnTo>
                    <a:pt x="822" y="347"/>
                  </a:lnTo>
                  <a:lnTo>
                    <a:pt x="820" y="345"/>
                  </a:lnTo>
                  <a:lnTo>
                    <a:pt x="817" y="341"/>
                  </a:lnTo>
                  <a:lnTo>
                    <a:pt x="813" y="333"/>
                  </a:lnTo>
                  <a:lnTo>
                    <a:pt x="810" y="325"/>
                  </a:lnTo>
                  <a:lnTo>
                    <a:pt x="806" y="316"/>
                  </a:lnTo>
                  <a:lnTo>
                    <a:pt x="804" y="307"/>
                  </a:lnTo>
                  <a:lnTo>
                    <a:pt x="802" y="299"/>
                  </a:lnTo>
                  <a:lnTo>
                    <a:pt x="802" y="292"/>
                  </a:lnTo>
                  <a:lnTo>
                    <a:pt x="789" y="280"/>
                  </a:lnTo>
                  <a:lnTo>
                    <a:pt x="789" y="259"/>
                  </a:lnTo>
                  <a:lnTo>
                    <a:pt x="789" y="237"/>
                  </a:lnTo>
                  <a:lnTo>
                    <a:pt x="789" y="215"/>
                  </a:lnTo>
                  <a:lnTo>
                    <a:pt x="789" y="194"/>
                  </a:lnTo>
                  <a:lnTo>
                    <a:pt x="789" y="173"/>
                  </a:lnTo>
                  <a:lnTo>
                    <a:pt x="789" y="152"/>
                  </a:lnTo>
                  <a:lnTo>
                    <a:pt x="789" y="131"/>
                  </a:lnTo>
                  <a:lnTo>
                    <a:pt x="789" y="112"/>
                  </a:lnTo>
                  <a:lnTo>
                    <a:pt x="802" y="106"/>
                  </a:lnTo>
                  <a:lnTo>
                    <a:pt x="802" y="94"/>
                  </a:lnTo>
                  <a:lnTo>
                    <a:pt x="804" y="94"/>
                  </a:lnTo>
                  <a:lnTo>
                    <a:pt x="805" y="92"/>
                  </a:lnTo>
                  <a:lnTo>
                    <a:pt x="806" y="91"/>
                  </a:lnTo>
                  <a:lnTo>
                    <a:pt x="807" y="89"/>
                  </a:lnTo>
                  <a:lnTo>
                    <a:pt x="807" y="86"/>
                  </a:lnTo>
                  <a:lnTo>
                    <a:pt x="807" y="81"/>
                  </a:lnTo>
                  <a:lnTo>
                    <a:pt x="814" y="75"/>
                  </a:lnTo>
                  <a:lnTo>
                    <a:pt x="820" y="69"/>
                  </a:lnTo>
                  <a:lnTo>
                    <a:pt x="826" y="62"/>
                  </a:lnTo>
                  <a:lnTo>
                    <a:pt x="833" y="56"/>
                  </a:lnTo>
                  <a:lnTo>
                    <a:pt x="839" y="50"/>
                  </a:lnTo>
                  <a:lnTo>
                    <a:pt x="851" y="50"/>
                  </a:lnTo>
                  <a:lnTo>
                    <a:pt x="851" y="38"/>
                  </a:lnTo>
                  <a:lnTo>
                    <a:pt x="863" y="38"/>
                  </a:lnTo>
                  <a:lnTo>
                    <a:pt x="864" y="35"/>
                  </a:lnTo>
                  <a:lnTo>
                    <a:pt x="864" y="33"/>
                  </a:lnTo>
                  <a:lnTo>
                    <a:pt x="866" y="32"/>
                  </a:lnTo>
                  <a:lnTo>
                    <a:pt x="868" y="32"/>
                  </a:lnTo>
                  <a:lnTo>
                    <a:pt x="872" y="31"/>
                  </a:lnTo>
                  <a:lnTo>
                    <a:pt x="877" y="31"/>
                  </a:lnTo>
                  <a:lnTo>
                    <a:pt x="885" y="22"/>
                  </a:lnTo>
                  <a:lnTo>
                    <a:pt x="894" y="12"/>
                  </a:lnTo>
                  <a:lnTo>
                    <a:pt x="907" y="12"/>
                  </a:lnTo>
                  <a:lnTo>
                    <a:pt x="908" y="11"/>
                  </a:lnTo>
                  <a:lnTo>
                    <a:pt x="910" y="9"/>
                  </a:lnTo>
                  <a:lnTo>
                    <a:pt x="913" y="8"/>
                  </a:lnTo>
                  <a:lnTo>
                    <a:pt x="918" y="6"/>
                  </a:lnTo>
                  <a:lnTo>
                    <a:pt x="926" y="6"/>
                  </a:lnTo>
                  <a:lnTo>
                    <a:pt x="932" y="6"/>
                  </a:lnTo>
                  <a:lnTo>
                    <a:pt x="932" y="4"/>
                  </a:lnTo>
                  <a:lnTo>
                    <a:pt x="936" y="3"/>
                  </a:lnTo>
                  <a:lnTo>
                    <a:pt x="939" y="2"/>
                  </a:lnTo>
                  <a:lnTo>
                    <a:pt x="945" y="1"/>
                  </a:lnTo>
                  <a:lnTo>
                    <a:pt x="959" y="1"/>
                  </a:lnTo>
                  <a:lnTo>
                    <a:pt x="978" y="0"/>
                  </a:lnTo>
                  <a:lnTo>
                    <a:pt x="1026" y="2"/>
                  </a:lnTo>
                  <a:lnTo>
                    <a:pt x="1082" y="5"/>
                  </a:lnTo>
                  <a:lnTo>
                    <a:pt x="1138" y="10"/>
                  </a:lnTo>
                  <a:lnTo>
                    <a:pt x="1189" y="14"/>
                  </a:lnTo>
                  <a:lnTo>
                    <a:pt x="1228" y="18"/>
                  </a:lnTo>
                  <a:lnTo>
                    <a:pt x="1249" y="19"/>
                  </a:lnTo>
                  <a:lnTo>
                    <a:pt x="1255" y="23"/>
                  </a:lnTo>
                  <a:lnTo>
                    <a:pt x="1263" y="28"/>
                  </a:lnTo>
                  <a:lnTo>
                    <a:pt x="1271" y="32"/>
                  </a:lnTo>
                  <a:lnTo>
                    <a:pt x="1280" y="37"/>
                  </a:lnTo>
                  <a:lnTo>
                    <a:pt x="1296" y="44"/>
                  </a:lnTo>
                  <a:lnTo>
                    <a:pt x="1305" y="50"/>
                  </a:lnTo>
                  <a:lnTo>
                    <a:pt x="1317" y="50"/>
                  </a:lnTo>
                  <a:lnTo>
                    <a:pt x="1319" y="52"/>
                  </a:lnTo>
                  <a:lnTo>
                    <a:pt x="1319" y="53"/>
                  </a:lnTo>
                  <a:lnTo>
                    <a:pt x="1320" y="54"/>
                  </a:lnTo>
                  <a:lnTo>
                    <a:pt x="1322" y="56"/>
                  </a:lnTo>
                  <a:lnTo>
                    <a:pt x="1325" y="56"/>
                  </a:lnTo>
                  <a:lnTo>
                    <a:pt x="1330" y="56"/>
                  </a:lnTo>
                  <a:lnTo>
                    <a:pt x="1331" y="60"/>
                  </a:lnTo>
                  <a:lnTo>
                    <a:pt x="1332" y="63"/>
                  </a:lnTo>
                  <a:lnTo>
                    <a:pt x="1334" y="66"/>
                  </a:lnTo>
                  <a:lnTo>
                    <a:pt x="1336" y="68"/>
                  </a:lnTo>
                  <a:lnTo>
                    <a:pt x="1341" y="71"/>
                  </a:lnTo>
                  <a:lnTo>
                    <a:pt x="1343" y="75"/>
                  </a:lnTo>
                  <a:lnTo>
                    <a:pt x="1355" y="75"/>
                  </a:lnTo>
                  <a:lnTo>
                    <a:pt x="1361" y="81"/>
                  </a:lnTo>
                  <a:lnTo>
                    <a:pt x="1368" y="87"/>
                  </a:lnTo>
                  <a:lnTo>
                    <a:pt x="1368" y="90"/>
                  </a:lnTo>
                  <a:lnTo>
                    <a:pt x="1369" y="92"/>
                  </a:lnTo>
                  <a:lnTo>
                    <a:pt x="1370" y="94"/>
                  </a:lnTo>
                  <a:lnTo>
                    <a:pt x="1371" y="94"/>
                  </a:lnTo>
                  <a:lnTo>
                    <a:pt x="1372" y="94"/>
                  </a:lnTo>
                  <a:lnTo>
                    <a:pt x="1373" y="95"/>
                  </a:lnTo>
                  <a:lnTo>
                    <a:pt x="1373" y="96"/>
                  </a:lnTo>
                  <a:lnTo>
                    <a:pt x="1374" y="99"/>
                  </a:lnTo>
                  <a:lnTo>
                    <a:pt x="1387" y="99"/>
                  </a:lnTo>
                  <a:lnTo>
                    <a:pt x="1392" y="106"/>
                  </a:lnTo>
                  <a:lnTo>
                    <a:pt x="1392" y="109"/>
                  </a:lnTo>
                  <a:lnTo>
                    <a:pt x="1393" y="111"/>
                  </a:lnTo>
                  <a:lnTo>
                    <a:pt x="1394" y="111"/>
                  </a:lnTo>
                  <a:lnTo>
                    <a:pt x="1396" y="112"/>
                  </a:lnTo>
                  <a:lnTo>
                    <a:pt x="1397" y="112"/>
                  </a:lnTo>
                  <a:lnTo>
                    <a:pt x="1398" y="112"/>
                  </a:lnTo>
                  <a:lnTo>
                    <a:pt x="1399" y="115"/>
                  </a:lnTo>
                  <a:lnTo>
                    <a:pt x="1399" y="118"/>
                  </a:lnTo>
                  <a:lnTo>
                    <a:pt x="1411" y="118"/>
                  </a:lnTo>
                  <a:lnTo>
                    <a:pt x="1412" y="120"/>
                  </a:lnTo>
                  <a:lnTo>
                    <a:pt x="1415" y="121"/>
                  </a:lnTo>
                  <a:lnTo>
                    <a:pt x="1418" y="123"/>
                  </a:lnTo>
                  <a:lnTo>
                    <a:pt x="1421" y="124"/>
                  </a:lnTo>
                  <a:lnTo>
                    <a:pt x="1429" y="125"/>
                  </a:lnTo>
                  <a:lnTo>
                    <a:pt x="1436" y="125"/>
                  </a:lnTo>
                  <a:lnTo>
                    <a:pt x="1448" y="134"/>
                  </a:lnTo>
                  <a:lnTo>
                    <a:pt x="1461" y="143"/>
                  </a:lnTo>
                  <a:lnTo>
                    <a:pt x="1479" y="143"/>
                  </a:lnTo>
                  <a:lnTo>
                    <a:pt x="1483" y="146"/>
                  </a:lnTo>
                  <a:lnTo>
                    <a:pt x="1489" y="149"/>
                  </a:lnTo>
                  <a:lnTo>
                    <a:pt x="1499" y="155"/>
                  </a:lnTo>
                  <a:lnTo>
                    <a:pt x="1513" y="159"/>
                  </a:lnTo>
                  <a:lnTo>
                    <a:pt x="1525" y="165"/>
                  </a:lnTo>
                  <a:lnTo>
                    <a:pt x="1537" y="171"/>
                  </a:lnTo>
                  <a:lnTo>
                    <a:pt x="1547" y="175"/>
                  </a:lnTo>
                  <a:lnTo>
                    <a:pt x="1554" y="181"/>
                  </a:lnTo>
                  <a:lnTo>
                    <a:pt x="1573" y="181"/>
                  </a:lnTo>
                  <a:lnTo>
                    <a:pt x="1581" y="186"/>
                  </a:lnTo>
                  <a:lnTo>
                    <a:pt x="1593" y="192"/>
                  </a:lnTo>
                  <a:lnTo>
                    <a:pt x="1608" y="198"/>
                  </a:lnTo>
                  <a:lnTo>
                    <a:pt x="1624" y="205"/>
                  </a:lnTo>
                  <a:lnTo>
                    <a:pt x="1640" y="212"/>
                  </a:lnTo>
                  <a:lnTo>
                    <a:pt x="1653" y="219"/>
                  </a:lnTo>
                  <a:lnTo>
                    <a:pt x="1659" y="222"/>
                  </a:lnTo>
                  <a:lnTo>
                    <a:pt x="1662" y="225"/>
                  </a:lnTo>
                  <a:lnTo>
                    <a:pt x="1666" y="227"/>
                  </a:lnTo>
                  <a:lnTo>
                    <a:pt x="1666" y="230"/>
                  </a:lnTo>
                  <a:lnTo>
                    <a:pt x="1671" y="231"/>
                  </a:lnTo>
                  <a:lnTo>
                    <a:pt x="1676" y="234"/>
                  </a:lnTo>
                  <a:lnTo>
                    <a:pt x="1680" y="239"/>
                  </a:lnTo>
                  <a:lnTo>
                    <a:pt x="1685" y="243"/>
                  </a:lnTo>
                  <a:lnTo>
                    <a:pt x="1685" y="255"/>
                  </a:lnTo>
                  <a:lnTo>
                    <a:pt x="1691" y="261"/>
                  </a:lnTo>
                  <a:lnTo>
                    <a:pt x="1694" y="262"/>
                  </a:lnTo>
                  <a:lnTo>
                    <a:pt x="1697" y="264"/>
                  </a:lnTo>
                  <a:lnTo>
                    <a:pt x="1699" y="268"/>
                  </a:lnTo>
                  <a:lnTo>
                    <a:pt x="1703" y="271"/>
                  </a:lnTo>
                  <a:lnTo>
                    <a:pt x="1708" y="280"/>
                  </a:lnTo>
                  <a:lnTo>
                    <a:pt x="1709" y="287"/>
                  </a:lnTo>
                  <a:lnTo>
                    <a:pt x="1714" y="287"/>
                  </a:lnTo>
                  <a:lnTo>
                    <a:pt x="1715" y="287"/>
                  </a:lnTo>
                  <a:lnTo>
                    <a:pt x="1716" y="288"/>
                  </a:lnTo>
                  <a:lnTo>
                    <a:pt x="1716" y="289"/>
                  </a:lnTo>
                  <a:lnTo>
                    <a:pt x="1716" y="290"/>
                  </a:lnTo>
                  <a:lnTo>
                    <a:pt x="1717" y="291"/>
                  </a:lnTo>
                  <a:lnTo>
                    <a:pt x="1718" y="292"/>
                  </a:lnTo>
                  <a:lnTo>
                    <a:pt x="1723" y="292"/>
                  </a:lnTo>
                  <a:lnTo>
                    <a:pt x="1723" y="304"/>
                  </a:lnTo>
                  <a:lnTo>
                    <a:pt x="1726" y="306"/>
                  </a:lnTo>
                  <a:lnTo>
                    <a:pt x="1729" y="307"/>
                  </a:lnTo>
                  <a:lnTo>
                    <a:pt x="1732" y="309"/>
                  </a:lnTo>
                  <a:lnTo>
                    <a:pt x="1734" y="311"/>
                  </a:lnTo>
                  <a:lnTo>
                    <a:pt x="1737" y="316"/>
                  </a:lnTo>
                  <a:lnTo>
                    <a:pt x="1741" y="317"/>
                  </a:lnTo>
                  <a:lnTo>
                    <a:pt x="1741" y="330"/>
                  </a:lnTo>
                  <a:lnTo>
                    <a:pt x="1745" y="331"/>
                  </a:lnTo>
                  <a:lnTo>
                    <a:pt x="1748" y="336"/>
                  </a:lnTo>
                  <a:lnTo>
                    <a:pt x="1749" y="338"/>
                  </a:lnTo>
                  <a:lnTo>
                    <a:pt x="1753" y="340"/>
                  </a:lnTo>
                  <a:lnTo>
                    <a:pt x="1755" y="341"/>
                  </a:lnTo>
                  <a:lnTo>
                    <a:pt x="1760" y="342"/>
                  </a:lnTo>
                  <a:lnTo>
                    <a:pt x="1763" y="351"/>
                  </a:lnTo>
                  <a:lnTo>
                    <a:pt x="1766" y="361"/>
                  </a:lnTo>
                  <a:lnTo>
                    <a:pt x="1768" y="361"/>
                  </a:lnTo>
                  <a:lnTo>
                    <a:pt x="1771" y="362"/>
                  </a:lnTo>
                  <a:lnTo>
                    <a:pt x="1773" y="365"/>
                  </a:lnTo>
                  <a:lnTo>
                    <a:pt x="1775" y="368"/>
                  </a:lnTo>
                  <a:lnTo>
                    <a:pt x="1780" y="374"/>
                  </a:lnTo>
                  <a:lnTo>
                    <a:pt x="1784" y="379"/>
                  </a:lnTo>
                  <a:lnTo>
                    <a:pt x="1784" y="398"/>
                  </a:lnTo>
                  <a:lnTo>
                    <a:pt x="1786" y="399"/>
                  </a:lnTo>
                  <a:lnTo>
                    <a:pt x="1789" y="402"/>
                  </a:lnTo>
                  <a:lnTo>
                    <a:pt x="1790" y="406"/>
                  </a:lnTo>
                  <a:lnTo>
                    <a:pt x="1792" y="410"/>
                  </a:lnTo>
                  <a:lnTo>
                    <a:pt x="1793" y="415"/>
                  </a:lnTo>
                  <a:lnTo>
                    <a:pt x="1796" y="419"/>
                  </a:lnTo>
                  <a:lnTo>
                    <a:pt x="1799" y="422"/>
                  </a:lnTo>
                  <a:lnTo>
                    <a:pt x="1803" y="423"/>
                  </a:lnTo>
                  <a:lnTo>
                    <a:pt x="1804" y="433"/>
                  </a:lnTo>
                  <a:lnTo>
                    <a:pt x="1806" y="442"/>
                  </a:lnTo>
                  <a:lnTo>
                    <a:pt x="1809" y="451"/>
                  </a:lnTo>
                  <a:lnTo>
                    <a:pt x="1810" y="461"/>
                  </a:lnTo>
                  <a:lnTo>
                    <a:pt x="1822" y="466"/>
                  </a:lnTo>
                  <a:lnTo>
                    <a:pt x="1821" y="492"/>
                  </a:lnTo>
                  <a:lnTo>
                    <a:pt x="1820" y="520"/>
                  </a:lnTo>
                  <a:lnTo>
                    <a:pt x="1818" y="549"/>
                  </a:lnTo>
                  <a:lnTo>
                    <a:pt x="1815" y="581"/>
                  </a:lnTo>
                  <a:lnTo>
                    <a:pt x="1813" y="614"/>
                  </a:lnTo>
                  <a:lnTo>
                    <a:pt x="1811" y="646"/>
                  </a:lnTo>
                  <a:lnTo>
                    <a:pt x="1810" y="678"/>
                  </a:lnTo>
                  <a:lnTo>
                    <a:pt x="1810" y="710"/>
                  </a:lnTo>
                  <a:lnTo>
                    <a:pt x="1812" y="710"/>
                  </a:lnTo>
                  <a:lnTo>
                    <a:pt x="1814" y="711"/>
                  </a:lnTo>
                  <a:lnTo>
                    <a:pt x="1816" y="713"/>
                  </a:lnTo>
                  <a:lnTo>
                    <a:pt x="1818" y="716"/>
                  </a:lnTo>
                  <a:lnTo>
                    <a:pt x="1821" y="722"/>
                  </a:lnTo>
                  <a:lnTo>
                    <a:pt x="1822" y="727"/>
                  </a:lnTo>
                  <a:lnTo>
                    <a:pt x="1828" y="734"/>
                  </a:lnTo>
                  <a:lnTo>
                    <a:pt x="1834" y="741"/>
                  </a:lnTo>
                  <a:lnTo>
                    <a:pt x="1847" y="746"/>
                  </a:lnTo>
                  <a:lnTo>
                    <a:pt x="1859" y="753"/>
                  </a:lnTo>
                  <a:lnTo>
                    <a:pt x="1859" y="756"/>
                  </a:lnTo>
                  <a:lnTo>
                    <a:pt x="1860" y="759"/>
                  </a:lnTo>
                  <a:lnTo>
                    <a:pt x="1861" y="759"/>
                  </a:lnTo>
                  <a:lnTo>
                    <a:pt x="1862" y="759"/>
                  </a:lnTo>
                  <a:lnTo>
                    <a:pt x="1863" y="759"/>
                  </a:lnTo>
                  <a:lnTo>
                    <a:pt x="1864" y="760"/>
                  </a:lnTo>
                  <a:lnTo>
                    <a:pt x="1866" y="762"/>
                  </a:lnTo>
                  <a:lnTo>
                    <a:pt x="1866" y="765"/>
                  </a:lnTo>
                  <a:lnTo>
                    <a:pt x="1878" y="765"/>
                  </a:lnTo>
                  <a:lnTo>
                    <a:pt x="1885" y="778"/>
                  </a:lnTo>
                  <a:lnTo>
                    <a:pt x="1890" y="790"/>
                  </a:lnTo>
                  <a:lnTo>
                    <a:pt x="1902" y="802"/>
                  </a:lnTo>
                  <a:lnTo>
                    <a:pt x="1915" y="814"/>
                  </a:lnTo>
                  <a:lnTo>
                    <a:pt x="1916" y="826"/>
                  </a:lnTo>
                  <a:lnTo>
                    <a:pt x="1917" y="837"/>
                  </a:lnTo>
                  <a:lnTo>
                    <a:pt x="1918" y="848"/>
                  </a:lnTo>
                  <a:lnTo>
                    <a:pt x="1920" y="858"/>
                  </a:lnTo>
                  <a:lnTo>
                    <a:pt x="1927" y="879"/>
                  </a:lnTo>
                  <a:lnTo>
                    <a:pt x="1934" y="899"/>
                  </a:lnTo>
                  <a:lnTo>
                    <a:pt x="1940" y="922"/>
                  </a:lnTo>
                  <a:lnTo>
                    <a:pt x="1947" y="944"/>
                  </a:lnTo>
                  <a:lnTo>
                    <a:pt x="1950" y="956"/>
                  </a:lnTo>
                  <a:lnTo>
                    <a:pt x="1953" y="970"/>
                  </a:lnTo>
                  <a:lnTo>
                    <a:pt x="1955" y="982"/>
                  </a:lnTo>
                  <a:lnTo>
                    <a:pt x="1956" y="996"/>
                  </a:lnTo>
                  <a:lnTo>
                    <a:pt x="1955" y="1008"/>
                  </a:lnTo>
                  <a:lnTo>
                    <a:pt x="1953" y="1021"/>
                  </a:lnTo>
                  <a:lnTo>
                    <a:pt x="1949" y="1037"/>
                  </a:lnTo>
                  <a:lnTo>
                    <a:pt x="1946" y="1052"/>
                  </a:lnTo>
                  <a:lnTo>
                    <a:pt x="1941" y="1069"/>
                  </a:lnTo>
                  <a:lnTo>
                    <a:pt x="1937" y="1083"/>
                  </a:lnTo>
                  <a:lnTo>
                    <a:pt x="1935" y="1097"/>
                  </a:lnTo>
                  <a:lnTo>
                    <a:pt x="1934" y="1107"/>
                  </a:lnTo>
                  <a:lnTo>
                    <a:pt x="1897" y="1133"/>
                  </a:lnTo>
                  <a:lnTo>
                    <a:pt x="1899" y="1123"/>
                  </a:lnTo>
                  <a:lnTo>
                    <a:pt x="1902" y="1114"/>
                  </a:lnTo>
                  <a:lnTo>
                    <a:pt x="1892" y="1117"/>
                  </a:lnTo>
                  <a:lnTo>
                    <a:pt x="1866" y="1123"/>
                  </a:lnTo>
                  <a:lnTo>
                    <a:pt x="1828" y="1128"/>
                  </a:lnTo>
                  <a:lnTo>
                    <a:pt x="1784" y="1135"/>
                  </a:lnTo>
                  <a:lnTo>
                    <a:pt x="1741" y="1140"/>
                  </a:lnTo>
                  <a:lnTo>
                    <a:pt x="1704" y="1146"/>
                  </a:lnTo>
                  <a:lnTo>
                    <a:pt x="1677" y="1149"/>
                  </a:lnTo>
                  <a:lnTo>
                    <a:pt x="1666" y="1150"/>
                  </a:lnTo>
                  <a:lnTo>
                    <a:pt x="1666" y="1154"/>
                  </a:lnTo>
                  <a:lnTo>
                    <a:pt x="1665" y="1157"/>
                  </a:lnTo>
                  <a:lnTo>
                    <a:pt x="1662" y="1160"/>
                  </a:lnTo>
                  <a:lnTo>
                    <a:pt x="1660" y="1163"/>
                  </a:lnTo>
                  <a:lnTo>
                    <a:pt x="1655" y="1168"/>
                  </a:lnTo>
                  <a:lnTo>
                    <a:pt x="1648" y="1173"/>
                  </a:lnTo>
                  <a:lnTo>
                    <a:pt x="1641" y="1177"/>
                  </a:lnTo>
                  <a:lnTo>
                    <a:pt x="1634" y="1183"/>
                  </a:lnTo>
                  <a:lnTo>
                    <a:pt x="1632" y="1185"/>
                  </a:lnTo>
                  <a:lnTo>
                    <a:pt x="1630" y="1188"/>
                  </a:lnTo>
                  <a:lnTo>
                    <a:pt x="1629" y="1191"/>
                  </a:lnTo>
                  <a:lnTo>
                    <a:pt x="1629" y="1194"/>
                  </a:lnTo>
                  <a:lnTo>
                    <a:pt x="1617" y="1201"/>
                  </a:lnTo>
                  <a:lnTo>
                    <a:pt x="1617" y="1213"/>
                  </a:lnTo>
                  <a:lnTo>
                    <a:pt x="1610" y="1220"/>
                  </a:lnTo>
                  <a:lnTo>
                    <a:pt x="1604" y="1225"/>
                  </a:lnTo>
                  <a:lnTo>
                    <a:pt x="1601" y="1226"/>
                  </a:lnTo>
                  <a:lnTo>
                    <a:pt x="1599" y="1226"/>
                  </a:lnTo>
                  <a:lnTo>
                    <a:pt x="1598" y="1227"/>
                  </a:lnTo>
                  <a:lnTo>
                    <a:pt x="1598" y="1229"/>
                  </a:lnTo>
                  <a:lnTo>
                    <a:pt x="1598" y="1230"/>
                  </a:lnTo>
                  <a:lnTo>
                    <a:pt x="1597" y="1231"/>
                  </a:lnTo>
                  <a:lnTo>
                    <a:pt x="1595" y="1232"/>
                  </a:lnTo>
                  <a:lnTo>
                    <a:pt x="1592" y="1232"/>
                  </a:lnTo>
                  <a:lnTo>
                    <a:pt x="1590" y="1235"/>
                  </a:lnTo>
                  <a:lnTo>
                    <a:pt x="1586" y="1240"/>
                  </a:lnTo>
                  <a:lnTo>
                    <a:pt x="1581" y="1244"/>
                  </a:lnTo>
                  <a:lnTo>
                    <a:pt x="1575" y="1250"/>
                  </a:lnTo>
                  <a:lnTo>
                    <a:pt x="1569" y="1254"/>
                  </a:lnTo>
                  <a:lnTo>
                    <a:pt x="1563" y="1259"/>
                  </a:lnTo>
                  <a:lnTo>
                    <a:pt x="1557" y="1262"/>
                  </a:lnTo>
                  <a:lnTo>
                    <a:pt x="1554" y="1263"/>
                  </a:lnTo>
                  <a:lnTo>
                    <a:pt x="1554" y="1265"/>
                  </a:lnTo>
                  <a:lnTo>
                    <a:pt x="1552" y="1268"/>
                  </a:lnTo>
                  <a:lnTo>
                    <a:pt x="1550" y="1270"/>
                  </a:lnTo>
                  <a:lnTo>
                    <a:pt x="1547" y="1271"/>
                  </a:lnTo>
                  <a:lnTo>
                    <a:pt x="1541" y="1274"/>
                  </a:lnTo>
                  <a:lnTo>
                    <a:pt x="1535" y="1275"/>
                  </a:lnTo>
                  <a:lnTo>
                    <a:pt x="1526" y="1284"/>
                  </a:lnTo>
                  <a:lnTo>
                    <a:pt x="1517" y="1294"/>
                  </a:lnTo>
                  <a:lnTo>
                    <a:pt x="1505" y="1294"/>
                  </a:lnTo>
                  <a:lnTo>
                    <a:pt x="1504" y="1296"/>
                  </a:lnTo>
                  <a:lnTo>
                    <a:pt x="1503" y="1298"/>
                  </a:lnTo>
                  <a:lnTo>
                    <a:pt x="1501" y="1299"/>
                  </a:lnTo>
                  <a:lnTo>
                    <a:pt x="1497" y="1299"/>
                  </a:lnTo>
                  <a:lnTo>
                    <a:pt x="1492" y="1300"/>
                  </a:lnTo>
                  <a:lnTo>
                    <a:pt x="1486" y="1300"/>
                  </a:lnTo>
                  <a:lnTo>
                    <a:pt x="1485" y="1302"/>
                  </a:lnTo>
                  <a:lnTo>
                    <a:pt x="1484" y="1303"/>
                  </a:lnTo>
                  <a:lnTo>
                    <a:pt x="1482" y="1304"/>
                  </a:lnTo>
                  <a:lnTo>
                    <a:pt x="1479" y="1306"/>
                  </a:lnTo>
                  <a:lnTo>
                    <a:pt x="1473" y="1307"/>
                  </a:lnTo>
                  <a:lnTo>
                    <a:pt x="1467" y="1307"/>
                  </a:lnTo>
                  <a:lnTo>
                    <a:pt x="1467" y="1309"/>
                  </a:lnTo>
                  <a:lnTo>
                    <a:pt x="1465" y="1311"/>
                  </a:lnTo>
                  <a:lnTo>
                    <a:pt x="1463" y="1312"/>
                  </a:lnTo>
                  <a:lnTo>
                    <a:pt x="1459" y="1314"/>
                  </a:lnTo>
                  <a:lnTo>
                    <a:pt x="1451" y="1318"/>
                  </a:lnTo>
                  <a:lnTo>
                    <a:pt x="1442" y="1321"/>
                  </a:lnTo>
                  <a:lnTo>
                    <a:pt x="1434" y="1323"/>
                  </a:lnTo>
                  <a:lnTo>
                    <a:pt x="1425" y="1327"/>
                  </a:lnTo>
                  <a:lnTo>
                    <a:pt x="1419" y="1329"/>
                  </a:lnTo>
                  <a:lnTo>
                    <a:pt x="1418" y="1331"/>
                  </a:lnTo>
                  <a:lnTo>
                    <a:pt x="1387" y="1331"/>
                  </a:lnTo>
                  <a:lnTo>
                    <a:pt x="1386" y="1333"/>
                  </a:lnTo>
                  <a:lnTo>
                    <a:pt x="1384" y="1335"/>
                  </a:lnTo>
                  <a:lnTo>
                    <a:pt x="1382" y="1336"/>
                  </a:lnTo>
                  <a:lnTo>
                    <a:pt x="1379" y="1337"/>
                  </a:lnTo>
                  <a:lnTo>
                    <a:pt x="1373" y="1338"/>
                  </a:lnTo>
                  <a:lnTo>
                    <a:pt x="1368" y="1338"/>
                  </a:lnTo>
                  <a:lnTo>
                    <a:pt x="1365" y="1340"/>
                  </a:lnTo>
                  <a:lnTo>
                    <a:pt x="1362" y="1342"/>
                  </a:lnTo>
                  <a:lnTo>
                    <a:pt x="1355" y="1345"/>
                  </a:lnTo>
                  <a:lnTo>
                    <a:pt x="1349" y="1346"/>
                  </a:lnTo>
                  <a:lnTo>
                    <a:pt x="1333" y="1349"/>
                  </a:lnTo>
                  <a:lnTo>
                    <a:pt x="1324" y="1350"/>
                  </a:lnTo>
                  <a:lnTo>
                    <a:pt x="1324" y="1352"/>
                  </a:lnTo>
                  <a:lnTo>
                    <a:pt x="1323" y="1354"/>
                  </a:lnTo>
                  <a:lnTo>
                    <a:pt x="1322" y="1355"/>
                  </a:lnTo>
                  <a:lnTo>
                    <a:pt x="1320" y="1356"/>
                  </a:lnTo>
                  <a:lnTo>
                    <a:pt x="1316" y="1356"/>
                  </a:lnTo>
                  <a:lnTo>
                    <a:pt x="1312" y="1356"/>
                  </a:lnTo>
                  <a:lnTo>
                    <a:pt x="1312" y="1368"/>
                  </a:lnTo>
                  <a:lnTo>
                    <a:pt x="1310" y="1369"/>
                  </a:lnTo>
                  <a:lnTo>
                    <a:pt x="1309" y="1369"/>
                  </a:lnTo>
                  <a:lnTo>
                    <a:pt x="1307" y="1371"/>
                  </a:lnTo>
                  <a:lnTo>
                    <a:pt x="1306" y="1373"/>
                  </a:lnTo>
                  <a:lnTo>
                    <a:pt x="1305" y="1377"/>
                  </a:lnTo>
                  <a:lnTo>
                    <a:pt x="1305" y="1381"/>
                  </a:lnTo>
                  <a:lnTo>
                    <a:pt x="1293" y="1381"/>
                  </a:lnTo>
                  <a:lnTo>
                    <a:pt x="1293" y="1394"/>
                  </a:lnTo>
                  <a:lnTo>
                    <a:pt x="1291" y="1394"/>
                  </a:lnTo>
                  <a:lnTo>
                    <a:pt x="1290" y="1395"/>
                  </a:lnTo>
                  <a:lnTo>
                    <a:pt x="1288" y="1396"/>
                  </a:lnTo>
                  <a:lnTo>
                    <a:pt x="1287" y="1397"/>
                  </a:lnTo>
                  <a:lnTo>
                    <a:pt x="1287" y="1402"/>
                  </a:lnTo>
                  <a:lnTo>
                    <a:pt x="1286" y="1406"/>
                  </a:lnTo>
                  <a:lnTo>
                    <a:pt x="1285" y="1406"/>
                  </a:lnTo>
                  <a:lnTo>
                    <a:pt x="1283" y="1407"/>
                  </a:lnTo>
                  <a:lnTo>
                    <a:pt x="1282" y="1408"/>
                  </a:lnTo>
                  <a:lnTo>
                    <a:pt x="1282" y="1409"/>
                  </a:lnTo>
                  <a:lnTo>
                    <a:pt x="1281" y="1414"/>
                  </a:lnTo>
                  <a:lnTo>
                    <a:pt x="1281" y="1418"/>
                  </a:lnTo>
                  <a:lnTo>
                    <a:pt x="1278" y="1419"/>
                  </a:lnTo>
                  <a:lnTo>
                    <a:pt x="1276" y="1423"/>
                  </a:lnTo>
                  <a:lnTo>
                    <a:pt x="1274" y="1426"/>
                  </a:lnTo>
                  <a:lnTo>
                    <a:pt x="1272" y="1432"/>
                  </a:lnTo>
                  <a:lnTo>
                    <a:pt x="1269" y="1442"/>
                  </a:lnTo>
                  <a:lnTo>
                    <a:pt x="1268" y="1450"/>
                  </a:lnTo>
                  <a:lnTo>
                    <a:pt x="1266" y="1451"/>
                  </a:lnTo>
                  <a:lnTo>
                    <a:pt x="1265" y="1455"/>
                  </a:lnTo>
                  <a:lnTo>
                    <a:pt x="1264" y="1462"/>
                  </a:lnTo>
                  <a:lnTo>
                    <a:pt x="1263" y="1469"/>
                  </a:lnTo>
                  <a:lnTo>
                    <a:pt x="1262" y="1484"/>
                  </a:lnTo>
                  <a:lnTo>
                    <a:pt x="1262" y="1493"/>
                  </a:lnTo>
                  <a:lnTo>
                    <a:pt x="1259" y="1494"/>
                  </a:lnTo>
                  <a:lnTo>
                    <a:pt x="1258" y="1499"/>
                  </a:lnTo>
                  <a:lnTo>
                    <a:pt x="1257" y="1505"/>
                  </a:lnTo>
                  <a:lnTo>
                    <a:pt x="1256" y="1512"/>
                  </a:lnTo>
                  <a:lnTo>
                    <a:pt x="1256" y="1528"/>
                  </a:lnTo>
                  <a:lnTo>
                    <a:pt x="1256" y="1537"/>
                  </a:lnTo>
                  <a:lnTo>
                    <a:pt x="1254" y="1539"/>
                  </a:lnTo>
                  <a:lnTo>
                    <a:pt x="1252" y="1544"/>
                  </a:lnTo>
                  <a:lnTo>
                    <a:pt x="1249" y="1553"/>
                  </a:lnTo>
                  <a:lnTo>
                    <a:pt x="1247" y="1563"/>
                  </a:lnTo>
                  <a:lnTo>
                    <a:pt x="1244" y="1583"/>
                  </a:lnTo>
                  <a:lnTo>
                    <a:pt x="1243" y="1599"/>
                  </a:lnTo>
                  <a:lnTo>
                    <a:pt x="1248" y="1601"/>
                  </a:lnTo>
                  <a:lnTo>
                    <a:pt x="1255" y="1606"/>
                  </a:lnTo>
                  <a:lnTo>
                    <a:pt x="1259" y="1611"/>
                  </a:lnTo>
                  <a:lnTo>
                    <a:pt x="1262" y="1617"/>
                  </a:lnTo>
                  <a:lnTo>
                    <a:pt x="1268" y="1624"/>
                  </a:lnTo>
                  <a:lnTo>
                    <a:pt x="1276" y="1625"/>
                  </a:lnTo>
                  <a:lnTo>
                    <a:pt x="1284" y="1626"/>
                  </a:lnTo>
                  <a:lnTo>
                    <a:pt x="1292" y="1629"/>
                  </a:lnTo>
                  <a:lnTo>
                    <a:pt x="1298" y="1634"/>
                  </a:lnTo>
                  <a:lnTo>
                    <a:pt x="1306" y="1638"/>
                  </a:lnTo>
                  <a:lnTo>
                    <a:pt x="1313" y="1645"/>
                  </a:lnTo>
                  <a:lnTo>
                    <a:pt x="1320" y="1652"/>
                  </a:lnTo>
                  <a:lnTo>
                    <a:pt x="1326" y="1658"/>
                  </a:lnTo>
                  <a:lnTo>
                    <a:pt x="1340" y="1676"/>
                  </a:lnTo>
                  <a:lnTo>
                    <a:pt x="1352" y="1695"/>
                  </a:lnTo>
                  <a:lnTo>
                    <a:pt x="1363" y="1715"/>
                  </a:lnTo>
                  <a:lnTo>
                    <a:pt x="1374" y="1735"/>
                  </a:lnTo>
                  <a:lnTo>
                    <a:pt x="1396" y="1777"/>
                  </a:lnTo>
                  <a:lnTo>
                    <a:pt x="1415" y="1812"/>
                  </a:lnTo>
                  <a:lnTo>
                    <a:pt x="1424" y="1827"/>
                  </a:lnTo>
                  <a:lnTo>
                    <a:pt x="1431" y="1838"/>
                  </a:lnTo>
                  <a:lnTo>
                    <a:pt x="1436" y="1842"/>
                  </a:lnTo>
                  <a:lnTo>
                    <a:pt x="1440" y="1845"/>
                  </a:lnTo>
                  <a:lnTo>
                    <a:pt x="1445" y="1847"/>
                  </a:lnTo>
                  <a:lnTo>
                    <a:pt x="1448" y="1848"/>
                  </a:lnTo>
                  <a:lnTo>
                    <a:pt x="1448" y="1866"/>
                  </a:lnTo>
                  <a:lnTo>
                    <a:pt x="1450" y="1868"/>
                  </a:lnTo>
                  <a:lnTo>
                    <a:pt x="1453" y="1873"/>
                  </a:lnTo>
                  <a:lnTo>
                    <a:pt x="1454" y="1878"/>
                  </a:lnTo>
                  <a:lnTo>
                    <a:pt x="1454" y="1886"/>
                  </a:lnTo>
                  <a:lnTo>
                    <a:pt x="1455" y="1900"/>
                  </a:lnTo>
                  <a:lnTo>
                    <a:pt x="1455" y="1909"/>
                  </a:lnTo>
                  <a:lnTo>
                    <a:pt x="1456" y="1910"/>
                  </a:lnTo>
                  <a:lnTo>
                    <a:pt x="1457" y="1912"/>
                  </a:lnTo>
                  <a:lnTo>
                    <a:pt x="1458" y="1914"/>
                  </a:lnTo>
                  <a:lnTo>
                    <a:pt x="1459" y="1917"/>
                  </a:lnTo>
                  <a:lnTo>
                    <a:pt x="1459" y="1926"/>
                  </a:lnTo>
                  <a:lnTo>
                    <a:pt x="1459" y="1937"/>
                  </a:lnTo>
                  <a:lnTo>
                    <a:pt x="1455" y="1965"/>
                  </a:lnTo>
                  <a:lnTo>
                    <a:pt x="1449" y="1996"/>
                  </a:lnTo>
                  <a:lnTo>
                    <a:pt x="1442" y="2029"/>
                  </a:lnTo>
                  <a:lnTo>
                    <a:pt x="1437" y="2057"/>
                  </a:lnTo>
                  <a:lnTo>
                    <a:pt x="1431" y="2077"/>
                  </a:lnTo>
                  <a:lnTo>
                    <a:pt x="1430" y="2083"/>
                  </a:lnTo>
                  <a:lnTo>
                    <a:pt x="1418" y="2090"/>
                  </a:lnTo>
                  <a:lnTo>
                    <a:pt x="1411" y="2102"/>
                  </a:lnTo>
                  <a:lnTo>
                    <a:pt x="1410" y="2105"/>
                  </a:lnTo>
                  <a:lnTo>
                    <a:pt x="1409" y="2108"/>
                  </a:lnTo>
                  <a:lnTo>
                    <a:pt x="1407" y="2111"/>
                  </a:lnTo>
                  <a:lnTo>
                    <a:pt x="1403" y="2115"/>
                  </a:lnTo>
                  <a:lnTo>
                    <a:pt x="1396" y="2123"/>
                  </a:lnTo>
                  <a:lnTo>
                    <a:pt x="1386" y="2130"/>
                  </a:lnTo>
                  <a:lnTo>
                    <a:pt x="1367" y="2144"/>
                  </a:lnTo>
                  <a:lnTo>
                    <a:pt x="1355" y="2153"/>
                  </a:lnTo>
                  <a:lnTo>
                    <a:pt x="1344" y="2154"/>
                  </a:lnTo>
                  <a:lnTo>
                    <a:pt x="1331" y="2157"/>
                  </a:lnTo>
                  <a:lnTo>
                    <a:pt x="1325" y="2159"/>
                  </a:lnTo>
                  <a:lnTo>
                    <a:pt x="1320" y="2163"/>
                  </a:lnTo>
                  <a:lnTo>
                    <a:pt x="1315" y="2167"/>
                  </a:lnTo>
                  <a:lnTo>
                    <a:pt x="1312" y="2172"/>
                  </a:lnTo>
                  <a:lnTo>
                    <a:pt x="1302" y="2172"/>
                  </a:lnTo>
                  <a:lnTo>
                    <a:pt x="1291" y="2173"/>
                  </a:lnTo>
                  <a:lnTo>
                    <a:pt x="1285" y="2174"/>
                  </a:lnTo>
                  <a:lnTo>
                    <a:pt x="1281" y="2176"/>
                  </a:lnTo>
                  <a:lnTo>
                    <a:pt x="1277" y="2179"/>
                  </a:lnTo>
                  <a:lnTo>
                    <a:pt x="1274" y="2184"/>
                  </a:lnTo>
                  <a:lnTo>
                    <a:pt x="1256" y="2184"/>
                  </a:lnTo>
                  <a:lnTo>
                    <a:pt x="1249" y="2188"/>
                  </a:lnTo>
                  <a:lnTo>
                    <a:pt x="1238" y="2192"/>
                  </a:lnTo>
                  <a:lnTo>
                    <a:pt x="1226" y="2195"/>
                  </a:lnTo>
                  <a:lnTo>
                    <a:pt x="1213" y="2196"/>
                  </a:lnTo>
                  <a:lnTo>
                    <a:pt x="1205" y="2198"/>
                  </a:lnTo>
                  <a:lnTo>
                    <a:pt x="1189" y="2202"/>
                  </a:lnTo>
                  <a:lnTo>
                    <a:pt x="1170" y="2206"/>
                  </a:lnTo>
                  <a:lnTo>
                    <a:pt x="1156" y="2208"/>
                  </a:lnTo>
                  <a:lnTo>
                    <a:pt x="1150" y="2221"/>
                  </a:lnTo>
                  <a:lnTo>
                    <a:pt x="1138" y="2221"/>
                  </a:lnTo>
                  <a:lnTo>
                    <a:pt x="1137" y="2223"/>
                  </a:lnTo>
                  <a:lnTo>
                    <a:pt x="1137" y="2224"/>
                  </a:lnTo>
                  <a:lnTo>
                    <a:pt x="1136" y="2225"/>
                  </a:lnTo>
                  <a:lnTo>
                    <a:pt x="1133" y="2226"/>
                  </a:lnTo>
                  <a:lnTo>
                    <a:pt x="1130" y="2227"/>
                  </a:lnTo>
                  <a:lnTo>
                    <a:pt x="1125" y="2227"/>
                  </a:lnTo>
                  <a:lnTo>
                    <a:pt x="1120" y="2232"/>
                  </a:lnTo>
                  <a:lnTo>
                    <a:pt x="1117" y="2236"/>
                  </a:lnTo>
                  <a:lnTo>
                    <a:pt x="1113" y="2241"/>
                  </a:lnTo>
                  <a:lnTo>
                    <a:pt x="1112" y="2245"/>
                  </a:lnTo>
                  <a:lnTo>
                    <a:pt x="1100" y="2245"/>
                  </a:lnTo>
                  <a:lnTo>
                    <a:pt x="1098" y="2251"/>
                  </a:lnTo>
                  <a:lnTo>
                    <a:pt x="1091" y="2255"/>
                  </a:lnTo>
                  <a:lnTo>
                    <a:pt x="1088" y="2259"/>
                  </a:lnTo>
                  <a:lnTo>
                    <a:pt x="1084" y="2262"/>
                  </a:lnTo>
                  <a:lnTo>
                    <a:pt x="1082" y="2266"/>
                  </a:lnTo>
                  <a:lnTo>
                    <a:pt x="1082" y="2271"/>
                  </a:lnTo>
                  <a:lnTo>
                    <a:pt x="1077" y="2271"/>
                  </a:lnTo>
                  <a:lnTo>
                    <a:pt x="1076" y="2272"/>
                  </a:lnTo>
                  <a:lnTo>
                    <a:pt x="1075" y="2272"/>
                  </a:lnTo>
                  <a:lnTo>
                    <a:pt x="1075" y="2273"/>
                  </a:lnTo>
                  <a:lnTo>
                    <a:pt x="1075" y="2275"/>
                  </a:lnTo>
                  <a:lnTo>
                    <a:pt x="1074" y="2275"/>
                  </a:lnTo>
                  <a:lnTo>
                    <a:pt x="1073" y="2277"/>
                  </a:lnTo>
                  <a:lnTo>
                    <a:pt x="1069" y="2277"/>
                  </a:lnTo>
                  <a:lnTo>
                    <a:pt x="1066" y="2287"/>
                  </a:lnTo>
                  <a:lnTo>
                    <a:pt x="1063" y="2302"/>
                  </a:lnTo>
                  <a:lnTo>
                    <a:pt x="1044" y="2314"/>
                  </a:lnTo>
                  <a:lnTo>
                    <a:pt x="1044" y="2323"/>
                  </a:lnTo>
                  <a:lnTo>
                    <a:pt x="1044" y="2332"/>
                  </a:lnTo>
                  <a:lnTo>
                    <a:pt x="1042" y="2333"/>
                  </a:lnTo>
                  <a:lnTo>
                    <a:pt x="1041" y="2335"/>
                  </a:lnTo>
                  <a:lnTo>
                    <a:pt x="1039" y="2337"/>
                  </a:lnTo>
                  <a:lnTo>
                    <a:pt x="1038" y="2340"/>
                  </a:lnTo>
                  <a:lnTo>
                    <a:pt x="1038" y="2346"/>
                  </a:lnTo>
                  <a:lnTo>
                    <a:pt x="1038" y="2351"/>
                  </a:lnTo>
                  <a:lnTo>
                    <a:pt x="1035" y="2352"/>
                  </a:lnTo>
                  <a:lnTo>
                    <a:pt x="1033" y="2357"/>
                  </a:lnTo>
                  <a:lnTo>
                    <a:pt x="1032" y="2361"/>
                  </a:lnTo>
                  <a:lnTo>
                    <a:pt x="1029" y="2368"/>
                  </a:lnTo>
                  <a:lnTo>
                    <a:pt x="1026" y="2380"/>
                  </a:lnTo>
                  <a:lnTo>
                    <a:pt x="1025" y="2389"/>
                  </a:lnTo>
                  <a:lnTo>
                    <a:pt x="1024" y="2389"/>
                  </a:lnTo>
                  <a:lnTo>
                    <a:pt x="1022" y="2391"/>
                  </a:lnTo>
                  <a:lnTo>
                    <a:pt x="1021" y="2395"/>
                  </a:lnTo>
                  <a:lnTo>
                    <a:pt x="1019" y="2399"/>
                  </a:lnTo>
                  <a:lnTo>
                    <a:pt x="1019" y="2407"/>
                  </a:lnTo>
                  <a:lnTo>
                    <a:pt x="1019" y="2414"/>
                  </a:lnTo>
                  <a:lnTo>
                    <a:pt x="1000" y="2532"/>
                  </a:lnTo>
                  <a:lnTo>
                    <a:pt x="998" y="2533"/>
                  </a:lnTo>
                  <a:lnTo>
                    <a:pt x="996" y="2537"/>
                  </a:lnTo>
                  <a:lnTo>
                    <a:pt x="994" y="2542"/>
                  </a:lnTo>
                  <a:lnTo>
                    <a:pt x="991" y="2548"/>
                  </a:lnTo>
                  <a:lnTo>
                    <a:pt x="989" y="2561"/>
                  </a:lnTo>
                  <a:lnTo>
                    <a:pt x="988" y="2569"/>
                  </a:lnTo>
                  <a:lnTo>
                    <a:pt x="986" y="2570"/>
                  </a:lnTo>
                  <a:lnTo>
                    <a:pt x="985" y="2570"/>
                  </a:lnTo>
                  <a:lnTo>
                    <a:pt x="984" y="2571"/>
                  </a:lnTo>
                  <a:lnTo>
                    <a:pt x="983" y="2573"/>
                  </a:lnTo>
                  <a:lnTo>
                    <a:pt x="981" y="2577"/>
                  </a:lnTo>
                  <a:lnTo>
                    <a:pt x="981" y="2581"/>
                  </a:lnTo>
                  <a:lnTo>
                    <a:pt x="980" y="2582"/>
                  </a:lnTo>
                  <a:lnTo>
                    <a:pt x="978" y="2582"/>
                  </a:lnTo>
                  <a:lnTo>
                    <a:pt x="977" y="2583"/>
                  </a:lnTo>
                  <a:lnTo>
                    <a:pt x="976" y="2586"/>
                  </a:lnTo>
                  <a:lnTo>
                    <a:pt x="976" y="2589"/>
                  </a:lnTo>
                  <a:lnTo>
                    <a:pt x="976" y="2595"/>
                  </a:lnTo>
                  <a:lnTo>
                    <a:pt x="973" y="2595"/>
                  </a:lnTo>
                  <a:lnTo>
                    <a:pt x="970" y="2596"/>
                  </a:lnTo>
                  <a:lnTo>
                    <a:pt x="967" y="2599"/>
                  </a:lnTo>
                  <a:lnTo>
                    <a:pt x="964" y="2602"/>
                  </a:lnTo>
                  <a:lnTo>
                    <a:pt x="961" y="2606"/>
                  </a:lnTo>
                  <a:lnTo>
                    <a:pt x="959" y="2610"/>
                  </a:lnTo>
                  <a:lnTo>
                    <a:pt x="958" y="2615"/>
                  </a:lnTo>
                  <a:lnTo>
                    <a:pt x="957" y="2619"/>
                  </a:lnTo>
                  <a:lnTo>
                    <a:pt x="950" y="2620"/>
                  </a:lnTo>
                  <a:lnTo>
                    <a:pt x="942" y="2623"/>
                  </a:lnTo>
                  <a:lnTo>
                    <a:pt x="938" y="2625"/>
                  </a:lnTo>
                  <a:lnTo>
                    <a:pt x="935" y="2627"/>
                  </a:lnTo>
                  <a:lnTo>
                    <a:pt x="932" y="2629"/>
                  </a:lnTo>
                  <a:lnTo>
                    <a:pt x="932" y="2631"/>
                  </a:lnTo>
                  <a:lnTo>
                    <a:pt x="922" y="2633"/>
                  </a:lnTo>
                  <a:lnTo>
                    <a:pt x="910" y="2635"/>
                  </a:lnTo>
                  <a:lnTo>
                    <a:pt x="899" y="2637"/>
                  </a:lnTo>
                  <a:lnTo>
                    <a:pt x="889" y="2638"/>
                  </a:lnTo>
                  <a:lnTo>
                    <a:pt x="882" y="2650"/>
                  </a:lnTo>
                  <a:lnTo>
                    <a:pt x="863" y="2652"/>
                  </a:lnTo>
                  <a:lnTo>
                    <a:pt x="845" y="2653"/>
                  </a:lnTo>
                  <a:lnTo>
                    <a:pt x="826" y="2655"/>
                  </a:lnTo>
                  <a:lnTo>
                    <a:pt x="807" y="2656"/>
                  </a:lnTo>
                  <a:lnTo>
                    <a:pt x="802" y="2650"/>
                  </a:lnTo>
                  <a:lnTo>
                    <a:pt x="799" y="2647"/>
                  </a:lnTo>
                  <a:lnTo>
                    <a:pt x="796" y="2644"/>
                  </a:lnTo>
                  <a:lnTo>
                    <a:pt x="792" y="2639"/>
                  </a:lnTo>
                  <a:lnTo>
                    <a:pt x="785" y="2635"/>
                  </a:lnTo>
                  <a:lnTo>
                    <a:pt x="773" y="2628"/>
                  </a:lnTo>
                  <a:lnTo>
                    <a:pt x="764" y="2625"/>
                  </a:lnTo>
                  <a:lnTo>
                    <a:pt x="758" y="2619"/>
                  </a:lnTo>
                  <a:lnTo>
                    <a:pt x="757" y="2615"/>
                  </a:lnTo>
                  <a:lnTo>
                    <a:pt x="754" y="2610"/>
                  </a:lnTo>
                  <a:lnTo>
                    <a:pt x="750" y="2608"/>
                  </a:lnTo>
                  <a:lnTo>
                    <a:pt x="746" y="2607"/>
                  </a:lnTo>
                  <a:lnTo>
                    <a:pt x="745" y="2602"/>
                  </a:lnTo>
                  <a:lnTo>
                    <a:pt x="741" y="2597"/>
                  </a:lnTo>
                  <a:lnTo>
                    <a:pt x="737" y="2592"/>
                  </a:lnTo>
                  <a:lnTo>
                    <a:pt x="733" y="2588"/>
                  </a:lnTo>
                  <a:lnTo>
                    <a:pt x="733" y="2563"/>
                  </a:lnTo>
                  <a:lnTo>
                    <a:pt x="731" y="2559"/>
                  </a:lnTo>
                  <a:lnTo>
                    <a:pt x="729" y="2548"/>
                  </a:lnTo>
                  <a:lnTo>
                    <a:pt x="728" y="2531"/>
                  </a:lnTo>
                  <a:lnTo>
                    <a:pt x="728" y="2512"/>
                  </a:lnTo>
                  <a:lnTo>
                    <a:pt x="727" y="2474"/>
                  </a:lnTo>
                  <a:lnTo>
                    <a:pt x="727" y="2451"/>
                  </a:lnTo>
                  <a:lnTo>
                    <a:pt x="725" y="2451"/>
                  </a:lnTo>
                  <a:lnTo>
                    <a:pt x="722" y="2450"/>
                  </a:lnTo>
                  <a:lnTo>
                    <a:pt x="720" y="2447"/>
                  </a:lnTo>
                  <a:lnTo>
                    <a:pt x="718" y="2444"/>
                  </a:lnTo>
                  <a:lnTo>
                    <a:pt x="716" y="2438"/>
                  </a:lnTo>
                  <a:lnTo>
                    <a:pt x="715" y="2433"/>
                  </a:lnTo>
                  <a:lnTo>
                    <a:pt x="699" y="2419"/>
                  </a:lnTo>
                  <a:lnTo>
                    <a:pt x="683" y="2407"/>
                  </a:lnTo>
                  <a:lnTo>
                    <a:pt x="682" y="2404"/>
                  </a:lnTo>
                  <a:lnTo>
                    <a:pt x="681" y="2400"/>
                  </a:lnTo>
                  <a:lnTo>
                    <a:pt x="679" y="2398"/>
                  </a:lnTo>
                  <a:lnTo>
                    <a:pt x="677" y="2396"/>
                  </a:lnTo>
                  <a:lnTo>
                    <a:pt x="672" y="2393"/>
                  </a:lnTo>
                  <a:lnTo>
                    <a:pt x="671" y="2389"/>
                  </a:lnTo>
                  <a:lnTo>
                    <a:pt x="659" y="2388"/>
                  </a:lnTo>
                  <a:lnTo>
                    <a:pt x="650" y="2386"/>
                  </a:lnTo>
                  <a:lnTo>
                    <a:pt x="637" y="2384"/>
                  </a:lnTo>
                  <a:lnTo>
                    <a:pt x="615" y="2383"/>
                  </a:lnTo>
                  <a:lnTo>
                    <a:pt x="609" y="2402"/>
                  </a:lnTo>
                  <a:lnTo>
                    <a:pt x="605" y="2402"/>
                  </a:lnTo>
                  <a:lnTo>
                    <a:pt x="603" y="2403"/>
                  </a:lnTo>
                  <a:lnTo>
                    <a:pt x="602" y="2404"/>
                  </a:lnTo>
                  <a:lnTo>
                    <a:pt x="602" y="2405"/>
                  </a:lnTo>
                  <a:lnTo>
                    <a:pt x="602" y="2406"/>
                  </a:lnTo>
                  <a:lnTo>
                    <a:pt x="602" y="2406"/>
                  </a:lnTo>
                  <a:lnTo>
                    <a:pt x="600" y="2407"/>
                  </a:lnTo>
                  <a:lnTo>
                    <a:pt x="596" y="2407"/>
                  </a:lnTo>
                  <a:lnTo>
                    <a:pt x="595" y="2409"/>
                  </a:lnTo>
                  <a:lnTo>
                    <a:pt x="594" y="2412"/>
                  </a:lnTo>
                  <a:lnTo>
                    <a:pt x="592" y="2414"/>
                  </a:lnTo>
                  <a:lnTo>
                    <a:pt x="589" y="2416"/>
                  </a:lnTo>
                  <a:lnTo>
                    <a:pt x="581" y="2419"/>
                  </a:lnTo>
                  <a:lnTo>
                    <a:pt x="571" y="2423"/>
                  </a:lnTo>
                  <a:lnTo>
                    <a:pt x="562" y="2426"/>
                  </a:lnTo>
                  <a:lnTo>
                    <a:pt x="554" y="2431"/>
                  </a:lnTo>
                  <a:lnTo>
                    <a:pt x="551" y="2432"/>
                  </a:lnTo>
                  <a:lnTo>
                    <a:pt x="548" y="2434"/>
                  </a:lnTo>
                  <a:lnTo>
                    <a:pt x="547" y="2436"/>
                  </a:lnTo>
                  <a:lnTo>
                    <a:pt x="546" y="2438"/>
                  </a:lnTo>
                  <a:lnTo>
                    <a:pt x="534" y="2438"/>
                  </a:lnTo>
                  <a:lnTo>
                    <a:pt x="533" y="2445"/>
                  </a:lnTo>
                  <a:lnTo>
                    <a:pt x="530" y="2451"/>
                  </a:lnTo>
                  <a:lnTo>
                    <a:pt x="527" y="2455"/>
                  </a:lnTo>
                  <a:lnTo>
                    <a:pt x="523" y="2460"/>
                  </a:lnTo>
                  <a:lnTo>
                    <a:pt x="517" y="2462"/>
                  </a:lnTo>
                  <a:lnTo>
                    <a:pt x="510" y="2465"/>
                  </a:lnTo>
                  <a:lnTo>
                    <a:pt x="504" y="2466"/>
                  </a:lnTo>
                  <a:lnTo>
                    <a:pt x="497" y="2468"/>
                  </a:lnTo>
                  <a:lnTo>
                    <a:pt x="466" y="2470"/>
                  </a:lnTo>
                  <a:lnTo>
                    <a:pt x="440" y="2470"/>
                  </a:lnTo>
                  <a:lnTo>
                    <a:pt x="440" y="2467"/>
                  </a:lnTo>
                  <a:lnTo>
                    <a:pt x="439" y="2466"/>
                  </a:lnTo>
                  <a:lnTo>
                    <a:pt x="438" y="2465"/>
                  </a:lnTo>
                  <a:lnTo>
                    <a:pt x="437" y="2464"/>
                  </a:lnTo>
                  <a:lnTo>
                    <a:pt x="432" y="2464"/>
                  </a:lnTo>
                  <a:lnTo>
                    <a:pt x="428" y="2463"/>
                  </a:lnTo>
                  <a:lnTo>
                    <a:pt x="427" y="2458"/>
                  </a:lnTo>
                  <a:lnTo>
                    <a:pt x="424" y="2455"/>
                  </a:lnTo>
                  <a:lnTo>
                    <a:pt x="420" y="2452"/>
                  </a:lnTo>
                  <a:lnTo>
                    <a:pt x="415" y="2451"/>
                  </a:lnTo>
                  <a:lnTo>
                    <a:pt x="414" y="2447"/>
                  </a:lnTo>
                  <a:lnTo>
                    <a:pt x="412" y="2443"/>
                  </a:lnTo>
                  <a:lnTo>
                    <a:pt x="408" y="2438"/>
                  </a:lnTo>
                  <a:lnTo>
                    <a:pt x="403" y="2433"/>
                  </a:lnTo>
                  <a:lnTo>
                    <a:pt x="390" y="2422"/>
                  </a:lnTo>
                  <a:lnTo>
                    <a:pt x="375" y="2409"/>
                  </a:lnTo>
                  <a:lnTo>
                    <a:pt x="361" y="2397"/>
                  </a:lnTo>
                  <a:lnTo>
                    <a:pt x="347" y="2386"/>
                  </a:lnTo>
                  <a:lnTo>
                    <a:pt x="342" y="2379"/>
                  </a:lnTo>
                  <a:lnTo>
                    <a:pt x="338" y="2374"/>
                  </a:lnTo>
                  <a:lnTo>
                    <a:pt x="335" y="2369"/>
                  </a:lnTo>
                  <a:lnTo>
                    <a:pt x="335" y="2364"/>
                  </a:lnTo>
                  <a:lnTo>
                    <a:pt x="325" y="2361"/>
                  </a:lnTo>
                  <a:lnTo>
                    <a:pt x="316" y="2358"/>
                  </a:lnTo>
                  <a:lnTo>
                    <a:pt x="309" y="2346"/>
                  </a:lnTo>
                  <a:lnTo>
                    <a:pt x="285" y="2345"/>
                  </a:lnTo>
                  <a:lnTo>
                    <a:pt x="256" y="2342"/>
                  </a:lnTo>
                  <a:lnTo>
                    <a:pt x="227" y="2340"/>
                  </a:lnTo>
                  <a:lnTo>
                    <a:pt x="198" y="2339"/>
                  </a:lnTo>
                  <a:lnTo>
                    <a:pt x="194" y="2341"/>
                  </a:lnTo>
                  <a:lnTo>
                    <a:pt x="186" y="2342"/>
                  </a:lnTo>
                  <a:lnTo>
                    <a:pt x="172" y="2343"/>
                  </a:lnTo>
                  <a:lnTo>
                    <a:pt x="158" y="2345"/>
                  </a:lnTo>
                  <a:lnTo>
                    <a:pt x="130" y="2345"/>
                  </a:lnTo>
                  <a:lnTo>
                    <a:pt x="117" y="2346"/>
                  </a:lnTo>
                  <a:lnTo>
                    <a:pt x="104" y="2332"/>
                  </a:lnTo>
                  <a:lnTo>
                    <a:pt x="92" y="2332"/>
                  </a:lnTo>
                  <a:lnTo>
                    <a:pt x="78" y="2331"/>
                  </a:lnTo>
                  <a:lnTo>
                    <a:pt x="65" y="2329"/>
                  </a:lnTo>
                  <a:lnTo>
                    <a:pt x="53" y="2327"/>
                  </a:lnTo>
                  <a:lnTo>
                    <a:pt x="39" y="2323"/>
                  </a:lnTo>
                  <a:lnTo>
                    <a:pt x="26" y="2320"/>
                  </a:lnTo>
                  <a:lnTo>
                    <a:pt x="14" y="2316"/>
                  </a:lnTo>
                  <a:lnTo>
                    <a:pt x="0" y="2310"/>
                  </a:lnTo>
                  <a:lnTo>
                    <a:pt x="9" y="2311"/>
                  </a:lnTo>
                  <a:lnTo>
                    <a:pt x="19" y="2312"/>
                  </a:lnTo>
                  <a:lnTo>
                    <a:pt x="26" y="2311"/>
                  </a:lnTo>
                  <a:lnTo>
                    <a:pt x="33" y="2309"/>
                  </a:lnTo>
                  <a:lnTo>
                    <a:pt x="38" y="2304"/>
                  </a:lnTo>
                  <a:lnTo>
                    <a:pt x="43" y="2299"/>
                  </a:lnTo>
                  <a:lnTo>
                    <a:pt x="46" y="2293"/>
                  </a:lnTo>
                  <a:lnTo>
                    <a:pt x="49" y="2287"/>
                  </a:lnTo>
                  <a:lnTo>
                    <a:pt x="53" y="2279"/>
                  </a:lnTo>
                  <a:lnTo>
                    <a:pt x="55" y="2271"/>
                  </a:lnTo>
                  <a:lnTo>
                    <a:pt x="59" y="2256"/>
                  </a:lnTo>
                  <a:lnTo>
                    <a:pt x="63" y="2244"/>
                  </a:lnTo>
                  <a:lnTo>
                    <a:pt x="65" y="2239"/>
                  </a:lnTo>
                  <a:lnTo>
                    <a:pt x="67" y="2234"/>
                  </a:lnTo>
                  <a:lnTo>
                    <a:pt x="71" y="2232"/>
                  </a:lnTo>
                  <a:lnTo>
                    <a:pt x="73" y="2231"/>
                  </a:lnTo>
                  <a:lnTo>
                    <a:pt x="72" y="2206"/>
                  </a:lnTo>
                  <a:lnTo>
                    <a:pt x="69" y="2181"/>
                  </a:lnTo>
                  <a:lnTo>
                    <a:pt x="65" y="2156"/>
                  </a:lnTo>
                  <a:lnTo>
                    <a:pt x="59" y="2131"/>
                  </a:lnTo>
                  <a:lnTo>
                    <a:pt x="55" y="2107"/>
                  </a:lnTo>
                  <a:lnTo>
                    <a:pt x="50" y="2081"/>
                  </a:lnTo>
                  <a:lnTo>
                    <a:pt x="47" y="2056"/>
                  </a:lnTo>
                  <a:lnTo>
                    <a:pt x="46" y="2029"/>
                  </a:lnTo>
                  <a:lnTo>
                    <a:pt x="55" y="2018"/>
                  </a:lnTo>
                  <a:lnTo>
                    <a:pt x="64" y="2006"/>
                  </a:lnTo>
                  <a:lnTo>
                    <a:pt x="321" y="2011"/>
                  </a:lnTo>
                  <a:lnTo>
                    <a:pt x="327" y="2010"/>
                  </a:lnTo>
                  <a:lnTo>
                    <a:pt x="335" y="2008"/>
                  </a:lnTo>
                  <a:lnTo>
                    <a:pt x="344" y="2004"/>
                  </a:lnTo>
                  <a:lnTo>
                    <a:pt x="352" y="2000"/>
                  </a:lnTo>
                  <a:lnTo>
                    <a:pt x="366" y="1992"/>
                  </a:lnTo>
                  <a:lnTo>
                    <a:pt x="374" y="1989"/>
                  </a:lnTo>
                  <a:lnTo>
                    <a:pt x="375" y="1979"/>
                  </a:lnTo>
                  <a:lnTo>
                    <a:pt x="376" y="1969"/>
                  </a:lnTo>
                  <a:lnTo>
                    <a:pt x="379" y="1960"/>
                  </a:lnTo>
                  <a:lnTo>
                    <a:pt x="381" y="1951"/>
                  </a:lnTo>
                  <a:lnTo>
                    <a:pt x="383" y="1942"/>
                  </a:lnTo>
                  <a:lnTo>
                    <a:pt x="385" y="1934"/>
                  </a:lnTo>
                  <a:lnTo>
                    <a:pt x="388" y="1925"/>
                  </a:lnTo>
                  <a:lnTo>
                    <a:pt x="388" y="1916"/>
                  </a:lnTo>
                  <a:lnTo>
                    <a:pt x="392" y="1910"/>
                  </a:lnTo>
                  <a:lnTo>
                    <a:pt x="400" y="1893"/>
                  </a:lnTo>
                  <a:lnTo>
                    <a:pt x="411" y="1868"/>
                  </a:lnTo>
                  <a:lnTo>
                    <a:pt x="423" y="1840"/>
                  </a:lnTo>
                  <a:lnTo>
                    <a:pt x="438" y="1810"/>
                  </a:lnTo>
                  <a:lnTo>
                    <a:pt x="451" y="1782"/>
                  </a:lnTo>
                  <a:lnTo>
                    <a:pt x="457" y="1770"/>
                  </a:lnTo>
                  <a:lnTo>
                    <a:pt x="463" y="1760"/>
                  </a:lnTo>
                  <a:lnTo>
                    <a:pt x="468" y="1752"/>
                  </a:lnTo>
                  <a:lnTo>
                    <a:pt x="474" y="1746"/>
                  </a:lnTo>
                  <a:lnTo>
                    <a:pt x="493" y="1720"/>
                  </a:lnTo>
                  <a:lnTo>
                    <a:pt x="525" y="1674"/>
                  </a:lnTo>
                  <a:lnTo>
                    <a:pt x="542" y="1650"/>
                  </a:lnTo>
                  <a:lnTo>
                    <a:pt x="556" y="1630"/>
                  </a:lnTo>
                  <a:lnTo>
                    <a:pt x="563" y="1623"/>
                  </a:lnTo>
                  <a:lnTo>
                    <a:pt x="568" y="1617"/>
                  </a:lnTo>
                  <a:lnTo>
                    <a:pt x="573" y="1612"/>
                  </a:lnTo>
                  <a:lnTo>
                    <a:pt x="576" y="1611"/>
                  </a:lnTo>
                  <a:lnTo>
                    <a:pt x="577" y="1605"/>
                  </a:lnTo>
                  <a:lnTo>
                    <a:pt x="580" y="1594"/>
                  </a:lnTo>
                  <a:lnTo>
                    <a:pt x="581" y="1589"/>
                  </a:lnTo>
                  <a:lnTo>
                    <a:pt x="580" y="1585"/>
                  </a:lnTo>
                  <a:lnTo>
                    <a:pt x="580" y="1582"/>
                  </a:lnTo>
                  <a:lnTo>
                    <a:pt x="578" y="1581"/>
                  </a:lnTo>
                  <a:lnTo>
                    <a:pt x="577" y="1580"/>
                  </a:lnTo>
                  <a:lnTo>
                    <a:pt x="576" y="1580"/>
                  </a:lnTo>
                  <a:lnTo>
                    <a:pt x="576" y="1562"/>
                  </a:lnTo>
                  <a:lnTo>
                    <a:pt x="574" y="1561"/>
                  </a:lnTo>
                  <a:lnTo>
                    <a:pt x="571" y="1559"/>
                  </a:lnTo>
                  <a:lnTo>
                    <a:pt x="567" y="1556"/>
                  </a:lnTo>
                  <a:lnTo>
                    <a:pt x="564" y="1552"/>
                  </a:lnTo>
                  <a:lnTo>
                    <a:pt x="556" y="1542"/>
                  </a:lnTo>
                  <a:lnTo>
                    <a:pt x="547" y="1530"/>
                  </a:lnTo>
                  <a:lnTo>
                    <a:pt x="539" y="1519"/>
                  </a:lnTo>
                  <a:lnTo>
                    <a:pt x="533" y="1509"/>
                  </a:lnTo>
                  <a:lnTo>
                    <a:pt x="527" y="1502"/>
                  </a:lnTo>
                  <a:lnTo>
                    <a:pt x="523" y="1499"/>
                  </a:lnTo>
                  <a:lnTo>
                    <a:pt x="523" y="1490"/>
                  </a:lnTo>
                  <a:lnTo>
                    <a:pt x="520" y="1487"/>
                  </a:lnTo>
                  <a:lnTo>
                    <a:pt x="519" y="1481"/>
                  </a:lnTo>
                  <a:lnTo>
                    <a:pt x="519" y="1471"/>
                  </a:lnTo>
                  <a:lnTo>
                    <a:pt x="518" y="1457"/>
                  </a:lnTo>
                  <a:lnTo>
                    <a:pt x="518" y="1425"/>
                  </a:lnTo>
                  <a:lnTo>
                    <a:pt x="519" y="1388"/>
                  </a:lnTo>
                  <a:lnTo>
                    <a:pt x="520" y="1350"/>
                  </a:lnTo>
                  <a:lnTo>
                    <a:pt x="522" y="1314"/>
                  </a:lnTo>
                  <a:lnTo>
                    <a:pt x="522" y="1287"/>
                  </a:lnTo>
                  <a:lnTo>
                    <a:pt x="523" y="1270"/>
                  </a:lnTo>
                  <a:lnTo>
                    <a:pt x="523" y="1254"/>
                  </a:lnTo>
                  <a:lnTo>
                    <a:pt x="523" y="1229"/>
                  </a:lnTo>
                  <a:lnTo>
                    <a:pt x="523" y="1198"/>
                  </a:lnTo>
                  <a:lnTo>
                    <a:pt x="522" y="1165"/>
                  </a:lnTo>
                  <a:lnTo>
                    <a:pt x="520" y="1134"/>
                  </a:lnTo>
                  <a:lnTo>
                    <a:pt x="517" y="1107"/>
                  </a:lnTo>
                  <a:lnTo>
                    <a:pt x="515" y="1097"/>
                  </a:lnTo>
                  <a:lnTo>
                    <a:pt x="511" y="1088"/>
                  </a:lnTo>
                  <a:lnTo>
                    <a:pt x="510" y="1086"/>
                  </a:lnTo>
                  <a:lnTo>
                    <a:pt x="508" y="1083"/>
                  </a:lnTo>
                  <a:lnTo>
                    <a:pt x="506" y="1081"/>
                  </a:lnTo>
                  <a:lnTo>
                    <a:pt x="505" y="1081"/>
                  </a:lnTo>
                  <a:lnTo>
                    <a:pt x="504" y="1076"/>
                  </a:lnTo>
                  <a:lnTo>
                    <a:pt x="503" y="1071"/>
                  </a:lnTo>
                  <a:lnTo>
                    <a:pt x="500" y="1067"/>
                  </a:lnTo>
                  <a:lnTo>
                    <a:pt x="498" y="1063"/>
                  </a:lnTo>
                  <a:close/>
                </a:path>
              </a:pathLst>
            </a:custGeom>
            <a:solidFill>
              <a:srgbClr val="D9D9D9"/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8" name="Freeform 61">
              <a:extLst>
                <a:ext uri="{FF2B5EF4-FFF2-40B4-BE49-F238E27FC236}">
                  <a16:creationId xmlns:a16="http://schemas.microsoft.com/office/drawing/2014/main" id="{EA8053FF-C8B0-42C8-9B84-2111BED5568B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9053513" y="5138738"/>
              <a:ext cx="82550" cy="168294"/>
            </a:xfrm>
            <a:custGeom>
              <a:avLst/>
              <a:gdLst/>
              <a:ahLst/>
              <a:cxnLst>
                <a:cxn ang="0">
                  <a:pos x="294" y="31"/>
                </a:cxn>
                <a:cxn ang="0">
                  <a:pos x="275" y="62"/>
                </a:cxn>
                <a:cxn ang="0">
                  <a:pos x="244" y="90"/>
                </a:cxn>
                <a:cxn ang="0">
                  <a:pos x="214" y="106"/>
                </a:cxn>
                <a:cxn ang="0">
                  <a:pos x="175" y="140"/>
                </a:cxn>
                <a:cxn ang="0">
                  <a:pos x="140" y="164"/>
                </a:cxn>
                <a:cxn ang="0">
                  <a:pos x="149" y="200"/>
                </a:cxn>
                <a:cxn ang="0">
                  <a:pos x="175" y="215"/>
                </a:cxn>
                <a:cxn ang="0">
                  <a:pos x="179" y="304"/>
                </a:cxn>
                <a:cxn ang="0">
                  <a:pos x="157" y="375"/>
                </a:cxn>
                <a:cxn ang="0">
                  <a:pos x="150" y="390"/>
                </a:cxn>
                <a:cxn ang="0">
                  <a:pos x="141" y="404"/>
                </a:cxn>
                <a:cxn ang="0">
                  <a:pos x="124" y="431"/>
                </a:cxn>
                <a:cxn ang="0">
                  <a:pos x="84" y="474"/>
                </a:cxn>
                <a:cxn ang="0">
                  <a:pos x="35" y="528"/>
                </a:cxn>
                <a:cxn ang="0">
                  <a:pos x="9" y="579"/>
                </a:cxn>
                <a:cxn ang="0">
                  <a:pos x="17" y="642"/>
                </a:cxn>
                <a:cxn ang="0">
                  <a:pos x="100" y="663"/>
                </a:cxn>
                <a:cxn ang="0">
                  <a:pos x="104" y="678"/>
                </a:cxn>
                <a:cxn ang="0">
                  <a:pos x="106" y="750"/>
                </a:cxn>
                <a:cxn ang="0">
                  <a:pos x="100" y="843"/>
                </a:cxn>
                <a:cxn ang="0">
                  <a:pos x="90" y="885"/>
                </a:cxn>
                <a:cxn ang="0">
                  <a:pos x="80" y="902"/>
                </a:cxn>
                <a:cxn ang="0">
                  <a:pos x="75" y="932"/>
                </a:cxn>
                <a:cxn ang="0">
                  <a:pos x="94" y="957"/>
                </a:cxn>
                <a:cxn ang="0">
                  <a:pos x="168" y="1000"/>
                </a:cxn>
                <a:cxn ang="0">
                  <a:pos x="185" y="1022"/>
                </a:cxn>
                <a:cxn ang="0">
                  <a:pos x="219" y="1022"/>
                </a:cxn>
                <a:cxn ang="0">
                  <a:pos x="239" y="983"/>
                </a:cxn>
                <a:cxn ang="0">
                  <a:pos x="252" y="966"/>
                </a:cxn>
                <a:cxn ang="0">
                  <a:pos x="274" y="951"/>
                </a:cxn>
                <a:cxn ang="0">
                  <a:pos x="313" y="936"/>
                </a:cxn>
                <a:cxn ang="0">
                  <a:pos x="353" y="914"/>
                </a:cxn>
                <a:cxn ang="0">
                  <a:pos x="387" y="901"/>
                </a:cxn>
                <a:cxn ang="0">
                  <a:pos x="390" y="887"/>
                </a:cxn>
                <a:cxn ang="0">
                  <a:pos x="399" y="861"/>
                </a:cxn>
                <a:cxn ang="0">
                  <a:pos x="431" y="840"/>
                </a:cxn>
                <a:cxn ang="0">
                  <a:pos x="459" y="794"/>
                </a:cxn>
                <a:cxn ang="0">
                  <a:pos x="370" y="814"/>
                </a:cxn>
                <a:cxn ang="0">
                  <a:pos x="281" y="808"/>
                </a:cxn>
                <a:cxn ang="0">
                  <a:pos x="274" y="738"/>
                </a:cxn>
                <a:cxn ang="0">
                  <a:pos x="304" y="704"/>
                </a:cxn>
                <a:cxn ang="0">
                  <a:pos x="294" y="613"/>
                </a:cxn>
                <a:cxn ang="0">
                  <a:pos x="264" y="589"/>
                </a:cxn>
                <a:cxn ang="0">
                  <a:pos x="228" y="558"/>
                </a:cxn>
                <a:cxn ang="0">
                  <a:pos x="195" y="524"/>
                </a:cxn>
                <a:cxn ang="0">
                  <a:pos x="199" y="469"/>
                </a:cxn>
                <a:cxn ang="0">
                  <a:pos x="229" y="443"/>
                </a:cxn>
                <a:cxn ang="0">
                  <a:pos x="309" y="384"/>
                </a:cxn>
                <a:cxn ang="0">
                  <a:pos x="329" y="369"/>
                </a:cxn>
                <a:cxn ang="0">
                  <a:pos x="354" y="354"/>
                </a:cxn>
                <a:cxn ang="0">
                  <a:pos x="383" y="350"/>
                </a:cxn>
                <a:cxn ang="0">
                  <a:pos x="390" y="320"/>
                </a:cxn>
                <a:cxn ang="0">
                  <a:pos x="367" y="312"/>
                </a:cxn>
                <a:cxn ang="0">
                  <a:pos x="341" y="297"/>
                </a:cxn>
                <a:cxn ang="0">
                  <a:pos x="319" y="259"/>
                </a:cxn>
                <a:cxn ang="0">
                  <a:pos x="292" y="217"/>
                </a:cxn>
                <a:cxn ang="0">
                  <a:pos x="302" y="119"/>
                </a:cxn>
                <a:cxn ang="0">
                  <a:pos x="314" y="90"/>
                </a:cxn>
                <a:cxn ang="0">
                  <a:pos x="319" y="10"/>
                </a:cxn>
              </a:cxnLst>
              <a:rect l="0" t="0" r="r" b="b"/>
              <a:pathLst>
                <a:path w="465" h="1027">
                  <a:moveTo>
                    <a:pt x="304" y="0"/>
                  </a:moveTo>
                  <a:lnTo>
                    <a:pt x="303" y="5"/>
                  </a:lnTo>
                  <a:lnTo>
                    <a:pt x="301" y="10"/>
                  </a:lnTo>
                  <a:lnTo>
                    <a:pt x="297" y="16"/>
                  </a:lnTo>
                  <a:lnTo>
                    <a:pt x="294" y="21"/>
                  </a:lnTo>
                  <a:lnTo>
                    <a:pt x="294" y="31"/>
                  </a:lnTo>
                  <a:lnTo>
                    <a:pt x="290" y="35"/>
                  </a:lnTo>
                  <a:lnTo>
                    <a:pt x="285" y="41"/>
                  </a:lnTo>
                  <a:lnTo>
                    <a:pt x="281" y="46"/>
                  </a:lnTo>
                  <a:lnTo>
                    <a:pt x="279" y="51"/>
                  </a:lnTo>
                  <a:lnTo>
                    <a:pt x="279" y="61"/>
                  </a:lnTo>
                  <a:lnTo>
                    <a:pt x="275" y="62"/>
                  </a:lnTo>
                  <a:lnTo>
                    <a:pt x="272" y="66"/>
                  </a:lnTo>
                  <a:lnTo>
                    <a:pt x="269" y="71"/>
                  </a:lnTo>
                  <a:lnTo>
                    <a:pt x="269" y="75"/>
                  </a:lnTo>
                  <a:lnTo>
                    <a:pt x="259" y="75"/>
                  </a:lnTo>
                  <a:lnTo>
                    <a:pt x="249" y="80"/>
                  </a:lnTo>
                  <a:lnTo>
                    <a:pt x="244" y="90"/>
                  </a:lnTo>
                  <a:lnTo>
                    <a:pt x="240" y="91"/>
                  </a:lnTo>
                  <a:lnTo>
                    <a:pt x="235" y="93"/>
                  </a:lnTo>
                  <a:lnTo>
                    <a:pt x="229" y="96"/>
                  </a:lnTo>
                  <a:lnTo>
                    <a:pt x="224" y="100"/>
                  </a:lnTo>
                  <a:lnTo>
                    <a:pt x="218" y="104"/>
                  </a:lnTo>
                  <a:lnTo>
                    <a:pt x="214" y="106"/>
                  </a:lnTo>
                  <a:lnTo>
                    <a:pt x="208" y="109"/>
                  </a:lnTo>
                  <a:lnTo>
                    <a:pt x="205" y="110"/>
                  </a:lnTo>
                  <a:lnTo>
                    <a:pt x="195" y="125"/>
                  </a:lnTo>
                  <a:lnTo>
                    <a:pt x="187" y="128"/>
                  </a:lnTo>
                  <a:lnTo>
                    <a:pt x="179" y="130"/>
                  </a:lnTo>
                  <a:lnTo>
                    <a:pt x="175" y="140"/>
                  </a:lnTo>
                  <a:lnTo>
                    <a:pt x="167" y="142"/>
                  </a:lnTo>
                  <a:lnTo>
                    <a:pt x="159" y="144"/>
                  </a:lnTo>
                  <a:lnTo>
                    <a:pt x="157" y="150"/>
                  </a:lnTo>
                  <a:lnTo>
                    <a:pt x="154" y="154"/>
                  </a:lnTo>
                  <a:lnTo>
                    <a:pt x="146" y="160"/>
                  </a:lnTo>
                  <a:lnTo>
                    <a:pt x="140" y="164"/>
                  </a:lnTo>
                  <a:lnTo>
                    <a:pt x="140" y="175"/>
                  </a:lnTo>
                  <a:lnTo>
                    <a:pt x="134" y="177"/>
                  </a:lnTo>
                  <a:lnTo>
                    <a:pt x="130" y="180"/>
                  </a:lnTo>
                  <a:lnTo>
                    <a:pt x="130" y="190"/>
                  </a:lnTo>
                  <a:lnTo>
                    <a:pt x="140" y="195"/>
                  </a:lnTo>
                  <a:lnTo>
                    <a:pt x="149" y="200"/>
                  </a:lnTo>
                  <a:lnTo>
                    <a:pt x="159" y="200"/>
                  </a:lnTo>
                  <a:lnTo>
                    <a:pt x="160" y="204"/>
                  </a:lnTo>
                  <a:lnTo>
                    <a:pt x="162" y="207"/>
                  </a:lnTo>
                  <a:lnTo>
                    <a:pt x="166" y="209"/>
                  </a:lnTo>
                  <a:lnTo>
                    <a:pt x="169" y="209"/>
                  </a:lnTo>
                  <a:lnTo>
                    <a:pt x="175" y="215"/>
                  </a:lnTo>
                  <a:lnTo>
                    <a:pt x="175" y="223"/>
                  </a:lnTo>
                  <a:lnTo>
                    <a:pt x="175" y="229"/>
                  </a:lnTo>
                  <a:lnTo>
                    <a:pt x="177" y="245"/>
                  </a:lnTo>
                  <a:lnTo>
                    <a:pt x="179" y="265"/>
                  </a:lnTo>
                  <a:lnTo>
                    <a:pt x="179" y="286"/>
                  </a:lnTo>
                  <a:lnTo>
                    <a:pt x="179" y="304"/>
                  </a:lnTo>
                  <a:lnTo>
                    <a:pt x="175" y="314"/>
                  </a:lnTo>
                  <a:lnTo>
                    <a:pt x="169" y="326"/>
                  </a:lnTo>
                  <a:lnTo>
                    <a:pt x="163" y="337"/>
                  </a:lnTo>
                  <a:lnTo>
                    <a:pt x="159" y="344"/>
                  </a:lnTo>
                  <a:lnTo>
                    <a:pt x="159" y="374"/>
                  </a:lnTo>
                  <a:lnTo>
                    <a:pt x="157" y="375"/>
                  </a:lnTo>
                  <a:lnTo>
                    <a:pt x="156" y="378"/>
                  </a:lnTo>
                  <a:lnTo>
                    <a:pt x="154" y="381"/>
                  </a:lnTo>
                  <a:lnTo>
                    <a:pt x="154" y="384"/>
                  </a:lnTo>
                  <a:lnTo>
                    <a:pt x="151" y="385"/>
                  </a:lnTo>
                  <a:lnTo>
                    <a:pt x="150" y="388"/>
                  </a:lnTo>
                  <a:lnTo>
                    <a:pt x="150" y="390"/>
                  </a:lnTo>
                  <a:lnTo>
                    <a:pt x="149" y="394"/>
                  </a:lnTo>
                  <a:lnTo>
                    <a:pt x="147" y="394"/>
                  </a:lnTo>
                  <a:lnTo>
                    <a:pt x="146" y="397"/>
                  </a:lnTo>
                  <a:lnTo>
                    <a:pt x="144" y="400"/>
                  </a:lnTo>
                  <a:lnTo>
                    <a:pt x="144" y="404"/>
                  </a:lnTo>
                  <a:lnTo>
                    <a:pt x="141" y="404"/>
                  </a:lnTo>
                  <a:lnTo>
                    <a:pt x="140" y="407"/>
                  </a:lnTo>
                  <a:lnTo>
                    <a:pt x="140" y="410"/>
                  </a:lnTo>
                  <a:lnTo>
                    <a:pt x="140" y="414"/>
                  </a:lnTo>
                  <a:lnTo>
                    <a:pt x="130" y="419"/>
                  </a:lnTo>
                  <a:lnTo>
                    <a:pt x="128" y="425"/>
                  </a:lnTo>
                  <a:lnTo>
                    <a:pt x="124" y="431"/>
                  </a:lnTo>
                  <a:lnTo>
                    <a:pt x="118" y="441"/>
                  </a:lnTo>
                  <a:lnTo>
                    <a:pt x="111" y="450"/>
                  </a:lnTo>
                  <a:lnTo>
                    <a:pt x="103" y="459"/>
                  </a:lnTo>
                  <a:lnTo>
                    <a:pt x="95" y="467"/>
                  </a:lnTo>
                  <a:lnTo>
                    <a:pt x="90" y="471"/>
                  </a:lnTo>
                  <a:lnTo>
                    <a:pt x="84" y="474"/>
                  </a:lnTo>
                  <a:lnTo>
                    <a:pt x="83" y="479"/>
                  </a:lnTo>
                  <a:lnTo>
                    <a:pt x="76" y="487"/>
                  </a:lnTo>
                  <a:lnTo>
                    <a:pt x="69" y="496"/>
                  </a:lnTo>
                  <a:lnTo>
                    <a:pt x="60" y="505"/>
                  </a:lnTo>
                  <a:lnTo>
                    <a:pt x="43" y="522"/>
                  </a:lnTo>
                  <a:lnTo>
                    <a:pt x="35" y="528"/>
                  </a:lnTo>
                  <a:lnTo>
                    <a:pt x="35" y="538"/>
                  </a:lnTo>
                  <a:lnTo>
                    <a:pt x="29" y="544"/>
                  </a:lnTo>
                  <a:lnTo>
                    <a:pt x="23" y="552"/>
                  </a:lnTo>
                  <a:lnTo>
                    <a:pt x="15" y="561"/>
                  </a:lnTo>
                  <a:lnTo>
                    <a:pt x="9" y="568"/>
                  </a:lnTo>
                  <a:lnTo>
                    <a:pt x="9" y="579"/>
                  </a:lnTo>
                  <a:lnTo>
                    <a:pt x="5" y="586"/>
                  </a:lnTo>
                  <a:lnTo>
                    <a:pt x="0" y="593"/>
                  </a:lnTo>
                  <a:lnTo>
                    <a:pt x="0" y="633"/>
                  </a:lnTo>
                  <a:lnTo>
                    <a:pt x="5" y="637"/>
                  </a:lnTo>
                  <a:lnTo>
                    <a:pt x="10" y="640"/>
                  </a:lnTo>
                  <a:lnTo>
                    <a:pt x="17" y="642"/>
                  </a:lnTo>
                  <a:lnTo>
                    <a:pt x="25" y="643"/>
                  </a:lnTo>
                  <a:lnTo>
                    <a:pt x="31" y="649"/>
                  </a:lnTo>
                  <a:lnTo>
                    <a:pt x="37" y="656"/>
                  </a:lnTo>
                  <a:lnTo>
                    <a:pt x="44" y="661"/>
                  </a:lnTo>
                  <a:lnTo>
                    <a:pt x="50" y="663"/>
                  </a:lnTo>
                  <a:lnTo>
                    <a:pt x="100" y="663"/>
                  </a:lnTo>
                  <a:lnTo>
                    <a:pt x="100" y="668"/>
                  </a:lnTo>
                  <a:lnTo>
                    <a:pt x="100" y="672"/>
                  </a:lnTo>
                  <a:lnTo>
                    <a:pt x="101" y="675"/>
                  </a:lnTo>
                  <a:lnTo>
                    <a:pt x="102" y="677"/>
                  </a:lnTo>
                  <a:lnTo>
                    <a:pt x="103" y="678"/>
                  </a:lnTo>
                  <a:lnTo>
                    <a:pt x="104" y="678"/>
                  </a:lnTo>
                  <a:lnTo>
                    <a:pt x="105" y="693"/>
                  </a:lnTo>
                  <a:lnTo>
                    <a:pt x="108" y="708"/>
                  </a:lnTo>
                  <a:lnTo>
                    <a:pt x="109" y="723"/>
                  </a:lnTo>
                  <a:lnTo>
                    <a:pt x="110" y="738"/>
                  </a:lnTo>
                  <a:lnTo>
                    <a:pt x="108" y="741"/>
                  </a:lnTo>
                  <a:lnTo>
                    <a:pt x="106" y="750"/>
                  </a:lnTo>
                  <a:lnTo>
                    <a:pt x="105" y="764"/>
                  </a:lnTo>
                  <a:lnTo>
                    <a:pt x="105" y="779"/>
                  </a:lnTo>
                  <a:lnTo>
                    <a:pt x="104" y="810"/>
                  </a:lnTo>
                  <a:lnTo>
                    <a:pt x="104" y="827"/>
                  </a:lnTo>
                  <a:lnTo>
                    <a:pt x="102" y="835"/>
                  </a:lnTo>
                  <a:lnTo>
                    <a:pt x="100" y="843"/>
                  </a:lnTo>
                  <a:lnTo>
                    <a:pt x="100" y="850"/>
                  </a:lnTo>
                  <a:lnTo>
                    <a:pt x="100" y="858"/>
                  </a:lnTo>
                  <a:lnTo>
                    <a:pt x="98" y="868"/>
                  </a:lnTo>
                  <a:lnTo>
                    <a:pt x="94" y="882"/>
                  </a:lnTo>
                  <a:lnTo>
                    <a:pt x="92" y="883"/>
                  </a:lnTo>
                  <a:lnTo>
                    <a:pt x="90" y="885"/>
                  </a:lnTo>
                  <a:lnTo>
                    <a:pt x="90" y="889"/>
                  </a:lnTo>
                  <a:lnTo>
                    <a:pt x="90" y="892"/>
                  </a:lnTo>
                  <a:lnTo>
                    <a:pt x="89" y="894"/>
                  </a:lnTo>
                  <a:lnTo>
                    <a:pt x="86" y="898"/>
                  </a:lnTo>
                  <a:lnTo>
                    <a:pt x="83" y="901"/>
                  </a:lnTo>
                  <a:lnTo>
                    <a:pt x="80" y="902"/>
                  </a:lnTo>
                  <a:lnTo>
                    <a:pt x="80" y="922"/>
                  </a:lnTo>
                  <a:lnTo>
                    <a:pt x="77" y="922"/>
                  </a:lnTo>
                  <a:lnTo>
                    <a:pt x="76" y="923"/>
                  </a:lnTo>
                  <a:lnTo>
                    <a:pt x="76" y="926"/>
                  </a:lnTo>
                  <a:lnTo>
                    <a:pt x="75" y="928"/>
                  </a:lnTo>
                  <a:lnTo>
                    <a:pt x="75" y="932"/>
                  </a:lnTo>
                  <a:lnTo>
                    <a:pt x="75" y="937"/>
                  </a:lnTo>
                  <a:lnTo>
                    <a:pt x="70" y="940"/>
                  </a:lnTo>
                  <a:lnTo>
                    <a:pt x="65" y="942"/>
                  </a:lnTo>
                  <a:lnTo>
                    <a:pt x="65" y="957"/>
                  </a:lnTo>
                  <a:lnTo>
                    <a:pt x="80" y="957"/>
                  </a:lnTo>
                  <a:lnTo>
                    <a:pt x="94" y="957"/>
                  </a:lnTo>
                  <a:lnTo>
                    <a:pt x="110" y="957"/>
                  </a:lnTo>
                  <a:lnTo>
                    <a:pt x="124" y="957"/>
                  </a:lnTo>
                  <a:lnTo>
                    <a:pt x="137" y="967"/>
                  </a:lnTo>
                  <a:lnTo>
                    <a:pt x="153" y="983"/>
                  </a:lnTo>
                  <a:lnTo>
                    <a:pt x="161" y="991"/>
                  </a:lnTo>
                  <a:lnTo>
                    <a:pt x="168" y="1000"/>
                  </a:lnTo>
                  <a:lnTo>
                    <a:pt x="172" y="1007"/>
                  </a:lnTo>
                  <a:lnTo>
                    <a:pt x="175" y="1012"/>
                  </a:lnTo>
                  <a:lnTo>
                    <a:pt x="176" y="1013"/>
                  </a:lnTo>
                  <a:lnTo>
                    <a:pt x="179" y="1015"/>
                  </a:lnTo>
                  <a:lnTo>
                    <a:pt x="182" y="1018"/>
                  </a:lnTo>
                  <a:lnTo>
                    <a:pt x="185" y="1022"/>
                  </a:lnTo>
                  <a:lnTo>
                    <a:pt x="188" y="1022"/>
                  </a:lnTo>
                  <a:lnTo>
                    <a:pt x="191" y="1023"/>
                  </a:lnTo>
                  <a:lnTo>
                    <a:pt x="194" y="1024"/>
                  </a:lnTo>
                  <a:lnTo>
                    <a:pt x="195" y="1027"/>
                  </a:lnTo>
                  <a:lnTo>
                    <a:pt x="215" y="1027"/>
                  </a:lnTo>
                  <a:lnTo>
                    <a:pt x="219" y="1022"/>
                  </a:lnTo>
                  <a:lnTo>
                    <a:pt x="220" y="1018"/>
                  </a:lnTo>
                  <a:lnTo>
                    <a:pt x="221" y="1013"/>
                  </a:lnTo>
                  <a:lnTo>
                    <a:pt x="224" y="1007"/>
                  </a:lnTo>
                  <a:lnTo>
                    <a:pt x="227" y="1002"/>
                  </a:lnTo>
                  <a:lnTo>
                    <a:pt x="234" y="991"/>
                  </a:lnTo>
                  <a:lnTo>
                    <a:pt x="239" y="983"/>
                  </a:lnTo>
                  <a:lnTo>
                    <a:pt x="239" y="973"/>
                  </a:lnTo>
                  <a:lnTo>
                    <a:pt x="243" y="971"/>
                  </a:lnTo>
                  <a:lnTo>
                    <a:pt x="246" y="971"/>
                  </a:lnTo>
                  <a:lnTo>
                    <a:pt x="248" y="970"/>
                  </a:lnTo>
                  <a:lnTo>
                    <a:pt x="250" y="968"/>
                  </a:lnTo>
                  <a:lnTo>
                    <a:pt x="252" y="966"/>
                  </a:lnTo>
                  <a:lnTo>
                    <a:pt x="253" y="964"/>
                  </a:lnTo>
                  <a:lnTo>
                    <a:pt x="254" y="960"/>
                  </a:lnTo>
                  <a:lnTo>
                    <a:pt x="254" y="957"/>
                  </a:lnTo>
                  <a:lnTo>
                    <a:pt x="264" y="957"/>
                  </a:lnTo>
                  <a:lnTo>
                    <a:pt x="268" y="956"/>
                  </a:lnTo>
                  <a:lnTo>
                    <a:pt x="274" y="951"/>
                  </a:lnTo>
                  <a:lnTo>
                    <a:pt x="279" y="947"/>
                  </a:lnTo>
                  <a:lnTo>
                    <a:pt x="284" y="942"/>
                  </a:lnTo>
                  <a:lnTo>
                    <a:pt x="291" y="941"/>
                  </a:lnTo>
                  <a:lnTo>
                    <a:pt x="297" y="940"/>
                  </a:lnTo>
                  <a:lnTo>
                    <a:pt x="305" y="938"/>
                  </a:lnTo>
                  <a:lnTo>
                    <a:pt x="313" y="936"/>
                  </a:lnTo>
                  <a:lnTo>
                    <a:pt x="321" y="931"/>
                  </a:lnTo>
                  <a:lnTo>
                    <a:pt x="329" y="928"/>
                  </a:lnTo>
                  <a:lnTo>
                    <a:pt x="334" y="922"/>
                  </a:lnTo>
                  <a:lnTo>
                    <a:pt x="339" y="918"/>
                  </a:lnTo>
                  <a:lnTo>
                    <a:pt x="346" y="917"/>
                  </a:lnTo>
                  <a:lnTo>
                    <a:pt x="353" y="914"/>
                  </a:lnTo>
                  <a:lnTo>
                    <a:pt x="359" y="911"/>
                  </a:lnTo>
                  <a:lnTo>
                    <a:pt x="363" y="908"/>
                  </a:lnTo>
                  <a:lnTo>
                    <a:pt x="379" y="908"/>
                  </a:lnTo>
                  <a:lnTo>
                    <a:pt x="380" y="907"/>
                  </a:lnTo>
                  <a:lnTo>
                    <a:pt x="383" y="904"/>
                  </a:lnTo>
                  <a:lnTo>
                    <a:pt x="387" y="901"/>
                  </a:lnTo>
                  <a:lnTo>
                    <a:pt x="389" y="898"/>
                  </a:lnTo>
                  <a:lnTo>
                    <a:pt x="390" y="897"/>
                  </a:lnTo>
                  <a:lnTo>
                    <a:pt x="391" y="895"/>
                  </a:lnTo>
                  <a:lnTo>
                    <a:pt x="391" y="894"/>
                  </a:lnTo>
                  <a:lnTo>
                    <a:pt x="391" y="892"/>
                  </a:lnTo>
                  <a:lnTo>
                    <a:pt x="390" y="887"/>
                  </a:lnTo>
                  <a:lnTo>
                    <a:pt x="389" y="881"/>
                  </a:lnTo>
                  <a:lnTo>
                    <a:pt x="389" y="874"/>
                  </a:lnTo>
                  <a:lnTo>
                    <a:pt x="390" y="868"/>
                  </a:lnTo>
                  <a:lnTo>
                    <a:pt x="392" y="865"/>
                  </a:lnTo>
                  <a:lnTo>
                    <a:pt x="396" y="863"/>
                  </a:lnTo>
                  <a:lnTo>
                    <a:pt x="399" y="861"/>
                  </a:lnTo>
                  <a:lnTo>
                    <a:pt x="403" y="860"/>
                  </a:lnTo>
                  <a:lnTo>
                    <a:pt x="409" y="858"/>
                  </a:lnTo>
                  <a:lnTo>
                    <a:pt x="415" y="855"/>
                  </a:lnTo>
                  <a:lnTo>
                    <a:pt x="419" y="852"/>
                  </a:lnTo>
                  <a:lnTo>
                    <a:pt x="423" y="849"/>
                  </a:lnTo>
                  <a:lnTo>
                    <a:pt x="431" y="840"/>
                  </a:lnTo>
                  <a:lnTo>
                    <a:pt x="438" y="830"/>
                  </a:lnTo>
                  <a:lnTo>
                    <a:pt x="449" y="810"/>
                  </a:lnTo>
                  <a:lnTo>
                    <a:pt x="457" y="797"/>
                  </a:lnTo>
                  <a:lnTo>
                    <a:pt x="464" y="792"/>
                  </a:lnTo>
                  <a:lnTo>
                    <a:pt x="465" y="791"/>
                  </a:lnTo>
                  <a:lnTo>
                    <a:pt x="459" y="794"/>
                  </a:lnTo>
                  <a:lnTo>
                    <a:pt x="446" y="798"/>
                  </a:lnTo>
                  <a:lnTo>
                    <a:pt x="436" y="802"/>
                  </a:lnTo>
                  <a:lnTo>
                    <a:pt x="423" y="805"/>
                  </a:lnTo>
                  <a:lnTo>
                    <a:pt x="408" y="808"/>
                  </a:lnTo>
                  <a:lnTo>
                    <a:pt x="391" y="811"/>
                  </a:lnTo>
                  <a:lnTo>
                    <a:pt x="370" y="814"/>
                  </a:lnTo>
                  <a:lnTo>
                    <a:pt x="346" y="816"/>
                  </a:lnTo>
                  <a:lnTo>
                    <a:pt x="320" y="817"/>
                  </a:lnTo>
                  <a:lnTo>
                    <a:pt x="290" y="817"/>
                  </a:lnTo>
                  <a:lnTo>
                    <a:pt x="287" y="814"/>
                  </a:lnTo>
                  <a:lnTo>
                    <a:pt x="284" y="811"/>
                  </a:lnTo>
                  <a:lnTo>
                    <a:pt x="281" y="808"/>
                  </a:lnTo>
                  <a:lnTo>
                    <a:pt x="279" y="807"/>
                  </a:lnTo>
                  <a:lnTo>
                    <a:pt x="274" y="797"/>
                  </a:lnTo>
                  <a:lnTo>
                    <a:pt x="269" y="783"/>
                  </a:lnTo>
                  <a:lnTo>
                    <a:pt x="269" y="753"/>
                  </a:lnTo>
                  <a:lnTo>
                    <a:pt x="272" y="745"/>
                  </a:lnTo>
                  <a:lnTo>
                    <a:pt x="274" y="738"/>
                  </a:lnTo>
                  <a:lnTo>
                    <a:pt x="279" y="737"/>
                  </a:lnTo>
                  <a:lnTo>
                    <a:pt x="284" y="734"/>
                  </a:lnTo>
                  <a:lnTo>
                    <a:pt x="287" y="729"/>
                  </a:lnTo>
                  <a:lnTo>
                    <a:pt x="291" y="724"/>
                  </a:lnTo>
                  <a:lnTo>
                    <a:pt x="297" y="712"/>
                  </a:lnTo>
                  <a:lnTo>
                    <a:pt x="304" y="704"/>
                  </a:lnTo>
                  <a:lnTo>
                    <a:pt x="304" y="678"/>
                  </a:lnTo>
                  <a:lnTo>
                    <a:pt x="306" y="668"/>
                  </a:lnTo>
                  <a:lnTo>
                    <a:pt x="309" y="656"/>
                  </a:lnTo>
                  <a:lnTo>
                    <a:pt x="309" y="641"/>
                  </a:lnTo>
                  <a:lnTo>
                    <a:pt x="309" y="629"/>
                  </a:lnTo>
                  <a:lnTo>
                    <a:pt x="294" y="613"/>
                  </a:lnTo>
                  <a:lnTo>
                    <a:pt x="294" y="603"/>
                  </a:lnTo>
                  <a:lnTo>
                    <a:pt x="290" y="599"/>
                  </a:lnTo>
                  <a:lnTo>
                    <a:pt x="279" y="599"/>
                  </a:lnTo>
                  <a:lnTo>
                    <a:pt x="276" y="593"/>
                  </a:lnTo>
                  <a:lnTo>
                    <a:pt x="274" y="589"/>
                  </a:lnTo>
                  <a:lnTo>
                    <a:pt x="264" y="589"/>
                  </a:lnTo>
                  <a:lnTo>
                    <a:pt x="263" y="585"/>
                  </a:lnTo>
                  <a:lnTo>
                    <a:pt x="258" y="582"/>
                  </a:lnTo>
                  <a:lnTo>
                    <a:pt x="254" y="580"/>
                  </a:lnTo>
                  <a:lnTo>
                    <a:pt x="249" y="579"/>
                  </a:lnTo>
                  <a:lnTo>
                    <a:pt x="243" y="572"/>
                  </a:lnTo>
                  <a:lnTo>
                    <a:pt x="228" y="558"/>
                  </a:lnTo>
                  <a:lnTo>
                    <a:pt x="219" y="551"/>
                  </a:lnTo>
                  <a:lnTo>
                    <a:pt x="211" y="545"/>
                  </a:lnTo>
                  <a:lnTo>
                    <a:pt x="205" y="541"/>
                  </a:lnTo>
                  <a:lnTo>
                    <a:pt x="199" y="538"/>
                  </a:lnTo>
                  <a:lnTo>
                    <a:pt x="195" y="534"/>
                  </a:lnTo>
                  <a:lnTo>
                    <a:pt x="195" y="524"/>
                  </a:lnTo>
                  <a:lnTo>
                    <a:pt x="191" y="515"/>
                  </a:lnTo>
                  <a:lnTo>
                    <a:pt x="190" y="503"/>
                  </a:lnTo>
                  <a:lnTo>
                    <a:pt x="189" y="490"/>
                  </a:lnTo>
                  <a:lnTo>
                    <a:pt x="189" y="479"/>
                  </a:lnTo>
                  <a:lnTo>
                    <a:pt x="194" y="475"/>
                  </a:lnTo>
                  <a:lnTo>
                    <a:pt x="199" y="469"/>
                  </a:lnTo>
                  <a:lnTo>
                    <a:pt x="205" y="466"/>
                  </a:lnTo>
                  <a:lnTo>
                    <a:pt x="209" y="464"/>
                  </a:lnTo>
                  <a:lnTo>
                    <a:pt x="213" y="457"/>
                  </a:lnTo>
                  <a:lnTo>
                    <a:pt x="217" y="452"/>
                  </a:lnTo>
                  <a:lnTo>
                    <a:pt x="223" y="448"/>
                  </a:lnTo>
                  <a:lnTo>
                    <a:pt x="229" y="443"/>
                  </a:lnTo>
                  <a:lnTo>
                    <a:pt x="233" y="440"/>
                  </a:lnTo>
                  <a:lnTo>
                    <a:pt x="240" y="432"/>
                  </a:lnTo>
                  <a:lnTo>
                    <a:pt x="253" y="422"/>
                  </a:lnTo>
                  <a:lnTo>
                    <a:pt x="267" y="412"/>
                  </a:lnTo>
                  <a:lnTo>
                    <a:pt x="294" y="393"/>
                  </a:lnTo>
                  <a:lnTo>
                    <a:pt x="309" y="384"/>
                  </a:lnTo>
                  <a:lnTo>
                    <a:pt x="311" y="380"/>
                  </a:lnTo>
                  <a:lnTo>
                    <a:pt x="315" y="374"/>
                  </a:lnTo>
                  <a:lnTo>
                    <a:pt x="319" y="372"/>
                  </a:lnTo>
                  <a:lnTo>
                    <a:pt x="322" y="371"/>
                  </a:lnTo>
                  <a:lnTo>
                    <a:pt x="325" y="370"/>
                  </a:lnTo>
                  <a:lnTo>
                    <a:pt x="329" y="369"/>
                  </a:lnTo>
                  <a:lnTo>
                    <a:pt x="334" y="359"/>
                  </a:lnTo>
                  <a:lnTo>
                    <a:pt x="344" y="359"/>
                  </a:lnTo>
                  <a:lnTo>
                    <a:pt x="344" y="356"/>
                  </a:lnTo>
                  <a:lnTo>
                    <a:pt x="346" y="355"/>
                  </a:lnTo>
                  <a:lnTo>
                    <a:pt x="350" y="354"/>
                  </a:lnTo>
                  <a:lnTo>
                    <a:pt x="354" y="354"/>
                  </a:lnTo>
                  <a:lnTo>
                    <a:pt x="355" y="353"/>
                  </a:lnTo>
                  <a:lnTo>
                    <a:pt x="358" y="351"/>
                  </a:lnTo>
                  <a:lnTo>
                    <a:pt x="362" y="351"/>
                  </a:lnTo>
                  <a:lnTo>
                    <a:pt x="367" y="350"/>
                  </a:lnTo>
                  <a:lnTo>
                    <a:pt x="377" y="350"/>
                  </a:lnTo>
                  <a:lnTo>
                    <a:pt x="383" y="350"/>
                  </a:lnTo>
                  <a:lnTo>
                    <a:pt x="393" y="340"/>
                  </a:lnTo>
                  <a:lnTo>
                    <a:pt x="403" y="340"/>
                  </a:lnTo>
                  <a:lnTo>
                    <a:pt x="403" y="332"/>
                  </a:lnTo>
                  <a:lnTo>
                    <a:pt x="403" y="324"/>
                  </a:lnTo>
                  <a:lnTo>
                    <a:pt x="393" y="320"/>
                  </a:lnTo>
                  <a:lnTo>
                    <a:pt x="390" y="320"/>
                  </a:lnTo>
                  <a:lnTo>
                    <a:pt x="387" y="318"/>
                  </a:lnTo>
                  <a:lnTo>
                    <a:pt x="384" y="317"/>
                  </a:lnTo>
                  <a:lnTo>
                    <a:pt x="383" y="314"/>
                  </a:lnTo>
                  <a:lnTo>
                    <a:pt x="369" y="314"/>
                  </a:lnTo>
                  <a:lnTo>
                    <a:pt x="369" y="313"/>
                  </a:lnTo>
                  <a:lnTo>
                    <a:pt x="367" y="312"/>
                  </a:lnTo>
                  <a:lnTo>
                    <a:pt x="365" y="311"/>
                  </a:lnTo>
                  <a:lnTo>
                    <a:pt x="363" y="310"/>
                  </a:lnTo>
                  <a:lnTo>
                    <a:pt x="359" y="310"/>
                  </a:lnTo>
                  <a:lnTo>
                    <a:pt x="354" y="310"/>
                  </a:lnTo>
                  <a:lnTo>
                    <a:pt x="344" y="304"/>
                  </a:lnTo>
                  <a:lnTo>
                    <a:pt x="341" y="297"/>
                  </a:lnTo>
                  <a:lnTo>
                    <a:pt x="339" y="289"/>
                  </a:lnTo>
                  <a:lnTo>
                    <a:pt x="334" y="287"/>
                  </a:lnTo>
                  <a:lnTo>
                    <a:pt x="329" y="284"/>
                  </a:lnTo>
                  <a:lnTo>
                    <a:pt x="329" y="275"/>
                  </a:lnTo>
                  <a:lnTo>
                    <a:pt x="324" y="267"/>
                  </a:lnTo>
                  <a:lnTo>
                    <a:pt x="319" y="259"/>
                  </a:lnTo>
                  <a:lnTo>
                    <a:pt x="319" y="249"/>
                  </a:lnTo>
                  <a:lnTo>
                    <a:pt x="314" y="247"/>
                  </a:lnTo>
                  <a:lnTo>
                    <a:pt x="309" y="245"/>
                  </a:lnTo>
                  <a:lnTo>
                    <a:pt x="304" y="235"/>
                  </a:lnTo>
                  <a:lnTo>
                    <a:pt x="298" y="225"/>
                  </a:lnTo>
                  <a:lnTo>
                    <a:pt x="292" y="217"/>
                  </a:lnTo>
                  <a:lnTo>
                    <a:pt x="284" y="209"/>
                  </a:lnTo>
                  <a:lnTo>
                    <a:pt x="284" y="154"/>
                  </a:lnTo>
                  <a:lnTo>
                    <a:pt x="292" y="142"/>
                  </a:lnTo>
                  <a:lnTo>
                    <a:pt x="298" y="130"/>
                  </a:lnTo>
                  <a:lnTo>
                    <a:pt x="298" y="120"/>
                  </a:lnTo>
                  <a:lnTo>
                    <a:pt x="302" y="119"/>
                  </a:lnTo>
                  <a:lnTo>
                    <a:pt x="303" y="116"/>
                  </a:lnTo>
                  <a:lnTo>
                    <a:pt x="304" y="114"/>
                  </a:lnTo>
                  <a:lnTo>
                    <a:pt x="304" y="110"/>
                  </a:lnTo>
                  <a:lnTo>
                    <a:pt x="314" y="110"/>
                  </a:lnTo>
                  <a:lnTo>
                    <a:pt x="314" y="100"/>
                  </a:lnTo>
                  <a:lnTo>
                    <a:pt x="314" y="90"/>
                  </a:lnTo>
                  <a:lnTo>
                    <a:pt x="315" y="87"/>
                  </a:lnTo>
                  <a:lnTo>
                    <a:pt x="316" y="79"/>
                  </a:lnTo>
                  <a:lnTo>
                    <a:pt x="317" y="67"/>
                  </a:lnTo>
                  <a:lnTo>
                    <a:pt x="319" y="54"/>
                  </a:lnTo>
                  <a:lnTo>
                    <a:pt x="319" y="27"/>
                  </a:lnTo>
                  <a:lnTo>
                    <a:pt x="319" y="10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09" name="Freeform 62">
              <a:extLst>
                <a:ext uri="{FF2B5EF4-FFF2-40B4-BE49-F238E27FC236}">
                  <a16:creationId xmlns:a16="http://schemas.microsoft.com/office/drawing/2014/main" id="{B6A06139-6954-4525-AE95-895FAA8F6CCE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967788" y="5275263"/>
              <a:ext cx="67670" cy="50800"/>
            </a:xfrm>
            <a:custGeom>
              <a:avLst/>
              <a:gdLst/>
              <a:ahLst/>
              <a:cxnLst>
                <a:cxn ang="0">
                  <a:pos x="304" y="17"/>
                </a:cxn>
                <a:cxn ang="0">
                  <a:pos x="289" y="20"/>
                </a:cxn>
                <a:cxn ang="0">
                  <a:pos x="266" y="24"/>
                </a:cxn>
                <a:cxn ang="0">
                  <a:pos x="235" y="34"/>
                </a:cxn>
                <a:cxn ang="0">
                  <a:pos x="200" y="39"/>
                </a:cxn>
                <a:cxn ang="0">
                  <a:pos x="164" y="46"/>
                </a:cxn>
                <a:cxn ang="0">
                  <a:pos x="141" y="56"/>
                </a:cxn>
                <a:cxn ang="0">
                  <a:pos x="127" y="66"/>
                </a:cxn>
                <a:cxn ang="0">
                  <a:pos x="116" y="81"/>
                </a:cxn>
                <a:cxn ang="0">
                  <a:pos x="105" y="100"/>
                </a:cxn>
                <a:cxn ang="0">
                  <a:pos x="87" y="119"/>
                </a:cxn>
                <a:cxn ang="0">
                  <a:pos x="57" y="141"/>
                </a:cxn>
                <a:cxn ang="0">
                  <a:pos x="32" y="159"/>
                </a:cxn>
                <a:cxn ang="0">
                  <a:pos x="18" y="171"/>
                </a:cxn>
                <a:cxn ang="0">
                  <a:pos x="7" y="186"/>
                </a:cxn>
                <a:cxn ang="0">
                  <a:pos x="1" y="200"/>
                </a:cxn>
                <a:cxn ang="0">
                  <a:pos x="9" y="214"/>
                </a:cxn>
                <a:cxn ang="0">
                  <a:pos x="20" y="227"/>
                </a:cxn>
                <a:cxn ang="0">
                  <a:pos x="31" y="253"/>
                </a:cxn>
                <a:cxn ang="0">
                  <a:pos x="39" y="279"/>
                </a:cxn>
                <a:cxn ang="0">
                  <a:pos x="47" y="292"/>
                </a:cxn>
                <a:cxn ang="0">
                  <a:pos x="57" y="301"/>
                </a:cxn>
                <a:cxn ang="0">
                  <a:pos x="68" y="306"/>
                </a:cxn>
                <a:cxn ang="0">
                  <a:pos x="88" y="311"/>
                </a:cxn>
                <a:cxn ang="0">
                  <a:pos x="117" y="311"/>
                </a:cxn>
                <a:cxn ang="0">
                  <a:pos x="143" y="308"/>
                </a:cxn>
                <a:cxn ang="0">
                  <a:pos x="163" y="303"/>
                </a:cxn>
                <a:cxn ang="0">
                  <a:pos x="181" y="294"/>
                </a:cxn>
                <a:cxn ang="0">
                  <a:pos x="192" y="284"/>
                </a:cxn>
                <a:cxn ang="0">
                  <a:pos x="196" y="275"/>
                </a:cxn>
                <a:cxn ang="0">
                  <a:pos x="201" y="263"/>
                </a:cxn>
                <a:cxn ang="0">
                  <a:pos x="209" y="250"/>
                </a:cxn>
                <a:cxn ang="0">
                  <a:pos x="225" y="236"/>
                </a:cxn>
                <a:cxn ang="0">
                  <a:pos x="268" y="211"/>
                </a:cxn>
                <a:cxn ang="0">
                  <a:pos x="302" y="190"/>
                </a:cxn>
                <a:cxn ang="0">
                  <a:pos x="317" y="172"/>
                </a:cxn>
                <a:cxn ang="0">
                  <a:pos x="327" y="151"/>
                </a:cxn>
                <a:cxn ang="0">
                  <a:pos x="333" y="128"/>
                </a:cxn>
                <a:cxn ang="0">
                  <a:pos x="334" y="100"/>
                </a:cxn>
                <a:cxn ang="0">
                  <a:pos x="338" y="81"/>
                </a:cxn>
                <a:cxn ang="0">
                  <a:pos x="345" y="68"/>
                </a:cxn>
                <a:cxn ang="0">
                  <a:pos x="356" y="52"/>
                </a:cxn>
                <a:cxn ang="0">
                  <a:pos x="364" y="37"/>
                </a:cxn>
                <a:cxn ang="0">
                  <a:pos x="368" y="25"/>
                </a:cxn>
                <a:cxn ang="0">
                  <a:pos x="367" y="16"/>
                </a:cxn>
                <a:cxn ang="0">
                  <a:pos x="363" y="9"/>
                </a:cxn>
                <a:cxn ang="0">
                  <a:pos x="356" y="5"/>
                </a:cxn>
                <a:cxn ang="0">
                  <a:pos x="338" y="0"/>
                </a:cxn>
                <a:cxn ang="0">
                  <a:pos x="318" y="6"/>
                </a:cxn>
              </a:cxnLst>
              <a:rect l="0" t="0" r="r" b="b"/>
              <a:pathLst>
                <a:path w="368" h="311">
                  <a:moveTo>
                    <a:pt x="310" y="14"/>
                  </a:moveTo>
                  <a:lnTo>
                    <a:pt x="304" y="17"/>
                  </a:lnTo>
                  <a:lnTo>
                    <a:pt x="297" y="19"/>
                  </a:lnTo>
                  <a:lnTo>
                    <a:pt x="289" y="20"/>
                  </a:lnTo>
                  <a:lnTo>
                    <a:pt x="281" y="22"/>
                  </a:lnTo>
                  <a:lnTo>
                    <a:pt x="266" y="24"/>
                  </a:lnTo>
                  <a:lnTo>
                    <a:pt x="251" y="28"/>
                  </a:lnTo>
                  <a:lnTo>
                    <a:pt x="235" y="34"/>
                  </a:lnTo>
                  <a:lnTo>
                    <a:pt x="218" y="37"/>
                  </a:lnTo>
                  <a:lnTo>
                    <a:pt x="200" y="39"/>
                  </a:lnTo>
                  <a:lnTo>
                    <a:pt x="182" y="43"/>
                  </a:lnTo>
                  <a:lnTo>
                    <a:pt x="164" y="46"/>
                  </a:lnTo>
                  <a:lnTo>
                    <a:pt x="148" y="52"/>
                  </a:lnTo>
                  <a:lnTo>
                    <a:pt x="141" y="56"/>
                  </a:lnTo>
                  <a:lnTo>
                    <a:pt x="134" y="61"/>
                  </a:lnTo>
                  <a:lnTo>
                    <a:pt x="127" y="66"/>
                  </a:lnTo>
                  <a:lnTo>
                    <a:pt x="122" y="72"/>
                  </a:lnTo>
                  <a:lnTo>
                    <a:pt x="116" y="81"/>
                  </a:lnTo>
                  <a:lnTo>
                    <a:pt x="110" y="91"/>
                  </a:lnTo>
                  <a:lnTo>
                    <a:pt x="105" y="100"/>
                  </a:lnTo>
                  <a:lnTo>
                    <a:pt x="99" y="107"/>
                  </a:lnTo>
                  <a:lnTo>
                    <a:pt x="87" y="119"/>
                  </a:lnTo>
                  <a:lnTo>
                    <a:pt x="72" y="130"/>
                  </a:lnTo>
                  <a:lnTo>
                    <a:pt x="57" y="141"/>
                  </a:lnTo>
                  <a:lnTo>
                    <a:pt x="40" y="152"/>
                  </a:lnTo>
                  <a:lnTo>
                    <a:pt x="32" y="159"/>
                  </a:lnTo>
                  <a:lnTo>
                    <a:pt x="24" y="164"/>
                  </a:lnTo>
                  <a:lnTo>
                    <a:pt x="18" y="171"/>
                  </a:lnTo>
                  <a:lnTo>
                    <a:pt x="12" y="178"/>
                  </a:lnTo>
                  <a:lnTo>
                    <a:pt x="7" y="186"/>
                  </a:lnTo>
                  <a:lnTo>
                    <a:pt x="3" y="192"/>
                  </a:lnTo>
                  <a:lnTo>
                    <a:pt x="1" y="200"/>
                  </a:lnTo>
                  <a:lnTo>
                    <a:pt x="0" y="208"/>
                  </a:lnTo>
                  <a:lnTo>
                    <a:pt x="9" y="214"/>
                  </a:lnTo>
                  <a:lnTo>
                    <a:pt x="16" y="219"/>
                  </a:lnTo>
                  <a:lnTo>
                    <a:pt x="20" y="227"/>
                  </a:lnTo>
                  <a:lnTo>
                    <a:pt x="24" y="235"/>
                  </a:lnTo>
                  <a:lnTo>
                    <a:pt x="31" y="253"/>
                  </a:lnTo>
                  <a:lnTo>
                    <a:pt x="37" y="272"/>
                  </a:lnTo>
                  <a:lnTo>
                    <a:pt x="39" y="279"/>
                  </a:lnTo>
                  <a:lnTo>
                    <a:pt x="42" y="286"/>
                  </a:lnTo>
                  <a:lnTo>
                    <a:pt x="47" y="292"/>
                  </a:lnTo>
                  <a:lnTo>
                    <a:pt x="51" y="297"/>
                  </a:lnTo>
                  <a:lnTo>
                    <a:pt x="57" y="301"/>
                  </a:lnTo>
                  <a:lnTo>
                    <a:pt x="62" y="304"/>
                  </a:lnTo>
                  <a:lnTo>
                    <a:pt x="68" y="306"/>
                  </a:lnTo>
                  <a:lnTo>
                    <a:pt x="75" y="308"/>
                  </a:lnTo>
                  <a:lnTo>
                    <a:pt x="88" y="311"/>
                  </a:lnTo>
                  <a:lnTo>
                    <a:pt x="103" y="311"/>
                  </a:lnTo>
                  <a:lnTo>
                    <a:pt x="117" y="311"/>
                  </a:lnTo>
                  <a:lnTo>
                    <a:pt x="132" y="310"/>
                  </a:lnTo>
                  <a:lnTo>
                    <a:pt x="143" y="308"/>
                  </a:lnTo>
                  <a:lnTo>
                    <a:pt x="153" y="306"/>
                  </a:lnTo>
                  <a:lnTo>
                    <a:pt x="163" y="303"/>
                  </a:lnTo>
                  <a:lnTo>
                    <a:pt x="173" y="299"/>
                  </a:lnTo>
                  <a:lnTo>
                    <a:pt x="181" y="294"/>
                  </a:lnTo>
                  <a:lnTo>
                    <a:pt x="189" y="287"/>
                  </a:lnTo>
                  <a:lnTo>
                    <a:pt x="192" y="284"/>
                  </a:lnTo>
                  <a:lnTo>
                    <a:pt x="194" y="279"/>
                  </a:lnTo>
                  <a:lnTo>
                    <a:pt x="196" y="275"/>
                  </a:lnTo>
                  <a:lnTo>
                    <a:pt x="199" y="269"/>
                  </a:lnTo>
                  <a:lnTo>
                    <a:pt x="201" y="263"/>
                  </a:lnTo>
                  <a:lnTo>
                    <a:pt x="204" y="256"/>
                  </a:lnTo>
                  <a:lnTo>
                    <a:pt x="209" y="250"/>
                  </a:lnTo>
                  <a:lnTo>
                    <a:pt x="213" y="245"/>
                  </a:lnTo>
                  <a:lnTo>
                    <a:pt x="225" y="236"/>
                  </a:lnTo>
                  <a:lnTo>
                    <a:pt x="239" y="227"/>
                  </a:lnTo>
                  <a:lnTo>
                    <a:pt x="268" y="211"/>
                  </a:lnTo>
                  <a:lnTo>
                    <a:pt x="294" y="197"/>
                  </a:lnTo>
                  <a:lnTo>
                    <a:pt x="302" y="190"/>
                  </a:lnTo>
                  <a:lnTo>
                    <a:pt x="309" y="182"/>
                  </a:lnTo>
                  <a:lnTo>
                    <a:pt x="317" y="172"/>
                  </a:lnTo>
                  <a:lnTo>
                    <a:pt x="323" y="162"/>
                  </a:lnTo>
                  <a:lnTo>
                    <a:pt x="327" y="151"/>
                  </a:lnTo>
                  <a:lnTo>
                    <a:pt x="330" y="139"/>
                  </a:lnTo>
                  <a:lnTo>
                    <a:pt x="333" y="128"/>
                  </a:lnTo>
                  <a:lnTo>
                    <a:pt x="334" y="116"/>
                  </a:lnTo>
                  <a:lnTo>
                    <a:pt x="334" y="100"/>
                  </a:lnTo>
                  <a:lnTo>
                    <a:pt x="336" y="87"/>
                  </a:lnTo>
                  <a:lnTo>
                    <a:pt x="338" y="81"/>
                  </a:lnTo>
                  <a:lnTo>
                    <a:pt x="340" y="75"/>
                  </a:lnTo>
                  <a:lnTo>
                    <a:pt x="345" y="68"/>
                  </a:lnTo>
                  <a:lnTo>
                    <a:pt x="349" y="61"/>
                  </a:lnTo>
                  <a:lnTo>
                    <a:pt x="356" y="52"/>
                  </a:lnTo>
                  <a:lnTo>
                    <a:pt x="360" y="44"/>
                  </a:lnTo>
                  <a:lnTo>
                    <a:pt x="364" y="37"/>
                  </a:lnTo>
                  <a:lnTo>
                    <a:pt x="367" y="30"/>
                  </a:lnTo>
                  <a:lnTo>
                    <a:pt x="368" y="25"/>
                  </a:lnTo>
                  <a:lnTo>
                    <a:pt x="368" y="20"/>
                  </a:lnTo>
                  <a:lnTo>
                    <a:pt x="367" y="16"/>
                  </a:lnTo>
                  <a:lnTo>
                    <a:pt x="366" y="13"/>
                  </a:lnTo>
                  <a:lnTo>
                    <a:pt x="363" y="9"/>
                  </a:lnTo>
                  <a:lnTo>
                    <a:pt x="359" y="6"/>
                  </a:lnTo>
                  <a:lnTo>
                    <a:pt x="356" y="5"/>
                  </a:lnTo>
                  <a:lnTo>
                    <a:pt x="350" y="3"/>
                  </a:lnTo>
                  <a:lnTo>
                    <a:pt x="338" y="0"/>
                  </a:lnTo>
                  <a:lnTo>
                    <a:pt x="324" y="0"/>
                  </a:lnTo>
                  <a:lnTo>
                    <a:pt x="318" y="6"/>
                  </a:lnTo>
                  <a:lnTo>
                    <a:pt x="310" y="14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0" name="Freeform 63">
              <a:extLst>
                <a:ext uri="{FF2B5EF4-FFF2-40B4-BE49-F238E27FC236}">
                  <a16:creationId xmlns:a16="http://schemas.microsoft.com/office/drawing/2014/main" id="{CAC9B135-BD01-499A-8624-B79E57760132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9291638" y="4913313"/>
              <a:ext cx="192091" cy="234950"/>
            </a:xfrm>
            <a:custGeom>
              <a:avLst/>
              <a:gdLst/>
              <a:ahLst/>
              <a:cxnLst>
                <a:cxn ang="0">
                  <a:pos x="121" y="679"/>
                </a:cxn>
                <a:cxn ang="0">
                  <a:pos x="50" y="765"/>
                </a:cxn>
                <a:cxn ang="0">
                  <a:pos x="5" y="807"/>
                </a:cxn>
                <a:cxn ang="0">
                  <a:pos x="43" y="817"/>
                </a:cxn>
                <a:cxn ang="0">
                  <a:pos x="84" y="841"/>
                </a:cxn>
                <a:cxn ang="0">
                  <a:pos x="115" y="893"/>
                </a:cxn>
                <a:cxn ang="0">
                  <a:pos x="137" y="969"/>
                </a:cxn>
                <a:cxn ang="0">
                  <a:pos x="115" y="1035"/>
                </a:cxn>
                <a:cxn ang="0">
                  <a:pos x="95" y="1093"/>
                </a:cxn>
                <a:cxn ang="0">
                  <a:pos x="65" y="1106"/>
                </a:cxn>
                <a:cxn ang="0">
                  <a:pos x="0" y="1132"/>
                </a:cxn>
                <a:cxn ang="0">
                  <a:pos x="29" y="1152"/>
                </a:cxn>
                <a:cxn ang="0">
                  <a:pos x="52" y="1181"/>
                </a:cxn>
                <a:cxn ang="0">
                  <a:pos x="85" y="1284"/>
                </a:cxn>
                <a:cxn ang="0">
                  <a:pos x="148" y="1385"/>
                </a:cxn>
                <a:cxn ang="0">
                  <a:pos x="206" y="1437"/>
                </a:cxn>
                <a:cxn ang="0">
                  <a:pos x="249" y="1447"/>
                </a:cxn>
                <a:cxn ang="0">
                  <a:pos x="290" y="1430"/>
                </a:cxn>
                <a:cxn ang="0">
                  <a:pos x="331" y="1382"/>
                </a:cxn>
                <a:cxn ang="0">
                  <a:pos x="379" y="1277"/>
                </a:cxn>
                <a:cxn ang="0">
                  <a:pos x="430" y="1177"/>
                </a:cxn>
                <a:cxn ang="0">
                  <a:pos x="504" y="1103"/>
                </a:cxn>
                <a:cxn ang="0">
                  <a:pos x="589" y="1043"/>
                </a:cxn>
                <a:cxn ang="0">
                  <a:pos x="629" y="1030"/>
                </a:cxn>
                <a:cxn ang="0">
                  <a:pos x="776" y="1021"/>
                </a:cxn>
                <a:cxn ang="0">
                  <a:pos x="807" y="1005"/>
                </a:cxn>
                <a:cxn ang="0">
                  <a:pos x="826" y="973"/>
                </a:cxn>
                <a:cxn ang="0">
                  <a:pos x="838" y="869"/>
                </a:cxn>
                <a:cxn ang="0">
                  <a:pos x="839" y="748"/>
                </a:cxn>
                <a:cxn ang="0">
                  <a:pos x="854" y="683"/>
                </a:cxn>
                <a:cxn ang="0">
                  <a:pos x="900" y="631"/>
                </a:cxn>
                <a:cxn ang="0">
                  <a:pos x="968" y="556"/>
                </a:cxn>
                <a:cxn ang="0">
                  <a:pos x="985" y="536"/>
                </a:cxn>
                <a:cxn ang="0">
                  <a:pos x="1004" y="507"/>
                </a:cxn>
                <a:cxn ang="0">
                  <a:pos x="1029" y="405"/>
                </a:cxn>
                <a:cxn ang="0">
                  <a:pos x="1035" y="303"/>
                </a:cxn>
                <a:cxn ang="0">
                  <a:pos x="1017" y="202"/>
                </a:cxn>
                <a:cxn ang="0">
                  <a:pos x="1009" y="64"/>
                </a:cxn>
                <a:cxn ang="0">
                  <a:pos x="999" y="36"/>
                </a:cxn>
                <a:cxn ang="0">
                  <a:pos x="983" y="5"/>
                </a:cxn>
                <a:cxn ang="0">
                  <a:pos x="951" y="0"/>
                </a:cxn>
                <a:cxn ang="0">
                  <a:pos x="873" y="33"/>
                </a:cxn>
                <a:cxn ang="0">
                  <a:pos x="783" y="100"/>
                </a:cxn>
                <a:cxn ang="0">
                  <a:pos x="615" y="238"/>
                </a:cxn>
                <a:cxn ang="0">
                  <a:pos x="574" y="264"/>
                </a:cxn>
                <a:cxn ang="0">
                  <a:pos x="532" y="271"/>
                </a:cxn>
                <a:cxn ang="0">
                  <a:pos x="433" y="296"/>
                </a:cxn>
                <a:cxn ang="0">
                  <a:pos x="373" y="347"/>
                </a:cxn>
                <a:cxn ang="0">
                  <a:pos x="295" y="458"/>
                </a:cxn>
                <a:cxn ang="0">
                  <a:pos x="252" y="498"/>
                </a:cxn>
                <a:cxn ang="0">
                  <a:pos x="193" y="554"/>
                </a:cxn>
                <a:cxn ang="0">
                  <a:pos x="177" y="568"/>
                </a:cxn>
                <a:cxn ang="0">
                  <a:pos x="167" y="581"/>
                </a:cxn>
              </a:cxnLst>
              <a:rect l="0" t="0" r="r" b="b"/>
              <a:pathLst>
                <a:path w="1035" h="1447">
                  <a:moveTo>
                    <a:pt x="157" y="593"/>
                  </a:moveTo>
                  <a:lnTo>
                    <a:pt x="150" y="615"/>
                  </a:lnTo>
                  <a:lnTo>
                    <a:pt x="142" y="636"/>
                  </a:lnTo>
                  <a:lnTo>
                    <a:pt x="133" y="659"/>
                  </a:lnTo>
                  <a:lnTo>
                    <a:pt x="121" y="679"/>
                  </a:lnTo>
                  <a:lnTo>
                    <a:pt x="108" y="699"/>
                  </a:lnTo>
                  <a:lnTo>
                    <a:pt x="96" y="718"/>
                  </a:lnTo>
                  <a:lnTo>
                    <a:pt x="81" y="735"/>
                  </a:lnTo>
                  <a:lnTo>
                    <a:pt x="67" y="750"/>
                  </a:lnTo>
                  <a:lnTo>
                    <a:pt x="50" y="765"/>
                  </a:lnTo>
                  <a:lnTo>
                    <a:pt x="30" y="781"/>
                  </a:lnTo>
                  <a:lnTo>
                    <a:pt x="20" y="790"/>
                  </a:lnTo>
                  <a:lnTo>
                    <a:pt x="11" y="799"/>
                  </a:lnTo>
                  <a:lnTo>
                    <a:pt x="9" y="803"/>
                  </a:lnTo>
                  <a:lnTo>
                    <a:pt x="5" y="807"/>
                  </a:lnTo>
                  <a:lnTo>
                    <a:pt x="4" y="810"/>
                  </a:lnTo>
                  <a:lnTo>
                    <a:pt x="4" y="814"/>
                  </a:lnTo>
                  <a:lnTo>
                    <a:pt x="19" y="814"/>
                  </a:lnTo>
                  <a:lnTo>
                    <a:pt x="31" y="815"/>
                  </a:lnTo>
                  <a:lnTo>
                    <a:pt x="43" y="817"/>
                  </a:lnTo>
                  <a:lnTo>
                    <a:pt x="53" y="821"/>
                  </a:lnTo>
                  <a:lnTo>
                    <a:pt x="62" y="824"/>
                  </a:lnTo>
                  <a:lnTo>
                    <a:pt x="70" y="829"/>
                  </a:lnTo>
                  <a:lnTo>
                    <a:pt x="78" y="835"/>
                  </a:lnTo>
                  <a:lnTo>
                    <a:pt x="84" y="841"/>
                  </a:lnTo>
                  <a:lnTo>
                    <a:pt x="90" y="848"/>
                  </a:lnTo>
                  <a:lnTo>
                    <a:pt x="95" y="855"/>
                  </a:lnTo>
                  <a:lnTo>
                    <a:pt x="100" y="864"/>
                  </a:lnTo>
                  <a:lnTo>
                    <a:pt x="105" y="873"/>
                  </a:lnTo>
                  <a:lnTo>
                    <a:pt x="115" y="893"/>
                  </a:lnTo>
                  <a:lnTo>
                    <a:pt x="126" y="915"/>
                  </a:lnTo>
                  <a:lnTo>
                    <a:pt x="132" y="930"/>
                  </a:lnTo>
                  <a:lnTo>
                    <a:pt x="136" y="943"/>
                  </a:lnTo>
                  <a:lnTo>
                    <a:pt x="137" y="957"/>
                  </a:lnTo>
                  <a:lnTo>
                    <a:pt x="137" y="969"/>
                  </a:lnTo>
                  <a:lnTo>
                    <a:pt x="136" y="981"/>
                  </a:lnTo>
                  <a:lnTo>
                    <a:pt x="133" y="992"/>
                  </a:lnTo>
                  <a:lnTo>
                    <a:pt x="129" y="1004"/>
                  </a:lnTo>
                  <a:lnTo>
                    <a:pt x="125" y="1015"/>
                  </a:lnTo>
                  <a:lnTo>
                    <a:pt x="115" y="1035"/>
                  </a:lnTo>
                  <a:lnTo>
                    <a:pt x="105" y="1055"/>
                  </a:lnTo>
                  <a:lnTo>
                    <a:pt x="100" y="1064"/>
                  </a:lnTo>
                  <a:lnTo>
                    <a:pt x="97" y="1074"/>
                  </a:lnTo>
                  <a:lnTo>
                    <a:pt x="95" y="1083"/>
                  </a:lnTo>
                  <a:lnTo>
                    <a:pt x="95" y="1093"/>
                  </a:lnTo>
                  <a:lnTo>
                    <a:pt x="89" y="1094"/>
                  </a:lnTo>
                  <a:lnTo>
                    <a:pt x="84" y="1097"/>
                  </a:lnTo>
                  <a:lnTo>
                    <a:pt x="77" y="1101"/>
                  </a:lnTo>
                  <a:lnTo>
                    <a:pt x="75" y="1105"/>
                  </a:lnTo>
                  <a:lnTo>
                    <a:pt x="65" y="1106"/>
                  </a:lnTo>
                  <a:lnTo>
                    <a:pt x="54" y="1108"/>
                  </a:lnTo>
                  <a:lnTo>
                    <a:pt x="42" y="1113"/>
                  </a:lnTo>
                  <a:lnTo>
                    <a:pt x="31" y="1119"/>
                  </a:lnTo>
                  <a:lnTo>
                    <a:pt x="12" y="1127"/>
                  </a:lnTo>
                  <a:lnTo>
                    <a:pt x="0" y="1132"/>
                  </a:lnTo>
                  <a:lnTo>
                    <a:pt x="0" y="1140"/>
                  </a:lnTo>
                  <a:lnTo>
                    <a:pt x="8" y="1141"/>
                  </a:lnTo>
                  <a:lnTo>
                    <a:pt x="14" y="1144"/>
                  </a:lnTo>
                  <a:lnTo>
                    <a:pt x="22" y="1148"/>
                  </a:lnTo>
                  <a:lnTo>
                    <a:pt x="29" y="1152"/>
                  </a:lnTo>
                  <a:lnTo>
                    <a:pt x="34" y="1156"/>
                  </a:lnTo>
                  <a:lnTo>
                    <a:pt x="41" y="1160"/>
                  </a:lnTo>
                  <a:lnTo>
                    <a:pt x="47" y="1163"/>
                  </a:lnTo>
                  <a:lnTo>
                    <a:pt x="51" y="1163"/>
                  </a:lnTo>
                  <a:lnTo>
                    <a:pt x="52" y="1181"/>
                  </a:lnTo>
                  <a:lnTo>
                    <a:pt x="56" y="1200"/>
                  </a:lnTo>
                  <a:lnTo>
                    <a:pt x="60" y="1220"/>
                  </a:lnTo>
                  <a:lnTo>
                    <a:pt x="67" y="1240"/>
                  </a:lnTo>
                  <a:lnTo>
                    <a:pt x="76" y="1262"/>
                  </a:lnTo>
                  <a:lnTo>
                    <a:pt x="85" y="1284"/>
                  </a:lnTo>
                  <a:lnTo>
                    <a:pt x="96" y="1306"/>
                  </a:lnTo>
                  <a:lnTo>
                    <a:pt x="108" y="1327"/>
                  </a:lnTo>
                  <a:lnTo>
                    <a:pt x="120" y="1347"/>
                  </a:lnTo>
                  <a:lnTo>
                    <a:pt x="134" y="1367"/>
                  </a:lnTo>
                  <a:lnTo>
                    <a:pt x="148" y="1385"/>
                  </a:lnTo>
                  <a:lnTo>
                    <a:pt x="163" y="1402"/>
                  </a:lnTo>
                  <a:lnTo>
                    <a:pt x="177" y="1415"/>
                  </a:lnTo>
                  <a:lnTo>
                    <a:pt x="192" y="1428"/>
                  </a:lnTo>
                  <a:lnTo>
                    <a:pt x="198" y="1433"/>
                  </a:lnTo>
                  <a:lnTo>
                    <a:pt x="206" y="1437"/>
                  </a:lnTo>
                  <a:lnTo>
                    <a:pt x="213" y="1440"/>
                  </a:lnTo>
                  <a:lnTo>
                    <a:pt x="221" y="1443"/>
                  </a:lnTo>
                  <a:lnTo>
                    <a:pt x="230" y="1446"/>
                  </a:lnTo>
                  <a:lnTo>
                    <a:pt x="240" y="1447"/>
                  </a:lnTo>
                  <a:lnTo>
                    <a:pt x="249" y="1447"/>
                  </a:lnTo>
                  <a:lnTo>
                    <a:pt x="258" y="1446"/>
                  </a:lnTo>
                  <a:lnTo>
                    <a:pt x="267" y="1443"/>
                  </a:lnTo>
                  <a:lnTo>
                    <a:pt x="274" y="1440"/>
                  </a:lnTo>
                  <a:lnTo>
                    <a:pt x="282" y="1435"/>
                  </a:lnTo>
                  <a:lnTo>
                    <a:pt x="290" y="1430"/>
                  </a:lnTo>
                  <a:lnTo>
                    <a:pt x="298" y="1424"/>
                  </a:lnTo>
                  <a:lnTo>
                    <a:pt x="305" y="1416"/>
                  </a:lnTo>
                  <a:lnTo>
                    <a:pt x="311" y="1409"/>
                  </a:lnTo>
                  <a:lnTo>
                    <a:pt x="318" y="1401"/>
                  </a:lnTo>
                  <a:lnTo>
                    <a:pt x="331" y="1382"/>
                  </a:lnTo>
                  <a:lnTo>
                    <a:pt x="343" y="1362"/>
                  </a:lnTo>
                  <a:lnTo>
                    <a:pt x="353" y="1342"/>
                  </a:lnTo>
                  <a:lnTo>
                    <a:pt x="363" y="1319"/>
                  </a:lnTo>
                  <a:lnTo>
                    <a:pt x="372" y="1298"/>
                  </a:lnTo>
                  <a:lnTo>
                    <a:pt x="379" y="1277"/>
                  </a:lnTo>
                  <a:lnTo>
                    <a:pt x="394" y="1239"/>
                  </a:lnTo>
                  <a:lnTo>
                    <a:pt x="405" y="1211"/>
                  </a:lnTo>
                  <a:lnTo>
                    <a:pt x="411" y="1201"/>
                  </a:lnTo>
                  <a:lnTo>
                    <a:pt x="420" y="1190"/>
                  </a:lnTo>
                  <a:lnTo>
                    <a:pt x="430" y="1177"/>
                  </a:lnTo>
                  <a:lnTo>
                    <a:pt x="442" y="1163"/>
                  </a:lnTo>
                  <a:lnTo>
                    <a:pt x="456" y="1148"/>
                  </a:lnTo>
                  <a:lnTo>
                    <a:pt x="471" y="1133"/>
                  </a:lnTo>
                  <a:lnTo>
                    <a:pt x="488" y="1117"/>
                  </a:lnTo>
                  <a:lnTo>
                    <a:pt x="504" y="1103"/>
                  </a:lnTo>
                  <a:lnTo>
                    <a:pt x="521" y="1088"/>
                  </a:lnTo>
                  <a:lnTo>
                    <a:pt x="539" y="1075"/>
                  </a:lnTo>
                  <a:lnTo>
                    <a:pt x="556" y="1063"/>
                  </a:lnTo>
                  <a:lnTo>
                    <a:pt x="574" y="1052"/>
                  </a:lnTo>
                  <a:lnTo>
                    <a:pt x="589" y="1043"/>
                  </a:lnTo>
                  <a:lnTo>
                    <a:pt x="604" y="1036"/>
                  </a:lnTo>
                  <a:lnTo>
                    <a:pt x="612" y="1034"/>
                  </a:lnTo>
                  <a:lnTo>
                    <a:pt x="618" y="1031"/>
                  </a:lnTo>
                  <a:lnTo>
                    <a:pt x="624" y="1030"/>
                  </a:lnTo>
                  <a:lnTo>
                    <a:pt x="629" y="1030"/>
                  </a:lnTo>
                  <a:lnTo>
                    <a:pt x="686" y="1030"/>
                  </a:lnTo>
                  <a:lnTo>
                    <a:pt x="732" y="1028"/>
                  </a:lnTo>
                  <a:lnTo>
                    <a:pt x="751" y="1027"/>
                  </a:lnTo>
                  <a:lnTo>
                    <a:pt x="768" y="1024"/>
                  </a:lnTo>
                  <a:lnTo>
                    <a:pt x="776" y="1021"/>
                  </a:lnTo>
                  <a:lnTo>
                    <a:pt x="783" y="1019"/>
                  </a:lnTo>
                  <a:lnTo>
                    <a:pt x="790" y="1016"/>
                  </a:lnTo>
                  <a:lnTo>
                    <a:pt x="796" y="1012"/>
                  </a:lnTo>
                  <a:lnTo>
                    <a:pt x="801" y="1009"/>
                  </a:lnTo>
                  <a:lnTo>
                    <a:pt x="807" y="1005"/>
                  </a:lnTo>
                  <a:lnTo>
                    <a:pt x="811" y="999"/>
                  </a:lnTo>
                  <a:lnTo>
                    <a:pt x="816" y="994"/>
                  </a:lnTo>
                  <a:lnTo>
                    <a:pt x="820" y="988"/>
                  </a:lnTo>
                  <a:lnTo>
                    <a:pt x="824" y="981"/>
                  </a:lnTo>
                  <a:lnTo>
                    <a:pt x="826" y="973"/>
                  </a:lnTo>
                  <a:lnTo>
                    <a:pt x="829" y="964"/>
                  </a:lnTo>
                  <a:lnTo>
                    <a:pt x="834" y="947"/>
                  </a:lnTo>
                  <a:lnTo>
                    <a:pt x="836" y="924"/>
                  </a:lnTo>
                  <a:lnTo>
                    <a:pt x="838" y="899"/>
                  </a:lnTo>
                  <a:lnTo>
                    <a:pt x="838" y="869"/>
                  </a:lnTo>
                  <a:lnTo>
                    <a:pt x="838" y="846"/>
                  </a:lnTo>
                  <a:lnTo>
                    <a:pt x="837" y="823"/>
                  </a:lnTo>
                  <a:lnTo>
                    <a:pt x="837" y="798"/>
                  </a:lnTo>
                  <a:lnTo>
                    <a:pt x="837" y="773"/>
                  </a:lnTo>
                  <a:lnTo>
                    <a:pt x="839" y="748"/>
                  </a:lnTo>
                  <a:lnTo>
                    <a:pt x="841" y="725"/>
                  </a:lnTo>
                  <a:lnTo>
                    <a:pt x="844" y="713"/>
                  </a:lnTo>
                  <a:lnTo>
                    <a:pt x="847" y="702"/>
                  </a:lnTo>
                  <a:lnTo>
                    <a:pt x="850" y="692"/>
                  </a:lnTo>
                  <a:lnTo>
                    <a:pt x="854" y="683"/>
                  </a:lnTo>
                  <a:lnTo>
                    <a:pt x="858" y="675"/>
                  </a:lnTo>
                  <a:lnTo>
                    <a:pt x="865" y="668"/>
                  </a:lnTo>
                  <a:lnTo>
                    <a:pt x="873" y="659"/>
                  </a:lnTo>
                  <a:lnTo>
                    <a:pt x="881" y="650"/>
                  </a:lnTo>
                  <a:lnTo>
                    <a:pt x="900" y="631"/>
                  </a:lnTo>
                  <a:lnTo>
                    <a:pt x="921" y="611"/>
                  </a:lnTo>
                  <a:lnTo>
                    <a:pt x="940" y="592"/>
                  </a:lnTo>
                  <a:lnTo>
                    <a:pt x="956" y="574"/>
                  </a:lnTo>
                  <a:lnTo>
                    <a:pt x="963" y="565"/>
                  </a:lnTo>
                  <a:lnTo>
                    <a:pt x="968" y="556"/>
                  </a:lnTo>
                  <a:lnTo>
                    <a:pt x="971" y="549"/>
                  </a:lnTo>
                  <a:lnTo>
                    <a:pt x="972" y="542"/>
                  </a:lnTo>
                  <a:lnTo>
                    <a:pt x="977" y="542"/>
                  </a:lnTo>
                  <a:lnTo>
                    <a:pt x="981" y="539"/>
                  </a:lnTo>
                  <a:lnTo>
                    <a:pt x="985" y="536"/>
                  </a:lnTo>
                  <a:lnTo>
                    <a:pt x="990" y="533"/>
                  </a:lnTo>
                  <a:lnTo>
                    <a:pt x="993" y="527"/>
                  </a:lnTo>
                  <a:lnTo>
                    <a:pt x="998" y="521"/>
                  </a:lnTo>
                  <a:lnTo>
                    <a:pt x="1001" y="515"/>
                  </a:lnTo>
                  <a:lnTo>
                    <a:pt x="1004" y="507"/>
                  </a:lnTo>
                  <a:lnTo>
                    <a:pt x="1011" y="490"/>
                  </a:lnTo>
                  <a:lnTo>
                    <a:pt x="1017" y="471"/>
                  </a:lnTo>
                  <a:lnTo>
                    <a:pt x="1021" y="450"/>
                  </a:lnTo>
                  <a:lnTo>
                    <a:pt x="1026" y="428"/>
                  </a:lnTo>
                  <a:lnTo>
                    <a:pt x="1029" y="405"/>
                  </a:lnTo>
                  <a:lnTo>
                    <a:pt x="1031" y="382"/>
                  </a:lnTo>
                  <a:lnTo>
                    <a:pt x="1033" y="361"/>
                  </a:lnTo>
                  <a:lnTo>
                    <a:pt x="1035" y="339"/>
                  </a:lnTo>
                  <a:lnTo>
                    <a:pt x="1035" y="321"/>
                  </a:lnTo>
                  <a:lnTo>
                    <a:pt x="1035" y="303"/>
                  </a:lnTo>
                  <a:lnTo>
                    <a:pt x="1033" y="289"/>
                  </a:lnTo>
                  <a:lnTo>
                    <a:pt x="1031" y="278"/>
                  </a:lnTo>
                  <a:lnTo>
                    <a:pt x="1026" y="252"/>
                  </a:lnTo>
                  <a:lnTo>
                    <a:pt x="1021" y="227"/>
                  </a:lnTo>
                  <a:lnTo>
                    <a:pt x="1017" y="202"/>
                  </a:lnTo>
                  <a:lnTo>
                    <a:pt x="1011" y="175"/>
                  </a:lnTo>
                  <a:lnTo>
                    <a:pt x="1011" y="148"/>
                  </a:lnTo>
                  <a:lnTo>
                    <a:pt x="1011" y="103"/>
                  </a:lnTo>
                  <a:lnTo>
                    <a:pt x="1011" y="82"/>
                  </a:lnTo>
                  <a:lnTo>
                    <a:pt x="1009" y="64"/>
                  </a:lnTo>
                  <a:lnTo>
                    <a:pt x="1008" y="56"/>
                  </a:lnTo>
                  <a:lnTo>
                    <a:pt x="1006" y="50"/>
                  </a:lnTo>
                  <a:lnTo>
                    <a:pt x="1003" y="47"/>
                  </a:lnTo>
                  <a:lnTo>
                    <a:pt x="1000" y="46"/>
                  </a:lnTo>
                  <a:lnTo>
                    <a:pt x="999" y="36"/>
                  </a:lnTo>
                  <a:lnTo>
                    <a:pt x="998" y="27"/>
                  </a:lnTo>
                  <a:lnTo>
                    <a:pt x="996" y="20"/>
                  </a:lnTo>
                  <a:lnTo>
                    <a:pt x="992" y="14"/>
                  </a:lnTo>
                  <a:lnTo>
                    <a:pt x="988" y="9"/>
                  </a:lnTo>
                  <a:lnTo>
                    <a:pt x="983" y="5"/>
                  </a:lnTo>
                  <a:lnTo>
                    <a:pt x="978" y="2"/>
                  </a:lnTo>
                  <a:lnTo>
                    <a:pt x="972" y="0"/>
                  </a:lnTo>
                  <a:lnTo>
                    <a:pt x="965" y="0"/>
                  </a:lnTo>
                  <a:lnTo>
                    <a:pt x="958" y="0"/>
                  </a:lnTo>
                  <a:lnTo>
                    <a:pt x="951" y="0"/>
                  </a:lnTo>
                  <a:lnTo>
                    <a:pt x="942" y="2"/>
                  </a:lnTo>
                  <a:lnTo>
                    <a:pt x="925" y="7"/>
                  </a:lnTo>
                  <a:lnTo>
                    <a:pt x="908" y="14"/>
                  </a:lnTo>
                  <a:lnTo>
                    <a:pt x="891" y="23"/>
                  </a:lnTo>
                  <a:lnTo>
                    <a:pt x="873" y="33"/>
                  </a:lnTo>
                  <a:lnTo>
                    <a:pt x="856" y="43"/>
                  </a:lnTo>
                  <a:lnTo>
                    <a:pt x="840" y="53"/>
                  </a:lnTo>
                  <a:lnTo>
                    <a:pt x="815" y="72"/>
                  </a:lnTo>
                  <a:lnTo>
                    <a:pt x="799" y="85"/>
                  </a:lnTo>
                  <a:lnTo>
                    <a:pt x="783" y="100"/>
                  </a:lnTo>
                  <a:lnTo>
                    <a:pt x="757" y="123"/>
                  </a:lnTo>
                  <a:lnTo>
                    <a:pt x="723" y="152"/>
                  </a:lnTo>
                  <a:lnTo>
                    <a:pt x="685" y="182"/>
                  </a:lnTo>
                  <a:lnTo>
                    <a:pt x="648" y="212"/>
                  </a:lnTo>
                  <a:lnTo>
                    <a:pt x="615" y="238"/>
                  </a:lnTo>
                  <a:lnTo>
                    <a:pt x="600" y="248"/>
                  </a:lnTo>
                  <a:lnTo>
                    <a:pt x="589" y="256"/>
                  </a:lnTo>
                  <a:lnTo>
                    <a:pt x="580" y="260"/>
                  </a:lnTo>
                  <a:lnTo>
                    <a:pt x="575" y="262"/>
                  </a:lnTo>
                  <a:lnTo>
                    <a:pt x="574" y="264"/>
                  </a:lnTo>
                  <a:lnTo>
                    <a:pt x="571" y="265"/>
                  </a:lnTo>
                  <a:lnTo>
                    <a:pt x="567" y="266"/>
                  </a:lnTo>
                  <a:lnTo>
                    <a:pt x="561" y="268"/>
                  </a:lnTo>
                  <a:lnTo>
                    <a:pt x="548" y="269"/>
                  </a:lnTo>
                  <a:lnTo>
                    <a:pt x="532" y="271"/>
                  </a:lnTo>
                  <a:lnTo>
                    <a:pt x="501" y="274"/>
                  </a:lnTo>
                  <a:lnTo>
                    <a:pt x="484" y="274"/>
                  </a:lnTo>
                  <a:lnTo>
                    <a:pt x="468" y="279"/>
                  </a:lnTo>
                  <a:lnTo>
                    <a:pt x="450" y="287"/>
                  </a:lnTo>
                  <a:lnTo>
                    <a:pt x="433" y="296"/>
                  </a:lnTo>
                  <a:lnTo>
                    <a:pt x="416" y="306"/>
                  </a:lnTo>
                  <a:lnTo>
                    <a:pt x="399" y="318"/>
                  </a:lnTo>
                  <a:lnTo>
                    <a:pt x="385" y="333"/>
                  </a:lnTo>
                  <a:lnTo>
                    <a:pt x="378" y="339"/>
                  </a:lnTo>
                  <a:lnTo>
                    <a:pt x="373" y="347"/>
                  </a:lnTo>
                  <a:lnTo>
                    <a:pt x="367" y="356"/>
                  </a:lnTo>
                  <a:lnTo>
                    <a:pt x="363" y="365"/>
                  </a:lnTo>
                  <a:lnTo>
                    <a:pt x="346" y="389"/>
                  </a:lnTo>
                  <a:lnTo>
                    <a:pt x="312" y="434"/>
                  </a:lnTo>
                  <a:lnTo>
                    <a:pt x="295" y="458"/>
                  </a:lnTo>
                  <a:lnTo>
                    <a:pt x="277" y="479"/>
                  </a:lnTo>
                  <a:lnTo>
                    <a:pt x="269" y="487"/>
                  </a:lnTo>
                  <a:lnTo>
                    <a:pt x="262" y="494"/>
                  </a:lnTo>
                  <a:lnTo>
                    <a:pt x="257" y="497"/>
                  </a:lnTo>
                  <a:lnTo>
                    <a:pt x="252" y="498"/>
                  </a:lnTo>
                  <a:lnTo>
                    <a:pt x="242" y="508"/>
                  </a:lnTo>
                  <a:lnTo>
                    <a:pt x="222" y="524"/>
                  </a:lnTo>
                  <a:lnTo>
                    <a:pt x="202" y="539"/>
                  </a:lnTo>
                  <a:lnTo>
                    <a:pt x="193" y="546"/>
                  </a:lnTo>
                  <a:lnTo>
                    <a:pt x="193" y="554"/>
                  </a:lnTo>
                  <a:lnTo>
                    <a:pt x="185" y="554"/>
                  </a:lnTo>
                  <a:lnTo>
                    <a:pt x="181" y="557"/>
                  </a:lnTo>
                  <a:lnTo>
                    <a:pt x="181" y="565"/>
                  </a:lnTo>
                  <a:lnTo>
                    <a:pt x="178" y="566"/>
                  </a:lnTo>
                  <a:lnTo>
                    <a:pt x="177" y="568"/>
                  </a:lnTo>
                  <a:lnTo>
                    <a:pt x="177" y="571"/>
                  </a:lnTo>
                  <a:lnTo>
                    <a:pt x="177" y="573"/>
                  </a:lnTo>
                  <a:lnTo>
                    <a:pt x="169" y="573"/>
                  </a:lnTo>
                  <a:lnTo>
                    <a:pt x="169" y="576"/>
                  </a:lnTo>
                  <a:lnTo>
                    <a:pt x="167" y="581"/>
                  </a:lnTo>
                  <a:lnTo>
                    <a:pt x="164" y="585"/>
                  </a:lnTo>
                  <a:lnTo>
                    <a:pt x="157" y="59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1" name="Freeform 64">
              <a:extLst>
                <a:ext uri="{FF2B5EF4-FFF2-40B4-BE49-F238E27FC236}">
                  <a16:creationId xmlns:a16="http://schemas.microsoft.com/office/drawing/2014/main" id="{0053A496-CA01-4646-A05A-16997AA23932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9236075" y="4976813"/>
              <a:ext cx="55430" cy="39688"/>
            </a:xfrm>
            <a:custGeom>
              <a:avLst/>
              <a:gdLst/>
              <a:ahLst/>
              <a:cxnLst>
                <a:cxn ang="0">
                  <a:pos x="61" y="3"/>
                </a:cxn>
                <a:cxn ang="0">
                  <a:pos x="40" y="5"/>
                </a:cxn>
                <a:cxn ang="0">
                  <a:pos x="30" y="26"/>
                </a:cxn>
                <a:cxn ang="0">
                  <a:pos x="24" y="39"/>
                </a:cxn>
                <a:cxn ang="0">
                  <a:pos x="24" y="51"/>
                </a:cxn>
                <a:cxn ang="0">
                  <a:pos x="24" y="63"/>
                </a:cxn>
                <a:cxn ang="0">
                  <a:pos x="24" y="81"/>
                </a:cxn>
                <a:cxn ang="0">
                  <a:pos x="24" y="109"/>
                </a:cxn>
                <a:cxn ang="0">
                  <a:pos x="24" y="145"/>
                </a:cxn>
                <a:cxn ang="0">
                  <a:pos x="24" y="169"/>
                </a:cxn>
                <a:cxn ang="0">
                  <a:pos x="24" y="184"/>
                </a:cxn>
                <a:cxn ang="0">
                  <a:pos x="15" y="212"/>
                </a:cxn>
                <a:cxn ang="0">
                  <a:pos x="6" y="225"/>
                </a:cxn>
                <a:cxn ang="0">
                  <a:pos x="6" y="228"/>
                </a:cxn>
                <a:cxn ang="0">
                  <a:pos x="0" y="229"/>
                </a:cxn>
                <a:cxn ang="0">
                  <a:pos x="12" y="238"/>
                </a:cxn>
                <a:cxn ang="0">
                  <a:pos x="24" y="224"/>
                </a:cxn>
                <a:cxn ang="0">
                  <a:pos x="54" y="205"/>
                </a:cxn>
                <a:cxn ang="0">
                  <a:pos x="91" y="199"/>
                </a:cxn>
                <a:cxn ang="0">
                  <a:pos x="118" y="199"/>
                </a:cxn>
                <a:cxn ang="0">
                  <a:pos x="139" y="199"/>
                </a:cxn>
                <a:cxn ang="0">
                  <a:pos x="158" y="205"/>
                </a:cxn>
                <a:cxn ang="0">
                  <a:pos x="188" y="205"/>
                </a:cxn>
                <a:cxn ang="0">
                  <a:pos x="195" y="188"/>
                </a:cxn>
                <a:cxn ang="0">
                  <a:pos x="202" y="181"/>
                </a:cxn>
                <a:cxn ang="0">
                  <a:pos x="215" y="166"/>
                </a:cxn>
                <a:cxn ang="0">
                  <a:pos x="231" y="154"/>
                </a:cxn>
                <a:cxn ang="0">
                  <a:pos x="243" y="151"/>
                </a:cxn>
                <a:cxn ang="0">
                  <a:pos x="253" y="143"/>
                </a:cxn>
                <a:cxn ang="0">
                  <a:pos x="273" y="139"/>
                </a:cxn>
                <a:cxn ang="0">
                  <a:pos x="275" y="135"/>
                </a:cxn>
                <a:cxn ang="0">
                  <a:pos x="285" y="132"/>
                </a:cxn>
                <a:cxn ang="0">
                  <a:pos x="288" y="128"/>
                </a:cxn>
                <a:cxn ang="0">
                  <a:pos x="296" y="127"/>
                </a:cxn>
                <a:cxn ang="0">
                  <a:pos x="303" y="102"/>
                </a:cxn>
                <a:cxn ang="0">
                  <a:pos x="308" y="98"/>
                </a:cxn>
                <a:cxn ang="0">
                  <a:pos x="309" y="84"/>
                </a:cxn>
                <a:cxn ang="0">
                  <a:pos x="285" y="72"/>
                </a:cxn>
                <a:cxn ang="0">
                  <a:pos x="283" y="66"/>
                </a:cxn>
                <a:cxn ang="0">
                  <a:pos x="280" y="65"/>
                </a:cxn>
                <a:cxn ang="0">
                  <a:pos x="266" y="60"/>
                </a:cxn>
                <a:cxn ang="0">
                  <a:pos x="236" y="60"/>
                </a:cxn>
                <a:cxn ang="0">
                  <a:pos x="218" y="60"/>
                </a:cxn>
                <a:cxn ang="0">
                  <a:pos x="206" y="54"/>
                </a:cxn>
                <a:cxn ang="0">
                  <a:pos x="176" y="48"/>
                </a:cxn>
                <a:cxn ang="0">
                  <a:pos x="169" y="35"/>
                </a:cxn>
                <a:cxn ang="0">
                  <a:pos x="154" y="25"/>
                </a:cxn>
                <a:cxn ang="0">
                  <a:pos x="146" y="0"/>
                </a:cxn>
                <a:cxn ang="0">
                  <a:pos x="134" y="0"/>
                </a:cxn>
                <a:cxn ang="0">
                  <a:pos x="103" y="0"/>
                </a:cxn>
              </a:cxnLst>
              <a:rect l="0" t="0" r="r" b="b"/>
              <a:pathLst>
                <a:path w="309" h="242">
                  <a:moveTo>
                    <a:pt x="79" y="5"/>
                  </a:moveTo>
                  <a:lnTo>
                    <a:pt x="70" y="4"/>
                  </a:lnTo>
                  <a:lnTo>
                    <a:pt x="61" y="3"/>
                  </a:lnTo>
                  <a:lnTo>
                    <a:pt x="51" y="1"/>
                  </a:lnTo>
                  <a:lnTo>
                    <a:pt x="42" y="0"/>
                  </a:lnTo>
                  <a:lnTo>
                    <a:pt x="40" y="5"/>
                  </a:lnTo>
                  <a:lnTo>
                    <a:pt x="36" y="12"/>
                  </a:lnTo>
                  <a:lnTo>
                    <a:pt x="30" y="24"/>
                  </a:lnTo>
                  <a:lnTo>
                    <a:pt x="30" y="26"/>
                  </a:lnTo>
                  <a:lnTo>
                    <a:pt x="30" y="30"/>
                  </a:lnTo>
                  <a:lnTo>
                    <a:pt x="24" y="35"/>
                  </a:lnTo>
                  <a:lnTo>
                    <a:pt x="24" y="39"/>
                  </a:lnTo>
                  <a:lnTo>
                    <a:pt x="24" y="42"/>
                  </a:lnTo>
                  <a:lnTo>
                    <a:pt x="24" y="48"/>
                  </a:lnTo>
                  <a:lnTo>
                    <a:pt x="24" y="51"/>
                  </a:lnTo>
                  <a:lnTo>
                    <a:pt x="24" y="54"/>
                  </a:lnTo>
                  <a:lnTo>
                    <a:pt x="24" y="60"/>
                  </a:lnTo>
                  <a:lnTo>
                    <a:pt x="24" y="63"/>
                  </a:lnTo>
                  <a:lnTo>
                    <a:pt x="24" y="66"/>
                  </a:lnTo>
                  <a:lnTo>
                    <a:pt x="24" y="72"/>
                  </a:lnTo>
                  <a:lnTo>
                    <a:pt x="24" y="81"/>
                  </a:lnTo>
                  <a:lnTo>
                    <a:pt x="24" y="90"/>
                  </a:lnTo>
                  <a:lnTo>
                    <a:pt x="24" y="97"/>
                  </a:lnTo>
                  <a:lnTo>
                    <a:pt x="24" y="109"/>
                  </a:lnTo>
                  <a:lnTo>
                    <a:pt x="24" y="120"/>
                  </a:lnTo>
                  <a:lnTo>
                    <a:pt x="24" y="132"/>
                  </a:lnTo>
                  <a:lnTo>
                    <a:pt x="24" y="145"/>
                  </a:lnTo>
                  <a:lnTo>
                    <a:pt x="24" y="154"/>
                  </a:lnTo>
                  <a:lnTo>
                    <a:pt x="24" y="162"/>
                  </a:lnTo>
                  <a:lnTo>
                    <a:pt x="24" y="169"/>
                  </a:lnTo>
                  <a:lnTo>
                    <a:pt x="24" y="175"/>
                  </a:lnTo>
                  <a:lnTo>
                    <a:pt x="24" y="181"/>
                  </a:lnTo>
                  <a:lnTo>
                    <a:pt x="24" y="184"/>
                  </a:lnTo>
                  <a:lnTo>
                    <a:pt x="24" y="187"/>
                  </a:lnTo>
                  <a:lnTo>
                    <a:pt x="19" y="199"/>
                  </a:lnTo>
                  <a:lnTo>
                    <a:pt x="15" y="212"/>
                  </a:lnTo>
                  <a:lnTo>
                    <a:pt x="12" y="224"/>
                  </a:lnTo>
                  <a:lnTo>
                    <a:pt x="8" y="224"/>
                  </a:lnTo>
                  <a:lnTo>
                    <a:pt x="6" y="225"/>
                  </a:lnTo>
                  <a:lnTo>
                    <a:pt x="6" y="226"/>
                  </a:lnTo>
                  <a:lnTo>
                    <a:pt x="6" y="227"/>
                  </a:lnTo>
                  <a:lnTo>
                    <a:pt x="6" y="228"/>
                  </a:lnTo>
                  <a:lnTo>
                    <a:pt x="5" y="228"/>
                  </a:lnTo>
                  <a:lnTo>
                    <a:pt x="3" y="229"/>
                  </a:lnTo>
                  <a:lnTo>
                    <a:pt x="0" y="229"/>
                  </a:lnTo>
                  <a:lnTo>
                    <a:pt x="0" y="242"/>
                  </a:lnTo>
                  <a:lnTo>
                    <a:pt x="12" y="242"/>
                  </a:lnTo>
                  <a:lnTo>
                    <a:pt x="12" y="238"/>
                  </a:lnTo>
                  <a:lnTo>
                    <a:pt x="12" y="236"/>
                  </a:lnTo>
                  <a:lnTo>
                    <a:pt x="19" y="229"/>
                  </a:lnTo>
                  <a:lnTo>
                    <a:pt x="24" y="224"/>
                  </a:lnTo>
                  <a:lnTo>
                    <a:pt x="30" y="217"/>
                  </a:lnTo>
                  <a:lnTo>
                    <a:pt x="42" y="212"/>
                  </a:lnTo>
                  <a:lnTo>
                    <a:pt x="54" y="205"/>
                  </a:lnTo>
                  <a:lnTo>
                    <a:pt x="67" y="205"/>
                  </a:lnTo>
                  <a:lnTo>
                    <a:pt x="77" y="203"/>
                  </a:lnTo>
                  <a:lnTo>
                    <a:pt x="91" y="199"/>
                  </a:lnTo>
                  <a:lnTo>
                    <a:pt x="100" y="199"/>
                  </a:lnTo>
                  <a:lnTo>
                    <a:pt x="109" y="199"/>
                  </a:lnTo>
                  <a:lnTo>
                    <a:pt x="118" y="199"/>
                  </a:lnTo>
                  <a:lnTo>
                    <a:pt x="127" y="199"/>
                  </a:lnTo>
                  <a:lnTo>
                    <a:pt x="134" y="199"/>
                  </a:lnTo>
                  <a:lnTo>
                    <a:pt x="139" y="199"/>
                  </a:lnTo>
                  <a:lnTo>
                    <a:pt x="146" y="205"/>
                  </a:lnTo>
                  <a:lnTo>
                    <a:pt x="151" y="205"/>
                  </a:lnTo>
                  <a:lnTo>
                    <a:pt x="158" y="205"/>
                  </a:lnTo>
                  <a:lnTo>
                    <a:pt x="164" y="205"/>
                  </a:lnTo>
                  <a:lnTo>
                    <a:pt x="176" y="205"/>
                  </a:lnTo>
                  <a:lnTo>
                    <a:pt x="188" y="205"/>
                  </a:lnTo>
                  <a:lnTo>
                    <a:pt x="194" y="199"/>
                  </a:lnTo>
                  <a:lnTo>
                    <a:pt x="194" y="194"/>
                  </a:lnTo>
                  <a:lnTo>
                    <a:pt x="195" y="188"/>
                  </a:lnTo>
                  <a:lnTo>
                    <a:pt x="197" y="186"/>
                  </a:lnTo>
                  <a:lnTo>
                    <a:pt x="199" y="184"/>
                  </a:lnTo>
                  <a:lnTo>
                    <a:pt x="202" y="181"/>
                  </a:lnTo>
                  <a:lnTo>
                    <a:pt x="206" y="181"/>
                  </a:lnTo>
                  <a:lnTo>
                    <a:pt x="212" y="175"/>
                  </a:lnTo>
                  <a:lnTo>
                    <a:pt x="215" y="166"/>
                  </a:lnTo>
                  <a:lnTo>
                    <a:pt x="218" y="157"/>
                  </a:lnTo>
                  <a:lnTo>
                    <a:pt x="231" y="157"/>
                  </a:lnTo>
                  <a:lnTo>
                    <a:pt x="231" y="154"/>
                  </a:lnTo>
                  <a:lnTo>
                    <a:pt x="231" y="151"/>
                  </a:lnTo>
                  <a:lnTo>
                    <a:pt x="236" y="151"/>
                  </a:lnTo>
                  <a:lnTo>
                    <a:pt x="243" y="151"/>
                  </a:lnTo>
                  <a:lnTo>
                    <a:pt x="244" y="150"/>
                  </a:lnTo>
                  <a:lnTo>
                    <a:pt x="248" y="147"/>
                  </a:lnTo>
                  <a:lnTo>
                    <a:pt x="253" y="143"/>
                  </a:lnTo>
                  <a:lnTo>
                    <a:pt x="254" y="139"/>
                  </a:lnTo>
                  <a:lnTo>
                    <a:pt x="264" y="139"/>
                  </a:lnTo>
                  <a:lnTo>
                    <a:pt x="273" y="139"/>
                  </a:lnTo>
                  <a:lnTo>
                    <a:pt x="273" y="137"/>
                  </a:lnTo>
                  <a:lnTo>
                    <a:pt x="274" y="136"/>
                  </a:lnTo>
                  <a:lnTo>
                    <a:pt x="275" y="135"/>
                  </a:lnTo>
                  <a:lnTo>
                    <a:pt x="276" y="133"/>
                  </a:lnTo>
                  <a:lnTo>
                    <a:pt x="281" y="132"/>
                  </a:lnTo>
                  <a:lnTo>
                    <a:pt x="285" y="132"/>
                  </a:lnTo>
                  <a:lnTo>
                    <a:pt x="285" y="131"/>
                  </a:lnTo>
                  <a:lnTo>
                    <a:pt x="285" y="129"/>
                  </a:lnTo>
                  <a:lnTo>
                    <a:pt x="288" y="128"/>
                  </a:lnTo>
                  <a:lnTo>
                    <a:pt x="289" y="128"/>
                  </a:lnTo>
                  <a:lnTo>
                    <a:pt x="292" y="127"/>
                  </a:lnTo>
                  <a:lnTo>
                    <a:pt x="296" y="127"/>
                  </a:lnTo>
                  <a:lnTo>
                    <a:pt x="303" y="120"/>
                  </a:lnTo>
                  <a:lnTo>
                    <a:pt x="303" y="111"/>
                  </a:lnTo>
                  <a:lnTo>
                    <a:pt x="303" y="102"/>
                  </a:lnTo>
                  <a:lnTo>
                    <a:pt x="305" y="102"/>
                  </a:lnTo>
                  <a:lnTo>
                    <a:pt x="307" y="100"/>
                  </a:lnTo>
                  <a:lnTo>
                    <a:pt x="308" y="98"/>
                  </a:lnTo>
                  <a:lnTo>
                    <a:pt x="309" y="95"/>
                  </a:lnTo>
                  <a:lnTo>
                    <a:pt x="309" y="90"/>
                  </a:lnTo>
                  <a:lnTo>
                    <a:pt x="309" y="84"/>
                  </a:lnTo>
                  <a:lnTo>
                    <a:pt x="303" y="78"/>
                  </a:lnTo>
                  <a:lnTo>
                    <a:pt x="294" y="75"/>
                  </a:lnTo>
                  <a:lnTo>
                    <a:pt x="285" y="72"/>
                  </a:lnTo>
                  <a:lnTo>
                    <a:pt x="284" y="69"/>
                  </a:lnTo>
                  <a:lnTo>
                    <a:pt x="284" y="66"/>
                  </a:lnTo>
                  <a:lnTo>
                    <a:pt x="283" y="66"/>
                  </a:lnTo>
                  <a:lnTo>
                    <a:pt x="282" y="66"/>
                  </a:lnTo>
                  <a:lnTo>
                    <a:pt x="281" y="65"/>
                  </a:lnTo>
                  <a:lnTo>
                    <a:pt x="280" y="65"/>
                  </a:lnTo>
                  <a:lnTo>
                    <a:pt x="279" y="63"/>
                  </a:lnTo>
                  <a:lnTo>
                    <a:pt x="279" y="60"/>
                  </a:lnTo>
                  <a:lnTo>
                    <a:pt x="266" y="60"/>
                  </a:lnTo>
                  <a:lnTo>
                    <a:pt x="254" y="60"/>
                  </a:lnTo>
                  <a:lnTo>
                    <a:pt x="245" y="60"/>
                  </a:lnTo>
                  <a:lnTo>
                    <a:pt x="236" y="60"/>
                  </a:lnTo>
                  <a:lnTo>
                    <a:pt x="231" y="60"/>
                  </a:lnTo>
                  <a:lnTo>
                    <a:pt x="224" y="60"/>
                  </a:lnTo>
                  <a:lnTo>
                    <a:pt x="218" y="60"/>
                  </a:lnTo>
                  <a:lnTo>
                    <a:pt x="215" y="60"/>
                  </a:lnTo>
                  <a:lnTo>
                    <a:pt x="212" y="60"/>
                  </a:lnTo>
                  <a:lnTo>
                    <a:pt x="206" y="54"/>
                  </a:lnTo>
                  <a:lnTo>
                    <a:pt x="194" y="54"/>
                  </a:lnTo>
                  <a:lnTo>
                    <a:pt x="182" y="54"/>
                  </a:lnTo>
                  <a:lnTo>
                    <a:pt x="176" y="48"/>
                  </a:lnTo>
                  <a:lnTo>
                    <a:pt x="176" y="45"/>
                  </a:lnTo>
                  <a:lnTo>
                    <a:pt x="176" y="42"/>
                  </a:lnTo>
                  <a:lnTo>
                    <a:pt x="169" y="35"/>
                  </a:lnTo>
                  <a:lnTo>
                    <a:pt x="165" y="34"/>
                  </a:lnTo>
                  <a:lnTo>
                    <a:pt x="158" y="30"/>
                  </a:lnTo>
                  <a:lnTo>
                    <a:pt x="154" y="25"/>
                  </a:lnTo>
                  <a:lnTo>
                    <a:pt x="151" y="24"/>
                  </a:lnTo>
                  <a:lnTo>
                    <a:pt x="148" y="12"/>
                  </a:lnTo>
                  <a:lnTo>
                    <a:pt x="146" y="0"/>
                  </a:lnTo>
                  <a:lnTo>
                    <a:pt x="139" y="0"/>
                  </a:lnTo>
                  <a:lnTo>
                    <a:pt x="136" y="0"/>
                  </a:lnTo>
                  <a:lnTo>
                    <a:pt x="134" y="0"/>
                  </a:lnTo>
                  <a:lnTo>
                    <a:pt x="127" y="0"/>
                  </a:lnTo>
                  <a:lnTo>
                    <a:pt x="115" y="0"/>
                  </a:lnTo>
                  <a:lnTo>
                    <a:pt x="103" y="0"/>
                  </a:lnTo>
                  <a:lnTo>
                    <a:pt x="79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2" name="Freeform 65">
              <a:extLst>
                <a:ext uri="{FF2B5EF4-FFF2-40B4-BE49-F238E27FC236}">
                  <a16:creationId xmlns:a16="http://schemas.microsoft.com/office/drawing/2014/main" id="{B8EF91DA-9154-4D5C-BB0F-1471B235A3BF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9144000" y="4891088"/>
              <a:ext cx="66675" cy="45795"/>
            </a:xfrm>
            <a:custGeom>
              <a:avLst/>
              <a:gdLst/>
              <a:ahLst/>
              <a:cxnLst>
                <a:cxn ang="0">
                  <a:pos x="39" y="5"/>
                </a:cxn>
                <a:cxn ang="0">
                  <a:pos x="16" y="25"/>
                </a:cxn>
                <a:cxn ang="0">
                  <a:pos x="2" y="47"/>
                </a:cxn>
                <a:cxn ang="0">
                  <a:pos x="0" y="59"/>
                </a:cxn>
                <a:cxn ang="0">
                  <a:pos x="2" y="77"/>
                </a:cxn>
                <a:cxn ang="0">
                  <a:pos x="11" y="99"/>
                </a:cxn>
                <a:cxn ang="0">
                  <a:pos x="25" y="118"/>
                </a:cxn>
                <a:cxn ang="0">
                  <a:pos x="40" y="140"/>
                </a:cxn>
                <a:cxn ang="0">
                  <a:pos x="66" y="173"/>
                </a:cxn>
                <a:cxn ang="0">
                  <a:pos x="81" y="190"/>
                </a:cxn>
                <a:cxn ang="0">
                  <a:pos x="89" y="195"/>
                </a:cxn>
                <a:cxn ang="0">
                  <a:pos x="94" y="200"/>
                </a:cxn>
                <a:cxn ang="0">
                  <a:pos x="98" y="203"/>
                </a:cxn>
                <a:cxn ang="0">
                  <a:pos x="106" y="211"/>
                </a:cxn>
                <a:cxn ang="0">
                  <a:pos x="109" y="219"/>
                </a:cxn>
                <a:cxn ang="0">
                  <a:pos x="114" y="226"/>
                </a:cxn>
                <a:cxn ang="0">
                  <a:pos x="123" y="227"/>
                </a:cxn>
                <a:cxn ang="0">
                  <a:pos x="133" y="224"/>
                </a:cxn>
                <a:cxn ang="0">
                  <a:pos x="150" y="218"/>
                </a:cxn>
                <a:cxn ang="0">
                  <a:pos x="165" y="212"/>
                </a:cxn>
                <a:cxn ang="0">
                  <a:pos x="173" y="210"/>
                </a:cxn>
                <a:cxn ang="0">
                  <a:pos x="183" y="218"/>
                </a:cxn>
                <a:cxn ang="0">
                  <a:pos x="202" y="240"/>
                </a:cxn>
                <a:cxn ang="0">
                  <a:pos x="224" y="266"/>
                </a:cxn>
                <a:cxn ang="0">
                  <a:pos x="239" y="281"/>
                </a:cxn>
                <a:cxn ang="0">
                  <a:pos x="247" y="287"/>
                </a:cxn>
                <a:cxn ang="0">
                  <a:pos x="251" y="289"/>
                </a:cxn>
                <a:cxn ang="0">
                  <a:pos x="258" y="293"/>
                </a:cxn>
                <a:cxn ang="0">
                  <a:pos x="273" y="296"/>
                </a:cxn>
                <a:cxn ang="0">
                  <a:pos x="290" y="289"/>
                </a:cxn>
                <a:cxn ang="0">
                  <a:pos x="307" y="271"/>
                </a:cxn>
                <a:cxn ang="0">
                  <a:pos x="321" y="251"/>
                </a:cxn>
                <a:cxn ang="0">
                  <a:pos x="332" y="230"/>
                </a:cxn>
                <a:cxn ang="0">
                  <a:pos x="337" y="212"/>
                </a:cxn>
                <a:cxn ang="0">
                  <a:pos x="345" y="199"/>
                </a:cxn>
                <a:cxn ang="0">
                  <a:pos x="356" y="187"/>
                </a:cxn>
                <a:cxn ang="0">
                  <a:pos x="365" y="175"/>
                </a:cxn>
                <a:cxn ang="0">
                  <a:pos x="368" y="161"/>
                </a:cxn>
                <a:cxn ang="0">
                  <a:pos x="367" y="142"/>
                </a:cxn>
                <a:cxn ang="0">
                  <a:pos x="358" y="113"/>
                </a:cxn>
                <a:cxn ang="0">
                  <a:pos x="345" y="91"/>
                </a:cxn>
                <a:cxn ang="0">
                  <a:pos x="323" y="73"/>
                </a:cxn>
                <a:cxn ang="0">
                  <a:pos x="284" y="47"/>
                </a:cxn>
                <a:cxn ang="0">
                  <a:pos x="268" y="38"/>
                </a:cxn>
                <a:cxn ang="0">
                  <a:pos x="257" y="33"/>
                </a:cxn>
                <a:cxn ang="0">
                  <a:pos x="241" y="20"/>
                </a:cxn>
                <a:cxn ang="0">
                  <a:pos x="227" y="8"/>
                </a:cxn>
                <a:cxn ang="0">
                  <a:pos x="210" y="3"/>
                </a:cxn>
                <a:cxn ang="0">
                  <a:pos x="179" y="1"/>
                </a:cxn>
                <a:cxn ang="0">
                  <a:pos x="160" y="5"/>
                </a:cxn>
                <a:cxn ang="0">
                  <a:pos x="143" y="11"/>
                </a:cxn>
                <a:cxn ang="0">
                  <a:pos x="115" y="14"/>
                </a:cxn>
                <a:cxn ang="0">
                  <a:pos x="99" y="9"/>
                </a:cxn>
                <a:cxn ang="0">
                  <a:pos x="89" y="6"/>
                </a:cxn>
                <a:cxn ang="0">
                  <a:pos x="69" y="5"/>
                </a:cxn>
                <a:cxn ang="0">
                  <a:pos x="56" y="2"/>
                </a:cxn>
              </a:cxnLst>
              <a:rect l="0" t="0" r="r" b="b"/>
              <a:pathLst>
                <a:path w="368" h="296">
                  <a:moveTo>
                    <a:pt x="51" y="0"/>
                  </a:moveTo>
                  <a:lnTo>
                    <a:pt x="39" y="5"/>
                  </a:lnTo>
                  <a:lnTo>
                    <a:pt x="27" y="8"/>
                  </a:lnTo>
                  <a:lnTo>
                    <a:pt x="16" y="25"/>
                  </a:lnTo>
                  <a:lnTo>
                    <a:pt x="3" y="41"/>
                  </a:lnTo>
                  <a:lnTo>
                    <a:pt x="2" y="47"/>
                  </a:lnTo>
                  <a:lnTo>
                    <a:pt x="1" y="54"/>
                  </a:lnTo>
                  <a:lnTo>
                    <a:pt x="0" y="59"/>
                  </a:lnTo>
                  <a:lnTo>
                    <a:pt x="0" y="66"/>
                  </a:lnTo>
                  <a:lnTo>
                    <a:pt x="2" y="77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18" y="108"/>
                  </a:lnTo>
                  <a:lnTo>
                    <a:pt x="25" y="118"/>
                  </a:lnTo>
                  <a:lnTo>
                    <a:pt x="31" y="126"/>
                  </a:lnTo>
                  <a:lnTo>
                    <a:pt x="40" y="140"/>
                  </a:lnTo>
                  <a:lnTo>
                    <a:pt x="57" y="162"/>
                  </a:lnTo>
                  <a:lnTo>
                    <a:pt x="66" y="173"/>
                  </a:lnTo>
                  <a:lnTo>
                    <a:pt x="75" y="183"/>
                  </a:lnTo>
                  <a:lnTo>
                    <a:pt x="81" y="190"/>
                  </a:lnTo>
                  <a:lnTo>
                    <a:pt x="86" y="192"/>
                  </a:lnTo>
                  <a:lnTo>
                    <a:pt x="89" y="195"/>
                  </a:lnTo>
                  <a:lnTo>
                    <a:pt x="93" y="197"/>
                  </a:lnTo>
                  <a:lnTo>
                    <a:pt x="94" y="200"/>
                  </a:lnTo>
                  <a:lnTo>
                    <a:pt x="97" y="201"/>
                  </a:lnTo>
                  <a:lnTo>
                    <a:pt x="98" y="203"/>
                  </a:lnTo>
                  <a:lnTo>
                    <a:pt x="103" y="208"/>
                  </a:lnTo>
                  <a:lnTo>
                    <a:pt x="106" y="211"/>
                  </a:lnTo>
                  <a:lnTo>
                    <a:pt x="109" y="213"/>
                  </a:lnTo>
                  <a:lnTo>
                    <a:pt x="109" y="219"/>
                  </a:lnTo>
                  <a:lnTo>
                    <a:pt x="112" y="223"/>
                  </a:lnTo>
                  <a:lnTo>
                    <a:pt x="114" y="226"/>
                  </a:lnTo>
                  <a:lnTo>
                    <a:pt x="118" y="227"/>
                  </a:lnTo>
                  <a:lnTo>
                    <a:pt x="123" y="227"/>
                  </a:lnTo>
                  <a:lnTo>
                    <a:pt x="127" y="227"/>
                  </a:lnTo>
                  <a:lnTo>
                    <a:pt x="133" y="224"/>
                  </a:lnTo>
                  <a:lnTo>
                    <a:pt x="138" y="223"/>
                  </a:lnTo>
                  <a:lnTo>
                    <a:pt x="150" y="218"/>
                  </a:lnTo>
                  <a:lnTo>
                    <a:pt x="161" y="213"/>
                  </a:lnTo>
                  <a:lnTo>
                    <a:pt x="165" y="212"/>
                  </a:lnTo>
                  <a:lnTo>
                    <a:pt x="170" y="211"/>
                  </a:lnTo>
                  <a:lnTo>
                    <a:pt x="173" y="210"/>
                  </a:lnTo>
                  <a:lnTo>
                    <a:pt x="175" y="211"/>
                  </a:lnTo>
                  <a:lnTo>
                    <a:pt x="183" y="218"/>
                  </a:lnTo>
                  <a:lnTo>
                    <a:pt x="192" y="228"/>
                  </a:lnTo>
                  <a:lnTo>
                    <a:pt x="202" y="240"/>
                  </a:lnTo>
                  <a:lnTo>
                    <a:pt x="213" y="253"/>
                  </a:lnTo>
                  <a:lnTo>
                    <a:pt x="224" y="266"/>
                  </a:lnTo>
                  <a:lnTo>
                    <a:pt x="234" y="277"/>
                  </a:lnTo>
                  <a:lnTo>
                    <a:pt x="239" y="281"/>
                  </a:lnTo>
                  <a:lnTo>
                    <a:pt x="243" y="285"/>
                  </a:lnTo>
                  <a:lnTo>
                    <a:pt x="247" y="287"/>
                  </a:lnTo>
                  <a:lnTo>
                    <a:pt x="250" y="288"/>
                  </a:lnTo>
                  <a:lnTo>
                    <a:pt x="251" y="289"/>
                  </a:lnTo>
                  <a:lnTo>
                    <a:pt x="253" y="291"/>
                  </a:lnTo>
                  <a:lnTo>
                    <a:pt x="258" y="293"/>
                  </a:lnTo>
                  <a:lnTo>
                    <a:pt x="263" y="294"/>
                  </a:lnTo>
                  <a:lnTo>
                    <a:pt x="273" y="296"/>
                  </a:lnTo>
                  <a:lnTo>
                    <a:pt x="280" y="296"/>
                  </a:lnTo>
                  <a:lnTo>
                    <a:pt x="290" y="289"/>
                  </a:lnTo>
                  <a:lnTo>
                    <a:pt x="298" y="280"/>
                  </a:lnTo>
                  <a:lnTo>
                    <a:pt x="307" y="271"/>
                  </a:lnTo>
                  <a:lnTo>
                    <a:pt x="315" y="261"/>
                  </a:lnTo>
                  <a:lnTo>
                    <a:pt x="321" y="251"/>
                  </a:lnTo>
                  <a:lnTo>
                    <a:pt x="327" y="240"/>
                  </a:lnTo>
                  <a:lnTo>
                    <a:pt x="332" y="230"/>
                  </a:lnTo>
                  <a:lnTo>
                    <a:pt x="334" y="219"/>
                  </a:lnTo>
                  <a:lnTo>
                    <a:pt x="337" y="212"/>
                  </a:lnTo>
                  <a:lnTo>
                    <a:pt x="340" y="205"/>
                  </a:lnTo>
                  <a:lnTo>
                    <a:pt x="345" y="199"/>
                  </a:lnTo>
                  <a:lnTo>
                    <a:pt x="351" y="193"/>
                  </a:lnTo>
                  <a:lnTo>
                    <a:pt x="356" y="187"/>
                  </a:lnTo>
                  <a:lnTo>
                    <a:pt x="361" y="181"/>
                  </a:lnTo>
                  <a:lnTo>
                    <a:pt x="365" y="175"/>
                  </a:lnTo>
                  <a:lnTo>
                    <a:pt x="367" y="170"/>
                  </a:lnTo>
                  <a:lnTo>
                    <a:pt x="368" y="161"/>
                  </a:lnTo>
                  <a:lnTo>
                    <a:pt x="368" y="151"/>
                  </a:lnTo>
                  <a:lnTo>
                    <a:pt x="367" y="142"/>
                  </a:lnTo>
                  <a:lnTo>
                    <a:pt x="365" y="132"/>
                  </a:lnTo>
                  <a:lnTo>
                    <a:pt x="358" y="113"/>
                  </a:lnTo>
                  <a:lnTo>
                    <a:pt x="351" y="97"/>
                  </a:lnTo>
                  <a:lnTo>
                    <a:pt x="345" y="91"/>
                  </a:lnTo>
                  <a:lnTo>
                    <a:pt x="335" y="83"/>
                  </a:lnTo>
                  <a:lnTo>
                    <a:pt x="323" y="73"/>
                  </a:lnTo>
                  <a:lnTo>
                    <a:pt x="308" y="64"/>
                  </a:lnTo>
                  <a:lnTo>
                    <a:pt x="284" y="47"/>
                  </a:lnTo>
                  <a:lnTo>
                    <a:pt x="272" y="39"/>
                  </a:lnTo>
                  <a:lnTo>
                    <a:pt x="268" y="38"/>
                  </a:lnTo>
                  <a:lnTo>
                    <a:pt x="262" y="36"/>
                  </a:lnTo>
                  <a:lnTo>
                    <a:pt x="257" y="33"/>
                  </a:lnTo>
                  <a:lnTo>
                    <a:pt x="251" y="29"/>
                  </a:lnTo>
                  <a:lnTo>
                    <a:pt x="241" y="20"/>
                  </a:lnTo>
                  <a:lnTo>
                    <a:pt x="233" y="12"/>
                  </a:lnTo>
                  <a:lnTo>
                    <a:pt x="227" y="8"/>
                  </a:lnTo>
                  <a:lnTo>
                    <a:pt x="219" y="6"/>
                  </a:lnTo>
                  <a:lnTo>
                    <a:pt x="210" y="3"/>
                  </a:lnTo>
                  <a:lnTo>
                    <a:pt x="200" y="2"/>
                  </a:lnTo>
                  <a:lnTo>
                    <a:pt x="179" y="1"/>
                  </a:lnTo>
                  <a:lnTo>
                    <a:pt x="163" y="2"/>
                  </a:lnTo>
                  <a:lnTo>
                    <a:pt x="160" y="5"/>
                  </a:lnTo>
                  <a:lnTo>
                    <a:pt x="156" y="8"/>
                  </a:lnTo>
                  <a:lnTo>
                    <a:pt x="143" y="11"/>
                  </a:lnTo>
                  <a:lnTo>
                    <a:pt x="127" y="15"/>
                  </a:lnTo>
                  <a:lnTo>
                    <a:pt x="115" y="14"/>
                  </a:lnTo>
                  <a:lnTo>
                    <a:pt x="103" y="12"/>
                  </a:lnTo>
                  <a:lnTo>
                    <a:pt x="99" y="9"/>
                  </a:lnTo>
                  <a:lnTo>
                    <a:pt x="95" y="8"/>
                  </a:lnTo>
                  <a:lnTo>
                    <a:pt x="89" y="6"/>
                  </a:lnTo>
                  <a:lnTo>
                    <a:pt x="83" y="5"/>
                  </a:lnTo>
                  <a:lnTo>
                    <a:pt x="69" y="5"/>
                  </a:lnTo>
                  <a:lnTo>
                    <a:pt x="58" y="3"/>
                  </a:lnTo>
                  <a:lnTo>
                    <a:pt x="56" y="2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3" name="Freeform 66">
              <a:extLst>
                <a:ext uri="{FF2B5EF4-FFF2-40B4-BE49-F238E27FC236}">
                  <a16:creationId xmlns:a16="http://schemas.microsoft.com/office/drawing/2014/main" id="{A5651F9C-9F11-4952-9C1C-857697B23DEF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9144000" y="4891088"/>
              <a:ext cx="66675" cy="45795"/>
            </a:xfrm>
            <a:custGeom>
              <a:avLst/>
              <a:gdLst/>
              <a:ahLst/>
              <a:cxnLst>
                <a:cxn ang="0">
                  <a:pos x="39" y="5"/>
                </a:cxn>
                <a:cxn ang="0">
                  <a:pos x="16" y="25"/>
                </a:cxn>
                <a:cxn ang="0">
                  <a:pos x="2" y="47"/>
                </a:cxn>
                <a:cxn ang="0">
                  <a:pos x="0" y="59"/>
                </a:cxn>
                <a:cxn ang="0">
                  <a:pos x="2" y="77"/>
                </a:cxn>
                <a:cxn ang="0">
                  <a:pos x="11" y="99"/>
                </a:cxn>
                <a:cxn ang="0">
                  <a:pos x="25" y="118"/>
                </a:cxn>
                <a:cxn ang="0">
                  <a:pos x="40" y="140"/>
                </a:cxn>
                <a:cxn ang="0">
                  <a:pos x="66" y="173"/>
                </a:cxn>
                <a:cxn ang="0">
                  <a:pos x="81" y="190"/>
                </a:cxn>
                <a:cxn ang="0">
                  <a:pos x="89" y="195"/>
                </a:cxn>
                <a:cxn ang="0">
                  <a:pos x="94" y="200"/>
                </a:cxn>
                <a:cxn ang="0">
                  <a:pos x="98" y="203"/>
                </a:cxn>
                <a:cxn ang="0">
                  <a:pos x="106" y="211"/>
                </a:cxn>
                <a:cxn ang="0">
                  <a:pos x="109" y="219"/>
                </a:cxn>
                <a:cxn ang="0">
                  <a:pos x="114" y="226"/>
                </a:cxn>
                <a:cxn ang="0">
                  <a:pos x="123" y="227"/>
                </a:cxn>
                <a:cxn ang="0">
                  <a:pos x="133" y="224"/>
                </a:cxn>
                <a:cxn ang="0">
                  <a:pos x="150" y="218"/>
                </a:cxn>
                <a:cxn ang="0">
                  <a:pos x="165" y="212"/>
                </a:cxn>
                <a:cxn ang="0">
                  <a:pos x="173" y="210"/>
                </a:cxn>
                <a:cxn ang="0">
                  <a:pos x="183" y="218"/>
                </a:cxn>
                <a:cxn ang="0">
                  <a:pos x="202" y="240"/>
                </a:cxn>
                <a:cxn ang="0">
                  <a:pos x="224" y="266"/>
                </a:cxn>
                <a:cxn ang="0">
                  <a:pos x="239" y="281"/>
                </a:cxn>
                <a:cxn ang="0">
                  <a:pos x="247" y="287"/>
                </a:cxn>
                <a:cxn ang="0">
                  <a:pos x="251" y="289"/>
                </a:cxn>
                <a:cxn ang="0">
                  <a:pos x="258" y="293"/>
                </a:cxn>
                <a:cxn ang="0">
                  <a:pos x="273" y="296"/>
                </a:cxn>
                <a:cxn ang="0">
                  <a:pos x="290" y="289"/>
                </a:cxn>
                <a:cxn ang="0">
                  <a:pos x="307" y="271"/>
                </a:cxn>
                <a:cxn ang="0">
                  <a:pos x="321" y="251"/>
                </a:cxn>
                <a:cxn ang="0">
                  <a:pos x="332" y="230"/>
                </a:cxn>
                <a:cxn ang="0">
                  <a:pos x="337" y="212"/>
                </a:cxn>
                <a:cxn ang="0">
                  <a:pos x="345" y="199"/>
                </a:cxn>
                <a:cxn ang="0">
                  <a:pos x="356" y="187"/>
                </a:cxn>
                <a:cxn ang="0">
                  <a:pos x="365" y="175"/>
                </a:cxn>
                <a:cxn ang="0">
                  <a:pos x="368" y="161"/>
                </a:cxn>
                <a:cxn ang="0">
                  <a:pos x="367" y="142"/>
                </a:cxn>
                <a:cxn ang="0">
                  <a:pos x="358" y="113"/>
                </a:cxn>
                <a:cxn ang="0">
                  <a:pos x="345" y="91"/>
                </a:cxn>
                <a:cxn ang="0">
                  <a:pos x="323" y="73"/>
                </a:cxn>
                <a:cxn ang="0">
                  <a:pos x="284" y="47"/>
                </a:cxn>
                <a:cxn ang="0">
                  <a:pos x="268" y="38"/>
                </a:cxn>
                <a:cxn ang="0">
                  <a:pos x="257" y="33"/>
                </a:cxn>
                <a:cxn ang="0">
                  <a:pos x="241" y="20"/>
                </a:cxn>
                <a:cxn ang="0">
                  <a:pos x="227" y="8"/>
                </a:cxn>
                <a:cxn ang="0">
                  <a:pos x="210" y="3"/>
                </a:cxn>
                <a:cxn ang="0">
                  <a:pos x="179" y="1"/>
                </a:cxn>
                <a:cxn ang="0">
                  <a:pos x="160" y="5"/>
                </a:cxn>
                <a:cxn ang="0">
                  <a:pos x="143" y="11"/>
                </a:cxn>
                <a:cxn ang="0">
                  <a:pos x="115" y="14"/>
                </a:cxn>
                <a:cxn ang="0">
                  <a:pos x="99" y="9"/>
                </a:cxn>
                <a:cxn ang="0">
                  <a:pos x="89" y="6"/>
                </a:cxn>
                <a:cxn ang="0">
                  <a:pos x="69" y="5"/>
                </a:cxn>
                <a:cxn ang="0">
                  <a:pos x="56" y="2"/>
                </a:cxn>
              </a:cxnLst>
              <a:rect l="0" t="0" r="r" b="b"/>
              <a:pathLst>
                <a:path w="368" h="296">
                  <a:moveTo>
                    <a:pt x="51" y="0"/>
                  </a:moveTo>
                  <a:lnTo>
                    <a:pt x="39" y="5"/>
                  </a:lnTo>
                  <a:lnTo>
                    <a:pt x="27" y="8"/>
                  </a:lnTo>
                  <a:lnTo>
                    <a:pt x="16" y="25"/>
                  </a:lnTo>
                  <a:lnTo>
                    <a:pt x="3" y="41"/>
                  </a:lnTo>
                  <a:lnTo>
                    <a:pt x="2" y="47"/>
                  </a:lnTo>
                  <a:lnTo>
                    <a:pt x="1" y="54"/>
                  </a:lnTo>
                  <a:lnTo>
                    <a:pt x="0" y="59"/>
                  </a:lnTo>
                  <a:lnTo>
                    <a:pt x="0" y="66"/>
                  </a:lnTo>
                  <a:lnTo>
                    <a:pt x="2" y="77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18" y="108"/>
                  </a:lnTo>
                  <a:lnTo>
                    <a:pt x="25" y="118"/>
                  </a:lnTo>
                  <a:lnTo>
                    <a:pt x="31" y="126"/>
                  </a:lnTo>
                  <a:lnTo>
                    <a:pt x="40" y="140"/>
                  </a:lnTo>
                  <a:lnTo>
                    <a:pt x="57" y="162"/>
                  </a:lnTo>
                  <a:lnTo>
                    <a:pt x="66" y="173"/>
                  </a:lnTo>
                  <a:lnTo>
                    <a:pt x="75" y="183"/>
                  </a:lnTo>
                  <a:lnTo>
                    <a:pt x="81" y="190"/>
                  </a:lnTo>
                  <a:lnTo>
                    <a:pt x="86" y="192"/>
                  </a:lnTo>
                  <a:lnTo>
                    <a:pt x="89" y="195"/>
                  </a:lnTo>
                  <a:lnTo>
                    <a:pt x="93" y="197"/>
                  </a:lnTo>
                  <a:lnTo>
                    <a:pt x="94" y="200"/>
                  </a:lnTo>
                  <a:lnTo>
                    <a:pt x="97" y="201"/>
                  </a:lnTo>
                  <a:lnTo>
                    <a:pt x="98" y="203"/>
                  </a:lnTo>
                  <a:lnTo>
                    <a:pt x="103" y="208"/>
                  </a:lnTo>
                  <a:lnTo>
                    <a:pt x="106" y="211"/>
                  </a:lnTo>
                  <a:lnTo>
                    <a:pt x="109" y="213"/>
                  </a:lnTo>
                  <a:lnTo>
                    <a:pt x="109" y="219"/>
                  </a:lnTo>
                  <a:lnTo>
                    <a:pt x="112" y="223"/>
                  </a:lnTo>
                  <a:lnTo>
                    <a:pt x="114" y="226"/>
                  </a:lnTo>
                  <a:lnTo>
                    <a:pt x="118" y="227"/>
                  </a:lnTo>
                  <a:lnTo>
                    <a:pt x="123" y="227"/>
                  </a:lnTo>
                  <a:lnTo>
                    <a:pt x="127" y="227"/>
                  </a:lnTo>
                  <a:lnTo>
                    <a:pt x="133" y="224"/>
                  </a:lnTo>
                  <a:lnTo>
                    <a:pt x="138" y="223"/>
                  </a:lnTo>
                  <a:lnTo>
                    <a:pt x="150" y="218"/>
                  </a:lnTo>
                  <a:lnTo>
                    <a:pt x="161" y="213"/>
                  </a:lnTo>
                  <a:lnTo>
                    <a:pt x="165" y="212"/>
                  </a:lnTo>
                  <a:lnTo>
                    <a:pt x="170" y="211"/>
                  </a:lnTo>
                  <a:lnTo>
                    <a:pt x="173" y="210"/>
                  </a:lnTo>
                  <a:lnTo>
                    <a:pt x="175" y="211"/>
                  </a:lnTo>
                  <a:lnTo>
                    <a:pt x="183" y="218"/>
                  </a:lnTo>
                  <a:lnTo>
                    <a:pt x="192" y="228"/>
                  </a:lnTo>
                  <a:lnTo>
                    <a:pt x="202" y="240"/>
                  </a:lnTo>
                  <a:lnTo>
                    <a:pt x="213" y="253"/>
                  </a:lnTo>
                  <a:lnTo>
                    <a:pt x="224" y="266"/>
                  </a:lnTo>
                  <a:lnTo>
                    <a:pt x="234" y="277"/>
                  </a:lnTo>
                  <a:lnTo>
                    <a:pt x="239" y="281"/>
                  </a:lnTo>
                  <a:lnTo>
                    <a:pt x="243" y="285"/>
                  </a:lnTo>
                  <a:lnTo>
                    <a:pt x="247" y="287"/>
                  </a:lnTo>
                  <a:lnTo>
                    <a:pt x="250" y="288"/>
                  </a:lnTo>
                  <a:lnTo>
                    <a:pt x="251" y="289"/>
                  </a:lnTo>
                  <a:lnTo>
                    <a:pt x="253" y="291"/>
                  </a:lnTo>
                  <a:lnTo>
                    <a:pt x="258" y="293"/>
                  </a:lnTo>
                  <a:lnTo>
                    <a:pt x="263" y="294"/>
                  </a:lnTo>
                  <a:lnTo>
                    <a:pt x="273" y="296"/>
                  </a:lnTo>
                  <a:lnTo>
                    <a:pt x="280" y="296"/>
                  </a:lnTo>
                  <a:lnTo>
                    <a:pt x="290" y="289"/>
                  </a:lnTo>
                  <a:lnTo>
                    <a:pt x="298" y="280"/>
                  </a:lnTo>
                  <a:lnTo>
                    <a:pt x="307" y="271"/>
                  </a:lnTo>
                  <a:lnTo>
                    <a:pt x="315" y="261"/>
                  </a:lnTo>
                  <a:lnTo>
                    <a:pt x="321" y="251"/>
                  </a:lnTo>
                  <a:lnTo>
                    <a:pt x="327" y="240"/>
                  </a:lnTo>
                  <a:lnTo>
                    <a:pt x="332" y="230"/>
                  </a:lnTo>
                  <a:lnTo>
                    <a:pt x="334" y="219"/>
                  </a:lnTo>
                  <a:lnTo>
                    <a:pt x="337" y="212"/>
                  </a:lnTo>
                  <a:lnTo>
                    <a:pt x="340" y="205"/>
                  </a:lnTo>
                  <a:lnTo>
                    <a:pt x="345" y="199"/>
                  </a:lnTo>
                  <a:lnTo>
                    <a:pt x="351" y="193"/>
                  </a:lnTo>
                  <a:lnTo>
                    <a:pt x="356" y="187"/>
                  </a:lnTo>
                  <a:lnTo>
                    <a:pt x="361" y="181"/>
                  </a:lnTo>
                  <a:lnTo>
                    <a:pt x="365" y="175"/>
                  </a:lnTo>
                  <a:lnTo>
                    <a:pt x="367" y="170"/>
                  </a:lnTo>
                  <a:lnTo>
                    <a:pt x="368" y="161"/>
                  </a:lnTo>
                  <a:lnTo>
                    <a:pt x="368" y="151"/>
                  </a:lnTo>
                  <a:lnTo>
                    <a:pt x="367" y="142"/>
                  </a:lnTo>
                  <a:lnTo>
                    <a:pt x="365" y="132"/>
                  </a:lnTo>
                  <a:lnTo>
                    <a:pt x="358" y="113"/>
                  </a:lnTo>
                  <a:lnTo>
                    <a:pt x="351" y="97"/>
                  </a:lnTo>
                  <a:lnTo>
                    <a:pt x="345" y="91"/>
                  </a:lnTo>
                  <a:lnTo>
                    <a:pt x="335" y="83"/>
                  </a:lnTo>
                  <a:lnTo>
                    <a:pt x="323" y="73"/>
                  </a:lnTo>
                  <a:lnTo>
                    <a:pt x="308" y="64"/>
                  </a:lnTo>
                  <a:lnTo>
                    <a:pt x="284" y="47"/>
                  </a:lnTo>
                  <a:lnTo>
                    <a:pt x="272" y="39"/>
                  </a:lnTo>
                  <a:lnTo>
                    <a:pt x="268" y="38"/>
                  </a:lnTo>
                  <a:lnTo>
                    <a:pt x="262" y="36"/>
                  </a:lnTo>
                  <a:lnTo>
                    <a:pt x="257" y="33"/>
                  </a:lnTo>
                  <a:lnTo>
                    <a:pt x="251" y="29"/>
                  </a:lnTo>
                  <a:lnTo>
                    <a:pt x="241" y="20"/>
                  </a:lnTo>
                  <a:lnTo>
                    <a:pt x="233" y="12"/>
                  </a:lnTo>
                  <a:lnTo>
                    <a:pt x="227" y="8"/>
                  </a:lnTo>
                  <a:lnTo>
                    <a:pt x="219" y="6"/>
                  </a:lnTo>
                  <a:lnTo>
                    <a:pt x="210" y="3"/>
                  </a:lnTo>
                  <a:lnTo>
                    <a:pt x="200" y="2"/>
                  </a:lnTo>
                  <a:lnTo>
                    <a:pt x="179" y="1"/>
                  </a:lnTo>
                  <a:lnTo>
                    <a:pt x="163" y="2"/>
                  </a:lnTo>
                  <a:lnTo>
                    <a:pt x="160" y="5"/>
                  </a:lnTo>
                  <a:lnTo>
                    <a:pt x="156" y="8"/>
                  </a:lnTo>
                  <a:lnTo>
                    <a:pt x="143" y="11"/>
                  </a:lnTo>
                  <a:lnTo>
                    <a:pt x="127" y="15"/>
                  </a:lnTo>
                  <a:lnTo>
                    <a:pt x="115" y="14"/>
                  </a:lnTo>
                  <a:lnTo>
                    <a:pt x="103" y="12"/>
                  </a:lnTo>
                  <a:lnTo>
                    <a:pt x="99" y="9"/>
                  </a:lnTo>
                  <a:lnTo>
                    <a:pt x="95" y="8"/>
                  </a:lnTo>
                  <a:lnTo>
                    <a:pt x="89" y="6"/>
                  </a:lnTo>
                  <a:lnTo>
                    <a:pt x="83" y="5"/>
                  </a:lnTo>
                  <a:lnTo>
                    <a:pt x="69" y="5"/>
                  </a:lnTo>
                  <a:lnTo>
                    <a:pt x="58" y="3"/>
                  </a:lnTo>
                  <a:lnTo>
                    <a:pt x="56" y="2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4" name="Freeform 67">
              <a:extLst>
                <a:ext uri="{FF2B5EF4-FFF2-40B4-BE49-F238E27FC236}">
                  <a16:creationId xmlns:a16="http://schemas.microsoft.com/office/drawing/2014/main" id="{E965AB02-B1B2-45E7-BDD3-12ACABE83E84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9097963" y="4814888"/>
              <a:ext cx="53640" cy="38100"/>
            </a:xfrm>
            <a:custGeom>
              <a:avLst/>
              <a:gdLst/>
              <a:ahLst/>
              <a:cxnLst>
                <a:cxn ang="0">
                  <a:pos x="20" y="11"/>
                </a:cxn>
                <a:cxn ang="0">
                  <a:pos x="11" y="28"/>
                </a:cxn>
                <a:cxn ang="0">
                  <a:pos x="4" y="46"/>
                </a:cxn>
                <a:cxn ang="0">
                  <a:pos x="1" y="65"/>
                </a:cxn>
                <a:cxn ang="0">
                  <a:pos x="3" y="87"/>
                </a:cxn>
                <a:cxn ang="0">
                  <a:pos x="17" y="120"/>
                </a:cxn>
                <a:cxn ang="0">
                  <a:pos x="24" y="136"/>
                </a:cxn>
                <a:cxn ang="0">
                  <a:pos x="25" y="146"/>
                </a:cxn>
                <a:cxn ang="0">
                  <a:pos x="24" y="164"/>
                </a:cxn>
                <a:cxn ang="0">
                  <a:pos x="19" y="189"/>
                </a:cxn>
                <a:cxn ang="0">
                  <a:pos x="14" y="213"/>
                </a:cxn>
                <a:cxn ang="0">
                  <a:pos x="13" y="228"/>
                </a:cxn>
                <a:cxn ang="0">
                  <a:pos x="19" y="236"/>
                </a:cxn>
                <a:cxn ang="0">
                  <a:pos x="22" y="241"/>
                </a:cxn>
                <a:cxn ang="0">
                  <a:pos x="25" y="241"/>
                </a:cxn>
                <a:cxn ang="0">
                  <a:pos x="30" y="239"/>
                </a:cxn>
                <a:cxn ang="0">
                  <a:pos x="41" y="226"/>
                </a:cxn>
                <a:cxn ang="0">
                  <a:pos x="58" y="214"/>
                </a:cxn>
                <a:cxn ang="0">
                  <a:pos x="80" y="212"/>
                </a:cxn>
                <a:cxn ang="0">
                  <a:pos x="114" y="217"/>
                </a:cxn>
                <a:cxn ang="0">
                  <a:pos x="154" y="218"/>
                </a:cxn>
                <a:cxn ang="0">
                  <a:pos x="177" y="214"/>
                </a:cxn>
                <a:cxn ang="0">
                  <a:pos x="191" y="207"/>
                </a:cxn>
                <a:cxn ang="0">
                  <a:pos x="205" y="194"/>
                </a:cxn>
                <a:cxn ang="0">
                  <a:pos x="226" y="178"/>
                </a:cxn>
                <a:cxn ang="0">
                  <a:pos x="252" y="164"/>
                </a:cxn>
                <a:cxn ang="0">
                  <a:pos x="274" y="151"/>
                </a:cxn>
                <a:cxn ang="0">
                  <a:pos x="280" y="144"/>
                </a:cxn>
                <a:cxn ang="0">
                  <a:pos x="282" y="137"/>
                </a:cxn>
                <a:cxn ang="0">
                  <a:pos x="279" y="128"/>
                </a:cxn>
                <a:cxn ang="0">
                  <a:pos x="268" y="117"/>
                </a:cxn>
                <a:cxn ang="0">
                  <a:pos x="251" y="106"/>
                </a:cxn>
                <a:cxn ang="0">
                  <a:pos x="222" y="93"/>
                </a:cxn>
                <a:cxn ang="0">
                  <a:pos x="192" y="78"/>
                </a:cxn>
                <a:cxn ang="0">
                  <a:pos x="171" y="66"/>
                </a:cxn>
                <a:cxn ang="0">
                  <a:pos x="161" y="56"/>
                </a:cxn>
                <a:cxn ang="0">
                  <a:pos x="154" y="45"/>
                </a:cxn>
                <a:cxn ang="0">
                  <a:pos x="143" y="30"/>
                </a:cxn>
                <a:cxn ang="0">
                  <a:pos x="128" y="17"/>
                </a:cxn>
                <a:cxn ang="0">
                  <a:pos x="113" y="7"/>
                </a:cxn>
                <a:cxn ang="0">
                  <a:pos x="96" y="0"/>
                </a:cxn>
                <a:cxn ang="0">
                  <a:pos x="71" y="0"/>
                </a:cxn>
                <a:cxn ang="0">
                  <a:pos x="56" y="1"/>
                </a:cxn>
                <a:cxn ang="0">
                  <a:pos x="37" y="1"/>
                </a:cxn>
                <a:cxn ang="0">
                  <a:pos x="25" y="3"/>
                </a:cxn>
              </a:cxnLst>
              <a:rect l="0" t="0" r="r" b="b"/>
              <a:pathLst>
                <a:path w="282" h="241">
                  <a:moveTo>
                    <a:pt x="25" y="3"/>
                  </a:moveTo>
                  <a:lnTo>
                    <a:pt x="20" y="11"/>
                  </a:lnTo>
                  <a:lnTo>
                    <a:pt x="15" y="19"/>
                  </a:lnTo>
                  <a:lnTo>
                    <a:pt x="11" y="28"/>
                  </a:lnTo>
                  <a:lnTo>
                    <a:pt x="8" y="37"/>
                  </a:lnTo>
                  <a:lnTo>
                    <a:pt x="4" y="46"/>
                  </a:lnTo>
                  <a:lnTo>
                    <a:pt x="2" y="55"/>
                  </a:lnTo>
                  <a:lnTo>
                    <a:pt x="1" y="65"/>
                  </a:lnTo>
                  <a:lnTo>
                    <a:pt x="0" y="75"/>
                  </a:lnTo>
                  <a:lnTo>
                    <a:pt x="3" y="87"/>
                  </a:lnTo>
                  <a:lnTo>
                    <a:pt x="10" y="104"/>
                  </a:lnTo>
                  <a:lnTo>
                    <a:pt x="17" y="120"/>
                  </a:lnTo>
                  <a:lnTo>
                    <a:pt x="22" y="132"/>
                  </a:lnTo>
                  <a:lnTo>
                    <a:pt x="24" y="136"/>
                  </a:lnTo>
                  <a:lnTo>
                    <a:pt x="25" y="142"/>
                  </a:lnTo>
                  <a:lnTo>
                    <a:pt x="25" y="146"/>
                  </a:lnTo>
                  <a:lnTo>
                    <a:pt x="25" y="152"/>
                  </a:lnTo>
                  <a:lnTo>
                    <a:pt x="24" y="164"/>
                  </a:lnTo>
                  <a:lnTo>
                    <a:pt x="22" y="176"/>
                  </a:lnTo>
                  <a:lnTo>
                    <a:pt x="19" y="189"/>
                  </a:lnTo>
                  <a:lnTo>
                    <a:pt x="15" y="201"/>
                  </a:lnTo>
                  <a:lnTo>
                    <a:pt x="14" y="213"/>
                  </a:lnTo>
                  <a:lnTo>
                    <a:pt x="13" y="223"/>
                  </a:lnTo>
                  <a:lnTo>
                    <a:pt x="13" y="228"/>
                  </a:lnTo>
                  <a:lnTo>
                    <a:pt x="15" y="231"/>
                  </a:lnTo>
                  <a:lnTo>
                    <a:pt x="19" y="236"/>
                  </a:lnTo>
                  <a:lnTo>
                    <a:pt x="21" y="239"/>
                  </a:lnTo>
                  <a:lnTo>
                    <a:pt x="22" y="241"/>
                  </a:lnTo>
                  <a:lnTo>
                    <a:pt x="24" y="241"/>
                  </a:lnTo>
                  <a:lnTo>
                    <a:pt x="25" y="241"/>
                  </a:lnTo>
                  <a:lnTo>
                    <a:pt x="27" y="241"/>
                  </a:lnTo>
                  <a:lnTo>
                    <a:pt x="30" y="239"/>
                  </a:lnTo>
                  <a:lnTo>
                    <a:pt x="33" y="234"/>
                  </a:lnTo>
                  <a:lnTo>
                    <a:pt x="41" y="226"/>
                  </a:lnTo>
                  <a:lnTo>
                    <a:pt x="48" y="219"/>
                  </a:lnTo>
                  <a:lnTo>
                    <a:pt x="58" y="214"/>
                  </a:lnTo>
                  <a:lnTo>
                    <a:pt x="69" y="213"/>
                  </a:lnTo>
                  <a:lnTo>
                    <a:pt x="80" y="212"/>
                  </a:lnTo>
                  <a:lnTo>
                    <a:pt x="91" y="213"/>
                  </a:lnTo>
                  <a:lnTo>
                    <a:pt x="114" y="217"/>
                  </a:lnTo>
                  <a:lnTo>
                    <a:pt x="135" y="219"/>
                  </a:lnTo>
                  <a:lnTo>
                    <a:pt x="154" y="218"/>
                  </a:lnTo>
                  <a:lnTo>
                    <a:pt x="169" y="217"/>
                  </a:lnTo>
                  <a:lnTo>
                    <a:pt x="177" y="214"/>
                  </a:lnTo>
                  <a:lnTo>
                    <a:pt x="184" y="211"/>
                  </a:lnTo>
                  <a:lnTo>
                    <a:pt x="191" y="207"/>
                  </a:lnTo>
                  <a:lnTo>
                    <a:pt x="197" y="201"/>
                  </a:lnTo>
                  <a:lnTo>
                    <a:pt x="205" y="194"/>
                  </a:lnTo>
                  <a:lnTo>
                    <a:pt x="215" y="185"/>
                  </a:lnTo>
                  <a:lnTo>
                    <a:pt x="226" y="178"/>
                  </a:lnTo>
                  <a:lnTo>
                    <a:pt x="235" y="172"/>
                  </a:lnTo>
                  <a:lnTo>
                    <a:pt x="252" y="164"/>
                  </a:lnTo>
                  <a:lnTo>
                    <a:pt x="270" y="154"/>
                  </a:lnTo>
                  <a:lnTo>
                    <a:pt x="274" y="151"/>
                  </a:lnTo>
                  <a:lnTo>
                    <a:pt x="278" y="147"/>
                  </a:lnTo>
                  <a:lnTo>
                    <a:pt x="280" y="144"/>
                  </a:lnTo>
                  <a:lnTo>
                    <a:pt x="281" y="141"/>
                  </a:lnTo>
                  <a:lnTo>
                    <a:pt x="282" y="137"/>
                  </a:lnTo>
                  <a:lnTo>
                    <a:pt x="281" y="133"/>
                  </a:lnTo>
                  <a:lnTo>
                    <a:pt x="279" y="128"/>
                  </a:lnTo>
                  <a:lnTo>
                    <a:pt x="275" y="124"/>
                  </a:lnTo>
                  <a:lnTo>
                    <a:pt x="268" y="117"/>
                  </a:lnTo>
                  <a:lnTo>
                    <a:pt x="260" y="112"/>
                  </a:lnTo>
                  <a:lnTo>
                    <a:pt x="251" y="106"/>
                  </a:lnTo>
                  <a:lnTo>
                    <a:pt x="241" y="102"/>
                  </a:lnTo>
                  <a:lnTo>
                    <a:pt x="222" y="93"/>
                  </a:lnTo>
                  <a:lnTo>
                    <a:pt x="202" y="84"/>
                  </a:lnTo>
                  <a:lnTo>
                    <a:pt x="192" y="78"/>
                  </a:lnTo>
                  <a:lnTo>
                    <a:pt x="177" y="70"/>
                  </a:lnTo>
                  <a:lnTo>
                    <a:pt x="171" y="66"/>
                  </a:lnTo>
                  <a:lnTo>
                    <a:pt x="165" y="60"/>
                  </a:lnTo>
                  <a:lnTo>
                    <a:pt x="161" y="56"/>
                  </a:lnTo>
                  <a:lnTo>
                    <a:pt x="157" y="53"/>
                  </a:lnTo>
                  <a:lnTo>
                    <a:pt x="154" y="45"/>
                  </a:lnTo>
                  <a:lnTo>
                    <a:pt x="149" y="37"/>
                  </a:lnTo>
                  <a:lnTo>
                    <a:pt x="143" y="30"/>
                  </a:lnTo>
                  <a:lnTo>
                    <a:pt x="136" y="22"/>
                  </a:lnTo>
                  <a:lnTo>
                    <a:pt x="128" y="17"/>
                  </a:lnTo>
                  <a:lnTo>
                    <a:pt x="120" y="11"/>
                  </a:lnTo>
                  <a:lnTo>
                    <a:pt x="113" y="7"/>
                  </a:lnTo>
                  <a:lnTo>
                    <a:pt x="105" y="3"/>
                  </a:lnTo>
                  <a:lnTo>
                    <a:pt x="96" y="0"/>
                  </a:lnTo>
                  <a:lnTo>
                    <a:pt x="83" y="0"/>
                  </a:lnTo>
                  <a:lnTo>
                    <a:pt x="71" y="0"/>
                  </a:lnTo>
                  <a:lnTo>
                    <a:pt x="60" y="0"/>
                  </a:lnTo>
                  <a:lnTo>
                    <a:pt x="56" y="1"/>
                  </a:lnTo>
                  <a:lnTo>
                    <a:pt x="47" y="1"/>
                  </a:lnTo>
                  <a:lnTo>
                    <a:pt x="37" y="1"/>
                  </a:lnTo>
                  <a:lnTo>
                    <a:pt x="32" y="0"/>
                  </a:lnTo>
                  <a:lnTo>
                    <a:pt x="25" y="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5" name="Freeform 68">
              <a:extLst>
                <a:ext uri="{FF2B5EF4-FFF2-40B4-BE49-F238E27FC236}">
                  <a16:creationId xmlns:a16="http://schemas.microsoft.com/office/drawing/2014/main" id="{613783E6-BB25-48FD-BD46-93E5D260564D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9029700" y="4705350"/>
              <a:ext cx="178657" cy="103188"/>
            </a:xfrm>
            <a:custGeom>
              <a:avLst/>
              <a:gdLst/>
              <a:ahLst/>
              <a:cxnLst>
                <a:cxn ang="0">
                  <a:pos x="267" y="256"/>
                </a:cxn>
                <a:cxn ang="0">
                  <a:pos x="239" y="293"/>
                </a:cxn>
                <a:cxn ang="0">
                  <a:pos x="227" y="307"/>
                </a:cxn>
                <a:cxn ang="0">
                  <a:pos x="215" y="322"/>
                </a:cxn>
                <a:cxn ang="0">
                  <a:pos x="234" y="365"/>
                </a:cxn>
                <a:cxn ang="0">
                  <a:pos x="248" y="388"/>
                </a:cxn>
                <a:cxn ang="0">
                  <a:pos x="264" y="405"/>
                </a:cxn>
                <a:cxn ang="0">
                  <a:pos x="257" y="405"/>
                </a:cxn>
                <a:cxn ang="0">
                  <a:pos x="234" y="411"/>
                </a:cxn>
                <a:cxn ang="0">
                  <a:pos x="215" y="417"/>
                </a:cxn>
                <a:cxn ang="0">
                  <a:pos x="183" y="436"/>
                </a:cxn>
                <a:cxn ang="0">
                  <a:pos x="154" y="439"/>
                </a:cxn>
                <a:cxn ang="0">
                  <a:pos x="140" y="439"/>
                </a:cxn>
                <a:cxn ang="0">
                  <a:pos x="113" y="439"/>
                </a:cxn>
                <a:cxn ang="0">
                  <a:pos x="75" y="439"/>
                </a:cxn>
                <a:cxn ang="0">
                  <a:pos x="55" y="439"/>
                </a:cxn>
                <a:cxn ang="0">
                  <a:pos x="32" y="447"/>
                </a:cxn>
                <a:cxn ang="0">
                  <a:pos x="16" y="456"/>
                </a:cxn>
                <a:cxn ang="0">
                  <a:pos x="0" y="480"/>
                </a:cxn>
                <a:cxn ang="0">
                  <a:pos x="0" y="505"/>
                </a:cxn>
                <a:cxn ang="0">
                  <a:pos x="5" y="530"/>
                </a:cxn>
                <a:cxn ang="0">
                  <a:pos x="17" y="546"/>
                </a:cxn>
                <a:cxn ang="0">
                  <a:pos x="26" y="575"/>
                </a:cxn>
                <a:cxn ang="0">
                  <a:pos x="45" y="597"/>
                </a:cxn>
                <a:cxn ang="0">
                  <a:pos x="67" y="624"/>
                </a:cxn>
                <a:cxn ang="0">
                  <a:pos x="94" y="634"/>
                </a:cxn>
                <a:cxn ang="0">
                  <a:pos x="114" y="623"/>
                </a:cxn>
                <a:cxn ang="0">
                  <a:pos x="130" y="601"/>
                </a:cxn>
                <a:cxn ang="0">
                  <a:pos x="139" y="583"/>
                </a:cxn>
                <a:cxn ang="0">
                  <a:pos x="153" y="557"/>
                </a:cxn>
                <a:cxn ang="0">
                  <a:pos x="166" y="526"/>
                </a:cxn>
                <a:cxn ang="0">
                  <a:pos x="184" y="515"/>
                </a:cxn>
                <a:cxn ang="0">
                  <a:pos x="200" y="497"/>
                </a:cxn>
                <a:cxn ang="0">
                  <a:pos x="221" y="472"/>
                </a:cxn>
                <a:cxn ang="0">
                  <a:pos x="246" y="458"/>
                </a:cxn>
                <a:cxn ang="0">
                  <a:pos x="272" y="433"/>
                </a:cxn>
                <a:cxn ang="0">
                  <a:pos x="282" y="420"/>
                </a:cxn>
                <a:cxn ang="0">
                  <a:pos x="336" y="423"/>
                </a:cxn>
                <a:cxn ang="0">
                  <a:pos x="469" y="395"/>
                </a:cxn>
                <a:cxn ang="0">
                  <a:pos x="552" y="360"/>
                </a:cxn>
                <a:cxn ang="0">
                  <a:pos x="583" y="327"/>
                </a:cxn>
                <a:cxn ang="0">
                  <a:pos x="622" y="303"/>
                </a:cxn>
                <a:cxn ang="0">
                  <a:pos x="712" y="259"/>
                </a:cxn>
                <a:cxn ang="0">
                  <a:pos x="795" y="227"/>
                </a:cxn>
                <a:cxn ang="0">
                  <a:pos x="846" y="201"/>
                </a:cxn>
                <a:cxn ang="0">
                  <a:pos x="888" y="184"/>
                </a:cxn>
                <a:cxn ang="0">
                  <a:pos x="959" y="152"/>
                </a:cxn>
                <a:cxn ang="0">
                  <a:pos x="973" y="141"/>
                </a:cxn>
                <a:cxn ang="0">
                  <a:pos x="937" y="106"/>
                </a:cxn>
                <a:cxn ang="0">
                  <a:pos x="875" y="92"/>
                </a:cxn>
                <a:cxn ang="0">
                  <a:pos x="820" y="64"/>
                </a:cxn>
                <a:cxn ang="0">
                  <a:pos x="762" y="13"/>
                </a:cxn>
                <a:cxn ang="0">
                  <a:pos x="716" y="1"/>
                </a:cxn>
                <a:cxn ang="0">
                  <a:pos x="623" y="21"/>
                </a:cxn>
                <a:cxn ang="0">
                  <a:pos x="534" y="77"/>
                </a:cxn>
                <a:cxn ang="0">
                  <a:pos x="504" y="95"/>
                </a:cxn>
                <a:cxn ang="0">
                  <a:pos x="451" y="116"/>
                </a:cxn>
                <a:cxn ang="0">
                  <a:pos x="394" y="148"/>
                </a:cxn>
                <a:cxn ang="0">
                  <a:pos x="362" y="178"/>
                </a:cxn>
                <a:cxn ang="0">
                  <a:pos x="336" y="201"/>
                </a:cxn>
                <a:cxn ang="0">
                  <a:pos x="316" y="212"/>
                </a:cxn>
              </a:cxnLst>
              <a:rect l="0" t="0" r="r" b="b"/>
              <a:pathLst>
                <a:path w="978" h="635">
                  <a:moveTo>
                    <a:pt x="295" y="220"/>
                  </a:moveTo>
                  <a:lnTo>
                    <a:pt x="287" y="230"/>
                  </a:lnTo>
                  <a:lnTo>
                    <a:pt x="279" y="242"/>
                  </a:lnTo>
                  <a:lnTo>
                    <a:pt x="272" y="246"/>
                  </a:lnTo>
                  <a:lnTo>
                    <a:pt x="270" y="250"/>
                  </a:lnTo>
                  <a:lnTo>
                    <a:pt x="267" y="256"/>
                  </a:lnTo>
                  <a:lnTo>
                    <a:pt x="264" y="263"/>
                  </a:lnTo>
                  <a:lnTo>
                    <a:pt x="258" y="270"/>
                  </a:lnTo>
                  <a:lnTo>
                    <a:pt x="248" y="283"/>
                  </a:lnTo>
                  <a:lnTo>
                    <a:pt x="241" y="288"/>
                  </a:lnTo>
                  <a:lnTo>
                    <a:pt x="241" y="290"/>
                  </a:lnTo>
                  <a:lnTo>
                    <a:pt x="239" y="293"/>
                  </a:lnTo>
                  <a:lnTo>
                    <a:pt x="237" y="295"/>
                  </a:lnTo>
                  <a:lnTo>
                    <a:pt x="234" y="295"/>
                  </a:lnTo>
                  <a:lnTo>
                    <a:pt x="234" y="298"/>
                  </a:lnTo>
                  <a:lnTo>
                    <a:pt x="231" y="303"/>
                  </a:lnTo>
                  <a:lnTo>
                    <a:pt x="229" y="305"/>
                  </a:lnTo>
                  <a:lnTo>
                    <a:pt x="227" y="307"/>
                  </a:lnTo>
                  <a:lnTo>
                    <a:pt x="226" y="314"/>
                  </a:lnTo>
                  <a:lnTo>
                    <a:pt x="225" y="315"/>
                  </a:lnTo>
                  <a:lnTo>
                    <a:pt x="224" y="315"/>
                  </a:lnTo>
                  <a:lnTo>
                    <a:pt x="222" y="318"/>
                  </a:lnTo>
                  <a:lnTo>
                    <a:pt x="219" y="319"/>
                  </a:lnTo>
                  <a:lnTo>
                    <a:pt x="215" y="322"/>
                  </a:lnTo>
                  <a:lnTo>
                    <a:pt x="215" y="348"/>
                  </a:lnTo>
                  <a:lnTo>
                    <a:pt x="219" y="352"/>
                  </a:lnTo>
                  <a:lnTo>
                    <a:pt x="227" y="352"/>
                  </a:lnTo>
                  <a:lnTo>
                    <a:pt x="228" y="357"/>
                  </a:lnTo>
                  <a:lnTo>
                    <a:pt x="230" y="363"/>
                  </a:lnTo>
                  <a:lnTo>
                    <a:pt x="234" y="365"/>
                  </a:lnTo>
                  <a:lnTo>
                    <a:pt x="237" y="371"/>
                  </a:lnTo>
                  <a:lnTo>
                    <a:pt x="240" y="378"/>
                  </a:lnTo>
                  <a:lnTo>
                    <a:pt x="241" y="382"/>
                  </a:lnTo>
                  <a:lnTo>
                    <a:pt x="245" y="383"/>
                  </a:lnTo>
                  <a:lnTo>
                    <a:pt x="247" y="384"/>
                  </a:lnTo>
                  <a:lnTo>
                    <a:pt x="248" y="388"/>
                  </a:lnTo>
                  <a:lnTo>
                    <a:pt x="249" y="390"/>
                  </a:lnTo>
                  <a:lnTo>
                    <a:pt x="251" y="391"/>
                  </a:lnTo>
                  <a:lnTo>
                    <a:pt x="255" y="394"/>
                  </a:lnTo>
                  <a:lnTo>
                    <a:pt x="256" y="398"/>
                  </a:lnTo>
                  <a:lnTo>
                    <a:pt x="257" y="401"/>
                  </a:lnTo>
                  <a:lnTo>
                    <a:pt x="264" y="405"/>
                  </a:lnTo>
                  <a:lnTo>
                    <a:pt x="268" y="409"/>
                  </a:lnTo>
                  <a:lnTo>
                    <a:pt x="268" y="409"/>
                  </a:lnTo>
                  <a:lnTo>
                    <a:pt x="264" y="409"/>
                  </a:lnTo>
                  <a:lnTo>
                    <a:pt x="260" y="409"/>
                  </a:lnTo>
                  <a:lnTo>
                    <a:pt x="258" y="407"/>
                  </a:lnTo>
                  <a:lnTo>
                    <a:pt x="257" y="405"/>
                  </a:lnTo>
                  <a:lnTo>
                    <a:pt x="253" y="405"/>
                  </a:lnTo>
                  <a:lnTo>
                    <a:pt x="251" y="405"/>
                  </a:lnTo>
                  <a:lnTo>
                    <a:pt x="249" y="405"/>
                  </a:lnTo>
                  <a:lnTo>
                    <a:pt x="241" y="407"/>
                  </a:lnTo>
                  <a:lnTo>
                    <a:pt x="234" y="409"/>
                  </a:lnTo>
                  <a:lnTo>
                    <a:pt x="234" y="411"/>
                  </a:lnTo>
                  <a:lnTo>
                    <a:pt x="234" y="412"/>
                  </a:lnTo>
                  <a:lnTo>
                    <a:pt x="232" y="412"/>
                  </a:lnTo>
                  <a:lnTo>
                    <a:pt x="231" y="412"/>
                  </a:lnTo>
                  <a:lnTo>
                    <a:pt x="229" y="411"/>
                  </a:lnTo>
                  <a:lnTo>
                    <a:pt x="227" y="412"/>
                  </a:lnTo>
                  <a:lnTo>
                    <a:pt x="215" y="417"/>
                  </a:lnTo>
                  <a:lnTo>
                    <a:pt x="203" y="420"/>
                  </a:lnTo>
                  <a:lnTo>
                    <a:pt x="200" y="423"/>
                  </a:lnTo>
                  <a:lnTo>
                    <a:pt x="200" y="426"/>
                  </a:lnTo>
                  <a:lnTo>
                    <a:pt x="200" y="428"/>
                  </a:lnTo>
                  <a:lnTo>
                    <a:pt x="192" y="431"/>
                  </a:lnTo>
                  <a:lnTo>
                    <a:pt x="183" y="436"/>
                  </a:lnTo>
                  <a:lnTo>
                    <a:pt x="178" y="439"/>
                  </a:lnTo>
                  <a:lnTo>
                    <a:pt x="172" y="439"/>
                  </a:lnTo>
                  <a:lnTo>
                    <a:pt x="166" y="439"/>
                  </a:lnTo>
                  <a:lnTo>
                    <a:pt x="162" y="439"/>
                  </a:lnTo>
                  <a:lnTo>
                    <a:pt x="159" y="439"/>
                  </a:lnTo>
                  <a:lnTo>
                    <a:pt x="154" y="439"/>
                  </a:lnTo>
                  <a:lnTo>
                    <a:pt x="153" y="439"/>
                  </a:lnTo>
                  <a:lnTo>
                    <a:pt x="151" y="439"/>
                  </a:lnTo>
                  <a:lnTo>
                    <a:pt x="148" y="439"/>
                  </a:lnTo>
                  <a:lnTo>
                    <a:pt x="145" y="439"/>
                  </a:lnTo>
                  <a:lnTo>
                    <a:pt x="143" y="439"/>
                  </a:lnTo>
                  <a:lnTo>
                    <a:pt x="140" y="439"/>
                  </a:lnTo>
                  <a:lnTo>
                    <a:pt x="138" y="439"/>
                  </a:lnTo>
                  <a:lnTo>
                    <a:pt x="135" y="439"/>
                  </a:lnTo>
                  <a:lnTo>
                    <a:pt x="129" y="439"/>
                  </a:lnTo>
                  <a:lnTo>
                    <a:pt x="123" y="439"/>
                  </a:lnTo>
                  <a:lnTo>
                    <a:pt x="116" y="439"/>
                  </a:lnTo>
                  <a:lnTo>
                    <a:pt x="113" y="439"/>
                  </a:lnTo>
                  <a:lnTo>
                    <a:pt x="109" y="439"/>
                  </a:lnTo>
                  <a:lnTo>
                    <a:pt x="102" y="439"/>
                  </a:lnTo>
                  <a:lnTo>
                    <a:pt x="94" y="439"/>
                  </a:lnTo>
                  <a:lnTo>
                    <a:pt x="86" y="439"/>
                  </a:lnTo>
                  <a:lnTo>
                    <a:pt x="81" y="439"/>
                  </a:lnTo>
                  <a:lnTo>
                    <a:pt x="75" y="439"/>
                  </a:lnTo>
                  <a:lnTo>
                    <a:pt x="72" y="439"/>
                  </a:lnTo>
                  <a:lnTo>
                    <a:pt x="67" y="439"/>
                  </a:lnTo>
                  <a:lnTo>
                    <a:pt x="64" y="439"/>
                  </a:lnTo>
                  <a:lnTo>
                    <a:pt x="61" y="439"/>
                  </a:lnTo>
                  <a:lnTo>
                    <a:pt x="56" y="439"/>
                  </a:lnTo>
                  <a:lnTo>
                    <a:pt x="55" y="439"/>
                  </a:lnTo>
                  <a:lnTo>
                    <a:pt x="53" y="439"/>
                  </a:lnTo>
                  <a:lnTo>
                    <a:pt x="49" y="442"/>
                  </a:lnTo>
                  <a:lnTo>
                    <a:pt x="42" y="442"/>
                  </a:lnTo>
                  <a:lnTo>
                    <a:pt x="34" y="442"/>
                  </a:lnTo>
                  <a:lnTo>
                    <a:pt x="34" y="447"/>
                  </a:lnTo>
                  <a:lnTo>
                    <a:pt x="32" y="447"/>
                  </a:lnTo>
                  <a:lnTo>
                    <a:pt x="30" y="447"/>
                  </a:lnTo>
                  <a:lnTo>
                    <a:pt x="26" y="447"/>
                  </a:lnTo>
                  <a:lnTo>
                    <a:pt x="21" y="449"/>
                  </a:lnTo>
                  <a:lnTo>
                    <a:pt x="18" y="451"/>
                  </a:lnTo>
                  <a:lnTo>
                    <a:pt x="17" y="452"/>
                  </a:lnTo>
                  <a:lnTo>
                    <a:pt x="16" y="456"/>
                  </a:lnTo>
                  <a:lnTo>
                    <a:pt x="15" y="458"/>
                  </a:lnTo>
                  <a:lnTo>
                    <a:pt x="11" y="461"/>
                  </a:lnTo>
                  <a:lnTo>
                    <a:pt x="7" y="463"/>
                  </a:lnTo>
                  <a:lnTo>
                    <a:pt x="4" y="466"/>
                  </a:lnTo>
                  <a:lnTo>
                    <a:pt x="1" y="475"/>
                  </a:lnTo>
                  <a:lnTo>
                    <a:pt x="0" y="480"/>
                  </a:lnTo>
                  <a:lnTo>
                    <a:pt x="0" y="486"/>
                  </a:lnTo>
                  <a:lnTo>
                    <a:pt x="0" y="491"/>
                  </a:lnTo>
                  <a:lnTo>
                    <a:pt x="0" y="496"/>
                  </a:lnTo>
                  <a:lnTo>
                    <a:pt x="0" y="499"/>
                  </a:lnTo>
                  <a:lnTo>
                    <a:pt x="0" y="503"/>
                  </a:lnTo>
                  <a:lnTo>
                    <a:pt x="0" y="505"/>
                  </a:lnTo>
                  <a:lnTo>
                    <a:pt x="0" y="507"/>
                  </a:lnTo>
                  <a:lnTo>
                    <a:pt x="0" y="510"/>
                  </a:lnTo>
                  <a:lnTo>
                    <a:pt x="0" y="518"/>
                  </a:lnTo>
                  <a:lnTo>
                    <a:pt x="0" y="526"/>
                  </a:lnTo>
                  <a:lnTo>
                    <a:pt x="3" y="527"/>
                  </a:lnTo>
                  <a:lnTo>
                    <a:pt x="5" y="530"/>
                  </a:lnTo>
                  <a:lnTo>
                    <a:pt x="7" y="534"/>
                  </a:lnTo>
                  <a:lnTo>
                    <a:pt x="7" y="537"/>
                  </a:lnTo>
                  <a:lnTo>
                    <a:pt x="11" y="539"/>
                  </a:lnTo>
                  <a:lnTo>
                    <a:pt x="15" y="540"/>
                  </a:lnTo>
                  <a:lnTo>
                    <a:pt x="16" y="544"/>
                  </a:lnTo>
                  <a:lnTo>
                    <a:pt x="17" y="546"/>
                  </a:lnTo>
                  <a:lnTo>
                    <a:pt x="19" y="549"/>
                  </a:lnTo>
                  <a:lnTo>
                    <a:pt x="23" y="552"/>
                  </a:lnTo>
                  <a:lnTo>
                    <a:pt x="23" y="556"/>
                  </a:lnTo>
                  <a:lnTo>
                    <a:pt x="23" y="559"/>
                  </a:lnTo>
                  <a:lnTo>
                    <a:pt x="25" y="567"/>
                  </a:lnTo>
                  <a:lnTo>
                    <a:pt x="26" y="575"/>
                  </a:lnTo>
                  <a:lnTo>
                    <a:pt x="30" y="578"/>
                  </a:lnTo>
                  <a:lnTo>
                    <a:pt x="34" y="583"/>
                  </a:lnTo>
                  <a:lnTo>
                    <a:pt x="36" y="588"/>
                  </a:lnTo>
                  <a:lnTo>
                    <a:pt x="37" y="594"/>
                  </a:lnTo>
                  <a:lnTo>
                    <a:pt x="42" y="595"/>
                  </a:lnTo>
                  <a:lnTo>
                    <a:pt x="45" y="597"/>
                  </a:lnTo>
                  <a:lnTo>
                    <a:pt x="49" y="605"/>
                  </a:lnTo>
                  <a:lnTo>
                    <a:pt x="53" y="613"/>
                  </a:lnTo>
                  <a:lnTo>
                    <a:pt x="58" y="616"/>
                  </a:lnTo>
                  <a:lnTo>
                    <a:pt x="61" y="620"/>
                  </a:lnTo>
                  <a:lnTo>
                    <a:pt x="64" y="622"/>
                  </a:lnTo>
                  <a:lnTo>
                    <a:pt x="67" y="624"/>
                  </a:lnTo>
                  <a:lnTo>
                    <a:pt x="74" y="624"/>
                  </a:lnTo>
                  <a:lnTo>
                    <a:pt x="80" y="624"/>
                  </a:lnTo>
                  <a:lnTo>
                    <a:pt x="83" y="628"/>
                  </a:lnTo>
                  <a:lnTo>
                    <a:pt x="86" y="630"/>
                  </a:lnTo>
                  <a:lnTo>
                    <a:pt x="91" y="632"/>
                  </a:lnTo>
                  <a:lnTo>
                    <a:pt x="94" y="634"/>
                  </a:lnTo>
                  <a:lnTo>
                    <a:pt x="99" y="635"/>
                  </a:lnTo>
                  <a:lnTo>
                    <a:pt x="102" y="635"/>
                  </a:lnTo>
                  <a:lnTo>
                    <a:pt x="105" y="635"/>
                  </a:lnTo>
                  <a:lnTo>
                    <a:pt x="110" y="632"/>
                  </a:lnTo>
                  <a:lnTo>
                    <a:pt x="112" y="626"/>
                  </a:lnTo>
                  <a:lnTo>
                    <a:pt x="114" y="623"/>
                  </a:lnTo>
                  <a:lnTo>
                    <a:pt x="116" y="620"/>
                  </a:lnTo>
                  <a:lnTo>
                    <a:pt x="121" y="616"/>
                  </a:lnTo>
                  <a:lnTo>
                    <a:pt x="121" y="609"/>
                  </a:lnTo>
                  <a:lnTo>
                    <a:pt x="126" y="607"/>
                  </a:lnTo>
                  <a:lnTo>
                    <a:pt x="129" y="605"/>
                  </a:lnTo>
                  <a:lnTo>
                    <a:pt x="130" y="601"/>
                  </a:lnTo>
                  <a:lnTo>
                    <a:pt x="132" y="597"/>
                  </a:lnTo>
                  <a:lnTo>
                    <a:pt x="132" y="594"/>
                  </a:lnTo>
                  <a:lnTo>
                    <a:pt x="134" y="592"/>
                  </a:lnTo>
                  <a:lnTo>
                    <a:pt x="135" y="590"/>
                  </a:lnTo>
                  <a:lnTo>
                    <a:pt x="136" y="586"/>
                  </a:lnTo>
                  <a:lnTo>
                    <a:pt x="139" y="583"/>
                  </a:lnTo>
                  <a:lnTo>
                    <a:pt x="141" y="580"/>
                  </a:lnTo>
                  <a:lnTo>
                    <a:pt x="143" y="578"/>
                  </a:lnTo>
                  <a:lnTo>
                    <a:pt x="143" y="571"/>
                  </a:lnTo>
                  <a:lnTo>
                    <a:pt x="148" y="567"/>
                  </a:lnTo>
                  <a:lnTo>
                    <a:pt x="151" y="564"/>
                  </a:lnTo>
                  <a:lnTo>
                    <a:pt x="153" y="557"/>
                  </a:lnTo>
                  <a:lnTo>
                    <a:pt x="154" y="548"/>
                  </a:lnTo>
                  <a:lnTo>
                    <a:pt x="159" y="548"/>
                  </a:lnTo>
                  <a:lnTo>
                    <a:pt x="160" y="545"/>
                  </a:lnTo>
                  <a:lnTo>
                    <a:pt x="162" y="540"/>
                  </a:lnTo>
                  <a:lnTo>
                    <a:pt x="164" y="534"/>
                  </a:lnTo>
                  <a:lnTo>
                    <a:pt x="166" y="526"/>
                  </a:lnTo>
                  <a:lnTo>
                    <a:pt x="170" y="521"/>
                  </a:lnTo>
                  <a:lnTo>
                    <a:pt x="178" y="521"/>
                  </a:lnTo>
                  <a:lnTo>
                    <a:pt x="178" y="519"/>
                  </a:lnTo>
                  <a:lnTo>
                    <a:pt x="180" y="517"/>
                  </a:lnTo>
                  <a:lnTo>
                    <a:pt x="182" y="515"/>
                  </a:lnTo>
                  <a:lnTo>
                    <a:pt x="184" y="515"/>
                  </a:lnTo>
                  <a:lnTo>
                    <a:pt x="187" y="513"/>
                  </a:lnTo>
                  <a:lnTo>
                    <a:pt x="189" y="510"/>
                  </a:lnTo>
                  <a:lnTo>
                    <a:pt x="192" y="507"/>
                  </a:lnTo>
                  <a:lnTo>
                    <a:pt x="197" y="503"/>
                  </a:lnTo>
                  <a:lnTo>
                    <a:pt x="200" y="499"/>
                  </a:lnTo>
                  <a:lnTo>
                    <a:pt x="200" y="497"/>
                  </a:lnTo>
                  <a:lnTo>
                    <a:pt x="200" y="496"/>
                  </a:lnTo>
                  <a:lnTo>
                    <a:pt x="206" y="489"/>
                  </a:lnTo>
                  <a:lnTo>
                    <a:pt x="211" y="480"/>
                  </a:lnTo>
                  <a:lnTo>
                    <a:pt x="215" y="477"/>
                  </a:lnTo>
                  <a:lnTo>
                    <a:pt x="219" y="472"/>
                  </a:lnTo>
                  <a:lnTo>
                    <a:pt x="221" y="472"/>
                  </a:lnTo>
                  <a:lnTo>
                    <a:pt x="222" y="472"/>
                  </a:lnTo>
                  <a:lnTo>
                    <a:pt x="230" y="467"/>
                  </a:lnTo>
                  <a:lnTo>
                    <a:pt x="234" y="461"/>
                  </a:lnTo>
                  <a:lnTo>
                    <a:pt x="241" y="461"/>
                  </a:lnTo>
                  <a:lnTo>
                    <a:pt x="244" y="460"/>
                  </a:lnTo>
                  <a:lnTo>
                    <a:pt x="246" y="458"/>
                  </a:lnTo>
                  <a:lnTo>
                    <a:pt x="249" y="455"/>
                  </a:lnTo>
                  <a:lnTo>
                    <a:pt x="253" y="452"/>
                  </a:lnTo>
                  <a:lnTo>
                    <a:pt x="257" y="450"/>
                  </a:lnTo>
                  <a:lnTo>
                    <a:pt x="263" y="444"/>
                  </a:lnTo>
                  <a:lnTo>
                    <a:pt x="268" y="436"/>
                  </a:lnTo>
                  <a:lnTo>
                    <a:pt x="272" y="433"/>
                  </a:lnTo>
                  <a:lnTo>
                    <a:pt x="276" y="431"/>
                  </a:lnTo>
                  <a:lnTo>
                    <a:pt x="276" y="423"/>
                  </a:lnTo>
                  <a:lnTo>
                    <a:pt x="277" y="423"/>
                  </a:lnTo>
                  <a:lnTo>
                    <a:pt x="279" y="423"/>
                  </a:lnTo>
                  <a:lnTo>
                    <a:pt x="279" y="422"/>
                  </a:lnTo>
                  <a:lnTo>
                    <a:pt x="282" y="420"/>
                  </a:lnTo>
                  <a:lnTo>
                    <a:pt x="283" y="420"/>
                  </a:lnTo>
                  <a:lnTo>
                    <a:pt x="283" y="423"/>
                  </a:lnTo>
                  <a:lnTo>
                    <a:pt x="295" y="424"/>
                  </a:lnTo>
                  <a:lnTo>
                    <a:pt x="308" y="426"/>
                  </a:lnTo>
                  <a:lnTo>
                    <a:pt x="322" y="426"/>
                  </a:lnTo>
                  <a:lnTo>
                    <a:pt x="336" y="423"/>
                  </a:lnTo>
                  <a:lnTo>
                    <a:pt x="359" y="417"/>
                  </a:lnTo>
                  <a:lnTo>
                    <a:pt x="380" y="411"/>
                  </a:lnTo>
                  <a:lnTo>
                    <a:pt x="402" y="405"/>
                  </a:lnTo>
                  <a:lnTo>
                    <a:pt x="423" y="402"/>
                  </a:lnTo>
                  <a:lnTo>
                    <a:pt x="446" y="398"/>
                  </a:lnTo>
                  <a:lnTo>
                    <a:pt x="469" y="395"/>
                  </a:lnTo>
                  <a:lnTo>
                    <a:pt x="493" y="394"/>
                  </a:lnTo>
                  <a:lnTo>
                    <a:pt x="517" y="393"/>
                  </a:lnTo>
                  <a:lnTo>
                    <a:pt x="529" y="386"/>
                  </a:lnTo>
                  <a:lnTo>
                    <a:pt x="544" y="379"/>
                  </a:lnTo>
                  <a:lnTo>
                    <a:pt x="547" y="369"/>
                  </a:lnTo>
                  <a:lnTo>
                    <a:pt x="552" y="360"/>
                  </a:lnTo>
                  <a:lnTo>
                    <a:pt x="562" y="348"/>
                  </a:lnTo>
                  <a:lnTo>
                    <a:pt x="574" y="337"/>
                  </a:lnTo>
                  <a:lnTo>
                    <a:pt x="576" y="333"/>
                  </a:lnTo>
                  <a:lnTo>
                    <a:pt x="577" y="330"/>
                  </a:lnTo>
                  <a:lnTo>
                    <a:pt x="581" y="328"/>
                  </a:lnTo>
                  <a:lnTo>
                    <a:pt x="583" y="327"/>
                  </a:lnTo>
                  <a:lnTo>
                    <a:pt x="585" y="325"/>
                  </a:lnTo>
                  <a:lnTo>
                    <a:pt x="585" y="322"/>
                  </a:lnTo>
                  <a:lnTo>
                    <a:pt x="591" y="321"/>
                  </a:lnTo>
                  <a:lnTo>
                    <a:pt x="600" y="316"/>
                  </a:lnTo>
                  <a:lnTo>
                    <a:pt x="611" y="309"/>
                  </a:lnTo>
                  <a:lnTo>
                    <a:pt x="622" y="303"/>
                  </a:lnTo>
                  <a:lnTo>
                    <a:pt x="634" y="295"/>
                  </a:lnTo>
                  <a:lnTo>
                    <a:pt x="646" y="288"/>
                  </a:lnTo>
                  <a:lnTo>
                    <a:pt x="657" y="283"/>
                  </a:lnTo>
                  <a:lnTo>
                    <a:pt x="664" y="280"/>
                  </a:lnTo>
                  <a:lnTo>
                    <a:pt x="682" y="274"/>
                  </a:lnTo>
                  <a:lnTo>
                    <a:pt x="712" y="259"/>
                  </a:lnTo>
                  <a:lnTo>
                    <a:pt x="743" y="245"/>
                  </a:lnTo>
                  <a:lnTo>
                    <a:pt x="755" y="239"/>
                  </a:lnTo>
                  <a:lnTo>
                    <a:pt x="762" y="238"/>
                  </a:lnTo>
                  <a:lnTo>
                    <a:pt x="771" y="235"/>
                  </a:lnTo>
                  <a:lnTo>
                    <a:pt x="782" y="231"/>
                  </a:lnTo>
                  <a:lnTo>
                    <a:pt x="795" y="227"/>
                  </a:lnTo>
                  <a:lnTo>
                    <a:pt x="806" y="221"/>
                  </a:lnTo>
                  <a:lnTo>
                    <a:pt x="817" y="217"/>
                  </a:lnTo>
                  <a:lnTo>
                    <a:pt x="826" y="212"/>
                  </a:lnTo>
                  <a:lnTo>
                    <a:pt x="831" y="209"/>
                  </a:lnTo>
                  <a:lnTo>
                    <a:pt x="842" y="209"/>
                  </a:lnTo>
                  <a:lnTo>
                    <a:pt x="846" y="201"/>
                  </a:lnTo>
                  <a:lnTo>
                    <a:pt x="855" y="199"/>
                  </a:lnTo>
                  <a:lnTo>
                    <a:pt x="865" y="197"/>
                  </a:lnTo>
                  <a:lnTo>
                    <a:pt x="867" y="193"/>
                  </a:lnTo>
                  <a:lnTo>
                    <a:pt x="869" y="190"/>
                  </a:lnTo>
                  <a:lnTo>
                    <a:pt x="875" y="188"/>
                  </a:lnTo>
                  <a:lnTo>
                    <a:pt x="888" y="184"/>
                  </a:lnTo>
                  <a:lnTo>
                    <a:pt x="902" y="179"/>
                  </a:lnTo>
                  <a:lnTo>
                    <a:pt x="918" y="172"/>
                  </a:lnTo>
                  <a:lnTo>
                    <a:pt x="934" y="165"/>
                  </a:lnTo>
                  <a:lnTo>
                    <a:pt x="947" y="159"/>
                  </a:lnTo>
                  <a:lnTo>
                    <a:pt x="956" y="154"/>
                  </a:lnTo>
                  <a:lnTo>
                    <a:pt x="959" y="152"/>
                  </a:lnTo>
                  <a:lnTo>
                    <a:pt x="966" y="151"/>
                  </a:lnTo>
                  <a:lnTo>
                    <a:pt x="968" y="150"/>
                  </a:lnTo>
                  <a:lnTo>
                    <a:pt x="968" y="149"/>
                  </a:lnTo>
                  <a:lnTo>
                    <a:pt x="970" y="148"/>
                  </a:lnTo>
                  <a:lnTo>
                    <a:pt x="971" y="144"/>
                  </a:lnTo>
                  <a:lnTo>
                    <a:pt x="973" y="141"/>
                  </a:lnTo>
                  <a:lnTo>
                    <a:pt x="976" y="138"/>
                  </a:lnTo>
                  <a:lnTo>
                    <a:pt x="978" y="136"/>
                  </a:lnTo>
                  <a:lnTo>
                    <a:pt x="978" y="125"/>
                  </a:lnTo>
                  <a:lnTo>
                    <a:pt x="967" y="125"/>
                  </a:lnTo>
                  <a:lnTo>
                    <a:pt x="954" y="116"/>
                  </a:lnTo>
                  <a:lnTo>
                    <a:pt x="937" y="106"/>
                  </a:lnTo>
                  <a:lnTo>
                    <a:pt x="926" y="106"/>
                  </a:lnTo>
                  <a:lnTo>
                    <a:pt x="919" y="102"/>
                  </a:lnTo>
                  <a:lnTo>
                    <a:pt x="911" y="97"/>
                  </a:lnTo>
                  <a:lnTo>
                    <a:pt x="903" y="95"/>
                  </a:lnTo>
                  <a:lnTo>
                    <a:pt x="894" y="93"/>
                  </a:lnTo>
                  <a:lnTo>
                    <a:pt x="875" y="92"/>
                  </a:lnTo>
                  <a:lnTo>
                    <a:pt x="858" y="92"/>
                  </a:lnTo>
                  <a:lnTo>
                    <a:pt x="853" y="84"/>
                  </a:lnTo>
                  <a:lnTo>
                    <a:pt x="842" y="84"/>
                  </a:lnTo>
                  <a:lnTo>
                    <a:pt x="831" y="74"/>
                  </a:lnTo>
                  <a:lnTo>
                    <a:pt x="823" y="65"/>
                  </a:lnTo>
                  <a:lnTo>
                    <a:pt x="820" y="64"/>
                  </a:lnTo>
                  <a:lnTo>
                    <a:pt x="816" y="61"/>
                  </a:lnTo>
                  <a:lnTo>
                    <a:pt x="813" y="57"/>
                  </a:lnTo>
                  <a:lnTo>
                    <a:pt x="812" y="54"/>
                  </a:lnTo>
                  <a:lnTo>
                    <a:pt x="802" y="46"/>
                  </a:lnTo>
                  <a:lnTo>
                    <a:pt x="782" y="29"/>
                  </a:lnTo>
                  <a:lnTo>
                    <a:pt x="762" y="13"/>
                  </a:lnTo>
                  <a:lnTo>
                    <a:pt x="752" y="5"/>
                  </a:lnTo>
                  <a:lnTo>
                    <a:pt x="747" y="3"/>
                  </a:lnTo>
                  <a:lnTo>
                    <a:pt x="742" y="1"/>
                  </a:lnTo>
                  <a:lnTo>
                    <a:pt x="736" y="0"/>
                  </a:lnTo>
                  <a:lnTo>
                    <a:pt x="729" y="0"/>
                  </a:lnTo>
                  <a:lnTo>
                    <a:pt x="716" y="1"/>
                  </a:lnTo>
                  <a:lnTo>
                    <a:pt x="700" y="3"/>
                  </a:lnTo>
                  <a:lnTo>
                    <a:pt x="672" y="8"/>
                  </a:lnTo>
                  <a:lnTo>
                    <a:pt x="650" y="13"/>
                  </a:lnTo>
                  <a:lnTo>
                    <a:pt x="640" y="15"/>
                  </a:lnTo>
                  <a:lnTo>
                    <a:pt x="632" y="18"/>
                  </a:lnTo>
                  <a:lnTo>
                    <a:pt x="623" y="21"/>
                  </a:lnTo>
                  <a:lnTo>
                    <a:pt x="614" y="26"/>
                  </a:lnTo>
                  <a:lnTo>
                    <a:pt x="599" y="36"/>
                  </a:lnTo>
                  <a:lnTo>
                    <a:pt x="582" y="46"/>
                  </a:lnTo>
                  <a:lnTo>
                    <a:pt x="566" y="57"/>
                  </a:lnTo>
                  <a:lnTo>
                    <a:pt x="551" y="68"/>
                  </a:lnTo>
                  <a:lnTo>
                    <a:pt x="534" y="77"/>
                  </a:lnTo>
                  <a:lnTo>
                    <a:pt x="517" y="84"/>
                  </a:lnTo>
                  <a:lnTo>
                    <a:pt x="516" y="86"/>
                  </a:lnTo>
                  <a:lnTo>
                    <a:pt x="513" y="90"/>
                  </a:lnTo>
                  <a:lnTo>
                    <a:pt x="509" y="91"/>
                  </a:lnTo>
                  <a:lnTo>
                    <a:pt x="506" y="92"/>
                  </a:lnTo>
                  <a:lnTo>
                    <a:pt x="504" y="95"/>
                  </a:lnTo>
                  <a:lnTo>
                    <a:pt x="503" y="98"/>
                  </a:lnTo>
                  <a:lnTo>
                    <a:pt x="487" y="98"/>
                  </a:lnTo>
                  <a:lnTo>
                    <a:pt x="479" y="106"/>
                  </a:lnTo>
                  <a:lnTo>
                    <a:pt x="468" y="106"/>
                  </a:lnTo>
                  <a:lnTo>
                    <a:pt x="460" y="114"/>
                  </a:lnTo>
                  <a:lnTo>
                    <a:pt x="451" y="116"/>
                  </a:lnTo>
                  <a:lnTo>
                    <a:pt x="442" y="117"/>
                  </a:lnTo>
                  <a:lnTo>
                    <a:pt x="435" y="125"/>
                  </a:lnTo>
                  <a:lnTo>
                    <a:pt x="428" y="128"/>
                  </a:lnTo>
                  <a:lnTo>
                    <a:pt x="418" y="132"/>
                  </a:lnTo>
                  <a:lnTo>
                    <a:pt x="407" y="139"/>
                  </a:lnTo>
                  <a:lnTo>
                    <a:pt x="394" y="148"/>
                  </a:lnTo>
                  <a:lnTo>
                    <a:pt x="382" y="157"/>
                  </a:lnTo>
                  <a:lnTo>
                    <a:pt x="372" y="165"/>
                  </a:lnTo>
                  <a:lnTo>
                    <a:pt x="368" y="169"/>
                  </a:lnTo>
                  <a:lnTo>
                    <a:pt x="365" y="173"/>
                  </a:lnTo>
                  <a:lnTo>
                    <a:pt x="363" y="176"/>
                  </a:lnTo>
                  <a:lnTo>
                    <a:pt x="362" y="178"/>
                  </a:lnTo>
                  <a:lnTo>
                    <a:pt x="359" y="180"/>
                  </a:lnTo>
                  <a:lnTo>
                    <a:pt x="355" y="182"/>
                  </a:lnTo>
                  <a:lnTo>
                    <a:pt x="352" y="187"/>
                  </a:lnTo>
                  <a:lnTo>
                    <a:pt x="351" y="190"/>
                  </a:lnTo>
                  <a:lnTo>
                    <a:pt x="344" y="196"/>
                  </a:lnTo>
                  <a:lnTo>
                    <a:pt x="336" y="201"/>
                  </a:lnTo>
                  <a:lnTo>
                    <a:pt x="328" y="201"/>
                  </a:lnTo>
                  <a:lnTo>
                    <a:pt x="328" y="209"/>
                  </a:lnTo>
                  <a:lnTo>
                    <a:pt x="321" y="209"/>
                  </a:lnTo>
                  <a:lnTo>
                    <a:pt x="321" y="211"/>
                  </a:lnTo>
                  <a:lnTo>
                    <a:pt x="318" y="212"/>
                  </a:lnTo>
                  <a:lnTo>
                    <a:pt x="316" y="212"/>
                  </a:lnTo>
                  <a:lnTo>
                    <a:pt x="313" y="212"/>
                  </a:lnTo>
                  <a:lnTo>
                    <a:pt x="310" y="216"/>
                  </a:lnTo>
                  <a:lnTo>
                    <a:pt x="307" y="220"/>
                  </a:lnTo>
                  <a:lnTo>
                    <a:pt x="306" y="223"/>
                  </a:lnTo>
                  <a:lnTo>
                    <a:pt x="295" y="22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6" name="Freeform 69">
              <a:extLst>
                <a:ext uri="{FF2B5EF4-FFF2-40B4-BE49-F238E27FC236}">
                  <a16:creationId xmlns:a16="http://schemas.microsoft.com/office/drawing/2014/main" id="{990A0E24-C0F9-4ECA-AEBF-63A4F38D9A1E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9007475" y="4638675"/>
              <a:ext cx="87293" cy="57150"/>
            </a:xfrm>
            <a:custGeom>
              <a:avLst/>
              <a:gdLst/>
              <a:ahLst/>
              <a:cxnLst>
                <a:cxn ang="0">
                  <a:pos x="40" y="6"/>
                </a:cxn>
                <a:cxn ang="0">
                  <a:pos x="20" y="11"/>
                </a:cxn>
                <a:cxn ang="0">
                  <a:pos x="8" y="18"/>
                </a:cxn>
                <a:cxn ang="0">
                  <a:pos x="4" y="21"/>
                </a:cxn>
                <a:cxn ang="0">
                  <a:pos x="0" y="29"/>
                </a:cxn>
                <a:cxn ang="0">
                  <a:pos x="15" y="44"/>
                </a:cxn>
                <a:cxn ang="0">
                  <a:pos x="49" y="67"/>
                </a:cxn>
                <a:cxn ang="0">
                  <a:pos x="91" y="76"/>
                </a:cxn>
                <a:cxn ang="0">
                  <a:pos x="150" y="96"/>
                </a:cxn>
                <a:cxn ang="0">
                  <a:pos x="159" y="99"/>
                </a:cxn>
                <a:cxn ang="0">
                  <a:pos x="165" y="103"/>
                </a:cxn>
                <a:cxn ang="0">
                  <a:pos x="179" y="108"/>
                </a:cxn>
                <a:cxn ang="0">
                  <a:pos x="216" y="142"/>
                </a:cxn>
                <a:cxn ang="0">
                  <a:pos x="235" y="168"/>
                </a:cxn>
                <a:cxn ang="0">
                  <a:pos x="230" y="203"/>
                </a:cxn>
                <a:cxn ang="0">
                  <a:pos x="212" y="217"/>
                </a:cxn>
                <a:cxn ang="0">
                  <a:pos x="186" y="231"/>
                </a:cxn>
                <a:cxn ang="0">
                  <a:pos x="172" y="251"/>
                </a:cxn>
                <a:cxn ang="0">
                  <a:pos x="164" y="265"/>
                </a:cxn>
                <a:cxn ang="0">
                  <a:pos x="163" y="280"/>
                </a:cxn>
                <a:cxn ang="0">
                  <a:pos x="181" y="298"/>
                </a:cxn>
                <a:cxn ang="0">
                  <a:pos x="195" y="313"/>
                </a:cxn>
                <a:cxn ang="0">
                  <a:pos x="212" y="339"/>
                </a:cxn>
                <a:cxn ang="0">
                  <a:pos x="221" y="348"/>
                </a:cxn>
                <a:cxn ang="0">
                  <a:pos x="240" y="358"/>
                </a:cxn>
                <a:cxn ang="0">
                  <a:pos x="257" y="362"/>
                </a:cxn>
                <a:cxn ang="0">
                  <a:pos x="282" y="352"/>
                </a:cxn>
                <a:cxn ang="0">
                  <a:pos x="313" y="351"/>
                </a:cxn>
                <a:cxn ang="0">
                  <a:pos x="331" y="362"/>
                </a:cxn>
                <a:cxn ang="0">
                  <a:pos x="346" y="364"/>
                </a:cxn>
                <a:cxn ang="0">
                  <a:pos x="366" y="366"/>
                </a:cxn>
                <a:cxn ang="0">
                  <a:pos x="384" y="344"/>
                </a:cxn>
                <a:cxn ang="0">
                  <a:pos x="406" y="312"/>
                </a:cxn>
                <a:cxn ang="0">
                  <a:pos x="421" y="303"/>
                </a:cxn>
                <a:cxn ang="0">
                  <a:pos x="461" y="285"/>
                </a:cxn>
                <a:cxn ang="0">
                  <a:pos x="470" y="276"/>
                </a:cxn>
                <a:cxn ang="0">
                  <a:pos x="476" y="256"/>
                </a:cxn>
                <a:cxn ang="0">
                  <a:pos x="479" y="227"/>
                </a:cxn>
                <a:cxn ang="0">
                  <a:pos x="462" y="193"/>
                </a:cxn>
                <a:cxn ang="0">
                  <a:pos x="452" y="154"/>
                </a:cxn>
                <a:cxn ang="0">
                  <a:pos x="430" y="135"/>
                </a:cxn>
                <a:cxn ang="0">
                  <a:pos x="358" y="122"/>
                </a:cxn>
                <a:cxn ang="0">
                  <a:pos x="341" y="112"/>
                </a:cxn>
                <a:cxn ang="0">
                  <a:pos x="269" y="81"/>
                </a:cxn>
                <a:cxn ang="0">
                  <a:pos x="254" y="68"/>
                </a:cxn>
                <a:cxn ang="0">
                  <a:pos x="212" y="53"/>
                </a:cxn>
                <a:cxn ang="0">
                  <a:pos x="196" y="40"/>
                </a:cxn>
                <a:cxn ang="0">
                  <a:pos x="186" y="30"/>
                </a:cxn>
                <a:cxn ang="0">
                  <a:pos x="167" y="18"/>
                </a:cxn>
                <a:cxn ang="0">
                  <a:pos x="162" y="15"/>
                </a:cxn>
                <a:cxn ang="0">
                  <a:pos x="155" y="9"/>
                </a:cxn>
                <a:cxn ang="0">
                  <a:pos x="83" y="1"/>
                </a:cxn>
              </a:cxnLst>
              <a:rect l="0" t="0" r="r" b="b"/>
              <a:pathLst>
                <a:path w="479" h="366">
                  <a:moveTo>
                    <a:pt x="54" y="0"/>
                  </a:moveTo>
                  <a:lnTo>
                    <a:pt x="51" y="1"/>
                  </a:lnTo>
                  <a:lnTo>
                    <a:pt x="45" y="2"/>
                  </a:lnTo>
                  <a:lnTo>
                    <a:pt x="40" y="6"/>
                  </a:lnTo>
                  <a:lnTo>
                    <a:pt x="36" y="9"/>
                  </a:lnTo>
                  <a:lnTo>
                    <a:pt x="29" y="9"/>
                  </a:lnTo>
                  <a:lnTo>
                    <a:pt x="23" y="10"/>
                  </a:lnTo>
                  <a:lnTo>
                    <a:pt x="20" y="11"/>
                  </a:lnTo>
                  <a:lnTo>
                    <a:pt x="18" y="12"/>
                  </a:lnTo>
                  <a:lnTo>
                    <a:pt x="16" y="15"/>
                  </a:lnTo>
                  <a:lnTo>
                    <a:pt x="14" y="18"/>
                  </a:lnTo>
                  <a:lnTo>
                    <a:pt x="8" y="18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1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0" y="22"/>
                  </a:lnTo>
                  <a:lnTo>
                    <a:pt x="0" y="29"/>
                  </a:lnTo>
                  <a:lnTo>
                    <a:pt x="0" y="36"/>
                  </a:lnTo>
                  <a:lnTo>
                    <a:pt x="4" y="37"/>
                  </a:lnTo>
                  <a:lnTo>
                    <a:pt x="9" y="40"/>
                  </a:lnTo>
                  <a:lnTo>
                    <a:pt x="15" y="44"/>
                  </a:lnTo>
                  <a:lnTo>
                    <a:pt x="20" y="48"/>
                  </a:lnTo>
                  <a:lnTo>
                    <a:pt x="32" y="57"/>
                  </a:lnTo>
                  <a:lnTo>
                    <a:pt x="40" y="64"/>
                  </a:lnTo>
                  <a:lnTo>
                    <a:pt x="49" y="67"/>
                  </a:lnTo>
                  <a:lnTo>
                    <a:pt x="59" y="69"/>
                  </a:lnTo>
                  <a:lnTo>
                    <a:pt x="71" y="72"/>
                  </a:lnTo>
                  <a:lnTo>
                    <a:pt x="82" y="73"/>
                  </a:lnTo>
                  <a:lnTo>
                    <a:pt x="91" y="76"/>
                  </a:lnTo>
                  <a:lnTo>
                    <a:pt x="112" y="84"/>
                  </a:lnTo>
                  <a:lnTo>
                    <a:pt x="134" y="92"/>
                  </a:lnTo>
                  <a:lnTo>
                    <a:pt x="149" y="95"/>
                  </a:lnTo>
                  <a:lnTo>
                    <a:pt x="150" y="96"/>
                  </a:lnTo>
                  <a:lnTo>
                    <a:pt x="151" y="97"/>
                  </a:lnTo>
                  <a:lnTo>
                    <a:pt x="152" y="98"/>
                  </a:lnTo>
                  <a:lnTo>
                    <a:pt x="154" y="99"/>
                  </a:lnTo>
                  <a:lnTo>
                    <a:pt x="159" y="99"/>
                  </a:lnTo>
                  <a:lnTo>
                    <a:pt x="163" y="99"/>
                  </a:lnTo>
                  <a:lnTo>
                    <a:pt x="163" y="101"/>
                  </a:lnTo>
                  <a:lnTo>
                    <a:pt x="164" y="102"/>
                  </a:lnTo>
                  <a:lnTo>
                    <a:pt x="165" y="103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7" y="104"/>
                  </a:lnTo>
                  <a:lnTo>
                    <a:pt x="179" y="108"/>
                  </a:lnTo>
                  <a:lnTo>
                    <a:pt x="181" y="113"/>
                  </a:lnTo>
                  <a:lnTo>
                    <a:pt x="189" y="118"/>
                  </a:lnTo>
                  <a:lnTo>
                    <a:pt x="203" y="130"/>
                  </a:lnTo>
                  <a:lnTo>
                    <a:pt x="216" y="142"/>
                  </a:lnTo>
                  <a:lnTo>
                    <a:pt x="221" y="150"/>
                  </a:lnTo>
                  <a:lnTo>
                    <a:pt x="230" y="154"/>
                  </a:lnTo>
                  <a:lnTo>
                    <a:pt x="235" y="159"/>
                  </a:lnTo>
                  <a:lnTo>
                    <a:pt x="235" y="168"/>
                  </a:lnTo>
                  <a:lnTo>
                    <a:pt x="235" y="179"/>
                  </a:lnTo>
                  <a:lnTo>
                    <a:pt x="235" y="190"/>
                  </a:lnTo>
                  <a:lnTo>
                    <a:pt x="235" y="199"/>
                  </a:lnTo>
                  <a:lnTo>
                    <a:pt x="230" y="203"/>
                  </a:lnTo>
                  <a:lnTo>
                    <a:pt x="226" y="208"/>
                  </a:lnTo>
                  <a:lnTo>
                    <a:pt x="217" y="208"/>
                  </a:lnTo>
                  <a:lnTo>
                    <a:pt x="215" y="212"/>
                  </a:lnTo>
                  <a:lnTo>
                    <a:pt x="212" y="217"/>
                  </a:lnTo>
                  <a:lnTo>
                    <a:pt x="203" y="217"/>
                  </a:lnTo>
                  <a:lnTo>
                    <a:pt x="199" y="226"/>
                  </a:lnTo>
                  <a:lnTo>
                    <a:pt x="195" y="231"/>
                  </a:lnTo>
                  <a:lnTo>
                    <a:pt x="186" y="231"/>
                  </a:lnTo>
                  <a:lnTo>
                    <a:pt x="181" y="236"/>
                  </a:lnTo>
                  <a:lnTo>
                    <a:pt x="177" y="240"/>
                  </a:lnTo>
                  <a:lnTo>
                    <a:pt x="177" y="249"/>
                  </a:lnTo>
                  <a:lnTo>
                    <a:pt x="172" y="251"/>
                  </a:lnTo>
                  <a:lnTo>
                    <a:pt x="168" y="253"/>
                  </a:lnTo>
                  <a:lnTo>
                    <a:pt x="168" y="262"/>
                  </a:lnTo>
                  <a:lnTo>
                    <a:pt x="165" y="264"/>
                  </a:lnTo>
                  <a:lnTo>
                    <a:pt x="164" y="265"/>
                  </a:lnTo>
                  <a:lnTo>
                    <a:pt x="164" y="267"/>
                  </a:lnTo>
                  <a:lnTo>
                    <a:pt x="163" y="270"/>
                  </a:lnTo>
                  <a:lnTo>
                    <a:pt x="163" y="276"/>
                  </a:lnTo>
                  <a:lnTo>
                    <a:pt x="163" y="280"/>
                  </a:lnTo>
                  <a:lnTo>
                    <a:pt x="168" y="285"/>
                  </a:lnTo>
                  <a:lnTo>
                    <a:pt x="173" y="289"/>
                  </a:lnTo>
                  <a:lnTo>
                    <a:pt x="179" y="295"/>
                  </a:lnTo>
                  <a:lnTo>
                    <a:pt x="181" y="298"/>
                  </a:lnTo>
                  <a:lnTo>
                    <a:pt x="187" y="299"/>
                  </a:lnTo>
                  <a:lnTo>
                    <a:pt x="191" y="301"/>
                  </a:lnTo>
                  <a:lnTo>
                    <a:pt x="193" y="306"/>
                  </a:lnTo>
                  <a:lnTo>
                    <a:pt x="195" y="313"/>
                  </a:lnTo>
                  <a:lnTo>
                    <a:pt x="199" y="316"/>
                  </a:lnTo>
                  <a:lnTo>
                    <a:pt x="206" y="324"/>
                  </a:lnTo>
                  <a:lnTo>
                    <a:pt x="210" y="333"/>
                  </a:lnTo>
                  <a:lnTo>
                    <a:pt x="212" y="339"/>
                  </a:lnTo>
                  <a:lnTo>
                    <a:pt x="216" y="341"/>
                  </a:lnTo>
                  <a:lnTo>
                    <a:pt x="219" y="342"/>
                  </a:lnTo>
                  <a:lnTo>
                    <a:pt x="221" y="345"/>
                  </a:lnTo>
                  <a:lnTo>
                    <a:pt x="221" y="348"/>
                  </a:lnTo>
                  <a:lnTo>
                    <a:pt x="226" y="353"/>
                  </a:lnTo>
                  <a:lnTo>
                    <a:pt x="230" y="357"/>
                  </a:lnTo>
                  <a:lnTo>
                    <a:pt x="239" y="357"/>
                  </a:lnTo>
                  <a:lnTo>
                    <a:pt x="240" y="358"/>
                  </a:lnTo>
                  <a:lnTo>
                    <a:pt x="243" y="360"/>
                  </a:lnTo>
                  <a:lnTo>
                    <a:pt x="246" y="361"/>
                  </a:lnTo>
                  <a:lnTo>
                    <a:pt x="249" y="362"/>
                  </a:lnTo>
                  <a:lnTo>
                    <a:pt x="257" y="362"/>
                  </a:lnTo>
                  <a:lnTo>
                    <a:pt x="263" y="362"/>
                  </a:lnTo>
                  <a:lnTo>
                    <a:pt x="267" y="357"/>
                  </a:lnTo>
                  <a:lnTo>
                    <a:pt x="272" y="353"/>
                  </a:lnTo>
                  <a:lnTo>
                    <a:pt x="282" y="352"/>
                  </a:lnTo>
                  <a:lnTo>
                    <a:pt x="292" y="351"/>
                  </a:lnTo>
                  <a:lnTo>
                    <a:pt x="302" y="349"/>
                  </a:lnTo>
                  <a:lnTo>
                    <a:pt x="312" y="348"/>
                  </a:lnTo>
                  <a:lnTo>
                    <a:pt x="313" y="351"/>
                  </a:lnTo>
                  <a:lnTo>
                    <a:pt x="315" y="353"/>
                  </a:lnTo>
                  <a:lnTo>
                    <a:pt x="317" y="353"/>
                  </a:lnTo>
                  <a:lnTo>
                    <a:pt x="321" y="353"/>
                  </a:lnTo>
                  <a:lnTo>
                    <a:pt x="331" y="362"/>
                  </a:lnTo>
                  <a:lnTo>
                    <a:pt x="337" y="362"/>
                  </a:lnTo>
                  <a:lnTo>
                    <a:pt x="344" y="362"/>
                  </a:lnTo>
                  <a:lnTo>
                    <a:pt x="344" y="363"/>
                  </a:lnTo>
                  <a:lnTo>
                    <a:pt x="346" y="364"/>
                  </a:lnTo>
                  <a:lnTo>
                    <a:pt x="350" y="365"/>
                  </a:lnTo>
                  <a:lnTo>
                    <a:pt x="353" y="366"/>
                  </a:lnTo>
                  <a:lnTo>
                    <a:pt x="361" y="366"/>
                  </a:lnTo>
                  <a:lnTo>
                    <a:pt x="366" y="366"/>
                  </a:lnTo>
                  <a:lnTo>
                    <a:pt x="369" y="360"/>
                  </a:lnTo>
                  <a:lnTo>
                    <a:pt x="371" y="353"/>
                  </a:lnTo>
                  <a:lnTo>
                    <a:pt x="380" y="348"/>
                  </a:lnTo>
                  <a:lnTo>
                    <a:pt x="384" y="344"/>
                  </a:lnTo>
                  <a:lnTo>
                    <a:pt x="384" y="335"/>
                  </a:lnTo>
                  <a:lnTo>
                    <a:pt x="393" y="325"/>
                  </a:lnTo>
                  <a:lnTo>
                    <a:pt x="402" y="313"/>
                  </a:lnTo>
                  <a:lnTo>
                    <a:pt x="406" y="312"/>
                  </a:lnTo>
                  <a:lnTo>
                    <a:pt x="409" y="309"/>
                  </a:lnTo>
                  <a:lnTo>
                    <a:pt x="411" y="306"/>
                  </a:lnTo>
                  <a:lnTo>
                    <a:pt x="411" y="303"/>
                  </a:lnTo>
                  <a:lnTo>
                    <a:pt x="421" y="303"/>
                  </a:lnTo>
                  <a:lnTo>
                    <a:pt x="426" y="298"/>
                  </a:lnTo>
                  <a:lnTo>
                    <a:pt x="430" y="294"/>
                  </a:lnTo>
                  <a:lnTo>
                    <a:pt x="446" y="289"/>
                  </a:lnTo>
                  <a:lnTo>
                    <a:pt x="461" y="285"/>
                  </a:lnTo>
                  <a:lnTo>
                    <a:pt x="462" y="284"/>
                  </a:lnTo>
                  <a:lnTo>
                    <a:pt x="465" y="280"/>
                  </a:lnTo>
                  <a:lnTo>
                    <a:pt x="467" y="277"/>
                  </a:lnTo>
                  <a:lnTo>
                    <a:pt x="470" y="276"/>
                  </a:lnTo>
                  <a:lnTo>
                    <a:pt x="471" y="270"/>
                  </a:lnTo>
                  <a:lnTo>
                    <a:pt x="474" y="262"/>
                  </a:lnTo>
                  <a:lnTo>
                    <a:pt x="475" y="259"/>
                  </a:lnTo>
                  <a:lnTo>
                    <a:pt x="476" y="256"/>
                  </a:lnTo>
                  <a:lnTo>
                    <a:pt x="478" y="255"/>
                  </a:lnTo>
                  <a:lnTo>
                    <a:pt x="479" y="253"/>
                  </a:lnTo>
                  <a:lnTo>
                    <a:pt x="479" y="240"/>
                  </a:lnTo>
                  <a:lnTo>
                    <a:pt x="479" y="227"/>
                  </a:lnTo>
                  <a:lnTo>
                    <a:pt x="476" y="221"/>
                  </a:lnTo>
                  <a:lnTo>
                    <a:pt x="471" y="213"/>
                  </a:lnTo>
                  <a:lnTo>
                    <a:pt x="467" y="204"/>
                  </a:lnTo>
                  <a:lnTo>
                    <a:pt x="462" y="193"/>
                  </a:lnTo>
                  <a:lnTo>
                    <a:pt x="458" y="182"/>
                  </a:lnTo>
                  <a:lnTo>
                    <a:pt x="456" y="172"/>
                  </a:lnTo>
                  <a:lnTo>
                    <a:pt x="454" y="162"/>
                  </a:lnTo>
                  <a:lnTo>
                    <a:pt x="452" y="154"/>
                  </a:lnTo>
                  <a:lnTo>
                    <a:pt x="443" y="145"/>
                  </a:lnTo>
                  <a:lnTo>
                    <a:pt x="443" y="135"/>
                  </a:lnTo>
                  <a:lnTo>
                    <a:pt x="437" y="135"/>
                  </a:lnTo>
                  <a:lnTo>
                    <a:pt x="430" y="135"/>
                  </a:lnTo>
                  <a:lnTo>
                    <a:pt x="420" y="134"/>
                  </a:lnTo>
                  <a:lnTo>
                    <a:pt x="397" y="128"/>
                  </a:lnTo>
                  <a:lnTo>
                    <a:pt x="372" y="124"/>
                  </a:lnTo>
                  <a:lnTo>
                    <a:pt x="358" y="122"/>
                  </a:lnTo>
                  <a:lnTo>
                    <a:pt x="356" y="121"/>
                  </a:lnTo>
                  <a:lnTo>
                    <a:pt x="353" y="117"/>
                  </a:lnTo>
                  <a:lnTo>
                    <a:pt x="347" y="115"/>
                  </a:lnTo>
                  <a:lnTo>
                    <a:pt x="341" y="112"/>
                  </a:lnTo>
                  <a:lnTo>
                    <a:pt x="324" y="105"/>
                  </a:lnTo>
                  <a:lnTo>
                    <a:pt x="305" y="97"/>
                  </a:lnTo>
                  <a:lnTo>
                    <a:pt x="286" y="88"/>
                  </a:lnTo>
                  <a:lnTo>
                    <a:pt x="269" y="81"/>
                  </a:lnTo>
                  <a:lnTo>
                    <a:pt x="263" y="77"/>
                  </a:lnTo>
                  <a:lnTo>
                    <a:pt x="258" y="74"/>
                  </a:lnTo>
                  <a:lnTo>
                    <a:pt x="255" y="70"/>
                  </a:lnTo>
                  <a:lnTo>
                    <a:pt x="254" y="68"/>
                  </a:lnTo>
                  <a:lnTo>
                    <a:pt x="239" y="66"/>
                  </a:lnTo>
                  <a:lnTo>
                    <a:pt x="226" y="64"/>
                  </a:lnTo>
                  <a:lnTo>
                    <a:pt x="221" y="55"/>
                  </a:lnTo>
                  <a:lnTo>
                    <a:pt x="212" y="53"/>
                  </a:lnTo>
                  <a:lnTo>
                    <a:pt x="203" y="49"/>
                  </a:lnTo>
                  <a:lnTo>
                    <a:pt x="201" y="45"/>
                  </a:lnTo>
                  <a:lnTo>
                    <a:pt x="199" y="40"/>
                  </a:lnTo>
                  <a:lnTo>
                    <a:pt x="196" y="40"/>
                  </a:lnTo>
                  <a:lnTo>
                    <a:pt x="192" y="38"/>
                  </a:lnTo>
                  <a:lnTo>
                    <a:pt x="191" y="35"/>
                  </a:lnTo>
                  <a:lnTo>
                    <a:pt x="190" y="31"/>
                  </a:lnTo>
                  <a:lnTo>
                    <a:pt x="186" y="30"/>
                  </a:lnTo>
                  <a:lnTo>
                    <a:pt x="179" y="27"/>
                  </a:lnTo>
                  <a:lnTo>
                    <a:pt x="174" y="22"/>
                  </a:lnTo>
                  <a:lnTo>
                    <a:pt x="172" y="18"/>
                  </a:lnTo>
                  <a:lnTo>
                    <a:pt x="167" y="18"/>
                  </a:lnTo>
                  <a:lnTo>
                    <a:pt x="163" y="18"/>
                  </a:lnTo>
                  <a:lnTo>
                    <a:pt x="162" y="17"/>
                  </a:lnTo>
                  <a:lnTo>
                    <a:pt x="162" y="16"/>
                  </a:lnTo>
                  <a:lnTo>
                    <a:pt x="162" y="15"/>
                  </a:lnTo>
                  <a:lnTo>
                    <a:pt x="162" y="15"/>
                  </a:lnTo>
                  <a:lnTo>
                    <a:pt x="161" y="14"/>
                  </a:lnTo>
                  <a:lnTo>
                    <a:pt x="159" y="14"/>
                  </a:lnTo>
                  <a:lnTo>
                    <a:pt x="155" y="9"/>
                  </a:lnTo>
                  <a:lnTo>
                    <a:pt x="153" y="5"/>
                  </a:lnTo>
                  <a:lnTo>
                    <a:pt x="132" y="3"/>
                  </a:lnTo>
                  <a:lnTo>
                    <a:pt x="109" y="2"/>
                  </a:lnTo>
                  <a:lnTo>
                    <a:pt x="83" y="1"/>
                  </a:lnTo>
                  <a:lnTo>
                    <a:pt x="5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7" name="Freeform 70">
              <a:extLst>
                <a:ext uri="{FF2B5EF4-FFF2-40B4-BE49-F238E27FC236}">
                  <a16:creationId xmlns:a16="http://schemas.microsoft.com/office/drawing/2014/main" id="{44320F63-F9E9-4518-BCD8-46CC1619EEDF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978900" y="4579938"/>
              <a:ext cx="66675" cy="46535"/>
            </a:xfrm>
            <a:custGeom>
              <a:avLst/>
              <a:gdLst/>
              <a:ahLst/>
              <a:cxnLst>
                <a:cxn ang="0">
                  <a:pos x="109" y="59"/>
                </a:cxn>
                <a:cxn ang="0">
                  <a:pos x="90" y="77"/>
                </a:cxn>
                <a:cxn ang="0">
                  <a:pos x="81" y="84"/>
                </a:cxn>
                <a:cxn ang="0">
                  <a:pos x="59" y="90"/>
                </a:cxn>
                <a:cxn ang="0">
                  <a:pos x="32" y="99"/>
                </a:cxn>
                <a:cxn ang="0">
                  <a:pos x="13" y="113"/>
                </a:cxn>
                <a:cxn ang="0">
                  <a:pos x="6" y="117"/>
                </a:cxn>
                <a:cxn ang="0">
                  <a:pos x="72" y="117"/>
                </a:cxn>
                <a:cxn ang="0">
                  <a:pos x="87" y="130"/>
                </a:cxn>
                <a:cxn ang="0">
                  <a:pos x="118" y="154"/>
                </a:cxn>
                <a:cxn ang="0">
                  <a:pos x="125" y="176"/>
                </a:cxn>
                <a:cxn ang="0">
                  <a:pos x="131" y="185"/>
                </a:cxn>
                <a:cxn ang="0">
                  <a:pos x="139" y="220"/>
                </a:cxn>
                <a:cxn ang="0">
                  <a:pos x="145" y="249"/>
                </a:cxn>
                <a:cxn ang="0">
                  <a:pos x="151" y="268"/>
                </a:cxn>
                <a:cxn ang="0">
                  <a:pos x="154" y="276"/>
                </a:cxn>
                <a:cxn ang="0">
                  <a:pos x="164" y="277"/>
                </a:cxn>
                <a:cxn ang="0">
                  <a:pos x="167" y="280"/>
                </a:cxn>
                <a:cxn ang="0">
                  <a:pos x="194" y="283"/>
                </a:cxn>
                <a:cxn ang="0">
                  <a:pos x="253" y="284"/>
                </a:cxn>
                <a:cxn ang="0">
                  <a:pos x="314" y="282"/>
                </a:cxn>
                <a:cxn ang="0">
                  <a:pos x="358" y="278"/>
                </a:cxn>
                <a:cxn ang="0">
                  <a:pos x="367" y="276"/>
                </a:cxn>
                <a:cxn ang="0">
                  <a:pos x="371" y="244"/>
                </a:cxn>
                <a:cxn ang="0">
                  <a:pos x="352" y="231"/>
                </a:cxn>
                <a:cxn ang="0">
                  <a:pos x="333" y="211"/>
                </a:cxn>
                <a:cxn ang="0">
                  <a:pos x="321" y="203"/>
                </a:cxn>
                <a:cxn ang="0">
                  <a:pos x="309" y="186"/>
                </a:cxn>
                <a:cxn ang="0">
                  <a:pos x="299" y="167"/>
                </a:cxn>
                <a:cxn ang="0">
                  <a:pos x="285" y="158"/>
                </a:cxn>
                <a:cxn ang="0">
                  <a:pos x="275" y="132"/>
                </a:cxn>
                <a:cxn ang="0">
                  <a:pos x="264" y="88"/>
                </a:cxn>
                <a:cxn ang="0">
                  <a:pos x="259" y="59"/>
                </a:cxn>
                <a:cxn ang="0">
                  <a:pos x="248" y="46"/>
                </a:cxn>
                <a:cxn ang="0">
                  <a:pos x="247" y="31"/>
                </a:cxn>
                <a:cxn ang="0">
                  <a:pos x="245" y="24"/>
                </a:cxn>
                <a:cxn ang="0">
                  <a:pos x="237" y="7"/>
                </a:cxn>
                <a:cxn ang="0">
                  <a:pos x="214" y="3"/>
                </a:cxn>
                <a:cxn ang="0">
                  <a:pos x="192" y="12"/>
                </a:cxn>
                <a:cxn ang="0">
                  <a:pos x="167" y="18"/>
                </a:cxn>
                <a:cxn ang="0">
                  <a:pos x="156" y="27"/>
                </a:cxn>
                <a:cxn ang="0">
                  <a:pos x="145" y="30"/>
                </a:cxn>
                <a:cxn ang="0">
                  <a:pos x="128" y="33"/>
                </a:cxn>
                <a:cxn ang="0">
                  <a:pos x="118" y="40"/>
                </a:cxn>
              </a:cxnLst>
              <a:rect l="0" t="0" r="r" b="b"/>
              <a:pathLst>
                <a:path w="371" h="284">
                  <a:moveTo>
                    <a:pt x="118" y="40"/>
                  </a:moveTo>
                  <a:lnTo>
                    <a:pt x="115" y="47"/>
                  </a:lnTo>
                  <a:lnTo>
                    <a:pt x="109" y="59"/>
                  </a:lnTo>
                  <a:lnTo>
                    <a:pt x="102" y="71"/>
                  </a:lnTo>
                  <a:lnTo>
                    <a:pt x="99" y="77"/>
                  </a:lnTo>
                  <a:lnTo>
                    <a:pt x="90" y="77"/>
                  </a:lnTo>
                  <a:lnTo>
                    <a:pt x="89" y="79"/>
                  </a:lnTo>
                  <a:lnTo>
                    <a:pt x="85" y="81"/>
                  </a:lnTo>
                  <a:lnTo>
                    <a:pt x="81" y="84"/>
                  </a:lnTo>
                  <a:lnTo>
                    <a:pt x="77" y="85"/>
                  </a:lnTo>
                  <a:lnTo>
                    <a:pt x="65" y="89"/>
                  </a:lnTo>
                  <a:lnTo>
                    <a:pt x="59" y="90"/>
                  </a:lnTo>
                  <a:lnTo>
                    <a:pt x="52" y="95"/>
                  </a:lnTo>
                  <a:lnTo>
                    <a:pt x="45" y="99"/>
                  </a:lnTo>
                  <a:lnTo>
                    <a:pt x="32" y="99"/>
                  </a:lnTo>
                  <a:lnTo>
                    <a:pt x="23" y="104"/>
                  </a:lnTo>
                  <a:lnTo>
                    <a:pt x="20" y="108"/>
                  </a:lnTo>
                  <a:lnTo>
                    <a:pt x="13" y="113"/>
                  </a:lnTo>
                  <a:lnTo>
                    <a:pt x="5" y="116"/>
                  </a:lnTo>
                  <a:lnTo>
                    <a:pt x="0" y="117"/>
                  </a:lnTo>
                  <a:lnTo>
                    <a:pt x="6" y="117"/>
                  </a:lnTo>
                  <a:lnTo>
                    <a:pt x="27" y="117"/>
                  </a:lnTo>
                  <a:lnTo>
                    <a:pt x="53" y="117"/>
                  </a:lnTo>
                  <a:lnTo>
                    <a:pt x="72" y="117"/>
                  </a:lnTo>
                  <a:lnTo>
                    <a:pt x="77" y="122"/>
                  </a:lnTo>
                  <a:lnTo>
                    <a:pt x="81" y="126"/>
                  </a:lnTo>
                  <a:lnTo>
                    <a:pt x="87" y="130"/>
                  </a:lnTo>
                  <a:lnTo>
                    <a:pt x="98" y="140"/>
                  </a:lnTo>
                  <a:lnTo>
                    <a:pt x="110" y="149"/>
                  </a:lnTo>
                  <a:lnTo>
                    <a:pt x="118" y="154"/>
                  </a:lnTo>
                  <a:lnTo>
                    <a:pt x="119" y="161"/>
                  </a:lnTo>
                  <a:lnTo>
                    <a:pt x="122" y="171"/>
                  </a:lnTo>
                  <a:lnTo>
                    <a:pt x="125" y="176"/>
                  </a:lnTo>
                  <a:lnTo>
                    <a:pt x="127" y="181"/>
                  </a:lnTo>
                  <a:lnTo>
                    <a:pt x="129" y="184"/>
                  </a:lnTo>
                  <a:lnTo>
                    <a:pt x="131" y="185"/>
                  </a:lnTo>
                  <a:lnTo>
                    <a:pt x="132" y="196"/>
                  </a:lnTo>
                  <a:lnTo>
                    <a:pt x="136" y="207"/>
                  </a:lnTo>
                  <a:lnTo>
                    <a:pt x="139" y="220"/>
                  </a:lnTo>
                  <a:lnTo>
                    <a:pt x="140" y="231"/>
                  </a:lnTo>
                  <a:lnTo>
                    <a:pt x="141" y="240"/>
                  </a:lnTo>
                  <a:lnTo>
                    <a:pt x="145" y="249"/>
                  </a:lnTo>
                  <a:lnTo>
                    <a:pt x="148" y="258"/>
                  </a:lnTo>
                  <a:lnTo>
                    <a:pt x="149" y="267"/>
                  </a:lnTo>
                  <a:lnTo>
                    <a:pt x="151" y="268"/>
                  </a:lnTo>
                  <a:lnTo>
                    <a:pt x="154" y="270"/>
                  </a:lnTo>
                  <a:lnTo>
                    <a:pt x="154" y="272"/>
                  </a:lnTo>
                  <a:lnTo>
                    <a:pt x="154" y="276"/>
                  </a:lnTo>
                  <a:lnTo>
                    <a:pt x="158" y="276"/>
                  </a:lnTo>
                  <a:lnTo>
                    <a:pt x="163" y="277"/>
                  </a:lnTo>
                  <a:lnTo>
                    <a:pt x="164" y="277"/>
                  </a:lnTo>
                  <a:lnTo>
                    <a:pt x="166" y="278"/>
                  </a:lnTo>
                  <a:lnTo>
                    <a:pt x="167" y="279"/>
                  </a:lnTo>
                  <a:lnTo>
                    <a:pt x="167" y="280"/>
                  </a:lnTo>
                  <a:lnTo>
                    <a:pt x="180" y="280"/>
                  </a:lnTo>
                  <a:lnTo>
                    <a:pt x="185" y="282"/>
                  </a:lnTo>
                  <a:lnTo>
                    <a:pt x="194" y="283"/>
                  </a:lnTo>
                  <a:lnTo>
                    <a:pt x="207" y="283"/>
                  </a:lnTo>
                  <a:lnTo>
                    <a:pt x="223" y="284"/>
                  </a:lnTo>
                  <a:lnTo>
                    <a:pt x="253" y="284"/>
                  </a:lnTo>
                  <a:lnTo>
                    <a:pt x="271" y="284"/>
                  </a:lnTo>
                  <a:lnTo>
                    <a:pt x="292" y="284"/>
                  </a:lnTo>
                  <a:lnTo>
                    <a:pt x="314" y="282"/>
                  </a:lnTo>
                  <a:lnTo>
                    <a:pt x="337" y="281"/>
                  </a:lnTo>
                  <a:lnTo>
                    <a:pt x="357" y="280"/>
                  </a:lnTo>
                  <a:lnTo>
                    <a:pt x="358" y="278"/>
                  </a:lnTo>
                  <a:lnTo>
                    <a:pt x="360" y="277"/>
                  </a:lnTo>
                  <a:lnTo>
                    <a:pt x="363" y="276"/>
                  </a:lnTo>
                  <a:lnTo>
                    <a:pt x="367" y="276"/>
                  </a:lnTo>
                  <a:lnTo>
                    <a:pt x="371" y="271"/>
                  </a:lnTo>
                  <a:lnTo>
                    <a:pt x="371" y="258"/>
                  </a:lnTo>
                  <a:lnTo>
                    <a:pt x="371" y="244"/>
                  </a:lnTo>
                  <a:lnTo>
                    <a:pt x="367" y="235"/>
                  </a:lnTo>
                  <a:lnTo>
                    <a:pt x="359" y="233"/>
                  </a:lnTo>
                  <a:lnTo>
                    <a:pt x="352" y="231"/>
                  </a:lnTo>
                  <a:lnTo>
                    <a:pt x="347" y="224"/>
                  </a:lnTo>
                  <a:lnTo>
                    <a:pt x="339" y="215"/>
                  </a:lnTo>
                  <a:lnTo>
                    <a:pt x="333" y="211"/>
                  </a:lnTo>
                  <a:lnTo>
                    <a:pt x="329" y="207"/>
                  </a:lnTo>
                  <a:lnTo>
                    <a:pt x="324" y="204"/>
                  </a:lnTo>
                  <a:lnTo>
                    <a:pt x="321" y="203"/>
                  </a:lnTo>
                  <a:lnTo>
                    <a:pt x="317" y="199"/>
                  </a:lnTo>
                  <a:lnTo>
                    <a:pt x="314" y="193"/>
                  </a:lnTo>
                  <a:lnTo>
                    <a:pt x="309" y="186"/>
                  </a:lnTo>
                  <a:lnTo>
                    <a:pt x="303" y="180"/>
                  </a:lnTo>
                  <a:lnTo>
                    <a:pt x="299" y="176"/>
                  </a:lnTo>
                  <a:lnTo>
                    <a:pt x="299" y="167"/>
                  </a:lnTo>
                  <a:lnTo>
                    <a:pt x="294" y="163"/>
                  </a:lnTo>
                  <a:lnTo>
                    <a:pt x="290" y="161"/>
                  </a:lnTo>
                  <a:lnTo>
                    <a:pt x="285" y="158"/>
                  </a:lnTo>
                  <a:lnTo>
                    <a:pt x="283" y="151"/>
                  </a:lnTo>
                  <a:lnTo>
                    <a:pt x="280" y="140"/>
                  </a:lnTo>
                  <a:lnTo>
                    <a:pt x="275" y="132"/>
                  </a:lnTo>
                  <a:lnTo>
                    <a:pt x="271" y="126"/>
                  </a:lnTo>
                  <a:lnTo>
                    <a:pt x="270" y="108"/>
                  </a:lnTo>
                  <a:lnTo>
                    <a:pt x="264" y="88"/>
                  </a:lnTo>
                  <a:lnTo>
                    <a:pt x="262" y="78"/>
                  </a:lnTo>
                  <a:lnTo>
                    <a:pt x="260" y="68"/>
                  </a:lnTo>
                  <a:lnTo>
                    <a:pt x="259" y="59"/>
                  </a:lnTo>
                  <a:lnTo>
                    <a:pt x="257" y="50"/>
                  </a:lnTo>
                  <a:lnTo>
                    <a:pt x="253" y="48"/>
                  </a:lnTo>
                  <a:lnTo>
                    <a:pt x="248" y="46"/>
                  </a:lnTo>
                  <a:lnTo>
                    <a:pt x="248" y="38"/>
                  </a:lnTo>
                  <a:lnTo>
                    <a:pt x="248" y="31"/>
                  </a:lnTo>
                  <a:lnTo>
                    <a:pt x="247" y="31"/>
                  </a:lnTo>
                  <a:lnTo>
                    <a:pt x="246" y="29"/>
                  </a:lnTo>
                  <a:lnTo>
                    <a:pt x="245" y="27"/>
                  </a:lnTo>
                  <a:lnTo>
                    <a:pt x="245" y="24"/>
                  </a:lnTo>
                  <a:lnTo>
                    <a:pt x="244" y="18"/>
                  </a:lnTo>
                  <a:lnTo>
                    <a:pt x="244" y="13"/>
                  </a:lnTo>
                  <a:lnTo>
                    <a:pt x="237" y="7"/>
                  </a:lnTo>
                  <a:lnTo>
                    <a:pt x="231" y="0"/>
                  </a:lnTo>
                  <a:lnTo>
                    <a:pt x="222" y="1"/>
                  </a:lnTo>
                  <a:lnTo>
                    <a:pt x="214" y="3"/>
                  </a:lnTo>
                  <a:lnTo>
                    <a:pt x="206" y="5"/>
                  </a:lnTo>
                  <a:lnTo>
                    <a:pt x="199" y="9"/>
                  </a:lnTo>
                  <a:lnTo>
                    <a:pt x="192" y="12"/>
                  </a:lnTo>
                  <a:lnTo>
                    <a:pt x="184" y="15"/>
                  </a:lnTo>
                  <a:lnTo>
                    <a:pt x="176" y="18"/>
                  </a:lnTo>
                  <a:lnTo>
                    <a:pt x="167" y="18"/>
                  </a:lnTo>
                  <a:lnTo>
                    <a:pt x="165" y="22"/>
                  </a:lnTo>
                  <a:lnTo>
                    <a:pt x="163" y="27"/>
                  </a:lnTo>
                  <a:lnTo>
                    <a:pt x="156" y="27"/>
                  </a:lnTo>
                  <a:lnTo>
                    <a:pt x="149" y="27"/>
                  </a:lnTo>
                  <a:lnTo>
                    <a:pt x="148" y="29"/>
                  </a:lnTo>
                  <a:lnTo>
                    <a:pt x="145" y="30"/>
                  </a:lnTo>
                  <a:lnTo>
                    <a:pt x="139" y="31"/>
                  </a:lnTo>
                  <a:lnTo>
                    <a:pt x="133" y="32"/>
                  </a:lnTo>
                  <a:lnTo>
                    <a:pt x="128" y="33"/>
                  </a:lnTo>
                  <a:lnTo>
                    <a:pt x="122" y="36"/>
                  </a:lnTo>
                  <a:lnTo>
                    <a:pt x="119" y="38"/>
                  </a:lnTo>
                  <a:lnTo>
                    <a:pt x="118" y="4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8" name="Freeform 71">
              <a:extLst>
                <a:ext uri="{FF2B5EF4-FFF2-40B4-BE49-F238E27FC236}">
                  <a16:creationId xmlns:a16="http://schemas.microsoft.com/office/drawing/2014/main" id="{D650821C-A880-4E71-B463-D6B98AA38CD7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961438" y="4532313"/>
              <a:ext cx="52364" cy="33338"/>
            </a:xfrm>
            <a:custGeom>
              <a:avLst/>
              <a:gdLst/>
              <a:ahLst/>
              <a:cxnLst>
                <a:cxn ang="0">
                  <a:pos x="9" y="29"/>
                </a:cxn>
                <a:cxn ang="0">
                  <a:pos x="0" y="33"/>
                </a:cxn>
                <a:cxn ang="0">
                  <a:pos x="9" y="40"/>
                </a:cxn>
                <a:cxn ang="0">
                  <a:pos x="13" y="48"/>
                </a:cxn>
                <a:cxn ang="0">
                  <a:pos x="33" y="57"/>
                </a:cxn>
                <a:cxn ang="0">
                  <a:pos x="48" y="63"/>
                </a:cxn>
                <a:cxn ang="0">
                  <a:pos x="59" y="79"/>
                </a:cxn>
                <a:cxn ang="0">
                  <a:pos x="72" y="88"/>
                </a:cxn>
                <a:cxn ang="0">
                  <a:pos x="97" y="110"/>
                </a:cxn>
                <a:cxn ang="0">
                  <a:pos x="104" y="121"/>
                </a:cxn>
                <a:cxn ang="0">
                  <a:pos x="116" y="133"/>
                </a:cxn>
                <a:cxn ang="0">
                  <a:pos x="124" y="137"/>
                </a:cxn>
                <a:cxn ang="0">
                  <a:pos x="129" y="144"/>
                </a:cxn>
                <a:cxn ang="0">
                  <a:pos x="144" y="152"/>
                </a:cxn>
                <a:cxn ang="0">
                  <a:pos x="154" y="165"/>
                </a:cxn>
                <a:cxn ang="0">
                  <a:pos x="172" y="174"/>
                </a:cxn>
                <a:cxn ang="0">
                  <a:pos x="184" y="185"/>
                </a:cxn>
                <a:cxn ang="0">
                  <a:pos x="203" y="187"/>
                </a:cxn>
                <a:cxn ang="0">
                  <a:pos x="203" y="178"/>
                </a:cxn>
                <a:cxn ang="0">
                  <a:pos x="212" y="156"/>
                </a:cxn>
                <a:cxn ang="0">
                  <a:pos x="222" y="138"/>
                </a:cxn>
                <a:cxn ang="0">
                  <a:pos x="244" y="124"/>
                </a:cxn>
                <a:cxn ang="0">
                  <a:pos x="252" y="116"/>
                </a:cxn>
                <a:cxn ang="0">
                  <a:pos x="262" y="110"/>
                </a:cxn>
                <a:cxn ang="0">
                  <a:pos x="267" y="101"/>
                </a:cxn>
                <a:cxn ang="0">
                  <a:pos x="274" y="89"/>
                </a:cxn>
                <a:cxn ang="0">
                  <a:pos x="280" y="75"/>
                </a:cxn>
                <a:cxn ang="0">
                  <a:pos x="262" y="61"/>
                </a:cxn>
                <a:cxn ang="0">
                  <a:pos x="253" y="52"/>
                </a:cxn>
                <a:cxn ang="0">
                  <a:pos x="244" y="47"/>
                </a:cxn>
                <a:cxn ang="0">
                  <a:pos x="236" y="40"/>
                </a:cxn>
                <a:cxn ang="0">
                  <a:pos x="231" y="33"/>
                </a:cxn>
                <a:cxn ang="0">
                  <a:pos x="222" y="29"/>
                </a:cxn>
                <a:cxn ang="0">
                  <a:pos x="212" y="29"/>
                </a:cxn>
                <a:cxn ang="0">
                  <a:pos x="198" y="20"/>
                </a:cxn>
                <a:cxn ang="0">
                  <a:pos x="176" y="20"/>
                </a:cxn>
                <a:cxn ang="0">
                  <a:pos x="156" y="20"/>
                </a:cxn>
                <a:cxn ang="0">
                  <a:pos x="136" y="20"/>
                </a:cxn>
                <a:cxn ang="0">
                  <a:pos x="126" y="20"/>
                </a:cxn>
                <a:cxn ang="0">
                  <a:pos x="104" y="20"/>
                </a:cxn>
                <a:cxn ang="0">
                  <a:pos x="86" y="24"/>
                </a:cxn>
                <a:cxn ang="0">
                  <a:pos x="79" y="18"/>
                </a:cxn>
                <a:cxn ang="0">
                  <a:pos x="68" y="11"/>
                </a:cxn>
                <a:cxn ang="0">
                  <a:pos x="54" y="7"/>
                </a:cxn>
                <a:cxn ang="0">
                  <a:pos x="42" y="0"/>
                </a:cxn>
                <a:cxn ang="0">
                  <a:pos x="33" y="1"/>
                </a:cxn>
              </a:cxnLst>
              <a:rect l="0" t="0" r="r" b="b"/>
              <a:pathLst>
                <a:path w="280" h="187">
                  <a:moveTo>
                    <a:pt x="31" y="2"/>
                  </a:moveTo>
                  <a:lnTo>
                    <a:pt x="20" y="14"/>
                  </a:lnTo>
                  <a:lnTo>
                    <a:pt x="9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2" y="37"/>
                  </a:lnTo>
                  <a:lnTo>
                    <a:pt x="6" y="39"/>
                  </a:lnTo>
                  <a:lnTo>
                    <a:pt x="9" y="40"/>
                  </a:lnTo>
                  <a:lnTo>
                    <a:pt x="11" y="42"/>
                  </a:lnTo>
                  <a:lnTo>
                    <a:pt x="13" y="44"/>
                  </a:lnTo>
                  <a:lnTo>
                    <a:pt x="13" y="48"/>
                  </a:lnTo>
                  <a:lnTo>
                    <a:pt x="22" y="50"/>
                  </a:lnTo>
                  <a:lnTo>
                    <a:pt x="27" y="52"/>
                  </a:lnTo>
                  <a:lnTo>
                    <a:pt x="33" y="57"/>
                  </a:lnTo>
                  <a:lnTo>
                    <a:pt x="40" y="61"/>
                  </a:lnTo>
                  <a:lnTo>
                    <a:pt x="42" y="61"/>
                  </a:lnTo>
                  <a:lnTo>
                    <a:pt x="48" y="63"/>
                  </a:lnTo>
                  <a:lnTo>
                    <a:pt x="52" y="67"/>
                  </a:lnTo>
                  <a:lnTo>
                    <a:pt x="54" y="70"/>
                  </a:lnTo>
                  <a:lnTo>
                    <a:pt x="59" y="79"/>
                  </a:lnTo>
                  <a:lnTo>
                    <a:pt x="61" y="79"/>
                  </a:lnTo>
                  <a:lnTo>
                    <a:pt x="63" y="79"/>
                  </a:lnTo>
                  <a:lnTo>
                    <a:pt x="72" y="88"/>
                  </a:lnTo>
                  <a:lnTo>
                    <a:pt x="85" y="99"/>
                  </a:lnTo>
                  <a:lnTo>
                    <a:pt x="95" y="106"/>
                  </a:lnTo>
                  <a:lnTo>
                    <a:pt x="97" y="110"/>
                  </a:lnTo>
                  <a:lnTo>
                    <a:pt x="99" y="115"/>
                  </a:lnTo>
                  <a:lnTo>
                    <a:pt x="99" y="119"/>
                  </a:lnTo>
                  <a:lnTo>
                    <a:pt x="104" y="121"/>
                  </a:lnTo>
                  <a:lnTo>
                    <a:pt x="108" y="124"/>
                  </a:lnTo>
                  <a:lnTo>
                    <a:pt x="111" y="128"/>
                  </a:lnTo>
                  <a:lnTo>
                    <a:pt x="116" y="133"/>
                  </a:lnTo>
                  <a:lnTo>
                    <a:pt x="118" y="135"/>
                  </a:lnTo>
                  <a:lnTo>
                    <a:pt x="120" y="136"/>
                  </a:lnTo>
                  <a:lnTo>
                    <a:pt x="124" y="137"/>
                  </a:lnTo>
                  <a:lnTo>
                    <a:pt x="126" y="138"/>
                  </a:lnTo>
                  <a:lnTo>
                    <a:pt x="127" y="142"/>
                  </a:lnTo>
                  <a:lnTo>
                    <a:pt x="129" y="144"/>
                  </a:lnTo>
                  <a:lnTo>
                    <a:pt x="133" y="146"/>
                  </a:lnTo>
                  <a:lnTo>
                    <a:pt x="136" y="147"/>
                  </a:lnTo>
                  <a:lnTo>
                    <a:pt x="144" y="152"/>
                  </a:lnTo>
                  <a:lnTo>
                    <a:pt x="149" y="156"/>
                  </a:lnTo>
                  <a:lnTo>
                    <a:pt x="152" y="161"/>
                  </a:lnTo>
                  <a:lnTo>
                    <a:pt x="154" y="165"/>
                  </a:lnTo>
                  <a:lnTo>
                    <a:pt x="163" y="169"/>
                  </a:lnTo>
                  <a:lnTo>
                    <a:pt x="167" y="172"/>
                  </a:lnTo>
                  <a:lnTo>
                    <a:pt x="172" y="174"/>
                  </a:lnTo>
                  <a:lnTo>
                    <a:pt x="176" y="176"/>
                  </a:lnTo>
                  <a:lnTo>
                    <a:pt x="181" y="181"/>
                  </a:lnTo>
                  <a:lnTo>
                    <a:pt x="184" y="185"/>
                  </a:lnTo>
                  <a:lnTo>
                    <a:pt x="185" y="187"/>
                  </a:lnTo>
                  <a:lnTo>
                    <a:pt x="194" y="187"/>
                  </a:lnTo>
                  <a:lnTo>
                    <a:pt x="203" y="187"/>
                  </a:lnTo>
                  <a:lnTo>
                    <a:pt x="203" y="183"/>
                  </a:lnTo>
                  <a:lnTo>
                    <a:pt x="203" y="181"/>
                  </a:lnTo>
                  <a:lnTo>
                    <a:pt x="203" y="178"/>
                  </a:lnTo>
                  <a:lnTo>
                    <a:pt x="203" y="174"/>
                  </a:lnTo>
                  <a:lnTo>
                    <a:pt x="207" y="165"/>
                  </a:lnTo>
                  <a:lnTo>
                    <a:pt x="212" y="156"/>
                  </a:lnTo>
                  <a:lnTo>
                    <a:pt x="216" y="156"/>
                  </a:lnTo>
                  <a:lnTo>
                    <a:pt x="219" y="148"/>
                  </a:lnTo>
                  <a:lnTo>
                    <a:pt x="222" y="138"/>
                  </a:lnTo>
                  <a:lnTo>
                    <a:pt x="226" y="138"/>
                  </a:lnTo>
                  <a:lnTo>
                    <a:pt x="233" y="130"/>
                  </a:lnTo>
                  <a:lnTo>
                    <a:pt x="244" y="124"/>
                  </a:lnTo>
                  <a:lnTo>
                    <a:pt x="245" y="120"/>
                  </a:lnTo>
                  <a:lnTo>
                    <a:pt x="249" y="118"/>
                  </a:lnTo>
                  <a:lnTo>
                    <a:pt x="252" y="116"/>
                  </a:lnTo>
                  <a:lnTo>
                    <a:pt x="253" y="115"/>
                  </a:lnTo>
                  <a:lnTo>
                    <a:pt x="258" y="113"/>
                  </a:lnTo>
                  <a:lnTo>
                    <a:pt x="262" y="110"/>
                  </a:lnTo>
                  <a:lnTo>
                    <a:pt x="262" y="106"/>
                  </a:lnTo>
                  <a:lnTo>
                    <a:pt x="264" y="104"/>
                  </a:lnTo>
                  <a:lnTo>
                    <a:pt x="267" y="101"/>
                  </a:lnTo>
                  <a:lnTo>
                    <a:pt x="271" y="97"/>
                  </a:lnTo>
                  <a:lnTo>
                    <a:pt x="272" y="94"/>
                  </a:lnTo>
                  <a:lnTo>
                    <a:pt x="274" y="89"/>
                  </a:lnTo>
                  <a:lnTo>
                    <a:pt x="277" y="85"/>
                  </a:lnTo>
                  <a:lnTo>
                    <a:pt x="280" y="84"/>
                  </a:lnTo>
                  <a:lnTo>
                    <a:pt x="280" y="75"/>
                  </a:lnTo>
                  <a:lnTo>
                    <a:pt x="280" y="66"/>
                  </a:lnTo>
                  <a:lnTo>
                    <a:pt x="271" y="66"/>
                  </a:lnTo>
                  <a:lnTo>
                    <a:pt x="262" y="61"/>
                  </a:lnTo>
                  <a:lnTo>
                    <a:pt x="260" y="57"/>
                  </a:lnTo>
                  <a:lnTo>
                    <a:pt x="258" y="52"/>
                  </a:lnTo>
                  <a:lnTo>
                    <a:pt x="253" y="52"/>
                  </a:lnTo>
                  <a:lnTo>
                    <a:pt x="251" y="50"/>
                  </a:lnTo>
                  <a:lnTo>
                    <a:pt x="249" y="48"/>
                  </a:lnTo>
                  <a:lnTo>
                    <a:pt x="244" y="47"/>
                  </a:lnTo>
                  <a:lnTo>
                    <a:pt x="240" y="43"/>
                  </a:lnTo>
                  <a:lnTo>
                    <a:pt x="238" y="42"/>
                  </a:lnTo>
                  <a:lnTo>
                    <a:pt x="236" y="40"/>
                  </a:lnTo>
                  <a:lnTo>
                    <a:pt x="235" y="37"/>
                  </a:lnTo>
                  <a:lnTo>
                    <a:pt x="235" y="33"/>
                  </a:lnTo>
                  <a:lnTo>
                    <a:pt x="231" y="33"/>
                  </a:lnTo>
                  <a:lnTo>
                    <a:pt x="229" y="33"/>
                  </a:lnTo>
                  <a:lnTo>
                    <a:pt x="226" y="33"/>
                  </a:lnTo>
                  <a:lnTo>
                    <a:pt x="222" y="29"/>
                  </a:lnTo>
                  <a:lnTo>
                    <a:pt x="219" y="29"/>
                  </a:lnTo>
                  <a:lnTo>
                    <a:pt x="216" y="29"/>
                  </a:lnTo>
                  <a:lnTo>
                    <a:pt x="212" y="29"/>
                  </a:lnTo>
                  <a:lnTo>
                    <a:pt x="207" y="24"/>
                  </a:lnTo>
                  <a:lnTo>
                    <a:pt x="203" y="20"/>
                  </a:lnTo>
                  <a:lnTo>
                    <a:pt x="198" y="20"/>
                  </a:lnTo>
                  <a:lnTo>
                    <a:pt x="194" y="20"/>
                  </a:lnTo>
                  <a:lnTo>
                    <a:pt x="185" y="20"/>
                  </a:lnTo>
                  <a:lnTo>
                    <a:pt x="176" y="20"/>
                  </a:lnTo>
                  <a:lnTo>
                    <a:pt x="169" y="20"/>
                  </a:lnTo>
                  <a:lnTo>
                    <a:pt x="163" y="20"/>
                  </a:lnTo>
                  <a:lnTo>
                    <a:pt x="156" y="20"/>
                  </a:lnTo>
                  <a:lnTo>
                    <a:pt x="149" y="20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0" y="20"/>
                  </a:lnTo>
                  <a:lnTo>
                    <a:pt x="128" y="20"/>
                  </a:lnTo>
                  <a:lnTo>
                    <a:pt x="126" y="20"/>
                  </a:lnTo>
                  <a:lnTo>
                    <a:pt x="121" y="20"/>
                  </a:lnTo>
                  <a:lnTo>
                    <a:pt x="113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95" y="24"/>
                  </a:lnTo>
                  <a:lnTo>
                    <a:pt x="86" y="24"/>
                  </a:lnTo>
                  <a:lnTo>
                    <a:pt x="86" y="20"/>
                  </a:lnTo>
                  <a:lnTo>
                    <a:pt x="84" y="20"/>
                  </a:lnTo>
                  <a:lnTo>
                    <a:pt x="79" y="18"/>
                  </a:lnTo>
                  <a:lnTo>
                    <a:pt x="75" y="14"/>
                  </a:lnTo>
                  <a:lnTo>
                    <a:pt x="72" y="11"/>
                  </a:lnTo>
                  <a:lnTo>
                    <a:pt x="68" y="11"/>
                  </a:lnTo>
                  <a:lnTo>
                    <a:pt x="63" y="11"/>
                  </a:lnTo>
                  <a:lnTo>
                    <a:pt x="59" y="11"/>
                  </a:lnTo>
                  <a:lnTo>
                    <a:pt x="54" y="7"/>
                  </a:lnTo>
                  <a:lnTo>
                    <a:pt x="50" y="2"/>
                  </a:lnTo>
                  <a:lnTo>
                    <a:pt x="48" y="1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7" y="0"/>
                  </a:lnTo>
                  <a:lnTo>
                    <a:pt x="33" y="1"/>
                  </a:lnTo>
                  <a:lnTo>
                    <a:pt x="31" y="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19" name="Freeform 72">
              <a:extLst>
                <a:ext uri="{FF2B5EF4-FFF2-40B4-BE49-F238E27FC236}">
                  <a16:creationId xmlns:a16="http://schemas.microsoft.com/office/drawing/2014/main" id="{D8DA3435-AE5A-4989-9471-F257F61C4F81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907463" y="4495800"/>
              <a:ext cx="39343" cy="33338"/>
            </a:xfrm>
            <a:custGeom>
              <a:avLst/>
              <a:gdLst/>
              <a:ahLst/>
              <a:cxnLst>
                <a:cxn ang="0">
                  <a:pos x="11" y="29"/>
                </a:cxn>
                <a:cxn ang="0">
                  <a:pos x="24" y="49"/>
                </a:cxn>
                <a:cxn ang="0">
                  <a:pos x="24" y="63"/>
                </a:cxn>
                <a:cxn ang="0">
                  <a:pos x="24" y="73"/>
                </a:cxn>
                <a:cxn ang="0">
                  <a:pos x="9" y="109"/>
                </a:cxn>
                <a:cxn ang="0">
                  <a:pos x="5" y="122"/>
                </a:cxn>
                <a:cxn ang="0">
                  <a:pos x="5" y="131"/>
                </a:cxn>
                <a:cxn ang="0">
                  <a:pos x="5" y="153"/>
                </a:cxn>
                <a:cxn ang="0">
                  <a:pos x="14" y="163"/>
                </a:cxn>
                <a:cxn ang="0">
                  <a:pos x="23" y="170"/>
                </a:cxn>
                <a:cxn ang="0">
                  <a:pos x="37" y="177"/>
                </a:cxn>
                <a:cxn ang="0">
                  <a:pos x="43" y="190"/>
                </a:cxn>
                <a:cxn ang="0">
                  <a:pos x="49" y="200"/>
                </a:cxn>
                <a:cxn ang="0">
                  <a:pos x="64" y="212"/>
                </a:cxn>
                <a:cxn ang="0">
                  <a:pos x="77" y="212"/>
                </a:cxn>
                <a:cxn ang="0">
                  <a:pos x="86" y="212"/>
                </a:cxn>
                <a:cxn ang="0">
                  <a:pos x="112" y="210"/>
                </a:cxn>
                <a:cxn ang="0">
                  <a:pos x="123" y="208"/>
                </a:cxn>
                <a:cxn ang="0">
                  <a:pos x="132" y="204"/>
                </a:cxn>
                <a:cxn ang="0">
                  <a:pos x="143" y="201"/>
                </a:cxn>
                <a:cxn ang="0">
                  <a:pos x="150" y="195"/>
                </a:cxn>
                <a:cxn ang="0">
                  <a:pos x="159" y="190"/>
                </a:cxn>
                <a:cxn ang="0">
                  <a:pos x="177" y="172"/>
                </a:cxn>
                <a:cxn ang="0">
                  <a:pos x="187" y="162"/>
                </a:cxn>
                <a:cxn ang="0">
                  <a:pos x="205" y="159"/>
                </a:cxn>
                <a:cxn ang="0">
                  <a:pos x="214" y="144"/>
                </a:cxn>
                <a:cxn ang="0">
                  <a:pos x="205" y="140"/>
                </a:cxn>
                <a:cxn ang="0">
                  <a:pos x="190" y="135"/>
                </a:cxn>
                <a:cxn ang="0">
                  <a:pos x="172" y="127"/>
                </a:cxn>
                <a:cxn ang="0">
                  <a:pos x="163" y="118"/>
                </a:cxn>
                <a:cxn ang="0">
                  <a:pos x="151" y="112"/>
                </a:cxn>
                <a:cxn ang="0">
                  <a:pos x="136" y="100"/>
                </a:cxn>
                <a:cxn ang="0">
                  <a:pos x="126" y="90"/>
                </a:cxn>
                <a:cxn ang="0">
                  <a:pos x="123" y="73"/>
                </a:cxn>
                <a:cxn ang="0">
                  <a:pos x="119" y="63"/>
                </a:cxn>
                <a:cxn ang="0">
                  <a:pos x="119" y="52"/>
                </a:cxn>
                <a:cxn ang="0">
                  <a:pos x="114" y="36"/>
                </a:cxn>
                <a:cxn ang="0">
                  <a:pos x="102" y="18"/>
                </a:cxn>
                <a:cxn ang="0">
                  <a:pos x="100" y="5"/>
                </a:cxn>
                <a:cxn ang="0">
                  <a:pos x="80" y="3"/>
                </a:cxn>
                <a:cxn ang="0">
                  <a:pos x="71" y="0"/>
                </a:cxn>
                <a:cxn ang="0">
                  <a:pos x="55" y="0"/>
                </a:cxn>
                <a:cxn ang="0">
                  <a:pos x="44" y="3"/>
                </a:cxn>
                <a:cxn ang="0">
                  <a:pos x="36" y="5"/>
                </a:cxn>
                <a:cxn ang="0">
                  <a:pos x="28" y="9"/>
                </a:cxn>
                <a:cxn ang="0">
                  <a:pos x="0" y="9"/>
                </a:cxn>
              </a:cxnLst>
              <a:rect l="0" t="0" r="r" b="b"/>
              <a:pathLst>
                <a:path w="214" h="212">
                  <a:moveTo>
                    <a:pt x="0" y="9"/>
                  </a:moveTo>
                  <a:lnTo>
                    <a:pt x="9" y="27"/>
                  </a:lnTo>
                  <a:lnTo>
                    <a:pt x="11" y="29"/>
                  </a:lnTo>
                  <a:lnTo>
                    <a:pt x="14" y="32"/>
                  </a:lnTo>
                  <a:lnTo>
                    <a:pt x="18" y="43"/>
                  </a:lnTo>
                  <a:lnTo>
                    <a:pt x="24" y="49"/>
                  </a:lnTo>
                  <a:lnTo>
                    <a:pt x="24" y="54"/>
                  </a:lnTo>
                  <a:lnTo>
                    <a:pt x="24" y="58"/>
                  </a:lnTo>
                  <a:lnTo>
                    <a:pt x="24" y="63"/>
                  </a:lnTo>
                  <a:lnTo>
                    <a:pt x="24" y="65"/>
                  </a:lnTo>
                  <a:lnTo>
                    <a:pt x="24" y="67"/>
                  </a:lnTo>
                  <a:lnTo>
                    <a:pt x="24" y="73"/>
                  </a:lnTo>
                  <a:lnTo>
                    <a:pt x="20" y="86"/>
                  </a:lnTo>
                  <a:lnTo>
                    <a:pt x="18" y="100"/>
                  </a:lnTo>
                  <a:lnTo>
                    <a:pt x="9" y="109"/>
                  </a:lnTo>
                  <a:lnTo>
                    <a:pt x="9" y="118"/>
                  </a:lnTo>
                  <a:lnTo>
                    <a:pt x="7" y="120"/>
                  </a:lnTo>
                  <a:lnTo>
                    <a:pt x="5" y="122"/>
                  </a:lnTo>
                  <a:lnTo>
                    <a:pt x="5" y="127"/>
                  </a:lnTo>
                  <a:lnTo>
                    <a:pt x="5" y="129"/>
                  </a:lnTo>
                  <a:lnTo>
                    <a:pt x="5" y="131"/>
                  </a:lnTo>
                  <a:lnTo>
                    <a:pt x="5" y="135"/>
                  </a:lnTo>
                  <a:lnTo>
                    <a:pt x="5" y="144"/>
                  </a:lnTo>
                  <a:lnTo>
                    <a:pt x="5" y="153"/>
                  </a:lnTo>
                  <a:lnTo>
                    <a:pt x="8" y="156"/>
                  </a:lnTo>
                  <a:lnTo>
                    <a:pt x="11" y="159"/>
                  </a:lnTo>
                  <a:lnTo>
                    <a:pt x="14" y="163"/>
                  </a:lnTo>
                  <a:lnTo>
                    <a:pt x="14" y="168"/>
                  </a:lnTo>
                  <a:lnTo>
                    <a:pt x="18" y="168"/>
                  </a:lnTo>
                  <a:lnTo>
                    <a:pt x="23" y="170"/>
                  </a:lnTo>
                  <a:lnTo>
                    <a:pt x="26" y="173"/>
                  </a:lnTo>
                  <a:lnTo>
                    <a:pt x="28" y="177"/>
                  </a:lnTo>
                  <a:lnTo>
                    <a:pt x="37" y="177"/>
                  </a:lnTo>
                  <a:lnTo>
                    <a:pt x="37" y="186"/>
                  </a:lnTo>
                  <a:lnTo>
                    <a:pt x="40" y="187"/>
                  </a:lnTo>
                  <a:lnTo>
                    <a:pt x="43" y="190"/>
                  </a:lnTo>
                  <a:lnTo>
                    <a:pt x="45" y="195"/>
                  </a:lnTo>
                  <a:lnTo>
                    <a:pt x="46" y="199"/>
                  </a:lnTo>
                  <a:lnTo>
                    <a:pt x="49" y="200"/>
                  </a:lnTo>
                  <a:lnTo>
                    <a:pt x="55" y="205"/>
                  </a:lnTo>
                  <a:lnTo>
                    <a:pt x="59" y="209"/>
                  </a:lnTo>
                  <a:lnTo>
                    <a:pt x="64" y="212"/>
                  </a:lnTo>
                  <a:lnTo>
                    <a:pt x="68" y="212"/>
                  </a:lnTo>
                  <a:lnTo>
                    <a:pt x="73" y="212"/>
                  </a:lnTo>
                  <a:lnTo>
                    <a:pt x="77" y="212"/>
                  </a:lnTo>
                  <a:lnTo>
                    <a:pt x="80" y="212"/>
                  </a:lnTo>
                  <a:lnTo>
                    <a:pt x="82" y="212"/>
                  </a:lnTo>
                  <a:lnTo>
                    <a:pt x="86" y="212"/>
                  </a:lnTo>
                  <a:lnTo>
                    <a:pt x="97" y="212"/>
                  </a:lnTo>
                  <a:lnTo>
                    <a:pt x="110" y="212"/>
                  </a:lnTo>
                  <a:lnTo>
                    <a:pt x="112" y="210"/>
                  </a:lnTo>
                  <a:lnTo>
                    <a:pt x="114" y="208"/>
                  </a:lnTo>
                  <a:lnTo>
                    <a:pt x="119" y="208"/>
                  </a:lnTo>
                  <a:lnTo>
                    <a:pt x="123" y="208"/>
                  </a:lnTo>
                  <a:lnTo>
                    <a:pt x="128" y="208"/>
                  </a:lnTo>
                  <a:lnTo>
                    <a:pt x="130" y="206"/>
                  </a:lnTo>
                  <a:lnTo>
                    <a:pt x="132" y="204"/>
                  </a:lnTo>
                  <a:lnTo>
                    <a:pt x="135" y="204"/>
                  </a:lnTo>
                  <a:lnTo>
                    <a:pt x="141" y="202"/>
                  </a:lnTo>
                  <a:lnTo>
                    <a:pt x="143" y="201"/>
                  </a:lnTo>
                  <a:lnTo>
                    <a:pt x="145" y="200"/>
                  </a:lnTo>
                  <a:lnTo>
                    <a:pt x="148" y="198"/>
                  </a:lnTo>
                  <a:lnTo>
                    <a:pt x="150" y="195"/>
                  </a:lnTo>
                  <a:lnTo>
                    <a:pt x="154" y="195"/>
                  </a:lnTo>
                  <a:lnTo>
                    <a:pt x="157" y="192"/>
                  </a:lnTo>
                  <a:lnTo>
                    <a:pt x="159" y="190"/>
                  </a:lnTo>
                  <a:lnTo>
                    <a:pt x="163" y="190"/>
                  </a:lnTo>
                  <a:lnTo>
                    <a:pt x="170" y="182"/>
                  </a:lnTo>
                  <a:lnTo>
                    <a:pt x="177" y="172"/>
                  </a:lnTo>
                  <a:lnTo>
                    <a:pt x="180" y="170"/>
                  </a:lnTo>
                  <a:lnTo>
                    <a:pt x="183" y="167"/>
                  </a:lnTo>
                  <a:lnTo>
                    <a:pt x="187" y="162"/>
                  </a:lnTo>
                  <a:lnTo>
                    <a:pt x="190" y="159"/>
                  </a:lnTo>
                  <a:lnTo>
                    <a:pt x="198" y="159"/>
                  </a:lnTo>
                  <a:lnTo>
                    <a:pt x="205" y="159"/>
                  </a:lnTo>
                  <a:lnTo>
                    <a:pt x="209" y="153"/>
                  </a:lnTo>
                  <a:lnTo>
                    <a:pt x="211" y="149"/>
                  </a:lnTo>
                  <a:lnTo>
                    <a:pt x="214" y="144"/>
                  </a:lnTo>
                  <a:lnTo>
                    <a:pt x="209" y="144"/>
                  </a:lnTo>
                  <a:lnTo>
                    <a:pt x="207" y="142"/>
                  </a:lnTo>
                  <a:lnTo>
                    <a:pt x="205" y="140"/>
                  </a:lnTo>
                  <a:lnTo>
                    <a:pt x="200" y="140"/>
                  </a:lnTo>
                  <a:lnTo>
                    <a:pt x="196" y="139"/>
                  </a:lnTo>
                  <a:lnTo>
                    <a:pt x="190" y="135"/>
                  </a:lnTo>
                  <a:lnTo>
                    <a:pt x="186" y="131"/>
                  </a:lnTo>
                  <a:lnTo>
                    <a:pt x="181" y="127"/>
                  </a:lnTo>
                  <a:lnTo>
                    <a:pt x="172" y="127"/>
                  </a:lnTo>
                  <a:lnTo>
                    <a:pt x="170" y="124"/>
                  </a:lnTo>
                  <a:lnTo>
                    <a:pt x="168" y="122"/>
                  </a:lnTo>
                  <a:lnTo>
                    <a:pt x="163" y="118"/>
                  </a:lnTo>
                  <a:lnTo>
                    <a:pt x="160" y="116"/>
                  </a:lnTo>
                  <a:lnTo>
                    <a:pt x="155" y="115"/>
                  </a:lnTo>
                  <a:lnTo>
                    <a:pt x="151" y="112"/>
                  </a:lnTo>
                  <a:lnTo>
                    <a:pt x="150" y="109"/>
                  </a:lnTo>
                  <a:lnTo>
                    <a:pt x="141" y="109"/>
                  </a:lnTo>
                  <a:lnTo>
                    <a:pt x="136" y="100"/>
                  </a:lnTo>
                  <a:lnTo>
                    <a:pt x="133" y="99"/>
                  </a:lnTo>
                  <a:lnTo>
                    <a:pt x="130" y="94"/>
                  </a:lnTo>
                  <a:lnTo>
                    <a:pt x="126" y="90"/>
                  </a:lnTo>
                  <a:lnTo>
                    <a:pt x="123" y="86"/>
                  </a:lnTo>
                  <a:lnTo>
                    <a:pt x="123" y="80"/>
                  </a:lnTo>
                  <a:lnTo>
                    <a:pt x="123" y="73"/>
                  </a:lnTo>
                  <a:lnTo>
                    <a:pt x="121" y="71"/>
                  </a:lnTo>
                  <a:lnTo>
                    <a:pt x="119" y="67"/>
                  </a:lnTo>
                  <a:lnTo>
                    <a:pt x="119" y="63"/>
                  </a:lnTo>
                  <a:lnTo>
                    <a:pt x="119" y="58"/>
                  </a:lnTo>
                  <a:lnTo>
                    <a:pt x="119" y="54"/>
                  </a:lnTo>
                  <a:lnTo>
                    <a:pt x="119" y="52"/>
                  </a:lnTo>
                  <a:lnTo>
                    <a:pt x="119" y="49"/>
                  </a:lnTo>
                  <a:lnTo>
                    <a:pt x="119" y="45"/>
                  </a:lnTo>
                  <a:lnTo>
                    <a:pt x="114" y="36"/>
                  </a:lnTo>
                  <a:lnTo>
                    <a:pt x="110" y="23"/>
                  </a:lnTo>
                  <a:lnTo>
                    <a:pt x="104" y="23"/>
                  </a:lnTo>
                  <a:lnTo>
                    <a:pt x="102" y="18"/>
                  </a:lnTo>
                  <a:lnTo>
                    <a:pt x="101" y="12"/>
                  </a:lnTo>
                  <a:lnTo>
                    <a:pt x="100" y="7"/>
                  </a:lnTo>
                  <a:lnTo>
                    <a:pt x="100" y="5"/>
                  </a:lnTo>
                  <a:lnTo>
                    <a:pt x="91" y="5"/>
                  </a:lnTo>
                  <a:lnTo>
                    <a:pt x="82" y="5"/>
                  </a:lnTo>
                  <a:lnTo>
                    <a:pt x="80" y="3"/>
                  </a:lnTo>
                  <a:lnTo>
                    <a:pt x="77" y="0"/>
                  </a:lnTo>
                  <a:lnTo>
                    <a:pt x="73" y="0"/>
                  </a:lnTo>
                  <a:lnTo>
                    <a:pt x="71" y="0"/>
                  </a:lnTo>
                  <a:lnTo>
                    <a:pt x="68" y="0"/>
                  </a:lnTo>
                  <a:lnTo>
                    <a:pt x="64" y="0"/>
                  </a:lnTo>
                  <a:lnTo>
                    <a:pt x="55" y="0"/>
                  </a:lnTo>
                  <a:lnTo>
                    <a:pt x="46" y="0"/>
                  </a:lnTo>
                  <a:lnTo>
                    <a:pt x="45" y="2"/>
                  </a:lnTo>
                  <a:lnTo>
                    <a:pt x="44" y="3"/>
                  </a:lnTo>
                  <a:lnTo>
                    <a:pt x="43" y="4"/>
                  </a:lnTo>
                  <a:lnTo>
                    <a:pt x="40" y="4"/>
                  </a:lnTo>
                  <a:lnTo>
                    <a:pt x="36" y="5"/>
                  </a:lnTo>
                  <a:lnTo>
                    <a:pt x="33" y="5"/>
                  </a:lnTo>
                  <a:lnTo>
                    <a:pt x="33" y="9"/>
                  </a:lnTo>
                  <a:lnTo>
                    <a:pt x="28" y="9"/>
                  </a:lnTo>
                  <a:lnTo>
                    <a:pt x="24" y="9"/>
                  </a:lnTo>
                  <a:lnTo>
                    <a:pt x="15" y="9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0" name="Freeform 73">
              <a:extLst>
                <a:ext uri="{FF2B5EF4-FFF2-40B4-BE49-F238E27FC236}">
                  <a16:creationId xmlns:a16="http://schemas.microsoft.com/office/drawing/2014/main" id="{005F86E7-9AA4-4B1E-B044-E94D608DE1F7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721725" y="4364038"/>
              <a:ext cx="148172" cy="84138"/>
            </a:xfrm>
            <a:custGeom>
              <a:avLst/>
              <a:gdLst/>
              <a:ahLst/>
              <a:cxnLst>
                <a:cxn ang="0">
                  <a:pos x="584" y="18"/>
                </a:cxn>
                <a:cxn ang="0">
                  <a:pos x="539" y="60"/>
                </a:cxn>
                <a:cxn ang="0">
                  <a:pos x="509" y="96"/>
                </a:cxn>
                <a:cxn ang="0">
                  <a:pos x="497" y="108"/>
                </a:cxn>
                <a:cxn ang="0">
                  <a:pos x="457" y="118"/>
                </a:cxn>
                <a:cxn ang="0">
                  <a:pos x="375" y="121"/>
                </a:cxn>
                <a:cxn ang="0">
                  <a:pos x="297" y="129"/>
                </a:cxn>
                <a:cxn ang="0">
                  <a:pos x="259" y="138"/>
                </a:cxn>
                <a:cxn ang="0">
                  <a:pos x="231" y="152"/>
                </a:cxn>
                <a:cxn ang="0">
                  <a:pos x="216" y="170"/>
                </a:cxn>
                <a:cxn ang="0">
                  <a:pos x="173" y="200"/>
                </a:cxn>
                <a:cxn ang="0">
                  <a:pos x="102" y="240"/>
                </a:cxn>
                <a:cxn ang="0">
                  <a:pos x="51" y="278"/>
                </a:cxn>
                <a:cxn ang="0">
                  <a:pos x="16" y="318"/>
                </a:cxn>
                <a:cxn ang="0">
                  <a:pos x="3" y="342"/>
                </a:cxn>
                <a:cxn ang="0">
                  <a:pos x="0" y="377"/>
                </a:cxn>
                <a:cxn ang="0">
                  <a:pos x="16" y="438"/>
                </a:cxn>
                <a:cxn ang="0">
                  <a:pos x="36" y="496"/>
                </a:cxn>
                <a:cxn ang="0">
                  <a:pos x="40" y="526"/>
                </a:cxn>
                <a:cxn ang="0">
                  <a:pos x="55" y="518"/>
                </a:cxn>
                <a:cxn ang="0">
                  <a:pos x="96" y="486"/>
                </a:cxn>
                <a:cxn ang="0">
                  <a:pos x="144" y="447"/>
                </a:cxn>
                <a:cxn ang="0">
                  <a:pos x="201" y="412"/>
                </a:cxn>
                <a:cxn ang="0">
                  <a:pos x="260" y="380"/>
                </a:cxn>
                <a:cxn ang="0">
                  <a:pos x="327" y="368"/>
                </a:cxn>
                <a:cxn ang="0">
                  <a:pos x="396" y="362"/>
                </a:cxn>
                <a:cxn ang="0">
                  <a:pos x="479" y="368"/>
                </a:cxn>
                <a:cxn ang="0">
                  <a:pos x="520" y="369"/>
                </a:cxn>
                <a:cxn ang="0">
                  <a:pos x="530" y="365"/>
                </a:cxn>
                <a:cxn ang="0">
                  <a:pos x="554" y="358"/>
                </a:cxn>
                <a:cxn ang="0">
                  <a:pos x="574" y="335"/>
                </a:cxn>
                <a:cxn ang="0">
                  <a:pos x="604" y="276"/>
                </a:cxn>
                <a:cxn ang="0">
                  <a:pos x="630" y="228"/>
                </a:cxn>
                <a:cxn ang="0">
                  <a:pos x="660" y="197"/>
                </a:cxn>
                <a:cxn ang="0">
                  <a:pos x="707" y="115"/>
                </a:cxn>
                <a:cxn ang="0">
                  <a:pos x="751" y="91"/>
                </a:cxn>
                <a:cxn ang="0">
                  <a:pos x="788" y="70"/>
                </a:cxn>
                <a:cxn ang="0">
                  <a:pos x="798" y="61"/>
                </a:cxn>
                <a:cxn ang="0">
                  <a:pos x="784" y="52"/>
                </a:cxn>
                <a:cxn ang="0">
                  <a:pos x="756" y="42"/>
                </a:cxn>
                <a:cxn ang="0">
                  <a:pos x="727" y="35"/>
                </a:cxn>
                <a:cxn ang="0">
                  <a:pos x="660" y="24"/>
                </a:cxn>
                <a:cxn ang="0">
                  <a:pos x="636" y="7"/>
                </a:cxn>
                <a:cxn ang="0">
                  <a:pos x="608" y="0"/>
                </a:cxn>
              </a:cxnLst>
              <a:rect l="0" t="0" r="r" b="b"/>
              <a:pathLst>
                <a:path w="798" h="526">
                  <a:moveTo>
                    <a:pt x="608" y="0"/>
                  </a:moveTo>
                  <a:lnTo>
                    <a:pt x="597" y="8"/>
                  </a:lnTo>
                  <a:lnTo>
                    <a:pt x="584" y="18"/>
                  </a:lnTo>
                  <a:lnTo>
                    <a:pt x="569" y="31"/>
                  </a:lnTo>
                  <a:lnTo>
                    <a:pt x="554" y="45"/>
                  </a:lnTo>
                  <a:lnTo>
                    <a:pt x="539" y="60"/>
                  </a:lnTo>
                  <a:lnTo>
                    <a:pt x="526" y="73"/>
                  </a:lnTo>
                  <a:lnTo>
                    <a:pt x="516" y="86"/>
                  </a:lnTo>
                  <a:lnTo>
                    <a:pt x="509" y="96"/>
                  </a:lnTo>
                  <a:lnTo>
                    <a:pt x="507" y="101"/>
                  </a:lnTo>
                  <a:lnTo>
                    <a:pt x="502" y="104"/>
                  </a:lnTo>
                  <a:lnTo>
                    <a:pt x="497" y="108"/>
                  </a:lnTo>
                  <a:lnTo>
                    <a:pt x="490" y="110"/>
                  </a:lnTo>
                  <a:lnTo>
                    <a:pt x="475" y="114"/>
                  </a:lnTo>
                  <a:lnTo>
                    <a:pt x="457" y="118"/>
                  </a:lnTo>
                  <a:lnTo>
                    <a:pt x="421" y="120"/>
                  </a:lnTo>
                  <a:lnTo>
                    <a:pt x="394" y="120"/>
                  </a:lnTo>
                  <a:lnTo>
                    <a:pt x="375" y="121"/>
                  </a:lnTo>
                  <a:lnTo>
                    <a:pt x="351" y="122"/>
                  </a:lnTo>
                  <a:lnTo>
                    <a:pt x="324" y="124"/>
                  </a:lnTo>
                  <a:lnTo>
                    <a:pt x="297" y="129"/>
                  </a:lnTo>
                  <a:lnTo>
                    <a:pt x="284" y="131"/>
                  </a:lnTo>
                  <a:lnTo>
                    <a:pt x="271" y="134"/>
                  </a:lnTo>
                  <a:lnTo>
                    <a:pt x="259" y="138"/>
                  </a:lnTo>
                  <a:lnTo>
                    <a:pt x="249" y="142"/>
                  </a:lnTo>
                  <a:lnTo>
                    <a:pt x="239" y="147"/>
                  </a:lnTo>
                  <a:lnTo>
                    <a:pt x="231" y="152"/>
                  </a:lnTo>
                  <a:lnTo>
                    <a:pt x="226" y="158"/>
                  </a:lnTo>
                  <a:lnTo>
                    <a:pt x="221" y="164"/>
                  </a:lnTo>
                  <a:lnTo>
                    <a:pt x="216" y="170"/>
                  </a:lnTo>
                  <a:lnTo>
                    <a:pt x="205" y="179"/>
                  </a:lnTo>
                  <a:lnTo>
                    <a:pt x="191" y="189"/>
                  </a:lnTo>
                  <a:lnTo>
                    <a:pt x="173" y="200"/>
                  </a:lnTo>
                  <a:lnTo>
                    <a:pt x="139" y="220"/>
                  </a:lnTo>
                  <a:lnTo>
                    <a:pt x="115" y="233"/>
                  </a:lnTo>
                  <a:lnTo>
                    <a:pt x="102" y="240"/>
                  </a:lnTo>
                  <a:lnTo>
                    <a:pt x="86" y="252"/>
                  </a:lnTo>
                  <a:lnTo>
                    <a:pt x="68" y="264"/>
                  </a:lnTo>
                  <a:lnTo>
                    <a:pt x="51" y="278"/>
                  </a:lnTo>
                  <a:lnTo>
                    <a:pt x="36" y="294"/>
                  </a:lnTo>
                  <a:lnTo>
                    <a:pt x="22" y="310"/>
                  </a:lnTo>
                  <a:lnTo>
                    <a:pt x="16" y="318"/>
                  </a:lnTo>
                  <a:lnTo>
                    <a:pt x="11" y="326"/>
                  </a:lnTo>
                  <a:lnTo>
                    <a:pt x="7" y="334"/>
                  </a:lnTo>
                  <a:lnTo>
                    <a:pt x="3" y="342"/>
                  </a:lnTo>
                  <a:lnTo>
                    <a:pt x="1" y="353"/>
                  </a:lnTo>
                  <a:lnTo>
                    <a:pt x="0" y="364"/>
                  </a:lnTo>
                  <a:lnTo>
                    <a:pt x="0" y="377"/>
                  </a:lnTo>
                  <a:lnTo>
                    <a:pt x="2" y="388"/>
                  </a:lnTo>
                  <a:lnTo>
                    <a:pt x="8" y="413"/>
                  </a:lnTo>
                  <a:lnTo>
                    <a:pt x="16" y="438"/>
                  </a:lnTo>
                  <a:lnTo>
                    <a:pt x="25" y="461"/>
                  </a:lnTo>
                  <a:lnTo>
                    <a:pt x="32" y="485"/>
                  </a:lnTo>
                  <a:lnTo>
                    <a:pt x="36" y="496"/>
                  </a:lnTo>
                  <a:lnTo>
                    <a:pt x="38" y="506"/>
                  </a:lnTo>
                  <a:lnTo>
                    <a:pt x="40" y="516"/>
                  </a:lnTo>
                  <a:lnTo>
                    <a:pt x="40" y="526"/>
                  </a:lnTo>
                  <a:lnTo>
                    <a:pt x="44" y="525"/>
                  </a:lnTo>
                  <a:lnTo>
                    <a:pt x="49" y="523"/>
                  </a:lnTo>
                  <a:lnTo>
                    <a:pt x="55" y="518"/>
                  </a:lnTo>
                  <a:lnTo>
                    <a:pt x="61" y="514"/>
                  </a:lnTo>
                  <a:lnTo>
                    <a:pt x="78" y="500"/>
                  </a:lnTo>
                  <a:lnTo>
                    <a:pt x="96" y="486"/>
                  </a:lnTo>
                  <a:lnTo>
                    <a:pt x="114" y="471"/>
                  </a:lnTo>
                  <a:lnTo>
                    <a:pt x="131" y="457"/>
                  </a:lnTo>
                  <a:lnTo>
                    <a:pt x="144" y="447"/>
                  </a:lnTo>
                  <a:lnTo>
                    <a:pt x="153" y="440"/>
                  </a:lnTo>
                  <a:lnTo>
                    <a:pt x="176" y="428"/>
                  </a:lnTo>
                  <a:lnTo>
                    <a:pt x="201" y="412"/>
                  </a:lnTo>
                  <a:lnTo>
                    <a:pt x="226" y="397"/>
                  </a:lnTo>
                  <a:lnTo>
                    <a:pt x="245" y="385"/>
                  </a:lnTo>
                  <a:lnTo>
                    <a:pt x="260" y="380"/>
                  </a:lnTo>
                  <a:lnTo>
                    <a:pt x="280" y="374"/>
                  </a:lnTo>
                  <a:lnTo>
                    <a:pt x="303" y="371"/>
                  </a:lnTo>
                  <a:lnTo>
                    <a:pt x="327" y="368"/>
                  </a:lnTo>
                  <a:lnTo>
                    <a:pt x="352" y="364"/>
                  </a:lnTo>
                  <a:lnTo>
                    <a:pt x="375" y="363"/>
                  </a:lnTo>
                  <a:lnTo>
                    <a:pt x="396" y="362"/>
                  </a:lnTo>
                  <a:lnTo>
                    <a:pt x="415" y="362"/>
                  </a:lnTo>
                  <a:lnTo>
                    <a:pt x="440" y="364"/>
                  </a:lnTo>
                  <a:lnTo>
                    <a:pt x="479" y="368"/>
                  </a:lnTo>
                  <a:lnTo>
                    <a:pt x="498" y="369"/>
                  </a:lnTo>
                  <a:lnTo>
                    <a:pt x="515" y="370"/>
                  </a:lnTo>
                  <a:lnTo>
                    <a:pt x="520" y="369"/>
                  </a:lnTo>
                  <a:lnTo>
                    <a:pt x="526" y="369"/>
                  </a:lnTo>
                  <a:lnTo>
                    <a:pt x="529" y="368"/>
                  </a:lnTo>
                  <a:lnTo>
                    <a:pt x="530" y="365"/>
                  </a:lnTo>
                  <a:lnTo>
                    <a:pt x="538" y="364"/>
                  </a:lnTo>
                  <a:lnTo>
                    <a:pt x="547" y="362"/>
                  </a:lnTo>
                  <a:lnTo>
                    <a:pt x="554" y="358"/>
                  </a:lnTo>
                  <a:lnTo>
                    <a:pt x="562" y="351"/>
                  </a:lnTo>
                  <a:lnTo>
                    <a:pt x="568" y="344"/>
                  </a:lnTo>
                  <a:lnTo>
                    <a:pt x="574" y="335"/>
                  </a:lnTo>
                  <a:lnTo>
                    <a:pt x="581" y="326"/>
                  </a:lnTo>
                  <a:lnTo>
                    <a:pt x="585" y="317"/>
                  </a:lnTo>
                  <a:lnTo>
                    <a:pt x="604" y="276"/>
                  </a:lnTo>
                  <a:lnTo>
                    <a:pt x="619" y="243"/>
                  </a:lnTo>
                  <a:lnTo>
                    <a:pt x="623" y="235"/>
                  </a:lnTo>
                  <a:lnTo>
                    <a:pt x="630" y="228"/>
                  </a:lnTo>
                  <a:lnTo>
                    <a:pt x="636" y="220"/>
                  </a:lnTo>
                  <a:lnTo>
                    <a:pt x="644" y="212"/>
                  </a:lnTo>
                  <a:lnTo>
                    <a:pt x="660" y="197"/>
                  </a:lnTo>
                  <a:lnTo>
                    <a:pt x="672" y="181"/>
                  </a:lnTo>
                  <a:lnTo>
                    <a:pt x="707" y="120"/>
                  </a:lnTo>
                  <a:lnTo>
                    <a:pt x="707" y="115"/>
                  </a:lnTo>
                  <a:lnTo>
                    <a:pt x="707" y="110"/>
                  </a:lnTo>
                  <a:lnTo>
                    <a:pt x="722" y="104"/>
                  </a:lnTo>
                  <a:lnTo>
                    <a:pt x="751" y="91"/>
                  </a:lnTo>
                  <a:lnTo>
                    <a:pt x="766" y="83"/>
                  </a:lnTo>
                  <a:lnTo>
                    <a:pt x="779" y="75"/>
                  </a:lnTo>
                  <a:lnTo>
                    <a:pt x="788" y="70"/>
                  </a:lnTo>
                  <a:lnTo>
                    <a:pt x="792" y="65"/>
                  </a:lnTo>
                  <a:lnTo>
                    <a:pt x="798" y="65"/>
                  </a:lnTo>
                  <a:lnTo>
                    <a:pt x="798" y="61"/>
                  </a:lnTo>
                  <a:lnTo>
                    <a:pt x="798" y="55"/>
                  </a:lnTo>
                  <a:lnTo>
                    <a:pt x="792" y="55"/>
                  </a:lnTo>
                  <a:lnTo>
                    <a:pt x="784" y="52"/>
                  </a:lnTo>
                  <a:lnTo>
                    <a:pt x="775" y="50"/>
                  </a:lnTo>
                  <a:lnTo>
                    <a:pt x="765" y="45"/>
                  </a:lnTo>
                  <a:lnTo>
                    <a:pt x="756" y="42"/>
                  </a:lnTo>
                  <a:lnTo>
                    <a:pt x="746" y="38"/>
                  </a:lnTo>
                  <a:lnTo>
                    <a:pt x="736" y="36"/>
                  </a:lnTo>
                  <a:lnTo>
                    <a:pt x="727" y="35"/>
                  </a:lnTo>
                  <a:lnTo>
                    <a:pt x="665" y="35"/>
                  </a:lnTo>
                  <a:lnTo>
                    <a:pt x="664" y="29"/>
                  </a:lnTo>
                  <a:lnTo>
                    <a:pt x="660" y="24"/>
                  </a:lnTo>
                  <a:lnTo>
                    <a:pt x="654" y="17"/>
                  </a:lnTo>
                  <a:lnTo>
                    <a:pt x="645" y="12"/>
                  </a:lnTo>
                  <a:lnTo>
                    <a:pt x="636" y="7"/>
                  </a:lnTo>
                  <a:lnTo>
                    <a:pt x="627" y="3"/>
                  </a:lnTo>
                  <a:lnTo>
                    <a:pt x="617" y="0"/>
                  </a:lnTo>
                  <a:lnTo>
                    <a:pt x="60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1" name="Freeform 74">
              <a:extLst>
                <a:ext uri="{FF2B5EF4-FFF2-40B4-BE49-F238E27FC236}">
                  <a16:creationId xmlns:a16="http://schemas.microsoft.com/office/drawing/2014/main" id="{8429A931-DF69-4666-9AEF-A9469D621CA5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893175" y="4397375"/>
              <a:ext cx="39966" cy="31750"/>
            </a:xfrm>
            <a:custGeom>
              <a:avLst/>
              <a:gdLst/>
              <a:ahLst/>
              <a:cxnLst>
                <a:cxn ang="0">
                  <a:pos x="85" y="18"/>
                </a:cxn>
                <a:cxn ang="0">
                  <a:pos x="65" y="31"/>
                </a:cxn>
                <a:cxn ang="0">
                  <a:pos x="50" y="45"/>
                </a:cxn>
                <a:cxn ang="0">
                  <a:pos x="40" y="55"/>
                </a:cxn>
                <a:cxn ang="0">
                  <a:pos x="30" y="68"/>
                </a:cxn>
                <a:cxn ang="0">
                  <a:pos x="30" y="76"/>
                </a:cxn>
                <a:cxn ang="0">
                  <a:pos x="27" y="93"/>
                </a:cxn>
                <a:cxn ang="0">
                  <a:pos x="18" y="100"/>
                </a:cxn>
                <a:cxn ang="0">
                  <a:pos x="13" y="106"/>
                </a:cxn>
                <a:cxn ang="0">
                  <a:pos x="7" y="116"/>
                </a:cxn>
                <a:cxn ang="0">
                  <a:pos x="1" y="126"/>
                </a:cxn>
                <a:cxn ang="0">
                  <a:pos x="5" y="137"/>
                </a:cxn>
                <a:cxn ang="0">
                  <a:pos x="11" y="139"/>
                </a:cxn>
                <a:cxn ang="0">
                  <a:pos x="20" y="141"/>
                </a:cxn>
                <a:cxn ang="0">
                  <a:pos x="35" y="143"/>
                </a:cxn>
                <a:cxn ang="0">
                  <a:pos x="47" y="149"/>
                </a:cxn>
                <a:cxn ang="0">
                  <a:pos x="54" y="151"/>
                </a:cxn>
                <a:cxn ang="0">
                  <a:pos x="72" y="168"/>
                </a:cxn>
                <a:cxn ang="0">
                  <a:pos x="79" y="174"/>
                </a:cxn>
                <a:cxn ang="0">
                  <a:pos x="89" y="190"/>
                </a:cxn>
                <a:cxn ang="0">
                  <a:pos x="99" y="200"/>
                </a:cxn>
                <a:cxn ang="0">
                  <a:pos x="108" y="202"/>
                </a:cxn>
                <a:cxn ang="0">
                  <a:pos x="122" y="198"/>
                </a:cxn>
                <a:cxn ang="0">
                  <a:pos x="134" y="184"/>
                </a:cxn>
                <a:cxn ang="0">
                  <a:pos x="150" y="164"/>
                </a:cxn>
                <a:cxn ang="0">
                  <a:pos x="151" y="152"/>
                </a:cxn>
                <a:cxn ang="0">
                  <a:pos x="157" y="145"/>
                </a:cxn>
                <a:cxn ang="0">
                  <a:pos x="164" y="139"/>
                </a:cxn>
                <a:cxn ang="0">
                  <a:pos x="174" y="135"/>
                </a:cxn>
                <a:cxn ang="0">
                  <a:pos x="190" y="132"/>
                </a:cxn>
                <a:cxn ang="0">
                  <a:pos x="203" y="120"/>
                </a:cxn>
                <a:cxn ang="0">
                  <a:pos x="213" y="110"/>
                </a:cxn>
                <a:cxn ang="0">
                  <a:pos x="217" y="106"/>
                </a:cxn>
                <a:cxn ang="0">
                  <a:pos x="217" y="89"/>
                </a:cxn>
                <a:cxn ang="0">
                  <a:pos x="220" y="85"/>
                </a:cxn>
                <a:cxn ang="0">
                  <a:pos x="216" y="77"/>
                </a:cxn>
                <a:cxn ang="0">
                  <a:pos x="203" y="68"/>
                </a:cxn>
                <a:cxn ang="0">
                  <a:pos x="189" y="58"/>
                </a:cxn>
                <a:cxn ang="0">
                  <a:pos x="182" y="54"/>
                </a:cxn>
                <a:cxn ang="0">
                  <a:pos x="166" y="48"/>
                </a:cxn>
                <a:cxn ang="0">
                  <a:pos x="162" y="43"/>
                </a:cxn>
                <a:cxn ang="0">
                  <a:pos x="157" y="38"/>
                </a:cxn>
                <a:cxn ang="0">
                  <a:pos x="150" y="25"/>
                </a:cxn>
                <a:cxn ang="0">
                  <a:pos x="139" y="18"/>
                </a:cxn>
                <a:cxn ang="0">
                  <a:pos x="136" y="7"/>
                </a:cxn>
                <a:cxn ang="0">
                  <a:pos x="132" y="0"/>
                </a:cxn>
                <a:cxn ang="0">
                  <a:pos x="125" y="0"/>
                </a:cxn>
                <a:cxn ang="0">
                  <a:pos x="114" y="4"/>
                </a:cxn>
              </a:cxnLst>
              <a:rect l="0" t="0" r="r" b="b"/>
              <a:pathLst>
                <a:path w="221" h="202">
                  <a:moveTo>
                    <a:pt x="108" y="7"/>
                  </a:moveTo>
                  <a:lnTo>
                    <a:pt x="95" y="12"/>
                  </a:lnTo>
                  <a:lnTo>
                    <a:pt x="85" y="18"/>
                  </a:lnTo>
                  <a:lnTo>
                    <a:pt x="78" y="23"/>
                  </a:lnTo>
                  <a:lnTo>
                    <a:pt x="72" y="28"/>
                  </a:lnTo>
                  <a:lnTo>
                    <a:pt x="65" y="31"/>
                  </a:lnTo>
                  <a:lnTo>
                    <a:pt x="57" y="38"/>
                  </a:lnTo>
                  <a:lnTo>
                    <a:pt x="54" y="41"/>
                  </a:lnTo>
                  <a:lnTo>
                    <a:pt x="50" y="45"/>
                  </a:lnTo>
                  <a:lnTo>
                    <a:pt x="44" y="48"/>
                  </a:lnTo>
                  <a:lnTo>
                    <a:pt x="43" y="52"/>
                  </a:lnTo>
                  <a:lnTo>
                    <a:pt x="40" y="55"/>
                  </a:lnTo>
                  <a:lnTo>
                    <a:pt x="40" y="58"/>
                  </a:lnTo>
                  <a:lnTo>
                    <a:pt x="36" y="65"/>
                  </a:lnTo>
                  <a:lnTo>
                    <a:pt x="30" y="68"/>
                  </a:lnTo>
                  <a:lnTo>
                    <a:pt x="30" y="73"/>
                  </a:lnTo>
                  <a:lnTo>
                    <a:pt x="30" y="74"/>
                  </a:lnTo>
                  <a:lnTo>
                    <a:pt x="30" y="76"/>
                  </a:lnTo>
                  <a:lnTo>
                    <a:pt x="30" y="79"/>
                  </a:lnTo>
                  <a:lnTo>
                    <a:pt x="29" y="86"/>
                  </a:lnTo>
                  <a:lnTo>
                    <a:pt x="27" y="93"/>
                  </a:lnTo>
                  <a:lnTo>
                    <a:pt x="24" y="94"/>
                  </a:lnTo>
                  <a:lnTo>
                    <a:pt x="20" y="96"/>
                  </a:lnTo>
                  <a:lnTo>
                    <a:pt x="18" y="100"/>
                  </a:lnTo>
                  <a:lnTo>
                    <a:pt x="17" y="103"/>
                  </a:lnTo>
                  <a:lnTo>
                    <a:pt x="15" y="105"/>
                  </a:lnTo>
                  <a:lnTo>
                    <a:pt x="13" y="106"/>
                  </a:lnTo>
                  <a:lnTo>
                    <a:pt x="10" y="110"/>
                  </a:lnTo>
                  <a:lnTo>
                    <a:pt x="7" y="113"/>
                  </a:lnTo>
                  <a:lnTo>
                    <a:pt x="7" y="116"/>
                  </a:lnTo>
                  <a:lnTo>
                    <a:pt x="5" y="118"/>
                  </a:lnTo>
                  <a:lnTo>
                    <a:pt x="3" y="120"/>
                  </a:lnTo>
                  <a:lnTo>
                    <a:pt x="1" y="126"/>
                  </a:lnTo>
                  <a:lnTo>
                    <a:pt x="0" y="133"/>
                  </a:lnTo>
                  <a:lnTo>
                    <a:pt x="3" y="137"/>
                  </a:lnTo>
                  <a:lnTo>
                    <a:pt x="5" y="137"/>
                  </a:lnTo>
                  <a:lnTo>
                    <a:pt x="7" y="137"/>
                  </a:lnTo>
                  <a:lnTo>
                    <a:pt x="10" y="137"/>
                  </a:lnTo>
                  <a:lnTo>
                    <a:pt x="11" y="139"/>
                  </a:lnTo>
                  <a:lnTo>
                    <a:pt x="13" y="141"/>
                  </a:lnTo>
                  <a:lnTo>
                    <a:pt x="17" y="141"/>
                  </a:lnTo>
                  <a:lnTo>
                    <a:pt x="20" y="141"/>
                  </a:lnTo>
                  <a:lnTo>
                    <a:pt x="24" y="141"/>
                  </a:lnTo>
                  <a:lnTo>
                    <a:pt x="30" y="141"/>
                  </a:lnTo>
                  <a:lnTo>
                    <a:pt x="35" y="143"/>
                  </a:lnTo>
                  <a:lnTo>
                    <a:pt x="39" y="144"/>
                  </a:lnTo>
                  <a:lnTo>
                    <a:pt x="44" y="148"/>
                  </a:lnTo>
                  <a:lnTo>
                    <a:pt x="47" y="149"/>
                  </a:lnTo>
                  <a:lnTo>
                    <a:pt x="49" y="148"/>
                  </a:lnTo>
                  <a:lnTo>
                    <a:pt x="50" y="148"/>
                  </a:lnTo>
                  <a:lnTo>
                    <a:pt x="54" y="151"/>
                  </a:lnTo>
                  <a:lnTo>
                    <a:pt x="59" y="158"/>
                  </a:lnTo>
                  <a:lnTo>
                    <a:pt x="68" y="164"/>
                  </a:lnTo>
                  <a:lnTo>
                    <a:pt x="72" y="168"/>
                  </a:lnTo>
                  <a:lnTo>
                    <a:pt x="75" y="171"/>
                  </a:lnTo>
                  <a:lnTo>
                    <a:pt x="78" y="171"/>
                  </a:lnTo>
                  <a:lnTo>
                    <a:pt x="79" y="174"/>
                  </a:lnTo>
                  <a:lnTo>
                    <a:pt x="82" y="178"/>
                  </a:lnTo>
                  <a:lnTo>
                    <a:pt x="82" y="181"/>
                  </a:lnTo>
                  <a:lnTo>
                    <a:pt x="89" y="190"/>
                  </a:lnTo>
                  <a:lnTo>
                    <a:pt x="95" y="198"/>
                  </a:lnTo>
                  <a:lnTo>
                    <a:pt x="98" y="198"/>
                  </a:lnTo>
                  <a:lnTo>
                    <a:pt x="99" y="200"/>
                  </a:lnTo>
                  <a:lnTo>
                    <a:pt x="102" y="202"/>
                  </a:lnTo>
                  <a:lnTo>
                    <a:pt x="105" y="202"/>
                  </a:lnTo>
                  <a:lnTo>
                    <a:pt x="108" y="202"/>
                  </a:lnTo>
                  <a:lnTo>
                    <a:pt x="114" y="202"/>
                  </a:lnTo>
                  <a:lnTo>
                    <a:pt x="118" y="202"/>
                  </a:lnTo>
                  <a:lnTo>
                    <a:pt x="122" y="198"/>
                  </a:lnTo>
                  <a:lnTo>
                    <a:pt x="125" y="194"/>
                  </a:lnTo>
                  <a:lnTo>
                    <a:pt x="132" y="188"/>
                  </a:lnTo>
                  <a:lnTo>
                    <a:pt x="134" y="184"/>
                  </a:lnTo>
                  <a:lnTo>
                    <a:pt x="135" y="181"/>
                  </a:lnTo>
                  <a:lnTo>
                    <a:pt x="143" y="171"/>
                  </a:lnTo>
                  <a:lnTo>
                    <a:pt x="150" y="164"/>
                  </a:lnTo>
                  <a:lnTo>
                    <a:pt x="150" y="161"/>
                  </a:lnTo>
                  <a:lnTo>
                    <a:pt x="150" y="158"/>
                  </a:lnTo>
                  <a:lnTo>
                    <a:pt x="151" y="152"/>
                  </a:lnTo>
                  <a:lnTo>
                    <a:pt x="153" y="148"/>
                  </a:lnTo>
                  <a:lnTo>
                    <a:pt x="155" y="146"/>
                  </a:lnTo>
                  <a:lnTo>
                    <a:pt x="157" y="145"/>
                  </a:lnTo>
                  <a:lnTo>
                    <a:pt x="159" y="143"/>
                  </a:lnTo>
                  <a:lnTo>
                    <a:pt x="160" y="141"/>
                  </a:lnTo>
                  <a:lnTo>
                    <a:pt x="164" y="139"/>
                  </a:lnTo>
                  <a:lnTo>
                    <a:pt x="170" y="137"/>
                  </a:lnTo>
                  <a:lnTo>
                    <a:pt x="173" y="137"/>
                  </a:lnTo>
                  <a:lnTo>
                    <a:pt x="174" y="135"/>
                  </a:lnTo>
                  <a:lnTo>
                    <a:pt x="176" y="133"/>
                  </a:lnTo>
                  <a:lnTo>
                    <a:pt x="183" y="133"/>
                  </a:lnTo>
                  <a:lnTo>
                    <a:pt x="190" y="132"/>
                  </a:lnTo>
                  <a:lnTo>
                    <a:pt x="197" y="130"/>
                  </a:lnTo>
                  <a:lnTo>
                    <a:pt x="200" y="123"/>
                  </a:lnTo>
                  <a:lnTo>
                    <a:pt x="203" y="120"/>
                  </a:lnTo>
                  <a:lnTo>
                    <a:pt x="209" y="118"/>
                  </a:lnTo>
                  <a:lnTo>
                    <a:pt x="213" y="116"/>
                  </a:lnTo>
                  <a:lnTo>
                    <a:pt x="213" y="110"/>
                  </a:lnTo>
                  <a:lnTo>
                    <a:pt x="216" y="110"/>
                  </a:lnTo>
                  <a:lnTo>
                    <a:pt x="217" y="110"/>
                  </a:lnTo>
                  <a:lnTo>
                    <a:pt x="217" y="106"/>
                  </a:lnTo>
                  <a:lnTo>
                    <a:pt x="217" y="103"/>
                  </a:lnTo>
                  <a:lnTo>
                    <a:pt x="217" y="96"/>
                  </a:lnTo>
                  <a:lnTo>
                    <a:pt x="217" y="89"/>
                  </a:lnTo>
                  <a:lnTo>
                    <a:pt x="219" y="88"/>
                  </a:lnTo>
                  <a:lnTo>
                    <a:pt x="220" y="87"/>
                  </a:lnTo>
                  <a:lnTo>
                    <a:pt x="220" y="85"/>
                  </a:lnTo>
                  <a:lnTo>
                    <a:pt x="221" y="83"/>
                  </a:lnTo>
                  <a:lnTo>
                    <a:pt x="217" y="79"/>
                  </a:lnTo>
                  <a:lnTo>
                    <a:pt x="216" y="77"/>
                  </a:lnTo>
                  <a:lnTo>
                    <a:pt x="213" y="76"/>
                  </a:lnTo>
                  <a:lnTo>
                    <a:pt x="210" y="73"/>
                  </a:lnTo>
                  <a:lnTo>
                    <a:pt x="203" y="68"/>
                  </a:lnTo>
                  <a:lnTo>
                    <a:pt x="197" y="62"/>
                  </a:lnTo>
                  <a:lnTo>
                    <a:pt x="190" y="62"/>
                  </a:lnTo>
                  <a:lnTo>
                    <a:pt x="189" y="58"/>
                  </a:lnTo>
                  <a:lnTo>
                    <a:pt x="187" y="55"/>
                  </a:lnTo>
                  <a:lnTo>
                    <a:pt x="183" y="55"/>
                  </a:lnTo>
                  <a:lnTo>
                    <a:pt x="182" y="54"/>
                  </a:lnTo>
                  <a:lnTo>
                    <a:pt x="180" y="52"/>
                  </a:lnTo>
                  <a:lnTo>
                    <a:pt x="173" y="50"/>
                  </a:lnTo>
                  <a:lnTo>
                    <a:pt x="166" y="48"/>
                  </a:lnTo>
                  <a:lnTo>
                    <a:pt x="165" y="46"/>
                  </a:lnTo>
                  <a:lnTo>
                    <a:pt x="164" y="44"/>
                  </a:lnTo>
                  <a:lnTo>
                    <a:pt x="162" y="43"/>
                  </a:lnTo>
                  <a:lnTo>
                    <a:pt x="160" y="41"/>
                  </a:lnTo>
                  <a:lnTo>
                    <a:pt x="160" y="38"/>
                  </a:lnTo>
                  <a:lnTo>
                    <a:pt x="157" y="38"/>
                  </a:lnTo>
                  <a:lnTo>
                    <a:pt x="156" y="38"/>
                  </a:lnTo>
                  <a:lnTo>
                    <a:pt x="153" y="31"/>
                  </a:lnTo>
                  <a:lnTo>
                    <a:pt x="150" y="25"/>
                  </a:lnTo>
                  <a:lnTo>
                    <a:pt x="146" y="21"/>
                  </a:lnTo>
                  <a:lnTo>
                    <a:pt x="143" y="19"/>
                  </a:lnTo>
                  <a:lnTo>
                    <a:pt x="139" y="18"/>
                  </a:lnTo>
                  <a:lnTo>
                    <a:pt x="139" y="11"/>
                  </a:lnTo>
                  <a:lnTo>
                    <a:pt x="137" y="10"/>
                  </a:lnTo>
                  <a:lnTo>
                    <a:pt x="136" y="7"/>
                  </a:lnTo>
                  <a:lnTo>
                    <a:pt x="135" y="4"/>
                  </a:lnTo>
                  <a:lnTo>
                    <a:pt x="135" y="0"/>
                  </a:lnTo>
                  <a:lnTo>
                    <a:pt x="132" y="0"/>
                  </a:lnTo>
                  <a:lnTo>
                    <a:pt x="131" y="0"/>
                  </a:lnTo>
                  <a:lnTo>
                    <a:pt x="128" y="0"/>
                  </a:lnTo>
                  <a:lnTo>
                    <a:pt x="125" y="0"/>
                  </a:lnTo>
                  <a:lnTo>
                    <a:pt x="124" y="0"/>
                  </a:lnTo>
                  <a:lnTo>
                    <a:pt x="120" y="1"/>
                  </a:lnTo>
                  <a:lnTo>
                    <a:pt x="114" y="4"/>
                  </a:lnTo>
                  <a:lnTo>
                    <a:pt x="108" y="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2" name="Freeform 75">
              <a:extLst>
                <a:ext uri="{FF2B5EF4-FFF2-40B4-BE49-F238E27FC236}">
                  <a16:creationId xmlns:a16="http://schemas.microsoft.com/office/drawing/2014/main" id="{2A5BE6EF-AE78-439D-8DC6-8FF302EB3492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939213" y="4330700"/>
              <a:ext cx="174724" cy="82550"/>
            </a:xfrm>
            <a:custGeom>
              <a:avLst/>
              <a:gdLst/>
              <a:ahLst/>
              <a:cxnLst>
                <a:cxn ang="0">
                  <a:pos x="189" y="32"/>
                </a:cxn>
                <a:cxn ang="0">
                  <a:pos x="131" y="62"/>
                </a:cxn>
                <a:cxn ang="0">
                  <a:pos x="78" y="97"/>
                </a:cxn>
                <a:cxn ang="0">
                  <a:pos x="35" y="138"/>
                </a:cxn>
                <a:cxn ang="0">
                  <a:pos x="3" y="185"/>
                </a:cxn>
                <a:cxn ang="0">
                  <a:pos x="0" y="225"/>
                </a:cxn>
                <a:cxn ang="0">
                  <a:pos x="6" y="303"/>
                </a:cxn>
                <a:cxn ang="0">
                  <a:pos x="11" y="330"/>
                </a:cxn>
                <a:cxn ang="0">
                  <a:pos x="19" y="338"/>
                </a:cxn>
                <a:cxn ang="0">
                  <a:pos x="42" y="341"/>
                </a:cxn>
                <a:cxn ang="0">
                  <a:pos x="127" y="311"/>
                </a:cxn>
                <a:cxn ang="0">
                  <a:pos x="218" y="298"/>
                </a:cxn>
                <a:cxn ang="0">
                  <a:pos x="267" y="294"/>
                </a:cxn>
                <a:cxn ang="0">
                  <a:pos x="311" y="300"/>
                </a:cxn>
                <a:cxn ang="0">
                  <a:pos x="355" y="319"/>
                </a:cxn>
                <a:cxn ang="0">
                  <a:pos x="400" y="360"/>
                </a:cxn>
                <a:cxn ang="0">
                  <a:pos x="452" y="422"/>
                </a:cxn>
                <a:cxn ang="0">
                  <a:pos x="518" y="496"/>
                </a:cxn>
                <a:cxn ang="0">
                  <a:pos x="529" y="499"/>
                </a:cxn>
                <a:cxn ang="0">
                  <a:pos x="551" y="486"/>
                </a:cxn>
                <a:cxn ang="0">
                  <a:pos x="568" y="465"/>
                </a:cxn>
                <a:cxn ang="0">
                  <a:pos x="599" y="403"/>
                </a:cxn>
                <a:cxn ang="0">
                  <a:pos x="627" y="360"/>
                </a:cxn>
                <a:cxn ang="0">
                  <a:pos x="652" y="337"/>
                </a:cxn>
                <a:cxn ang="0">
                  <a:pos x="680" y="328"/>
                </a:cxn>
                <a:cxn ang="0">
                  <a:pos x="742" y="326"/>
                </a:cxn>
                <a:cxn ang="0">
                  <a:pos x="808" y="321"/>
                </a:cxn>
                <a:cxn ang="0">
                  <a:pos x="861" y="319"/>
                </a:cxn>
                <a:cxn ang="0">
                  <a:pos x="890" y="306"/>
                </a:cxn>
                <a:cxn ang="0">
                  <a:pos x="918" y="282"/>
                </a:cxn>
                <a:cxn ang="0">
                  <a:pos x="938" y="252"/>
                </a:cxn>
                <a:cxn ang="0">
                  <a:pos x="948" y="221"/>
                </a:cxn>
                <a:cxn ang="0">
                  <a:pos x="946" y="202"/>
                </a:cxn>
                <a:cxn ang="0">
                  <a:pos x="930" y="179"/>
                </a:cxn>
                <a:cxn ang="0">
                  <a:pos x="909" y="156"/>
                </a:cxn>
                <a:cxn ang="0">
                  <a:pos x="904" y="110"/>
                </a:cxn>
                <a:cxn ang="0">
                  <a:pos x="898" y="81"/>
                </a:cxn>
                <a:cxn ang="0">
                  <a:pos x="885" y="72"/>
                </a:cxn>
                <a:cxn ang="0">
                  <a:pos x="864" y="69"/>
                </a:cxn>
                <a:cxn ang="0">
                  <a:pos x="799" y="69"/>
                </a:cxn>
                <a:cxn ang="0">
                  <a:pos x="748" y="58"/>
                </a:cxn>
                <a:cxn ang="0">
                  <a:pos x="666" y="28"/>
                </a:cxn>
                <a:cxn ang="0">
                  <a:pos x="616" y="14"/>
                </a:cxn>
                <a:cxn ang="0">
                  <a:pos x="560" y="11"/>
                </a:cxn>
                <a:cxn ang="0">
                  <a:pos x="499" y="18"/>
                </a:cxn>
                <a:cxn ang="0">
                  <a:pos x="431" y="18"/>
                </a:cxn>
                <a:cxn ang="0">
                  <a:pos x="366" y="16"/>
                </a:cxn>
                <a:cxn ang="0">
                  <a:pos x="332" y="11"/>
                </a:cxn>
                <a:cxn ang="0">
                  <a:pos x="296" y="2"/>
                </a:cxn>
              </a:cxnLst>
              <a:rect l="0" t="0" r="r" b="b"/>
              <a:pathLst>
                <a:path w="948" h="499">
                  <a:moveTo>
                    <a:pt x="270" y="0"/>
                  </a:moveTo>
                  <a:lnTo>
                    <a:pt x="229" y="15"/>
                  </a:lnTo>
                  <a:lnTo>
                    <a:pt x="189" y="32"/>
                  </a:lnTo>
                  <a:lnTo>
                    <a:pt x="169" y="42"/>
                  </a:lnTo>
                  <a:lnTo>
                    <a:pt x="150" y="52"/>
                  </a:lnTo>
                  <a:lnTo>
                    <a:pt x="131" y="62"/>
                  </a:lnTo>
                  <a:lnTo>
                    <a:pt x="113" y="73"/>
                  </a:lnTo>
                  <a:lnTo>
                    <a:pt x="95" y="85"/>
                  </a:lnTo>
                  <a:lnTo>
                    <a:pt x="78" y="97"/>
                  </a:lnTo>
                  <a:lnTo>
                    <a:pt x="63" y="110"/>
                  </a:lnTo>
                  <a:lnTo>
                    <a:pt x="48" y="124"/>
                  </a:lnTo>
                  <a:lnTo>
                    <a:pt x="35" y="138"/>
                  </a:lnTo>
                  <a:lnTo>
                    <a:pt x="23" y="153"/>
                  </a:lnTo>
                  <a:lnTo>
                    <a:pt x="12" y="168"/>
                  </a:lnTo>
                  <a:lnTo>
                    <a:pt x="3" y="185"/>
                  </a:lnTo>
                  <a:lnTo>
                    <a:pt x="1" y="195"/>
                  </a:lnTo>
                  <a:lnTo>
                    <a:pt x="0" y="208"/>
                  </a:lnTo>
                  <a:lnTo>
                    <a:pt x="0" y="225"/>
                  </a:lnTo>
                  <a:lnTo>
                    <a:pt x="1" y="243"/>
                  </a:lnTo>
                  <a:lnTo>
                    <a:pt x="5" y="278"/>
                  </a:lnTo>
                  <a:lnTo>
                    <a:pt x="6" y="303"/>
                  </a:lnTo>
                  <a:lnTo>
                    <a:pt x="7" y="316"/>
                  </a:lnTo>
                  <a:lnTo>
                    <a:pt x="10" y="326"/>
                  </a:lnTo>
                  <a:lnTo>
                    <a:pt x="11" y="330"/>
                  </a:lnTo>
                  <a:lnTo>
                    <a:pt x="13" y="333"/>
                  </a:lnTo>
                  <a:lnTo>
                    <a:pt x="17" y="336"/>
                  </a:lnTo>
                  <a:lnTo>
                    <a:pt x="19" y="338"/>
                  </a:lnTo>
                  <a:lnTo>
                    <a:pt x="26" y="341"/>
                  </a:lnTo>
                  <a:lnTo>
                    <a:pt x="34" y="341"/>
                  </a:lnTo>
                  <a:lnTo>
                    <a:pt x="42" y="341"/>
                  </a:lnTo>
                  <a:lnTo>
                    <a:pt x="51" y="339"/>
                  </a:lnTo>
                  <a:lnTo>
                    <a:pt x="92" y="323"/>
                  </a:lnTo>
                  <a:lnTo>
                    <a:pt x="127" y="311"/>
                  </a:lnTo>
                  <a:lnTo>
                    <a:pt x="165" y="306"/>
                  </a:lnTo>
                  <a:lnTo>
                    <a:pt x="200" y="300"/>
                  </a:lnTo>
                  <a:lnTo>
                    <a:pt x="218" y="298"/>
                  </a:lnTo>
                  <a:lnTo>
                    <a:pt x="234" y="295"/>
                  </a:lnTo>
                  <a:lnTo>
                    <a:pt x="250" y="294"/>
                  </a:lnTo>
                  <a:lnTo>
                    <a:pt x="267" y="294"/>
                  </a:lnTo>
                  <a:lnTo>
                    <a:pt x="281" y="294"/>
                  </a:lnTo>
                  <a:lnTo>
                    <a:pt x="297" y="297"/>
                  </a:lnTo>
                  <a:lnTo>
                    <a:pt x="311" y="300"/>
                  </a:lnTo>
                  <a:lnTo>
                    <a:pt x="326" y="304"/>
                  </a:lnTo>
                  <a:lnTo>
                    <a:pt x="341" y="311"/>
                  </a:lnTo>
                  <a:lnTo>
                    <a:pt x="355" y="319"/>
                  </a:lnTo>
                  <a:lnTo>
                    <a:pt x="368" y="330"/>
                  </a:lnTo>
                  <a:lnTo>
                    <a:pt x="383" y="342"/>
                  </a:lnTo>
                  <a:lnTo>
                    <a:pt x="400" y="360"/>
                  </a:lnTo>
                  <a:lnTo>
                    <a:pt x="418" y="379"/>
                  </a:lnTo>
                  <a:lnTo>
                    <a:pt x="434" y="400"/>
                  </a:lnTo>
                  <a:lnTo>
                    <a:pt x="452" y="422"/>
                  </a:lnTo>
                  <a:lnTo>
                    <a:pt x="485" y="461"/>
                  </a:lnTo>
                  <a:lnTo>
                    <a:pt x="515" y="494"/>
                  </a:lnTo>
                  <a:lnTo>
                    <a:pt x="518" y="496"/>
                  </a:lnTo>
                  <a:lnTo>
                    <a:pt x="521" y="499"/>
                  </a:lnTo>
                  <a:lnTo>
                    <a:pt x="525" y="499"/>
                  </a:lnTo>
                  <a:lnTo>
                    <a:pt x="529" y="499"/>
                  </a:lnTo>
                  <a:lnTo>
                    <a:pt x="537" y="496"/>
                  </a:lnTo>
                  <a:lnTo>
                    <a:pt x="545" y="492"/>
                  </a:lnTo>
                  <a:lnTo>
                    <a:pt x="551" y="486"/>
                  </a:lnTo>
                  <a:lnTo>
                    <a:pt x="558" y="480"/>
                  </a:lnTo>
                  <a:lnTo>
                    <a:pt x="564" y="473"/>
                  </a:lnTo>
                  <a:lnTo>
                    <a:pt x="568" y="465"/>
                  </a:lnTo>
                  <a:lnTo>
                    <a:pt x="577" y="447"/>
                  </a:lnTo>
                  <a:lnTo>
                    <a:pt x="587" y="425"/>
                  </a:lnTo>
                  <a:lnTo>
                    <a:pt x="599" y="403"/>
                  </a:lnTo>
                  <a:lnTo>
                    <a:pt x="613" y="380"/>
                  </a:lnTo>
                  <a:lnTo>
                    <a:pt x="620" y="369"/>
                  </a:lnTo>
                  <a:lnTo>
                    <a:pt x="627" y="360"/>
                  </a:lnTo>
                  <a:lnTo>
                    <a:pt x="635" y="351"/>
                  </a:lnTo>
                  <a:lnTo>
                    <a:pt x="643" y="343"/>
                  </a:lnTo>
                  <a:lnTo>
                    <a:pt x="652" y="337"/>
                  </a:lnTo>
                  <a:lnTo>
                    <a:pt x="661" y="332"/>
                  </a:lnTo>
                  <a:lnTo>
                    <a:pt x="671" y="329"/>
                  </a:lnTo>
                  <a:lnTo>
                    <a:pt x="680" y="328"/>
                  </a:lnTo>
                  <a:lnTo>
                    <a:pt x="700" y="328"/>
                  </a:lnTo>
                  <a:lnTo>
                    <a:pt x="720" y="327"/>
                  </a:lnTo>
                  <a:lnTo>
                    <a:pt x="742" y="326"/>
                  </a:lnTo>
                  <a:lnTo>
                    <a:pt x="764" y="323"/>
                  </a:lnTo>
                  <a:lnTo>
                    <a:pt x="786" y="322"/>
                  </a:lnTo>
                  <a:lnTo>
                    <a:pt x="808" y="321"/>
                  </a:lnTo>
                  <a:lnTo>
                    <a:pt x="831" y="320"/>
                  </a:lnTo>
                  <a:lnTo>
                    <a:pt x="852" y="320"/>
                  </a:lnTo>
                  <a:lnTo>
                    <a:pt x="861" y="319"/>
                  </a:lnTo>
                  <a:lnTo>
                    <a:pt x="871" y="316"/>
                  </a:lnTo>
                  <a:lnTo>
                    <a:pt x="880" y="311"/>
                  </a:lnTo>
                  <a:lnTo>
                    <a:pt x="890" y="306"/>
                  </a:lnTo>
                  <a:lnTo>
                    <a:pt x="900" y="299"/>
                  </a:lnTo>
                  <a:lnTo>
                    <a:pt x="909" y="291"/>
                  </a:lnTo>
                  <a:lnTo>
                    <a:pt x="918" y="282"/>
                  </a:lnTo>
                  <a:lnTo>
                    <a:pt x="925" y="272"/>
                  </a:lnTo>
                  <a:lnTo>
                    <a:pt x="932" y="262"/>
                  </a:lnTo>
                  <a:lnTo>
                    <a:pt x="938" y="252"/>
                  </a:lnTo>
                  <a:lnTo>
                    <a:pt x="943" y="241"/>
                  </a:lnTo>
                  <a:lnTo>
                    <a:pt x="947" y="231"/>
                  </a:lnTo>
                  <a:lnTo>
                    <a:pt x="948" y="221"/>
                  </a:lnTo>
                  <a:lnTo>
                    <a:pt x="948" y="211"/>
                  </a:lnTo>
                  <a:lnTo>
                    <a:pt x="947" y="206"/>
                  </a:lnTo>
                  <a:lnTo>
                    <a:pt x="946" y="202"/>
                  </a:lnTo>
                  <a:lnTo>
                    <a:pt x="944" y="197"/>
                  </a:lnTo>
                  <a:lnTo>
                    <a:pt x="941" y="193"/>
                  </a:lnTo>
                  <a:lnTo>
                    <a:pt x="930" y="179"/>
                  </a:lnTo>
                  <a:lnTo>
                    <a:pt x="918" y="169"/>
                  </a:lnTo>
                  <a:lnTo>
                    <a:pt x="913" y="163"/>
                  </a:lnTo>
                  <a:lnTo>
                    <a:pt x="909" y="156"/>
                  </a:lnTo>
                  <a:lnTo>
                    <a:pt x="906" y="146"/>
                  </a:lnTo>
                  <a:lnTo>
                    <a:pt x="905" y="135"/>
                  </a:lnTo>
                  <a:lnTo>
                    <a:pt x="904" y="110"/>
                  </a:lnTo>
                  <a:lnTo>
                    <a:pt x="902" y="93"/>
                  </a:lnTo>
                  <a:lnTo>
                    <a:pt x="900" y="87"/>
                  </a:lnTo>
                  <a:lnTo>
                    <a:pt x="898" y="81"/>
                  </a:lnTo>
                  <a:lnTo>
                    <a:pt x="894" y="78"/>
                  </a:lnTo>
                  <a:lnTo>
                    <a:pt x="890" y="74"/>
                  </a:lnTo>
                  <a:lnTo>
                    <a:pt x="885" y="72"/>
                  </a:lnTo>
                  <a:lnTo>
                    <a:pt x="879" y="71"/>
                  </a:lnTo>
                  <a:lnTo>
                    <a:pt x="872" y="70"/>
                  </a:lnTo>
                  <a:lnTo>
                    <a:pt x="864" y="69"/>
                  </a:lnTo>
                  <a:lnTo>
                    <a:pt x="844" y="69"/>
                  </a:lnTo>
                  <a:lnTo>
                    <a:pt x="818" y="70"/>
                  </a:lnTo>
                  <a:lnTo>
                    <a:pt x="799" y="69"/>
                  </a:lnTo>
                  <a:lnTo>
                    <a:pt x="783" y="67"/>
                  </a:lnTo>
                  <a:lnTo>
                    <a:pt x="765" y="62"/>
                  </a:lnTo>
                  <a:lnTo>
                    <a:pt x="748" y="58"/>
                  </a:lnTo>
                  <a:lnTo>
                    <a:pt x="716" y="47"/>
                  </a:lnTo>
                  <a:lnTo>
                    <a:pt x="683" y="34"/>
                  </a:lnTo>
                  <a:lnTo>
                    <a:pt x="666" y="28"/>
                  </a:lnTo>
                  <a:lnTo>
                    <a:pt x="650" y="22"/>
                  </a:lnTo>
                  <a:lnTo>
                    <a:pt x="633" y="18"/>
                  </a:lnTo>
                  <a:lnTo>
                    <a:pt x="616" y="14"/>
                  </a:lnTo>
                  <a:lnTo>
                    <a:pt x="597" y="11"/>
                  </a:lnTo>
                  <a:lnTo>
                    <a:pt x="579" y="10"/>
                  </a:lnTo>
                  <a:lnTo>
                    <a:pt x="560" y="11"/>
                  </a:lnTo>
                  <a:lnTo>
                    <a:pt x="540" y="13"/>
                  </a:lnTo>
                  <a:lnTo>
                    <a:pt x="520" y="16"/>
                  </a:lnTo>
                  <a:lnTo>
                    <a:pt x="499" y="18"/>
                  </a:lnTo>
                  <a:lnTo>
                    <a:pt x="477" y="18"/>
                  </a:lnTo>
                  <a:lnTo>
                    <a:pt x="454" y="18"/>
                  </a:lnTo>
                  <a:lnTo>
                    <a:pt x="431" y="18"/>
                  </a:lnTo>
                  <a:lnTo>
                    <a:pt x="409" y="16"/>
                  </a:lnTo>
                  <a:lnTo>
                    <a:pt x="386" y="16"/>
                  </a:lnTo>
                  <a:lnTo>
                    <a:pt x="366" y="16"/>
                  </a:lnTo>
                  <a:lnTo>
                    <a:pt x="354" y="15"/>
                  </a:lnTo>
                  <a:lnTo>
                    <a:pt x="343" y="13"/>
                  </a:lnTo>
                  <a:lnTo>
                    <a:pt x="332" y="11"/>
                  </a:lnTo>
                  <a:lnTo>
                    <a:pt x="320" y="8"/>
                  </a:lnTo>
                  <a:lnTo>
                    <a:pt x="308" y="5"/>
                  </a:lnTo>
                  <a:lnTo>
                    <a:pt x="296" y="2"/>
                  </a:lnTo>
                  <a:lnTo>
                    <a:pt x="284" y="0"/>
                  </a:lnTo>
                  <a:lnTo>
                    <a:pt x="27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3" name="Freeform 76">
              <a:extLst>
                <a:ext uri="{FF2B5EF4-FFF2-40B4-BE49-F238E27FC236}">
                  <a16:creationId xmlns:a16="http://schemas.microsoft.com/office/drawing/2014/main" id="{CF54842F-033E-41C6-B51B-A30999309236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788400" y="4775200"/>
              <a:ext cx="83190" cy="76200"/>
            </a:xfrm>
            <a:custGeom>
              <a:avLst/>
              <a:gdLst/>
              <a:ahLst/>
              <a:cxnLst>
                <a:cxn ang="0">
                  <a:pos x="27" y="182"/>
                </a:cxn>
                <a:cxn ang="0">
                  <a:pos x="4" y="243"/>
                </a:cxn>
                <a:cxn ang="0">
                  <a:pos x="11" y="283"/>
                </a:cxn>
                <a:cxn ang="0">
                  <a:pos x="27" y="301"/>
                </a:cxn>
                <a:cxn ang="0">
                  <a:pos x="38" y="331"/>
                </a:cxn>
                <a:cxn ang="0">
                  <a:pos x="63" y="370"/>
                </a:cxn>
                <a:cxn ang="0">
                  <a:pos x="52" y="400"/>
                </a:cxn>
                <a:cxn ang="0">
                  <a:pos x="63" y="428"/>
                </a:cxn>
                <a:cxn ang="0">
                  <a:pos x="82" y="415"/>
                </a:cxn>
                <a:cxn ang="0">
                  <a:pos x="107" y="422"/>
                </a:cxn>
                <a:cxn ang="0">
                  <a:pos x="135" y="477"/>
                </a:cxn>
                <a:cxn ang="0">
                  <a:pos x="153" y="481"/>
                </a:cxn>
                <a:cxn ang="0">
                  <a:pos x="170" y="464"/>
                </a:cxn>
                <a:cxn ang="0">
                  <a:pos x="206" y="436"/>
                </a:cxn>
                <a:cxn ang="0">
                  <a:pos x="230" y="406"/>
                </a:cxn>
                <a:cxn ang="0">
                  <a:pos x="254" y="385"/>
                </a:cxn>
                <a:cxn ang="0">
                  <a:pos x="269" y="358"/>
                </a:cxn>
                <a:cxn ang="0">
                  <a:pos x="283" y="339"/>
                </a:cxn>
                <a:cxn ang="0">
                  <a:pos x="294" y="330"/>
                </a:cxn>
                <a:cxn ang="0">
                  <a:pos x="299" y="291"/>
                </a:cxn>
                <a:cxn ang="0">
                  <a:pos x="313" y="278"/>
                </a:cxn>
                <a:cxn ang="0">
                  <a:pos x="348" y="265"/>
                </a:cxn>
                <a:cxn ang="0">
                  <a:pos x="365" y="248"/>
                </a:cxn>
                <a:cxn ang="0">
                  <a:pos x="407" y="206"/>
                </a:cxn>
                <a:cxn ang="0">
                  <a:pos x="429" y="194"/>
                </a:cxn>
                <a:cxn ang="0">
                  <a:pos x="455" y="156"/>
                </a:cxn>
                <a:cxn ang="0">
                  <a:pos x="470" y="119"/>
                </a:cxn>
                <a:cxn ang="0">
                  <a:pos x="439" y="86"/>
                </a:cxn>
                <a:cxn ang="0">
                  <a:pos x="407" y="75"/>
                </a:cxn>
                <a:cxn ang="0">
                  <a:pos x="349" y="66"/>
                </a:cxn>
                <a:cxn ang="0">
                  <a:pos x="321" y="52"/>
                </a:cxn>
                <a:cxn ang="0">
                  <a:pos x="299" y="33"/>
                </a:cxn>
                <a:cxn ang="0">
                  <a:pos x="269" y="0"/>
                </a:cxn>
                <a:cxn ang="0">
                  <a:pos x="254" y="33"/>
                </a:cxn>
                <a:cxn ang="0">
                  <a:pos x="232" y="60"/>
                </a:cxn>
                <a:cxn ang="0">
                  <a:pos x="227" y="75"/>
                </a:cxn>
                <a:cxn ang="0">
                  <a:pos x="218" y="89"/>
                </a:cxn>
                <a:cxn ang="0">
                  <a:pos x="213" y="123"/>
                </a:cxn>
                <a:cxn ang="0">
                  <a:pos x="224" y="146"/>
                </a:cxn>
                <a:cxn ang="0">
                  <a:pos x="245" y="178"/>
                </a:cxn>
                <a:cxn ang="0">
                  <a:pos x="254" y="193"/>
                </a:cxn>
                <a:cxn ang="0">
                  <a:pos x="262" y="203"/>
                </a:cxn>
                <a:cxn ang="0">
                  <a:pos x="269" y="214"/>
                </a:cxn>
                <a:cxn ang="0">
                  <a:pos x="276" y="227"/>
                </a:cxn>
                <a:cxn ang="0">
                  <a:pos x="269" y="242"/>
                </a:cxn>
                <a:cxn ang="0">
                  <a:pos x="261" y="261"/>
                </a:cxn>
                <a:cxn ang="0">
                  <a:pos x="245" y="272"/>
                </a:cxn>
                <a:cxn ang="0">
                  <a:pos x="194" y="250"/>
                </a:cxn>
                <a:cxn ang="0">
                  <a:pos x="167" y="240"/>
                </a:cxn>
                <a:cxn ang="0">
                  <a:pos x="149" y="220"/>
                </a:cxn>
                <a:cxn ang="0">
                  <a:pos x="107" y="181"/>
                </a:cxn>
                <a:cxn ang="0">
                  <a:pos x="73" y="167"/>
                </a:cxn>
                <a:cxn ang="0">
                  <a:pos x="62" y="160"/>
                </a:cxn>
              </a:cxnLst>
              <a:rect l="0" t="0" r="r" b="b"/>
              <a:pathLst>
                <a:path w="470" h="481">
                  <a:moveTo>
                    <a:pt x="49" y="156"/>
                  </a:moveTo>
                  <a:lnTo>
                    <a:pt x="42" y="163"/>
                  </a:lnTo>
                  <a:lnTo>
                    <a:pt x="36" y="168"/>
                  </a:lnTo>
                  <a:lnTo>
                    <a:pt x="32" y="175"/>
                  </a:lnTo>
                  <a:lnTo>
                    <a:pt x="27" y="182"/>
                  </a:lnTo>
                  <a:lnTo>
                    <a:pt x="22" y="195"/>
                  </a:lnTo>
                  <a:lnTo>
                    <a:pt x="19" y="208"/>
                  </a:lnTo>
                  <a:lnTo>
                    <a:pt x="16" y="217"/>
                  </a:lnTo>
                  <a:lnTo>
                    <a:pt x="11" y="231"/>
                  </a:lnTo>
                  <a:lnTo>
                    <a:pt x="4" y="243"/>
                  </a:lnTo>
                  <a:lnTo>
                    <a:pt x="0" y="250"/>
                  </a:lnTo>
                  <a:lnTo>
                    <a:pt x="2" y="259"/>
                  </a:lnTo>
                  <a:lnTo>
                    <a:pt x="4" y="267"/>
                  </a:lnTo>
                  <a:lnTo>
                    <a:pt x="7" y="275"/>
                  </a:lnTo>
                  <a:lnTo>
                    <a:pt x="11" y="283"/>
                  </a:lnTo>
                  <a:lnTo>
                    <a:pt x="20" y="289"/>
                  </a:lnTo>
                  <a:lnTo>
                    <a:pt x="26" y="294"/>
                  </a:lnTo>
                  <a:lnTo>
                    <a:pt x="26" y="298"/>
                  </a:lnTo>
                  <a:lnTo>
                    <a:pt x="26" y="300"/>
                  </a:lnTo>
                  <a:lnTo>
                    <a:pt x="27" y="301"/>
                  </a:lnTo>
                  <a:lnTo>
                    <a:pt x="30" y="302"/>
                  </a:lnTo>
                  <a:lnTo>
                    <a:pt x="30" y="313"/>
                  </a:lnTo>
                  <a:lnTo>
                    <a:pt x="38" y="320"/>
                  </a:lnTo>
                  <a:lnTo>
                    <a:pt x="38" y="326"/>
                  </a:lnTo>
                  <a:lnTo>
                    <a:pt x="38" y="331"/>
                  </a:lnTo>
                  <a:lnTo>
                    <a:pt x="41" y="339"/>
                  </a:lnTo>
                  <a:lnTo>
                    <a:pt x="52" y="350"/>
                  </a:lnTo>
                  <a:lnTo>
                    <a:pt x="63" y="361"/>
                  </a:lnTo>
                  <a:lnTo>
                    <a:pt x="63" y="366"/>
                  </a:lnTo>
                  <a:lnTo>
                    <a:pt x="63" y="370"/>
                  </a:lnTo>
                  <a:lnTo>
                    <a:pt x="62" y="375"/>
                  </a:lnTo>
                  <a:lnTo>
                    <a:pt x="60" y="377"/>
                  </a:lnTo>
                  <a:lnTo>
                    <a:pt x="60" y="388"/>
                  </a:lnTo>
                  <a:lnTo>
                    <a:pt x="52" y="392"/>
                  </a:lnTo>
                  <a:lnTo>
                    <a:pt x="52" y="400"/>
                  </a:lnTo>
                  <a:lnTo>
                    <a:pt x="52" y="410"/>
                  </a:lnTo>
                  <a:lnTo>
                    <a:pt x="52" y="419"/>
                  </a:lnTo>
                  <a:lnTo>
                    <a:pt x="52" y="428"/>
                  </a:lnTo>
                  <a:lnTo>
                    <a:pt x="58" y="428"/>
                  </a:lnTo>
                  <a:lnTo>
                    <a:pt x="63" y="428"/>
                  </a:lnTo>
                  <a:lnTo>
                    <a:pt x="68" y="423"/>
                  </a:lnTo>
                  <a:lnTo>
                    <a:pt x="71" y="417"/>
                  </a:lnTo>
                  <a:lnTo>
                    <a:pt x="79" y="417"/>
                  </a:lnTo>
                  <a:lnTo>
                    <a:pt x="79" y="416"/>
                  </a:lnTo>
                  <a:lnTo>
                    <a:pt x="82" y="415"/>
                  </a:lnTo>
                  <a:lnTo>
                    <a:pt x="86" y="415"/>
                  </a:lnTo>
                  <a:lnTo>
                    <a:pt x="90" y="414"/>
                  </a:lnTo>
                  <a:lnTo>
                    <a:pt x="99" y="414"/>
                  </a:lnTo>
                  <a:lnTo>
                    <a:pt x="105" y="414"/>
                  </a:lnTo>
                  <a:lnTo>
                    <a:pt x="107" y="422"/>
                  </a:lnTo>
                  <a:lnTo>
                    <a:pt x="110" y="431"/>
                  </a:lnTo>
                  <a:lnTo>
                    <a:pt x="113" y="442"/>
                  </a:lnTo>
                  <a:lnTo>
                    <a:pt x="116" y="451"/>
                  </a:lnTo>
                  <a:lnTo>
                    <a:pt x="125" y="463"/>
                  </a:lnTo>
                  <a:lnTo>
                    <a:pt x="135" y="477"/>
                  </a:lnTo>
                  <a:lnTo>
                    <a:pt x="141" y="477"/>
                  </a:lnTo>
                  <a:lnTo>
                    <a:pt x="142" y="480"/>
                  </a:lnTo>
                  <a:lnTo>
                    <a:pt x="146" y="481"/>
                  </a:lnTo>
                  <a:lnTo>
                    <a:pt x="149" y="481"/>
                  </a:lnTo>
                  <a:lnTo>
                    <a:pt x="153" y="481"/>
                  </a:lnTo>
                  <a:lnTo>
                    <a:pt x="154" y="479"/>
                  </a:lnTo>
                  <a:lnTo>
                    <a:pt x="156" y="476"/>
                  </a:lnTo>
                  <a:lnTo>
                    <a:pt x="158" y="474"/>
                  </a:lnTo>
                  <a:lnTo>
                    <a:pt x="161" y="471"/>
                  </a:lnTo>
                  <a:lnTo>
                    <a:pt x="170" y="464"/>
                  </a:lnTo>
                  <a:lnTo>
                    <a:pt x="180" y="457"/>
                  </a:lnTo>
                  <a:lnTo>
                    <a:pt x="192" y="451"/>
                  </a:lnTo>
                  <a:lnTo>
                    <a:pt x="201" y="443"/>
                  </a:lnTo>
                  <a:lnTo>
                    <a:pt x="204" y="439"/>
                  </a:lnTo>
                  <a:lnTo>
                    <a:pt x="206" y="436"/>
                  </a:lnTo>
                  <a:lnTo>
                    <a:pt x="208" y="433"/>
                  </a:lnTo>
                  <a:lnTo>
                    <a:pt x="209" y="428"/>
                  </a:lnTo>
                  <a:lnTo>
                    <a:pt x="216" y="425"/>
                  </a:lnTo>
                  <a:lnTo>
                    <a:pt x="216" y="417"/>
                  </a:lnTo>
                  <a:lnTo>
                    <a:pt x="230" y="406"/>
                  </a:lnTo>
                  <a:lnTo>
                    <a:pt x="238" y="395"/>
                  </a:lnTo>
                  <a:lnTo>
                    <a:pt x="244" y="394"/>
                  </a:lnTo>
                  <a:lnTo>
                    <a:pt x="250" y="392"/>
                  </a:lnTo>
                  <a:lnTo>
                    <a:pt x="251" y="388"/>
                  </a:lnTo>
                  <a:lnTo>
                    <a:pt x="254" y="385"/>
                  </a:lnTo>
                  <a:lnTo>
                    <a:pt x="257" y="381"/>
                  </a:lnTo>
                  <a:lnTo>
                    <a:pt x="261" y="380"/>
                  </a:lnTo>
                  <a:lnTo>
                    <a:pt x="261" y="373"/>
                  </a:lnTo>
                  <a:lnTo>
                    <a:pt x="269" y="366"/>
                  </a:lnTo>
                  <a:lnTo>
                    <a:pt x="269" y="358"/>
                  </a:lnTo>
                  <a:lnTo>
                    <a:pt x="272" y="356"/>
                  </a:lnTo>
                  <a:lnTo>
                    <a:pt x="275" y="351"/>
                  </a:lnTo>
                  <a:lnTo>
                    <a:pt x="279" y="347"/>
                  </a:lnTo>
                  <a:lnTo>
                    <a:pt x="280" y="344"/>
                  </a:lnTo>
                  <a:lnTo>
                    <a:pt x="283" y="339"/>
                  </a:lnTo>
                  <a:lnTo>
                    <a:pt x="286" y="339"/>
                  </a:lnTo>
                  <a:lnTo>
                    <a:pt x="289" y="337"/>
                  </a:lnTo>
                  <a:lnTo>
                    <a:pt x="290" y="335"/>
                  </a:lnTo>
                  <a:lnTo>
                    <a:pt x="291" y="331"/>
                  </a:lnTo>
                  <a:lnTo>
                    <a:pt x="294" y="330"/>
                  </a:lnTo>
                  <a:lnTo>
                    <a:pt x="299" y="328"/>
                  </a:lnTo>
                  <a:lnTo>
                    <a:pt x="299" y="313"/>
                  </a:lnTo>
                  <a:lnTo>
                    <a:pt x="299" y="298"/>
                  </a:lnTo>
                  <a:lnTo>
                    <a:pt x="294" y="294"/>
                  </a:lnTo>
                  <a:lnTo>
                    <a:pt x="299" y="291"/>
                  </a:lnTo>
                  <a:lnTo>
                    <a:pt x="302" y="290"/>
                  </a:lnTo>
                  <a:lnTo>
                    <a:pt x="305" y="288"/>
                  </a:lnTo>
                  <a:lnTo>
                    <a:pt x="309" y="284"/>
                  </a:lnTo>
                  <a:lnTo>
                    <a:pt x="310" y="280"/>
                  </a:lnTo>
                  <a:lnTo>
                    <a:pt x="313" y="278"/>
                  </a:lnTo>
                  <a:lnTo>
                    <a:pt x="317" y="275"/>
                  </a:lnTo>
                  <a:lnTo>
                    <a:pt x="317" y="272"/>
                  </a:lnTo>
                  <a:lnTo>
                    <a:pt x="333" y="270"/>
                  </a:lnTo>
                  <a:lnTo>
                    <a:pt x="347" y="269"/>
                  </a:lnTo>
                  <a:lnTo>
                    <a:pt x="348" y="265"/>
                  </a:lnTo>
                  <a:lnTo>
                    <a:pt x="351" y="263"/>
                  </a:lnTo>
                  <a:lnTo>
                    <a:pt x="355" y="262"/>
                  </a:lnTo>
                  <a:lnTo>
                    <a:pt x="358" y="261"/>
                  </a:lnTo>
                  <a:lnTo>
                    <a:pt x="360" y="254"/>
                  </a:lnTo>
                  <a:lnTo>
                    <a:pt x="365" y="248"/>
                  </a:lnTo>
                  <a:lnTo>
                    <a:pt x="370" y="240"/>
                  </a:lnTo>
                  <a:lnTo>
                    <a:pt x="378" y="233"/>
                  </a:lnTo>
                  <a:lnTo>
                    <a:pt x="393" y="220"/>
                  </a:lnTo>
                  <a:lnTo>
                    <a:pt x="403" y="213"/>
                  </a:lnTo>
                  <a:lnTo>
                    <a:pt x="407" y="206"/>
                  </a:lnTo>
                  <a:lnTo>
                    <a:pt x="413" y="201"/>
                  </a:lnTo>
                  <a:lnTo>
                    <a:pt x="417" y="197"/>
                  </a:lnTo>
                  <a:lnTo>
                    <a:pt x="420" y="196"/>
                  </a:lnTo>
                  <a:lnTo>
                    <a:pt x="425" y="194"/>
                  </a:lnTo>
                  <a:lnTo>
                    <a:pt x="429" y="194"/>
                  </a:lnTo>
                  <a:lnTo>
                    <a:pt x="433" y="191"/>
                  </a:lnTo>
                  <a:lnTo>
                    <a:pt x="441" y="177"/>
                  </a:lnTo>
                  <a:lnTo>
                    <a:pt x="447" y="164"/>
                  </a:lnTo>
                  <a:lnTo>
                    <a:pt x="452" y="160"/>
                  </a:lnTo>
                  <a:lnTo>
                    <a:pt x="455" y="156"/>
                  </a:lnTo>
                  <a:lnTo>
                    <a:pt x="462" y="153"/>
                  </a:lnTo>
                  <a:lnTo>
                    <a:pt x="466" y="149"/>
                  </a:lnTo>
                  <a:lnTo>
                    <a:pt x="467" y="140"/>
                  </a:lnTo>
                  <a:lnTo>
                    <a:pt x="468" y="130"/>
                  </a:lnTo>
                  <a:lnTo>
                    <a:pt x="470" y="119"/>
                  </a:lnTo>
                  <a:lnTo>
                    <a:pt x="470" y="108"/>
                  </a:lnTo>
                  <a:lnTo>
                    <a:pt x="464" y="104"/>
                  </a:lnTo>
                  <a:lnTo>
                    <a:pt x="453" y="95"/>
                  </a:lnTo>
                  <a:lnTo>
                    <a:pt x="446" y="90"/>
                  </a:lnTo>
                  <a:lnTo>
                    <a:pt x="439" y="86"/>
                  </a:lnTo>
                  <a:lnTo>
                    <a:pt x="433" y="83"/>
                  </a:lnTo>
                  <a:lnTo>
                    <a:pt x="425" y="82"/>
                  </a:lnTo>
                  <a:lnTo>
                    <a:pt x="420" y="78"/>
                  </a:lnTo>
                  <a:lnTo>
                    <a:pt x="414" y="76"/>
                  </a:lnTo>
                  <a:lnTo>
                    <a:pt x="407" y="75"/>
                  </a:lnTo>
                  <a:lnTo>
                    <a:pt x="399" y="73"/>
                  </a:lnTo>
                  <a:lnTo>
                    <a:pt x="382" y="72"/>
                  </a:lnTo>
                  <a:lnTo>
                    <a:pt x="369" y="71"/>
                  </a:lnTo>
                  <a:lnTo>
                    <a:pt x="360" y="68"/>
                  </a:lnTo>
                  <a:lnTo>
                    <a:pt x="349" y="66"/>
                  </a:lnTo>
                  <a:lnTo>
                    <a:pt x="338" y="63"/>
                  </a:lnTo>
                  <a:lnTo>
                    <a:pt x="328" y="63"/>
                  </a:lnTo>
                  <a:lnTo>
                    <a:pt x="324" y="60"/>
                  </a:lnTo>
                  <a:lnTo>
                    <a:pt x="322" y="56"/>
                  </a:lnTo>
                  <a:lnTo>
                    <a:pt x="321" y="52"/>
                  </a:lnTo>
                  <a:lnTo>
                    <a:pt x="315" y="50"/>
                  </a:lnTo>
                  <a:lnTo>
                    <a:pt x="310" y="49"/>
                  </a:lnTo>
                  <a:lnTo>
                    <a:pt x="310" y="41"/>
                  </a:lnTo>
                  <a:lnTo>
                    <a:pt x="305" y="38"/>
                  </a:lnTo>
                  <a:lnTo>
                    <a:pt x="299" y="33"/>
                  </a:lnTo>
                  <a:lnTo>
                    <a:pt x="299" y="25"/>
                  </a:lnTo>
                  <a:lnTo>
                    <a:pt x="291" y="19"/>
                  </a:lnTo>
                  <a:lnTo>
                    <a:pt x="283" y="11"/>
                  </a:lnTo>
                  <a:lnTo>
                    <a:pt x="283" y="3"/>
                  </a:lnTo>
                  <a:lnTo>
                    <a:pt x="269" y="0"/>
                  </a:lnTo>
                  <a:lnTo>
                    <a:pt x="265" y="8"/>
                  </a:lnTo>
                  <a:lnTo>
                    <a:pt x="263" y="14"/>
                  </a:lnTo>
                  <a:lnTo>
                    <a:pt x="259" y="20"/>
                  </a:lnTo>
                  <a:lnTo>
                    <a:pt x="254" y="25"/>
                  </a:lnTo>
                  <a:lnTo>
                    <a:pt x="254" y="33"/>
                  </a:lnTo>
                  <a:lnTo>
                    <a:pt x="246" y="38"/>
                  </a:lnTo>
                  <a:lnTo>
                    <a:pt x="244" y="42"/>
                  </a:lnTo>
                  <a:lnTo>
                    <a:pt x="241" y="50"/>
                  </a:lnTo>
                  <a:lnTo>
                    <a:pt x="235" y="57"/>
                  </a:lnTo>
                  <a:lnTo>
                    <a:pt x="232" y="60"/>
                  </a:lnTo>
                  <a:lnTo>
                    <a:pt x="232" y="67"/>
                  </a:lnTo>
                  <a:lnTo>
                    <a:pt x="230" y="68"/>
                  </a:lnTo>
                  <a:lnTo>
                    <a:pt x="228" y="69"/>
                  </a:lnTo>
                  <a:lnTo>
                    <a:pt x="227" y="71"/>
                  </a:lnTo>
                  <a:lnTo>
                    <a:pt x="227" y="75"/>
                  </a:lnTo>
                  <a:lnTo>
                    <a:pt x="225" y="77"/>
                  </a:lnTo>
                  <a:lnTo>
                    <a:pt x="223" y="82"/>
                  </a:lnTo>
                  <a:lnTo>
                    <a:pt x="222" y="85"/>
                  </a:lnTo>
                  <a:lnTo>
                    <a:pt x="221" y="87"/>
                  </a:lnTo>
                  <a:lnTo>
                    <a:pt x="218" y="89"/>
                  </a:lnTo>
                  <a:lnTo>
                    <a:pt x="216" y="89"/>
                  </a:lnTo>
                  <a:lnTo>
                    <a:pt x="216" y="98"/>
                  </a:lnTo>
                  <a:lnTo>
                    <a:pt x="215" y="106"/>
                  </a:lnTo>
                  <a:lnTo>
                    <a:pt x="213" y="115"/>
                  </a:lnTo>
                  <a:lnTo>
                    <a:pt x="213" y="123"/>
                  </a:lnTo>
                  <a:lnTo>
                    <a:pt x="221" y="130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3" y="144"/>
                  </a:lnTo>
                  <a:lnTo>
                    <a:pt x="224" y="146"/>
                  </a:lnTo>
                  <a:lnTo>
                    <a:pt x="224" y="149"/>
                  </a:lnTo>
                  <a:lnTo>
                    <a:pt x="233" y="159"/>
                  </a:lnTo>
                  <a:lnTo>
                    <a:pt x="243" y="167"/>
                  </a:lnTo>
                  <a:lnTo>
                    <a:pt x="243" y="172"/>
                  </a:lnTo>
                  <a:lnTo>
                    <a:pt x="245" y="178"/>
                  </a:lnTo>
                  <a:lnTo>
                    <a:pt x="247" y="182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6"/>
                  </a:lnTo>
                  <a:lnTo>
                    <a:pt x="254" y="193"/>
                  </a:lnTo>
                  <a:lnTo>
                    <a:pt x="255" y="194"/>
                  </a:lnTo>
                  <a:lnTo>
                    <a:pt x="256" y="195"/>
                  </a:lnTo>
                  <a:lnTo>
                    <a:pt x="257" y="202"/>
                  </a:lnTo>
                  <a:lnTo>
                    <a:pt x="260" y="202"/>
                  </a:lnTo>
                  <a:lnTo>
                    <a:pt x="262" y="203"/>
                  </a:lnTo>
                  <a:lnTo>
                    <a:pt x="263" y="204"/>
                  </a:lnTo>
                  <a:lnTo>
                    <a:pt x="264" y="205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9" y="214"/>
                  </a:lnTo>
                  <a:lnTo>
                    <a:pt x="272" y="216"/>
                  </a:lnTo>
                  <a:lnTo>
                    <a:pt x="272" y="224"/>
                  </a:lnTo>
                  <a:lnTo>
                    <a:pt x="274" y="224"/>
                  </a:lnTo>
                  <a:lnTo>
                    <a:pt x="276" y="225"/>
                  </a:lnTo>
                  <a:lnTo>
                    <a:pt x="276" y="227"/>
                  </a:lnTo>
                  <a:lnTo>
                    <a:pt x="274" y="230"/>
                  </a:lnTo>
                  <a:lnTo>
                    <a:pt x="272" y="231"/>
                  </a:lnTo>
                  <a:lnTo>
                    <a:pt x="271" y="235"/>
                  </a:lnTo>
                  <a:lnTo>
                    <a:pt x="269" y="239"/>
                  </a:lnTo>
                  <a:lnTo>
                    <a:pt x="269" y="242"/>
                  </a:lnTo>
                  <a:lnTo>
                    <a:pt x="269" y="244"/>
                  </a:lnTo>
                  <a:lnTo>
                    <a:pt x="269" y="246"/>
                  </a:lnTo>
                  <a:lnTo>
                    <a:pt x="267" y="250"/>
                  </a:lnTo>
                  <a:lnTo>
                    <a:pt x="264" y="255"/>
                  </a:lnTo>
                  <a:lnTo>
                    <a:pt x="261" y="261"/>
                  </a:lnTo>
                  <a:lnTo>
                    <a:pt x="257" y="264"/>
                  </a:lnTo>
                  <a:lnTo>
                    <a:pt x="257" y="269"/>
                  </a:lnTo>
                  <a:lnTo>
                    <a:pt x="257" y="272"/>
                  </a:lnTo>
                  <a:lnTo>
                    <a:pt x="254" y="275"/>
                  </a:lnTo>
                  <a:lnTo>
                    <a:pt x="245" y="272"/>
                  </a:lnTo>
                  <a:lnTo>
                    <a:pt x="234" y="269"/>
                  </a:lnTo>
                  <a:lnTo>
                    <a:pt x="225" y="265"/>
                  </a:lnTo>
                  <a:lnTo>
                    <a:pt x="221" y="264"/>
                  </a:lnTo>
                  <a:lnTo>
                    <a:pt x="207" y="258"/>
                  </a:lnTo>
                  <a:lnTo>
                    <a:pt x="194" y="250"/>
                  </a:lnTo>
                  <a:lnTo>
                    <a:pt x="188" y="248"/>
                  </a:lnTo>
                  <a:lnTo>
                    <a:pt x="180" y="244"/>
                  </a:lnTo>
                  <a:lnTo>
                    <a:pt x="174" y="243"/>
                  </a:lnTo>
                  <a:lnTo>
                    <a:pt x="168" y="242"/>
                  </a:lnTo>
                  <a:lnTo>
                    <a:pt x="167" y="240"/>
                  </a:lnTo>
                  <a:lnTo>
                    <a:pt x="166" y="237"/>
                  </a:lnTo>
                  <a:lnTo>
                    <a:pt x="164" y="235"/>
                  </a:lnTo>
                  <a:lnTo>
                    <a:pt x="160" y="235"/>
                  </a:lnTo>
                  <a:lnTo>
                    <a:pt x="155" y="229"/>
                  </a:lnTo>
                  <a:lnTo>
                    <a:pt x="149" y="220"/>
                  </a:lnTo>
                  <a:lnTo>
                    <a:pt x="142" y="214"/>
                  </a:lnTo>
                  <a:lnTo>
                    <a:pt x="132" y="202"/>
                  </a:lnTo>
                  <a:lnTo>
                    <a:pt x="123" y="188"/>
                  </a:lnTo>
                  <a:lnTo>
                    <a:pt x="119" y="183"/>
                  </a:lnTo>
                  <a:lnTo>
                    <a:pt x="107" y="181"/>
                  </a:lnTo>
                  <a:lnTo>
                    <a:pt x="93" y="178"/>
                  </a:lnTo>
                  <a:lnTo>
                    <a:pt x="90" y="172"/>
                  </a:lnTo>
                  <a:lnTo>
                    <a:pt x="86" y="171"/>
                  </a:lnTo>
                  <a:lnTo>
                    <a:pt x="79" y="169"/>
                  </a:lnTo>
                  <a:lnTo>
                    <a:pt x="73" y="167"/>
                  </a:lnTo>
                  <a:lnTo>
                    <a:pt x="71" y="164"/>
                  </a:lnTo>
                  <a:lnTo>
                    <a:pt x="63" y="164"/>
                  </a:lnTo>
                  <a:lnTo>
                    <a:pt x="63" y="162"/>
                  </a:lnTo>
                  <a:lnTo>
                    <a:pt x="63" y="160"/>
                  </a:lnTo>
                  <a:lnTo>
                    <a:pt x="62" y="160"/>
                  </a:lnTo>
                  <a:lnTo>
                    <a:pt x="60" y="160"/>
                  </a:lnTo>
                  <a:lnTo>
                    <a:pt x="55" y="159"/>
                  </a:lnTo>
                  <a:lnTo>
                    <a:pt x="49" y="15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4" name="Freeform 77">
              <a:extLst>
                <a:ext uri="{FF2B5EF4-FFF2-40B4-BE49-F238E27FC236}">
                  <a16:creationId xmlns:a16="http://schemas.microsoft.com/office/drawing/2014/main" id="{137D2517-A212-44F8-9A5E-401CECEB736F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788400" y="4775200"/>
              <a:ext cx="83190" cy="76200"/>
            </a:xfrm>
            <a:custGeom>
              <a:avLst/>
              <a:gdLst/>
              <a:ahLst/>
              <a:cxnLst>
                <a:cxn ang="0">
                  <a:pos x="27" y="182"/>
                </a:cxn>
                <a:cxn ang="0">
                  <a:pos x="4" y="243"/>
                </a:cxn>
                <a:cxn ang="0">
                  <a:pos x="11" y="283"/>
                </a:cxn>
                <a:cxn ang="0">
                  <a:pos x="27" y="301"/>
                </a:cxn>
                <a:cxn ang="0">
                  <a:pos x="38" y="331"/>
                </a:cxn>
                <a:cxn ang="0">
                  <a:pos x="63" y="370"/>
                </a:cxn>
                <a:cxn ang="0">
                  <a:pos x="52" y="400"/>
                </a:cxn>
                <a:cxn ang="0">
                  <a:pos x="63" y="428"/>
                </a:cxn>
                <a:cxn ang="0">
                  <a:pos x="82" y="415"/>
                </a:cxn>
                <a:cxn ang="0">
                  <a:pos x="107" y="422"/>
                </a:cxn>
                <a:cxn ang="0">
                  <a:pos x="135" y="477"/>
                </a:cxn>
                <a:cxn ang="0">
                  <a:pos x="153" y="481"/>
                </a:cxn>
                <a:cxn ang="0">
                  <a:pos x="170" y="464"/>
                </a:cxn>
                <a:cxn ang="0">
                  <a:pos x="206" y="436"/>
                </a:cxn>
                <a:cxn ang="0">
                  <a:pos x="230" y="406"/>
                </a:cxn>
                <a:cxn ang="0">
                  <a:pos x="254" y="385"/>
                </a:cxn>
                <a:cxn ang="0">
                  <a:pos x="269" y="358"/>
                </a:cxn>
                <a:cxn ang="0">
                  <a:pos x="283" y="339"/>
                </a:cxn>
                <a:cxn ang="0">
                  <a:pos x="294" y="330"/>
                </a:cxn>
                <a:cxn ang="0">
                  <a:pos x="299" y="291"/>
                </a:cxn>
                <a:cxn ang="0">
                  <a:pos x="313" y="278"/>
                </a:cxn>
                <a:cxn ang="0">
                  <a:pos x="348" y="265"/>
                </a:cxn>
                <a:cxn ang="0">
                  <a:pos x="365" y="248"/>
                </a:cxn>
                <a:cxn ang="0">
                  <a:pos x="407" y="206"/>
                </a:cxn>
                <a:cxn ang="0">
                  <a:pos x="429" y="194"/>
                </a:cxn>
                <a:cxn ang="0">
                  <a:pos x="455" y="156"/>
                </a:cxn>
                <a:cxn ang="0">
                  <a:pos x="470" y="119"/>
                </a:cxn>
                <a:cxn ang="0">
                  <a:pos x="439" y="86"/>
                </a:cxn>
                <a:cxn ang="0">
                  <a:pos x="407" y="75"/>
                </a:cxn>
                <a:cxn ang="0">
                  <a:pos x="349" y="66"/>
                </a:cxn>
                <a:cxn ang="0">
                  <a:pos x="321" y="52"/>
                </a:cxn>
                <a:cxn ang="0">
                  <a:pos x="299" y="33"/>
                </a:cxn>
                <a:cxn ang="0">
                  <a:pos x="269" y="0"/>
                </a:cxn>
                <a:cxn ang="0">
                  <a:pos x="254" y="33"/>
                </a:cxn>
                <a:cxn ang="0">
                  <a:pos x="232" y="60"/>
                </a:cxn>
                <a:cxn ang="0">
                  <a:pos x="227" y="75"/>
                </a:cxn>
                <a:cxn ang="0">
                  <a:pos x="218" y="89"/>
                </a:cxn>
                <a:cxn ang="0">
                  <a:pos x="213" y="123"/>
                </a:cxn>
                <a:cxn ang="0">
                  <a:pos x="224" y="146"/>
                </a:cxn>
                <a:cxn ang="0">
                  <a:pos x="245" y="178"/>
                </a:cxn>
                <a:cxn ang="0">
                  <a:pos x="254" y="193"/>
                </a:cxn>
                <a:cxn ang="0">
                  <a:pos x="262" y="203"/>
                </a:cxn>
                <a:cxn ang="0">
                  <a:pos x="269" y="214"/>
                </a:cxn>
                <a:cxn ang="0">
                  <a:pos x="276" y="227"/>
                </a:cxn>
                <a:cxn ang="0">
                  <a:pos x="269" y="242"/>
                </a:cxn>
                <a:cxn ang="0">
                  <a:pos x="261" y="261"/>
                </a:cxn>
                <a:cxn ang="0">
                  <a:pos x="245" y="272"/>
                </a:cxn>
                <a:cxn ang="0">
                  <a:pos x="194" y="250"/>
                </a:cxn>
                <a:cxn ang="0">
                  <a:pos x="167" y="240"/>
                </a:cxn>
                <a:cxn ang="0">
                  <a:pos x="149" y="220"/>
                </a:cxn>
                <a:cxn ang="0">
                  <a:pos x="107" y="181"/>
                </a:cxn>
                <a:cxn ang="0">
                  <a:pos x="73" y="167"/>
                </a:cxn>
                <a:cxn ang="0">
                  <a:pos x="62" y="160"/>
                </a:cxn>
              </a:cxnLst>
              <a:rect l="0" t="0" r="r" b="b"/>
              <a:pathLst>
                <a:path w="470" h="481">
                  <a:moveTo>
                    <a:pt x="49" y="156"/>
                  </a:moveTo>
                  <a:lnTo>
                    <a:pt x="42" y="163"/>
                  </a:lnTo>
                  <a:lnTo>
                    <a:pt x="36" y="168"/>
                  </a:lnTo>
                  <a:lnTo>
                    <a:pt x="32" y="175"/>
                  </a:lnTo>
                  <a:lnTo>
                    <a:pt x="27" y="182"/>
                  </a:lnTo>
                  <a:lnTo>
                    <a:pt x="22" y="195"/>
                  </a:lnTo>
                  <a:lnTo>
                    <a:pt x="19" y="208"/>
                  </a:lnTo>
                  <a:lnTo>
                    <a:pt x="16" y="217"/>
                  </a:lnTo>
                  <a:lnTo>
                    <a:pt x="11" y="231"/>
                  </a:lnTo>
                  <a:lnTo>
                    <a:pt x="4" y="243"/>
                  </a:lnTo>
                  <a:lnTo>
                    <a:pt x="0" y="250"/>
                  </a:lnTo>
                  <a:lnTo>
                    <a:pt x="2" y="259"/>
                  </a:lnTo>
                  <a:lnTo>
                    <a:pt x="4" y="267"/>
                  </a:lnTo>
                  <a:lnTo>
                    <a:pt x="7" y="275"/>
                  </a:lnTo>
                  <a:lnTo>
                    <a:pt x="11" y="283"/>
                  </a:lnTo>
                  <a:lnTo>
                    <a:pt x="20" y="289"/>
                  </a:lnTo>
                  <a:lnTo>
                    <a:pt x="26" y="294"/>
                  </a:lnTo>
                  <a:lnTo>
                    <a:pt x="26" y="298"/>
                  </a:lnTo>
                  <a:lnTo>
                    <a:pt x="26" y="300"/>
                  </a:lnTo>
                  <a:lnTo>
                    <a:pt x="27" y="301"/>
                  </a:lnTo>
                  <a:lnTo>
                    <a:pt x="30" y="302"/>
                  </a:lnTo>
                  <a:lnTo>
                    <a:pt x="30" y="313"/>
                  </a:lnTo>
                  <a:lnTo>
                    <a:pt x="38" y="320"/>
                  </a:lnTo>
                  <a:lnTo>
                    <a:pt x="38" y="326"/>
                  </a:lnTo>
                  <a:lnTo>
                    <a:pt x="38" y="331"/>
                  </a:lnTo>
                  <a:lnTo>
                    <a:pt x="41" y="339"/>
                  </a:lnTo>
                  <a:lnTo>
                    <a:pt x="52" y="350"/>
                  </a:lnTo>
                  <a:lnTo>
                    <a:pt x="63" y="361"/>
                  </a:lnTo>
                  <a:lnTo>
                    <a:pt x="63" y="366"/>
                  </a:lnTo>
                  <a:lnTo>
                    <a:pt x="63" y="370"/>
                  </a:lnTo>
                  <a:lnTo>
                    <a:pt x="62" y="375"/>
                  </a:lnTo>
                  <a:lnTo>
                    <a:pt x="60" y="377"/>
                  </a:lnTo>
                  <a:lnTo>
                    <a:pt x="60" y="388"/>
                  </a:lnTo>
                  <a:lnTo>
                    <a:pt x="52" y="392"/>
                  </a:lnTo>
                  <a:lnTo>
                    <a:pt x="52" y="400"/>
                  </a:lnTo>
                  <a:lnTo>
                    <a:pt x="52" y="410"/>
                  </a:lnTo>
                  <a:lnTo>
                    <a:pt x="52" y="419"/>
                  </a:lnTo>
                  <a:lnTo>
                    <a:pt x="52" y="428"/>
                  </a:lnTo>
                  <a:lnTo>
                    <a:pt x="58" y="428"/>
                  </a:lnTo>
                  <a:lnTo>
                    <a:pt x="63" y="428"/>
                  </a:lnTo>
                  <a:lnTo>
                    <a:pt x="68" y="423"/>
                  </a:lnTo>
                  <a:lnTo>
                    <a:pt x="71" y="417"/>
                  </a:lnTo>
                  <a:lnTo>
                    <a:pt x="79" y="417"/>
                  </a:lnTo>
                  <a:lnTo>
                    <a:pt x="79" y="416"/>
                  </a:lnTo>
                  <a:lnTo>
                    <a:pt x="82" y="415"/>
                  </a:lnTo>
                  <a:lnTo>
                    <a:pt x="86" y="415"/>
                  </a:lnTo>
                  <a:lnTo>
                    <a:pt x="90" y="414"/>
                  </a:lnTo>
                  <a:lnTo>
                    <a:pt x="99" y="414"/>
                  </a:lnTo>
                  <a:lnTo>
                    <a:pt x="105" y="414"/>
                  </a:lnTo>
                  <a:lnTo>
                    <a:pt x="107" y="422"/>
                  </a:lnTo>
                  <a:lnTo>
                    <a:pt x="110" y="431"/>
                  </a:lnTo>
                  <a:lnTo>
                    <a:pt x="113" y="442"/>
                  </a:lnTo>
                  <a:lnTo>
                    <a:pt x="116" y="451"/>
                  </a:lnTo>
                  <a:lnTo>
                    <a:pt x="125" y="463"/>
                  </a:lnTo>
                  <a:lnTo>
                    <a:pt x="135" y="477"/>
                  </a:lnTo>
                  <a:lnTo>
                    <a:pt x="141" y="477"/>
                  </a:lnTo>
                  <a:lnTo>
                    <a:pt x="142" y="480"/>
                  </a:lnTo>
                  <a:lnTo>
                    <a:pt x="146" y="481"/>
                  </a:lnTo>
                  <a:lnTo>
                    <a:pt x="149" y="481"/>
                  </a:lnTo>
                  <a:lnTo>
                    <a:pt x="153" y="481"/>
                  </a:lnTo>
                  <a:lnTo>
                    <a:pt x="154" y="479"/>
                  </a:lnTo>
                  <a:lnTo>
                    <a:pt x="156" y="476"/>
                  </a:lnTo>
                  <a:lnTo>
                    <a:pt x="158" y="474"/>
                  </a:lnTo>
                  <a:lnTo>
                    <a:pt x="161" y="471"/>
                  </a:lnTo>
                  <a:lnTo>
                    <a:pt x="170" y="464"/>
                  </a:lnTo>
                  <a:lnTo>
                    <a:pt x="180" y="457"/>
                  </a:lnTo>
                  <a:lnTo>
                    <a:pt x="192" y="451"/>
                  </a:lnTo>
                  <a:lnTo>
                    <a:pt x="201" y="443"/>
                  </a:lnTo>
                  <a:lnTo>
                    <a:pt x="204" y="439"/>
                  </a:lnTo>
                  <a:lnTo>
                    <a:pt x="206" y="436"/>
                  </a:lnTo>
                  <a:lnTo>
                    <a:pt x="208" y="433"/>
                  </a:lnTo>
                  <a:lnTo>
                    <a:pt x="209" y="428"/>
                  </a:lnTo>
                  <a:lnTo>
                    <a:pt x="216" y="425"/>
                  </a:lnTo>
                  <a:lnTo>
                    <a:pt x="216" y="417"/>
                  </a:lnTo>
                  <a:lnTo>
                    <a:pt x="230" y="406"/>
                  </a:lnTo>
                  <a:lnTo>
                    <a:pt x="238" y="395"/>
                  </a:lnTo>
                  <a:lnTo>
                    <a:pt x="244" y="394"/>
                  </a:lnTo>
                  <a:lnTo>
                    <a:pt x="250" y="392"/>
                  </a:lnTo>
                  <a:lnTo>
                    <a:pt x="251" y="388"/>
                  </a:lnTo>
                  <a:lnTo>
                    <a:pt x="254" y="385"/>
                  </a:lnTo>
                  <a:lnTo>
                    <a:pt x="257" y="381"/>
                  </a:lnTo>
                  <a:lnTo>
                    <a:pt x="261" y="380"/>
                  </a:lnTo>
                  <a:lnTo>
                    <a:pt x="261" y="373"/>
                  </a:lnTo>
                  <a:lnTo>
                    <a:pt x="269" y="366"/>
                  </a:lnTo>
                  <a:lnTo>
                    <a:pt x="269" y="358"/>
                  </a:lnTo>
                  <a:lnTo>
                    <a:pt x="272" y="356"/>
                  </a:lnTo>
                  <a:lnTo>
                    <a:pt x="275" y="351"/>
                  </a:lnTo>
                  <a:lnTo>
                    <a:pt x="279" y="347"/>
                  </a:lnTo>
                  <a:lnTo>
                    <a:pt x="280" y="344"/>
                  </a:lnTo>
                  <a:lnTo>
                    <a:pt x="283" y="339"/>
                  </a:lnTo>
                  <a:lnTo>
                    <a:pt x="286" y="339"/>
                  </a:lnTo>
                  <a:lnTo>
                    <a:pt x="289" y="337"/>
                  </a:lnTo>
                  <a:lnTo>
                    <a:pt x="290" y="335"/>
                  </a:lnTo>
                  <a:lnTo>
                    <a:pt x="291" y="331"/>
                  </a:lnTo>
                  <a:lnTo>
                    <a:pt x="294" y="330"/>
                  </a:lnTo>
                  <a:lnTo>
                    <a:pt x="299" y="328"/>
                  </a:lnTo>
                  <a:lnTo>
                    <a:pt x="299" y="313"/>
                  </a:lnTo>
                  <a:lnTo>
                    <a:pt x="299" y="298"/>
                  </a:lnTo>
                  <a:lnTo>
                    <a:pt x="294" y="294"/>
                  </a:lnTo>
                  <a:lnTo>
                    <a:pt x="299" y="291"/>
                  </a:lnTo>
                  <a:lnTo>
                    <a:pt x="302" y="290"/>
                  </a:lnTo>
                  <a:lnTo>
                    <a:pt x="305" y="288"/>
                  </a:lnTo>
                  <a:lnTo>
                    <a:pt x="309" y="284"/>
                  </a:lnTo>
                  <a:lnTo>
                    <a:pt x="310" y="280"/>
                  </a:lnTo>
                  <a:lnTo>
                    <a:pt x="313" y="278"/>
                  </a:lnTo>
                  <a:lnTo>
                    <a:pt x="317" y="275"/>
                  </a:lnTo>
                  <a:lnTo>
                    <a:pt x="317" y="272"/>
                  </a:lnTo>
                  <a:lnTo>
                    <a:pt x="333" y="270"/>
                  </a:lnTo>
                  <a:lnTo>
                    <a:pt x="347" y="269"/>
                  </a:lnTo>
                  <a:lnTo>
                    <a:pt x="348" y="265"/>
                  </a:lnTo>
                  <a:lnTo>
                    <a:pt x="351" y="263"/>
                  </a:lnTo>
                  <a:lnTo>
                    <a:pt x="355" y="262"/>
                  </a:lnTo>
                  <a:lnTo>
                    <a:pt x="358" y="261"/>
                  </a:lnTo>
                  <a:lnTo>
                    <a:pt x="360" y="254"/>
                  </a:lnTo>
                  <a:lnTo>
                    <a:pt x="365" y="248"/>
                  </a:lnTo>
                  <a:lnTo>
                    <a:pt x="370" y="240"/>
                  </a:lnTo>
                  <a:lnTo>
                    <a:pt x="378" y="233"/>
                  </a:lnTo>
                  <a:lnTo>
                    <a:pt x="393" y="220"/>
                  </a:lnTo>
                  <a:lnTo>
                    <a:pt x="403" y="213"/>
                  </a:lnTo>
                  <a:lnTo>
                    <a:pt x="407" y="206"/>
                  </a:lnTo>
                  <a:lnTo>
                    <a:pt x="413" y="201"/>
                  </a:lnTo>
                  <a:lnTo>
                    <a:pt x="417" y="197"/>
                  </a:lnTo>
                  <a:lnTo>
                    <a:pt x="420" y="196"/>
                  </a:lnTo>
                  <a:lnTo>
                    <a:pt x="425" y="194"/>
                  </a:lnTo>
                  <a:lnTo>
                    <a:pt x="429" y="194"/>
                  </a:lnTo>
                  <a:lnTo>
                    <a:pt x="433" y="191"/>
                  </a:lnTo>
                  <a:lnTo>
                    <a:pt x="441" y="177"/>
                  </a:lnTo>
                  <a:lnTo>
                    <a:pt x="447" y="164"/>
                  </a:lnTo>
                  <a:lnTo>
                    <a:pt x="452" y="160"/>
                  </a:lnTo>
                  <a:lnTo>
                    <a:pt x="455" y="156"/>
                  </a:lnTo>
                  <a:lnTo>
                    <a:pt x="462" y="153"/>
                  </a:lnTo>
                  <a:lnTo>
                    <a:pt x="466" y="149"/>
                  </a:lnTo>
                  <a:lnTo>
                    <a:pt x="467" y="140"/>
                  </a:lnTo>
                  <a:lnTo>
                    <a:pt x="468" y="130"/>
                  </a:lnTo>
                  <a:lnTo>
                    <a:pt x="470" y="119"/>
                  </a:lnTo>
                  <a:lnTo>
                    <a:pt x="470" y="108"/>
                  </a:lnTo>
                  <a:lnTo>
                    <a:pt x="464" y="104"/>
                  </a:lnTo>
                  <a:lnTo>
                    <a:pt x="453" y="95"/>
                  </a:lnTo>
                  <a:lnTo>
                    <a:pt x="446" y="90"/>
                  </a:lnTo>
                  <a:lnTo>
                    <a:pt x="439" y="86"/>
                  </a:lnTo>
                  <a:lnTo>
                    <a:pt x="433" y="83"/>
                  </a:lnTo>
                  <a:lnTo>
                    <a:pt x="425" y="82"/>
                  </a:lnTo>
                  <a:lnTo>
                    <a:pt x="420" y="78"/>
                  </a:lnTo>
                  <a:lnTo>
                    <a:pt x="414" y="76"/>
                  </a:lnTo>
                  <a:lnTo>
                    <a:pt x="407" y="75"/>
                  </a:lnTo>
                  <a:lnTo>
                    <a:pt x="399" y="73"/>
                  </a:lnTo>
                  <a:lnTo>
                    <a:pt x="382" y="72"/>
                  </a:lnTo>
                  <a:lnTo>
                    <a:pt x="369" y="71"/>
                  </a:lnTo>
                  <a:lnTo>
                    <a:pt x="360" y="68"/>
                  </a:lnTo>
                  <a:lnTo>
                    <a:pt x="349" y="66"/>
                  </a:lnTo>
                  <a:lnTo>
                    <a:pt x="338" y="63"/>
                  </a:lnTo>
                  <a:lnTo>
                    <a:pt x="328" y="63"/>
                  </a:lnTo>
                  <a:lnTo>
                    <a:pt x="324" y="60"/>
                  </a:lnTo>
                  <a:lnTo>
                    <a:pt x="322" y="56"/>
                  </a:lnTo>
                  <a:lnTo>
                    <a:pt x="321" y="52"/>
                  </a:lnTo>
                  <a:lnTo>
                    <a:pt x="315" y="50"/>
                  </a:lnTo>
                  <a:lnTo>
                    <a:pt x="310" y="49"/>
                  </a:lnTo>
                  <a:lnTo>
                    <a:pt x="310" y="41"/>
                  </a:lnTo>
                  <a:lnTo>
                    <a:pt x="305" y="38"/>
                  </a:lnTo>
                  <a:lnTo>
                    <a:pt x="299" y="33"/>
                  </a:lnTo>
                  <a:lnTo>
                    <a:pt x="299" y="25"/>
                  </a:lnTo>
                  <a:lnTo>
                    <a:pt x="291" y="19"/>
                  </a:lnTo>
                  <a:lnTo>
                    <a:pt x="283" y="11"/>
                  </a:lnTo>
                  <a:lnTo>
                    <a:pt x="283" y="3"/>
                  </a:lnTo>
                  <a:lnTo>
                    <a:pt x="269" y="0"/>
                  </a:lnTo>
                  <a:lnTo>
                    <a:pt x="265" y="8"/>
                  </a:lnTo>
                  <a:lnTo>
                    <a:pt x="263" y="14"/>
                  </a:lnTo>
                  <a:lnTo>
                    <a:pt x="259" y="20"/>
                  </a:lnTo>
                  <a:lnTo>
                    <a:pt x="254" y="25"/>
                  </a:lnTo>
                  <a:lnTo>
                    <a:pt x="254" y="33"/>
                  </a:lnTo>
                  <a:lnTo>
                    <a:pt x="246" y="38"/>
                  </a:lnTo>
                  <a:lnTo>
                    <a:pt x="244" y="42"/>
                  </a:lnTo>
                  <a:lnTo>
                    <a:pt x="241" y="50"/>
                  </a:lnTo>
                  <a:lnTo>
                    <a:pt x="235" y="57"/>
                  </a:lnTo>
                  <a:lnTo>
                    <a:pt x="232" y="60"/>
                  </a:lnTo>
                  <a:lnTo>
                    <a:pt x="232" y="67"/>
                  </a:lnTo>
                  <a:lnTo>
                    <a:pt x="230" y="68"/>
                  </a:lnTo>
                  <a:lnTo>
                    <a:pt x="228" y="69"/>
                  </a:lnTo>
                  <a:lnTo>
                    <a:pt x="227" y="71"/>
                  </a:lnTo>
                  <a:lnTo>
                    <a:pt x="227" y="75"/>
                  </a:lnTo>
                  <a:lnTo>
                    <a:pt x="225" y="77"/>
                  </a:lnTo>
                  <a:lnTo>
                    <a:pt x="223" y="82"/>
                  </a:lnTo>
                  <a:lnTo>
                    <a:pt x="222" y="85"/>
                  </a:lnTo>
                  <a:lnTo>
                    <a:pt x="221" y="87"/>
                  </a:lnTo>
                  <a:lnTo>
                    <a:pt x="218" y="89"/>
                  </a:lnTo>
                  <a:lnTo>
                    <a:pt x="216" y="89"/>
                  </a:lnTo>
                  <a:lnTo>
                    <a:pt x="216" y="98"/>
                  </a:lnTo>
                  <a:lnTo>
                    <a:pt x="215" y="106"/>
                  </a:lnTo>
                  <a:lnTo>
                    <a:pt x="213" y="115"/>
                  </a:lnTo>
                  <a:lnTo>
                    <a:pt x="213" y="123"/>
                  </a:lnTo>
                  <a:lnTo>
                    <a:pt x="221" y="130"/>
                  </a:lnTo>
                  <a:lnTo>
                    <a:pt x="221" y="142"/>
                  </a:lnTo>
                  <a:lnTo>
                    <a:pt x="223" y="143"/>
                  </a:lnTo>
                  <a:lnTo>
                    <a:pt x="223" y="144"/>
                  </a:lnTo>
                  <a:lnTo>
                    <a:pt x="224" y="146"/>
                  </a:lnTo>
                  <a:lnTo>
                    <a:pt x="224" y="149"/>
                  </a:lnTo>
                  <a:lnTo>
                    <a:pt x="233" y="159"/>
                  </a:lnTo>
                  <a:lnTo>
                    <a:pt x="243" y="167"/>
                  </a:lnTo>
                  <a:lnTo>
                    <a:pt x="243" y="172"/>
                  </a:lnTo>
                  <a:lnTo>
                    <a:pt x="245" y="178"/>
                  </a:lnTo>
                  <a:lnTo>
                    <a:pt x="247" y="182"/>
                  </a:lnTo>
                  <a:lnTo>
                    <a:pt x="249" y="184"/>
                  </a:lnTo>
                  <a:lnTo>
                    <a:pt x="251" y="186"/>
                  </a:lnTo>
                  <a:lnTo>
                    <a:pt x="254" y="186"/>
                  </a:lnTo>
                  <a:lnTo>
                    <a:pt x="254" y="193"/>
                  </a:lnTo>
                  <a:lnTo>
                    <a:pt x="255" y="194"/>
                  </a:lnTo>
                  <a:lnTo>
                    <a:pt x="256" y="195"/>
                  </a:lnTo>
                  <a:lnTo>
                    <a:pt x="257" y="202"/>
                  </a:lnTo>
                  <a:lnTo>
                    <a:pt x="260" y="202"/>
                  </a:lnTo>
                  <a:lnTo>
                    <a:pt x="262" y="203"/>
                  </a:lnTo>
                  <a:lnTo>
                    <a:pt x="263" y="204"/>
                  </a:lnTo>
                  <a:lnTo>
                    <a:pt x="264" y="205"/>
                  </a:lnTo>
                  <a:lnTo>
                    <a:pt x="265" y="210"/>
                  </a:lnTo>
                  <a:lnTo>
                    <a:pt x="265" y="213"/>
                  </a:lnTo>
                  <a:lnTo>
                    <a:pt x="269" y="214"/>
                  </a:lnTo>
                  <a:lnTo>
                    <a:pt x="272" y="216"/>
                  </a:lnTo>
                  <a:lnTo>
                    <a:pt x="272" y="224"/>
                  </a:lnTo>
                  <a:lnTo>
                    <a:pt x="274" y="224"/>
                  </a:lnTo>
                  <a:lnTo>
                    <a:pt x="276" y="225"/>
                  </a:lnTo>
                  <a:lnTo>
                    <a:pt x="276" y="227"/>
                  </a:lnTo>
                  <a:lnTo>
                    <a:pt x="274" y="230"/>
                  </a:lnTo>
                  <a:lnTo>
                    <a:pt x="272" y="231"/>
                  </a:lnTo>
                  <a:lnTo>
                    <a:pt x="271" y="235"/>
                  </a:lnTo>
                  <a:lnTo>
                    <a:pt x="269" y="239"/>
                  </a:lnTo>
                  <a:lnTo>
                    <a:pt x="269" y="242"/>
                  </a:lnTo>
                  <a:lnTo>
                    <a:pt x="269" y="244"/>
                  </a:lnTo>
                  <a:lnTo>
                    <a:pt x="269" y="246"/>
                  </a:lnTo>
                  <a:lnTo>
                    <a:pt x="267" y="250"/>
                  </a:lnTo>
                  <a:lnTo>
                    <a:pt x="264" y="255"/>
                  </a:lnTo>
                  <a:lnTo>
                    <a:pt x="261" y="261"/>
                  </a:lnTo>
                  <a:lnTo>
                    <a:pt x="257" y="264"/>
                  </a:lnTo>
                  <a:lnTo>
                    <a:pt x="257" y="269"/>
                  </a:lnTo>
                  <a:lnTo>
                    <a:pt x="257" y="272"/>
                  </a:lnTo>
                  <a:lnTo>
                    <a:pt x="254" y="275"/>
                  </a:lnTo>
                  <a:lnTo>
                    <a:pt x="245" y="272"/>
                  </a:lnTo>
                  <a:lnTo>
                    <a:pt x="234" y="269"/>
                  </a:lnTo>
                  <a:lnTo>
                    <a:pt x="225" y="265"/>
                  </a:lnTo>
                  <a:lnTo>
                    <a:pt x="221" y="264"/>
                  </a:lnTo>
                  <a:lnTo>
                    <a:pt x="207" y="258"/>
                  </a:lnTo>
                  <a:lnTo>
                    <a:pt x="194" y="250"/>
                  </a:lnTo>
                  <a:lnTo>
                    <a:pt x="188" y="248"/>
                  </a:lnTo>
                  <a:lnTo>
                    <a:pt x="180" y="244"/>
                  </a:lnTo>
                  <a:lnTo>
                    <a:pt x="174" y="243"/>
                  </a:lnTo>
                  <a:lnTo>
                    <a:pt x="168" y="242"/>
                  </a:lnTo>
                  <a:lnTo>
                    <a:pt x="167" y="240"/>
                  </a:lnTo>
                  <a:lnTo>
                    <a:pt x="166" y="237"/>
                  </a:lnTo>
                  <a:lnTo>
                    <a:pt x="164" y="235"/>
                  </a:lnTo>
                  <a:lnTo>
                    <a:pt x="160" y="235"/>
                  </a:lnTo>
                  <a:lnTo>
                    <a:pt x="155" y="229"/>
                  </a:lnTo>
                  <a:lnTo>
                    <a:pt x="149" y="220"/>
                  </a:lnTo>
                  <a:lnTo>
                    <a:pt x="142" y="214"/>
                  </a:lnTo>
                  <a:lnTo>
                    <a:pt x="132" y="202"/>
                  </a:lnTo>
                  <a:lnTo>
                    <a:pt x="123" y="188"/>
                  </a:lnTo>
                  <a:lnTo>
                    <a:pt x="119" y="183"/>
                  </a:lnTo>
                  <a:lnTo>
                    <a:pt x="107" y="181"/>
                  </a:lnTo>
                  <a:lnTo>
                    <a:pt x="93" y="178"/>
                  </a:lnTo>
                  <a:lnTo>
                    <a:pt x="90" y="172"/>
                  </a:lnTo>
                  <a:lnTo>
                    <a:pt x="86" y="171"/>
                  </a:lnTo>
                  <a:lnTo>
                    <a:pt x="79" y="169"/>
                  </a:lnTo>
                  <a:lnTo>
                    <a:pt x="73" y="167"/>
                  </a:lnTo>
                  <a:lnTo>
                    <a:pt x="71" y="164"/>
                  </a:lnTo>
                  <a:lnTo>
                    <a:pt x="63" y="164"/>
                  </a:lnTo>
                  <a:lnTo>
                    <a:pt x="63" y="162"/>
                  </a:lnTo>
                  <a:lnTo>
                    <a:pt x="63" y="160"/>
                  </a:lnTo>
                  <a:lnTo>
                    <a:pt x="62" y="160"/>
                  </a:lnTo>
                  <a:lnTo>
                    <a:pt x="60" y="160"/>
                  </a:lnTo>
                  <a:lnTo>
                    <a:pt x="55" y="159"/>
                  </a:lnTo>
                  <a:lnTo>
                    <a:pt x="49" y="156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5" name="Freeform 78">
              <a:extLst>
                <a:ext uri="{FF2B5EF4-FFF2-40B4-BE49-F238E27FC236}">
                  <a16:creationId xmlns:a16="http://schemas.microsoft.com/office/drawing/2014/main" id="{4DB8C628-F6BE-4C8B-9166-515C9780870B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588375" y="4835525"/>
              <a:ext cx="49432" cy="50800"/>
            </a:xfrm>
            <a:custGeom>
              <a:avLst/>
              <a:gdLst/>
              <a:ahLst/>
              <a:cxnLst>
                <a:cxn ang="0">
                  <a:pos x="19" y="25"/>
                </a:cxn>
                <a:cxn ang="0">
                  <a:pos x="9" y="44"/>
                </a:cxn>
                <a:cxn ang="0">
                  <a:pos x="3" y="64"/>
                </a:cxn>
                <a:cxn ang="0">
                  <a:pos x="1" y="85"/>
                </a:cxn>
                <a:cxn ang="0">
                  <a:pos x="0" y="113"/>
                </a:cxn>
                <a:cxn ang="0">
                  <a:pos x="2" y="141"/>
                </a:cxn>
                <a:cxn ang="0">
                  <a:pos x="8" y="156"/>
                </a:cxn>
                <a:cxn ang="0">
                  <a:pos x="15" y="175"/>
                </a:cxn>
                <a:cxn ang="0">
                  <a:pos x="20" y="214"/>
                </a:cxn>
                <a:cxn ang="0">
                  <a:pos x="27" y="246"/>
                </a:cxn>
                <a:cxn ang="0">
                  <a:pos x="40" y="286"/>
                </a:cxn>
                <a:cxn ang="0">
                  <a:pos x="48" y="303"/>
                </a:cxn>
                <a:cxn ang="0">
                  <a:pos x="53" y="308"/>
                </a:cxn>
                <a:cxn ang="0">
                  <a:pos x="59" y="323"/>
                </a:cxn>
                <a:cxn ang="0">
                  <a:pos x="66" y="327"/>
                </a:cxn>
                <a:cxn ang="0">
                  <a:pos x="72" y="335"/>
                </a:cxn>
                <a:cxn ang="0">
                  <a:pos x="102" y="335"/>
                </a:cxn>
                <a:cxn ang="0">
                  <a:pos x="122" y="325"/>
                </a:cxn>
                <a:cxn ang="0">
                  <a:pos x="143" y="314"/>
                </a:cxn>
                <a:cxn ang="0">
                  <a:pos x="152" y="302"/>
                </a:cxn>
                <a:cxn ang="0">
                  <a:pos x="166" y="291"/>
                </a:cxn>
                <a:cxn ang="0">
                  <a:pos x="176" y="280"/>
                </a:cxn>
                <a:cxn ang="0">
                  <a:pos x="189" y="280"/>
                </a:cxn>
                <a:cxn ang="0">
                  <a:pos x="202" y="276"/>
                </a:cxn>
                <a:cxn ang="0">
                  <a:pos x="209" y="267"/>
                </a:cxn>
                <a:cxn ang="0">
                  <a:pos x="219" y="264"/>
                </a:cxn>
                <a:cxn ang="0">
                  <a:pos x="236" y="249"/>
                </a:cxn>
                <a:cxn ang="0">
                  <a:pos x="252" y="235"/>
                </a:cxn>
                <a:cxn ang="0">
                  <a:pos x="257" y="222"/>
                </a:cxn>
                <a:cxn ang="0">
                  <a:pos x="265" y="218"/>
                </a:cxn>
                <a:cxn ang="0">
                  <a:pos x="266" y="209"/>
                </a:cxn>
                <a:cxn ang="0">
                  <a:pos x="268" y="202"/>
                </a:cxn>
                <a:cxn ang="0">
                  <a:pos x="269" y="190"/>
                </a:cxn>
                <a:cxn ang="0">
                  <a:pos x="260" y="175"/>
                </a:cxn>
                <a:cxn ang="0">
                  <a:pos x="258" y="164"/>
                </a:cxn>
                <a:cxn ang="0">
                  <a:pos x="252" y="159"/>
                </a:cxn>
                <a:cxn ang="0">
                  <a:pos x="248" y="146"/>
                </a:cxn>
                <a:cxn ang="0">
                  <a:pos x="217" y="125"/>
                </a:cxn>
                <a:cxn ang="0">
                  <a:pos x="185" y="101"/>
                </a:cxn>
                <a:cxn ang="0">
                  <a:pos x="160" y="81"/>
                </a:cxn>
                <a:cxn ang="0">
                  <a:pos x="142" y="68"/>
                </a:cxn>
                <a:cxn ang="0">
                  <a:pos x="131" y="63"/>
                </a:cxn>
                <a:cxn ang="0">
                  <a:pos x="126" y="50"/>
                </a:cxn>
                <a:cxn ang="0">
                  <a:pos x="118" y="38"/>
                </a:cxn>
                <a:cxn ang="0">
                  <a:pos x="114" y="21"/>
                </a:cxn>
                <a:cxn ang="0">
                  <a:pos x="109" y="8"/>
                </a:cxn>
                <a:cxn ang="0">
                  <a:pos x="102" y="0"/>
                </a:cxn>
                <a:cxn ang="0">
                  <a:pos x="85" y="0"/>
                </a:cxn>
                <a:cxn ang="0">
                  <a:pos x="82" y="2"/>
                </a:cxn>
                <a:cxn ang="0">
                  <a:pos x="76" y="4"/>
                </a:cxn>
                <a:cxn ang="0">
                  <a:pos x="64" y="4"/>
                </a:cxn>
                <a:cxn ang="0">
                  <a:pos x="61" y="8"/>
                </a:cxn>
                <a:cxn ang="0">
                  <a:pos x="55" y="8"/>
                </a:cxn>
              </a:cxnLst>
              <a:rect l="0" t="0" r="r" b="b"/>
              <a:pathLst>
                <a:path w="269" h="335">
                  <a:moveTo>
                    <a:pt x="26" y="17"/>
                  </a:moveTo>
                  <a:lnTo>
                    <a:pt x="19" y="25"/>
                  </a:lnTo>
                  <a:lnTo>
                    <a:pt x="13" y="34"/>
                  </a:lnTo>
                  <a:lnTo>
                    <a:pt x="9" y="44"/>
                  </a:lnTo>
                  <a:lnTo>
                    <a:pt x="6" y="54"/>
                  </a:lnTo>
                  <a:lnTo>
                    <a:pt x="3" y="64"/>
                  </a:lnTo>
                  <a:lnTo>
                    <a:pt x="1" y="74"/>
                  </a:lnTo>
                  <a:lnTo>
                    <a:pt x="1" y="85"/>
                  </a:lnTo>
                  <a:lnTo>
                    <a:pt x="1" y="96"/>
                  </a:lnTo>
                  <a:lnTo>
                    <a:pt x="0" y="113"/>
                  </a:lnTo>
                  <a:lnTo>
                    <a:pt x="1" y="132"/>
                  </a:lnTo>
                  <a:lnTo>
                    <a:pt x="2" y="141"/>
                  </a:lnTo>
                  <a:lnTo>
                    <a:pt x="5" y="149"/>
                  </a:lnTo>
                  <a:lnTo>
                    <a:pt x="8" y="156"/>
                  </a:lnTo>
                  <a:lnTo>
                    <a:pt x="13" y="163"/>
                  </a:lnTo>
                  <a:lnTo>
                    <a:pt x="15" y="175"/>
                  </a:lnTo>
                  <a:lnTo>
                    <a:pt x="18" y="194"/>
                  </a:lnTo>
                  <a:lnTo>
                    <a:pt x="20" y="214"/>
                  </a:lnTo>
                  <a:lnTo>
                    <a:pt x="21" y="226"/>
                  </a:lnTo>
                  <a:lnTo>
                    <a:pt x="27" y="246"/>
                  </a:lnTo>
                  <a:lnTo>
                    <a:pt x="36" y="273"/>
                  </a:lnTo>
                  <a:lnTo>
                    <a:pt x="40" y="286"/>
                  </a:lnTo>
                  <a:lnTo>
                    <a:pt x="45" y="297"/>
                  </a:lnTo>
                  <a:lnTo>
                    <a:pt x="48" y="303"/>
                  </a:lnTo>
                  <a:lnTo>
                    <a:pt x="50" y="306"/>
                  </a:lnTo>
                  <a:lnTo>
                    <a:pt x="53" y="308"/>
                  </a:lnTo>
                  <a:lnTo>
                    <a:pt x="55" y="310"/>
                  </a:lnTo>
                  <a:lnTo>
                    <a:pt x="59" y="323"/>
                  </a:lnTo>
                  <a:lnTo>
                    <a:pt x="63" y="324"/>
                  </a:lnTo>
                  <a:lnTo>
                    <a:pt x="66" y="327"/>
                  </a:lnTo>
                  <a:lnTo>
                    <a:pt x="69" y="332"/>
                  </a:lnTo>
                  <a:lnTo>
                    <a:pt x="72" y="335"/>
                  </a:lnTo>
                  <a:lnTo>
                    <a:pt x="87" y="335"/>
                  </a:lnTo>
                  <a:lnTo>
                    <a:pt x="102" y="335"/>
                  </a:lnTo>
                  <a:lnTo>
                    <a:pt x="109" y="332"/>
                  </a:lnTo>
                  <a:lnTo>
                    <a:pt x="122" y="325"/>
                  </a:lnTo>
                  <a:lnTo>
                    <a:pt x="135" y="317"/>
                  </a:lnTo>
                  <a:lnTo>
                    <a:pt x="143" y="314"/>
                  </a:lnTo>
                  <a:lnTo>
                    <a:pt x="147" y="308"/>
                  </a:lnTo>
                  <a:lnTo>
                    <a:pt x="152" y="302"/>
                  </a:lnTo>
                  <a:lnTo>
                    <a:pt x="160" y="294"/>
                  </a:lnTo>
                  <a:lnTo>
                    <a:pt x="166" y="291"/>
                  </a:lnTo>
                  <a:lnTo>
                    <a:pt x="172" y="289"/>
                  </a:lnTo>
                  <a:lnTo>
                    <a:pt x="176" y="280"/>
                  </a:lnTo>
                  <a:lnTo>
                    <a:pt x="183" y="280"/>
                  </a:lnTo>
                  <a:lnTo>
                    <a:pt x="189" y="280"/>
                  </a:lnTo>
                  <a:lnTo>
                    <a:pt x="195" y="278"/>
                  </a:lnTo>
                  <a:lnTo>
                    <a:pt x="202" y="276"/>
                  </a:lnTo>
                  <a:lnTo>
                    <a:pt x="205" y="271"/>
                  </a:lnTo>
                  <a:lnTo>
                    <a:pt x="209" y="267"/>
                  </a:lnTo>
                  <a:lnTo>
                    <a:pt x="213" y="265"/>
                  </a:lnTo>
                  <a:lnTo>
                    <a:pt x="219" y="264"/>
                  </a:lnTo>
                  <a:lnTo>
                    <a:pt x="223" y="259"/>
                  </a:lnTo>
                  <a:lnTo>
                    <a:pt x="236" y="249"/>
                  </a:lnTo>
                  <a:lnTo>
                    <a:pt x="247" y="239"/>
                  </a:lnTo>
                  <a:lnTo>
                    <a:pt x="252" y="235"/>
                  </a:lnTo>
                  <a:lnTo>
                    <a:pt x="252" y="226"/>
                  </a:lnTo>
                  <a:lnTo>
                    <a:pt x="257" y="222"/>
                  </a:lnTo>
                  <a:lnTo>
                    <a:pt x="260" y="220"/>
                  </a:lnTo>
                  <a:lnTo>
                    <a:pt x="265" y="218"/>
                  </a:lnTo>
                  <a:lnTo>
                    <a:pt x="265" y="209"/>
                  </a:lnTo>
                  <a:lnTo>
                    <a:pt x="266" y="209"/>
                  </a:lnTo>
                  <a:lnTo>
                    <a:pt x="267" y="206"/>
                  </a:lnTo>
                  <a:lnTo>
                    <a:pt x="268" y="202"/>
                  </a:lnTo>
                  <a:lnTo>
                    <a:pt x="268" y="199"/>
                  </a:lnTo>
                  <a:lnTo>
                    <a:pt x="269" y="190"/>
                  </a:lnTo>
                  <a:lnTo>
                    <a:pt x="269" y="184"/>
                  </a:lnTo>
                  <a:lnTo>
                    <a:pt x="260" y="175"/>
                  </a:lnTo>
                  <a:lnTo>
                    <a:pt x="260" y="170"/>
                  </a:lnTo>
                  <a:lnTo>
                    <a:pt x="258" y="164"/>
                  </a:lnTo>
                  <a:lnTo>
                    <a:pt x="256" y="161"/>
                  </a:lnTo>
                  <a:lnTo>
                    <a:pt x="252" y="159"/>
                  </a:lnTo>
                  <a:lnTo>
                    <a:pt x="250" y="153"/>
                  </a:lnTo>
                  <a:lnTo>
                    <a:pt x="248" y="146"/>
                  </a:lnTo>
                  <a:lnTo>
                    <a:pt x="237" y="140"/>
                  </a:lnTo>
                  <a:lnTo>
                    <a:pt x="217" y="125"/>
                  </a:lnTo>
                  <a:lnTo>
                    <a:pt x="197" y="110"/>
                  </a:lnTo>
                  <a:lnTo>
                    <a:pt x="185" y="101"/>
                  </a:lnTo>
                  <a:lnTo>
                    <a:pt x="176" y="93"/>
                  </a:lnTo>
                  <a:lnTo>
                    <a:pt x="160" y="81"/>
                  </a:lnTo>
                  <a:lnTo>
                    <a:pt x="151" y="74"/>
                  </a:lnTo>
                  <a:lnTo>
                    <a:pt x="142" y="68"/>
                  </a:lnTo>
                  <a:lnTo>
                    <a:pt x="135" y="64"/>
                  </a:lnTo>
                  <a:lnTo>
                    <a:pt x="131" y="63"/>
                  </a:lnTo>
                  <a:lnTo>
                    <a:pt x="128" y="56"/>
                  </a:lnTo>
                  <a:lnTo>
                    <a:pt x="126" y="50"/>
                  </a:lnTo>
                  <a:lnTo>
                    <a:pt x="118" y="46"/>
                  </a:lnTo>
                  <a:lnTo>
                    <a:pt x="118" y="38"/>
                  </a:lnTo>
                  <a:lnTo>
                    <a:pt x="116" y="30"/>
                  </a:lnTo>
                  <a:lnTo>
                    <a:pt x="114" y="21"/>
                  </a:lnTo>
                  <a:lnTo>
                    <a:pt x="112" y="15"/>
                  </a:lnTo>
                  <a:lnTo>
                    <a:pt x="109" y="8"/>
                  </a:lnTo>
                  <a:lnTo>
                    <a:pt x="105" y="4"/>
                  </a:lnTo>
                  <a:lnTo>
                    <a:pt x="102" y="0"/>
                  </a:lnTo>
                  <a:lnTo>
                    <a:pt x="93" y="0"/>
                  </a:lnTo>
                  <a:lnTo>
                    <a:pt x="85" y="0"/>
                  </a:lnTo>
                  <a:lnTo>
                    <a:pt x="84" y="1"/>
                  </a:lnTo>
                  <a:lnTo>
                    <a:pt x="82" y="2"/>
                  </a:lnTo>
                  <a:lnTo>
                    <a:pt x="79" y="4"/>
                  </a:lnTo>
                  <a:lnTo>
                    <a:pt x="76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3" y="7"/>
                  </a:lnTo>
                  <a:lnTo>
                    <a:pt x="61" y="8"/>
                  </a:lnTo>
                  <a:lnTo>
                    <a:pt x="58" y="8"/>
                  </a:lnTo>
                  <a:lnTo>
                    <a:pt x="55" y="8"/>
                  </a:lnTo>
                  <a:lnTo>
                    <a:pt x="26" y="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6" name="Freeform 79">
              <a:extLst>
                <a:ext uri="{FF2B5EF4-FFF2-40B4-BE49-F238E27FC236}">
                  <a16:creationId xmlns:a16="http://schemas.microsoft.com/office/drawing/2014/main" id="{00428760-A71C-475D-ADB5-9F3977CD9BAD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474075" y="4814888"/>
              <a:ext cx="51886" cy="77788"/>
            </a:xfrm>
            <a:custGeom>
              <a:avLst/>
              <a:gdLst/>
              <a:ahLst/>
              <a:cxnLst>
                <a:cxn ang="0">
                  <a:pos x="15" y="5"/>
                </a:cxn>
                <a:cxn ang="0">
                  <a:pos x="9" y="21"/>
                </a:cxn>
                <a:cxn ang="0">
                  <a:pos x="3" y="49"/>
                </a:cxn>
                <a:cxn ang="0">
                  <a:pos x="0" y="90"/>
                </a:cxn>
                <a:cxn ang="0">
                  <a:pos x="4" y="119"/>
                </a:cxn>
                <a:cxn ang="0">
                  <a:pos x="8" y="135"/>
                </a:cxn>
                <a:cxn ang="0">
                  <a:pos x="14" y="150"/>
                </a:cxn>
                <a:cxn ang="0">
                  <a:pos x="17" y="173"/>
                </a:cxn>
                <a:cxn ang="0">
                  <a:pos x="19" y="208"/>
                </a:cxn>
                <a:cxn ang="0">
                  <a:pos x="16" y="256"/>
                </a:cxn>
                <a:cxn ang="0">
                  <a:pos x="9" y="306"/>
                </a:cxn>
                <a:cxn ang="0">
                  <a:pos x="8" y="336"/>
                </a:cxn>
                <a:cxn ang="0">
                  <a:pos x="14" y="357"/>
                </a:cxn>
                <a:cxn ang="0">
                  <a:pos x="30" y="387"/>
                </a:cxn>
                <a:cxn ang="0">
                  <a:pos x="54" y="421"/>
                </a:cxn>
                <a:cxn ang="0">
                  <a:pos x="72" y="441"/>
                </a:cxn>
                <a:cxn ang="0">
                  <a:pos x="82" y="447"/>
                </a:cxn>
                <a:cxn ang="0">
                  <a:pos x="88" y="453"/>
                </a:cxn>
                <a:cxn ang="0">
                  <a:pos x="106" y="466"/>
                </a:cxn>
                <a:cxn ang="0">
                  <a:pos x="133" y="480"/>
                </a:cxn>
                <a:cxn ang="0">
                  <a:pos x="152" y="486"/>
                </a:cxn>
                <a:cxn ang="0">
                  <a:pos x="162" y="486"/>
                </a:cxn>
                <a:cxn ang="0">
                  <a:pos x="173" y="480"/>
                </a:cxn>
                <a:cxn ang="0">
                  <a:pos x="190" y="462"/>
                </a:cxn>
                <a:cxn ang="0">
                  <a:pos x="197" y="447"/>
                </a:cxn>
                <a:cxn ang="0">
                  <a:pos x="206" y="415"/>
                </a:cxn>
                <a:cxn ang="0">
                  <a:pos x="220" y="393"/>
                </a:cxn>
                <a:cxn ang="0">
                  <a:pos x="239" y="370"/>
                </a:cxn>
                <a:cxn ang="0">
                  <a:pos x="249" y="356"/>
                </a:cxn>
                <a:cxn ang="0">
                  <a:pos x="254" y="345"/>
                </a:cxn>
                <a:cxn ang="0">
                  <a:pos x="257" y="340"/>
                </a:cxn>
                <a:cxn ang="0">
                  <a:pos x="264" y="335"/>
                </a:cxn>
                <a:cxn ang="0">
                  <a:pos x="273" y="329"/>
                </a:cxn>
                <a:cxn ang="0">
                  <a:pos x="277" y="313"/>
                </a:cxn>
                <a:cxn ang="0">
                  <a:pos x="278" y="275"/>
                </a:cxn>
                <a:cxn ang="0">
                  <a:pos x="278" y="255"/>
                </a:cxn>
                <a:cxn ang="0">
                  <a:pos x="272" y="246"/>
                </a:cxn>
                <a:cxn ang="0">
                  <a:pos x="259" y="230"/>
                </a:cxn>
                <a:cxn ang="0">
                  <a:pos x="248" y="214"/>
                </a:cxn>
                <a:cxn ang="0">
                  <a:pos x="234" y="196"/>
                </a:cxn>
                <a:cxn ang="0">
                  <a:pos x="224" y="181"/>
                </a:cxn>
                <a:cxn ang="0">
                  <a:pos x="208" y="163"/>
                </a:cxn>
                <a:cxn ang="0">
                  <a:pos x="200" y="149"/>
                </a:cxn>
                <a:cxn ang="0">
                  <a:pos x="183" y="133"/>
                </a:cxn>
                <a:cxn ang="0">
                  <a:pos x="153" y="109"/>
                </a:cxn>
                <a:cxn ang="0">
                  <a:pos x="136" y="100"/>
                </a:cxn>
                <a:cxn ang="0">
                  <a:pos x="128" y="90"/>
                </a:cxn>
                <a:cxn ang="0">
                  <a:pos x="115" y="79"/>
                </a:cxn>
                <a:cxn ang="0">
                  <a:pos x="86" y="58"/>
                </a:cxn>
                <a:cxn ang="0">
                  <a:pos x="84" y="49"/>
                </a:cxn>
                <a:cxn ang="0">
                  <a:pos x="81" y="42"/>
                </a:cxn>
                <a:cxn ang="0">
                  <a:pos x="75" y="27"/>
                </a:cxn>
                <a:cxn ang="0">
                  <a:pos x="71" y="19"/>
                </a:cxn>
                <a:cxn ang="0">
                  <a:pos x="56" y="9"/>
                </a:cxn>
                <a:cxn ang="0">
                  <a:pos x="46" y="4"/>
                </a:cxn>
                <a:cxn ang="0">
                  <a:pos x="19" y="0"/>
                </a:cxn>
              </a:cxnLst>
              <a:rect l="0" t="0" r="r" b="b"/>
              <a:pathLst>
                <a:path w="278" h="486">
                  <a:moveTo>
                    <a:pt x="19" y="0"/>
                  </a:moveTo>
                  <a:lnTo>
                    <a:pt x="15" y="5"/>
                  </a:lnTo>
                  <a:lnTo>
                    <a:pt x="11" y="13"/>
                  </a:lnTo>
                  <a:lnTo>
                    <a:pt x="9" y="21"/>
                  </a:lnTo>
                  <a:lnTo>
                    <a:pt x="7" y="30"/>
                  </a:lnTo>
                  <a:lnTo>
                    <a:pt x="3" y="49"/>
                  </a:lnTo>
                  <a:lnTo>
                    <a:pt x="0" y="69"/>
                  </a:lnTo>
                  <a:lnTo>
                    <a:pt x="0" y="90"/>
                  </a:lnTo>
                  <a:lnTo>
                    <a:pt x="1" y="110"/>
                  </a:lnTo>
                  <a:lnTo>
                    <a:pt x="4" y="119"/>
                  </a:lnTo>
                  <a:lnTo>
                    <a:pt x="5" y="128"/>
                  </a:lnTo>
                  <a:lnTo>
                    <a:pt x="8" y="135"/>
                  </a:lnTo>
                  <a:lnTo>
                    <a:pt x="10" y="143"/>
                  </a:lnTo>
                  <a:lnTo>
                    <a:pt x="14" y="150"/>
                  </a:lnTo>
                  <a:lnTo>
                    <a:pt x="16" y="162"/>
                  </a:lnTo>
                  <a:lnTo>
                    <a:pt x="17" y="173"/>
                  </a:lnTo>
                  <a:lnTo>
                    <a:pt x="18" y="185"/>
                  </a:lnTo>
                  <a:lnTo>
                    <a:pt x="19" y="208"/>
                  </a:lnTo>
                  <a:lnTo>
                    <a:pt x="19" y="230"/>
                  </a:lnTo>
                  <a:lnTo>
                    <a:pt x="16" y="256"/>
                  </a:lnTo>
                  <a:lnTo>
                    <a:pt x="11" y="289"/>
                  </a:lnTo>
                  <a:lnTo>
                    <a:pt x="9" y="306"/>
                  </a:lnTo>
                  <a:lnTo>
                    <a:pt x="8" y="321"/>
                  </a:lnTo>
                  <a:lnTo>
                    <a:pt x="8" y="336"/>
                  </a:lnTo>
                  <a:lnTo>
                    <a:pt x="10" y="347"/>
                  </a:lnTo>
                  <a:lnTo>
                    <a:pt x="14" y="357"/>
                  </a:lnTo>
                  <a:lnTo>
                    <a:pt x="21" y="370"/>
                  </a:lnTo>
                  <a:lnTo>
                    <a:pt x="30" y="387"/>
                  </a:lnTo>
                  <a:lnTo>
                    <a:pt x="42" y="404"/>
                  </a:lnTo>
                  <a:lnTo>
                    <a:pt x="54" y="421"/>
                  </a:lnTo>
                  <a:lnTo>
                    <a:pt x="66" y="435"/>
                  </a:lnTo>
                  <a:lnTo>
                    <a:pt x="72" y="441"/>
                  </a:lnTo>
                  <a:lnTo>
                    <a:pt x="77" y="444"/>
                  </a:lnTo>
                  <a:lnTo>
                    <a:pt x="82" y="447"/>
                  </a:lnTo>
                  <a:lnTo>
                    <a:pt x="86" y="448"/>
                  </a:lnTo>
                  <a:lnTo>
                    <a:pt x="88" y="453"/>
                  </a:lnTo>
                  <a:lnTo>
                    <a:pt x="96" y="458"/>
                  </a:lnTo>
                  <a:lnTo>
                    <a:pt x="106" y="466"/>
                  </a:lnTo>
                  <a:lnTo>
                    <a:pt x="120" y="473"/>
                  </a:lnTo>
                  <a:lnTo>
                    <a:pt x="133" y="480"/>
                  </a:lnTo>
                  <a:lnTo>
                    <a:pt x="147" y="484"/>
                  </a:lnTo>
                  <a:lnTo>
                    <a:pt x="152" y="486"/>
                  </a:lnTo>
                  <a:lnTo>
                    <a:pt x="158" y="486"/>
                  </a:lnTo>
                  <a:lnTo>
                    <a:pt x="162" y="486"/>
                  </a:lnTo>
                  <a:lnTo>
                    <a:pt x="165" y="485"/>
                  </a:lnTo>
                  <a:lnTo>
                    <a:pt x="173" y="480"/>
                  </a:lnTo>
                  <a:lnTo>
                    <a:pt x="182" y="471"/>
                  </a:lnTo>
                  <a:lnTo>
                    <a:pt x="190" y="462"/>
                  </a:lnTo>
                  <a:lnTo>
                    <a:pt x="195" y="456"/>
                  </a:lnTo>
                  <a:lnTo>
                    <a:pt x="197" y="447"/>
                  </a:lnTo>
                  <a:lnTo>
                    <a:pt x="201" y="432"/>
                  </a:lnTo>
                  <a:lnTo>
                    <a:pt x="206" y="415"/>
                  </a:lnTo>
                  <a:lnTo>
                    <a:pt x="208" y="406"/>
                  </a:lnTo>
                  <a:lnTo>
                    <a:pt x="220" y="393"/>
                  </a:lnTo>
                  <a:lnTo>
                    <a:pt x="232" y="377"/>
                  </a:lnTo>
                  <a:lnTo>
                    <a:pt x="239" y="370"/>
                  </a:lnTo>
                  <a:lnTo>
                    <a:pt x="245" y="364"/>
                  </a:lnTo>
                  <a:lnTo>
                    <a:pt x="249" y="356"/>
                  </a:lnTo>
                  <a:lnTo>
                    <a:pt x="254" y="347"/>
                  </a:lnTo>
                  <a:lnTo>
                    <a:pt x="254" y="345"/>
                  </a:lnTo>
                  <a:lnTo>
                    <a:pt x="255" y="342"/>
                  </a:lnTo>
                  <a:lnTo>
                    <a:pt x="257" y="340"/>
                  </a:lnTo>
                  <a:lnTo>
                    <a:pt x="261" y="335"/>
                  </a:lnTo>
                  <a:lnTo>
                    <a:pt x="264" y="335"/>
                  </a:lnTo>
                  <a:lnTo>
                    <a:pt x="268" y="332"/>
                  </a:lnTo>
                  <a:lnTo>
                    <a:pt x="273" y="329"/>
                  </a:lnTo>
                  <a:lnTo>
                    <a:pt x="275" y="327"/>
                  </a:lnTo>
                  <a:lnTo>
                    <a:pt x="277" y="313"/>
                  </a:lnTo>
                  <a:lnTo>
                    <a:pt x="278" y="294"/>
                  </a:lnTo>
                  <a:lnTo>
                    <a:pt x="278" y="275"/>
                  </a:lnTo>
                  <a:lnTo>
                    <a:pt x="278" y="260"/>
                  </a:lnTo>
                  <a:lnTo>
                    <a:pt x="278" y="255"/>
                  </a:lnTo>
                  <a:lnTo>
                    <a:pt x="275" y="251"/>
                  </a:lnTo>
                  <a:lnTo>
                    <a:pt x="272" y="246"/>
                  </a:lnTo>
                  <a:lnTo>
                    <a:pt x="268" y="241"/>
                  </a:lnTo>
                  <a:lnTo>
                    <a:pt x="259" y="230"/>
                  </a:lnTo>
                  <a:lnTo>
                    <a:pt x="254" y="222"/>
                  </a:lnTo>
                  <a:lnTo>
                    <a:pt x="248" y="214"/>
                  </a:lnTo>
                  <a:lnTo>
                    <a:pt x="241" y="205"/>
                  </a:lnTo>
                  <a:lnTo>
                    <a:pt x="234" y="196"/>
                  </a:lnTo>
                  <a:lnTo>
                    <a:pt x="228" y="188"/>
                  </a:lnTo>
                  <a:lnTo>
                    <a:pt x="224" y="181"/>
                  </a:lnTo>
                  <a:lnTo>
                    <a:pt x="216" y="172"/>
                  </a:lnTo>
                  <a:lnTo>
                    <a:pt x="208" y="163"/>
                  </a:lnTo>
                  <a:lnTo>
                    <a:pt x="203" y="155"/>
                  </a:lnTo>
                  <a:lnTo>
                    <a:pt x="200" y="149"/>
                  </a:lnTo>
                  <a:lnTo>
                    <a:pt x="192" y="142"/>
                  </a:lnTo>
                  <a:lnTo>
                    <a:pt x="183" y="133"/>
                  </a:lnTo>
                  <a:lnTo>
                    <a:pt x="172" y="125"/>
                  </a:lnTo>
                  <a:lnTo>
                    <a:pt x="153" y="109"/>
                  </a:lnTo>
                  <a:lnTo>
                    <a:pt x="144" y="100"/>
                  </a:lnTo>
                  <a:lnTo>
                    <a:pt x="136" y="100"/>
                  </a:lnTo>
                  <a:lnTo>
                    <a:pt x="133" y="96"/>
                  </a:lnTo>
                  <a:lnTo>
                    <a:pt x="128" y="90"/>
                  </a:lnTo>
                  <a:lnTo>
                    <a:pt x="121" y="83"/>
                  </a:lnTo>
                  <a:lnTo>
                    <a:pt x="115" y="79"/>
                  </a:lnTo>
                  <a:lnTo>
                    <a:pt x="101" y="69"/>
                  </a:lnTo>
                  <a:lnTo>
                    <a:pt x="86" y="58"/>
                  </a:lnTo>
                  <a:lnTo>
                    <a:pt x="86" y="50"/>
                  </a:lnTo>
                  <a:lnTo>
                    <a:pt x="84" y="49"/>
                  </a:lnTo>
                  <a:lnTo>
                    <a:pt x="82" y="46"/>
                  </a:lnTo>
                  <a:lnTo>
                    <a:pt x="81" y="42"/>
                  </a:lnTo>
                  <a:lnTo>
                    <a:pt x="78" y="37"/>
                  </a:lnTo>
                  <a:lnTo>
                    <a:pt x="75" y="27"/>
                  </a:lnTo>
                  <a:lnTo>
                    <a:pt x="74" y="21"/>
                  </a:lnTo>
                  <a:lnTo>
                    <a:pt x="71" y="19"/>
                  </a:lnTo>
                  <a:lnTo>
                    <a:pt x="63" y="14"/>
                  </a:lnTo>
                  <a:lnTo>
                    <a:pt x="56" y="9"/>
                  </a:lnTo>
                  <a:lnTo>
                    <a:pt x="53" y="4"/>
                  </a:lnTo>
                  <a:lnTo>
                    <a:pt x="46" y="4"/>
                  </a:lnTo>
                  <a:lnTo>
                    <a:pt x="39" y="4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7" name="Freeform 80">
              <a:extLst>
                <a:ext uri="{FF2B5EF4-FFF2-40B4-BE49-F238E27FC236}">
                  <a16:creationId xmlns:a16="http://schemas.microsoft.com/office/drawing/2014/main" id="{4098260C-0FB4-4C80-87EF-597EEFF47D49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605838" y="4649788"/>
              <a:ext cx="137776" cy="66675"/>
            </a:xfrm>
            <a:custGeom>
              <a:avLst/>
              <a:gdLst/>
              <a:ahLst/>
              <a:cxnLst>
                <a:cxn ang="0">
                  <a:pos x="464" y="86"/>
                </a:cxn>
                <a:cxn ang="0">
                  <a:pos x="435" y="118"/>
                </a:cxn>
                <a:cxn ang="0">
                  <a:pos x="405" y="140"/>
                </a:cxn>
                <a:cxn ang="0">
                  <a:pos x="371" y="167"/>
                </a:cxn>
                <a:cxn ang="0">
                  <a:pos x="339" y="189"/>
                </a:cxn>
                <a:cxn ang="0">
                  <a:pos x="324" y="204"/>
                </a:cxn>
                <a:cxn ang="0">
                  <a:pos x="290" y="230"/>
                </a:cxn>
                <a:cxn ang="0">
                  <a:pos x="265" y="241"/>
                </a:cxn>
                <a:cxn ang="0">
                  <a:pos x="235" y="251"/>
                </a:cxn>
                <a:cxn ang="0">
                  <a:pos x="211" y="266"/>
                </a:cxn>
                <a:cxn ang="0">
                  <a:pos x="130" y="289"/>
                </a:cxn>
                <a:cxn ang="0">
                  <a:pos x="45" y="326"/>
                </a:cxn>
                <a:cxn ang="0">
                  <a:pos x="13" y="337"/>
                </a:cxn>
                <a:cxn ang="0">
                  <a:pos x="0" y="351"/>
                </a:cxn>
                <a:cxn ang="0">
                  <a:pos x="34" y="360"/>
                </a:cxn>
                <a:cxn ang="0">
                  <a:pos x="75" y="377"/>
                </a:cxn>
                <a:cxn ang="0">
                  <a:pos x="115" y="396"/>
                </a:cxn>
                <a:cxn ang="0">
                  <a:pos x="138" y="408"/>
                </a:cxn>
                <a:cxn ang="0">
                  <a:pos x="188" y="412"/>
                </a:cxn>
                <a:cxn ang="0">
                  <a:pos x="229" y="398"/>
                </a:cxn>
                <a:cxn ang="0">
                  <a:pos x="275" y="380"/>
                </a:cxn>
                <a:cxn ang="0">
                  <a:pos x="310" y="364"/>
                </a:cxn>
                <a:cxn ang="0">
                  <a:pos x="352" y="360"/>
                </a:cxn>
                <a:cxn ang="0">
                  <a:pos x="364" y="368"/>
                </a:cxn>
                <a:cxn ang="0">
                  <a:pos x="395" y="388"/>
                </a:cxn>
                <a:cxn ang="0">
                  <a:pos x="415" y="393"/>
                </a:cxn>
                <a:cxn ang="0">
                  <a:pos x="447" y="383"/>
                </a:cxn>
                <a:cxn ang="0">
                  <a:pos x="446" y="342"/>
                </a:cxn>
                <a:cxn ang="0">
                  <a:pos x="436" y="327"/>
                </a:cxn>
                <a:cxn ang="0">
                  <a:pos x="434" y="312"/>
                </a:cxn>
                <a:cxn ang="0">
                  <a:pos x="432" y="297"/>
                </a:cxn>
                <a:cxn ang="0">
                  <a:pos x="457" y="263"/>
                </a:cxn>
                <a:cxn ang="0">
                  <a:pos x="461" y="252"/>
                </a:cxn>
                <a:cxn ang="0">
                  <a:pos x="477" y="233"/>
                </a:cxn>
                <a:cxn ang="0">
                  <a:pos x="496" y="216"/>
                </a:cxn>
                <a:cxn ang="0">
                  <a:pos x="517" y="204"/>
                </a:cxn>
                <a:cxn ang="0">
                  <a:pos x="544" y="185"/>
                </a:cxn>
                <a:cxn ang="0">
                  <a:pos x="563" y="173"/>
                </a:cxn>
                <a:cxn ang="0">
                  <a:pos x="587" y="160"/>
                </a:cxn>
                <a:cxn ang="0">
                  <a:pos x="639" y="148"/>
                </a:cxn>
                <a:cxn ang="0">
                  <a:pos x="716" y="126"/>
                </a:cxn>
                <a:cxn ang="0">
                  <a:pos x="763" y="100"/>
                </a:cxn>
                <a:cxn ang="0">
                  <a:pos x="733" y="82"/>
                </a:cxn>
                <a:cxn ang="0">
                  <a:pos x="681" y="72"/>
                </a:cxn>
                <a:cxn ang="0">
                  <a:pos x="642" y="63"/>
                </a:cxn>
                <a:cxn ang="0">
                  <a:pos x="611" y="48"/>
                </a:cxn>
                <a:cxn ang="0">
                  <a:pos x="594" y="34"/>
                </a:cxn>
                <a:cxn ang="0">
                  <a:pos x="579" y="16"/>
                </a:cxn>
                <a:cxn ang="0">
                  <a:pos x="570" y="5"/>
                </a:cxn>
                <a:cxn ang="0">
                  <a:pos x="532" y="1"/>
                </a:cxn>
                <a:cxn ang="0">
                  <a:pos x="524" y="21"/>
                </a:cxn>
              </a:cxnLst>
              <a:rect l="0" t="0" r="r" b="b"/>
              <a:pathLst>
                <a:path w="763" h="414">
                  <a:moveTo>
                    <a:pt x="515" y="33"/>
                  </a:moveTo>
                  <a:lnTo>
                    <a:pt x="496" y="50"/>
                  </a:lnTo>
                  <a:lnTo>
                    <a:pt x="475" y="73"/>
                  </a:lnTo>
                  <a:lnTo>
                    <a:pt x="464" y="86"/>
                  </a:lnTo>
                  <a:lnTo>
                    <a:pt x="454" y="97"/>
                  </a:lnTo>
                  <a:lnTo>
                    <a:pt x="446" y="108"/>
                  </a:lnTo>
                  <a:lnTo>
                    <a:pt x="440" y="117"/>
                  </a:lnTo>
                  <a:lnTo>
                    <a:pt x="435" y="118"/>
                  </a:lnTo>
                  <a:lnTo>
                    <a:pt x="429" y="121"/>
                  </a:lnTo>
                  <a:lnTo>
                    <a:pt x="424" y="125"/>
                  </a:lnTo>
                  <a:lnTo>
                    <a:pt x="417" y="130"/>
                  </a:lnTo>
                  <a:lnTo>
                    <a:pt x="405" y="140"/>
                  </a:lnTo>
                  <a:lnTo>
                    <a:pt x="393" y="146"/>
                  </a:lnTo>
                  <a:lnTo>
                    <a:pt x="388" y="154"/>
                  </a:lnTo>
                  <a:lnTo>
                    <a:pt x="380" y="160"/>
                  </a:lnTo>
                  <a:lnTo>
                    <a:pt x="371" y="167"/>
                  </a:lnTo>
                  <a:lnTo>
                    <a:pt x="361" y="174"/>
                  </a:lnTo>
                  <a:lnTo>
                    <a:pt x="351" y="179"/>
                  </a:lnTo>
                  <a:lnTo>
                    <a:pt x="342" y="186"/>
                  </a:lnTo>
                  <a:lnTo>
                    <a:pt x="339" y="189"/>
                  </a:lnTo>
                  <a:lnTo>
                    <a:pt x="335" y="193"/>
                  </a:lnTo>
                  <a:lnTo>
                    <a:pt x="333" y="197"/>
                  </a:lnTo>
                  <a:lnTo>
                    <a:pt x="331" y="201"/>
                  </a:lnTo>
                  <a:lnTo>
                    <a:pt x="324" y="204"/>
                  </a:lnTo>
                  <a:lnTo>
                    <a:pt x="313" y="212"/>
                  </a:lnTo>
                  <a:lnTo>
                    <a:pt x="302" y="221"/>
                  </a:lnTo>
                  <a:lnTo>
                    <a:pt x="297" y="226"/>
                  </a:lnTo>
                  <a:lnTo>
                    <a:pt x="290" y="230"/>
                  </a:lnTo>
                  <a:lnTo>
                    <a:pt x="282" y="232"/>
                  </a:lnTo>
                  <a:lnTo>
                    <a:pt x="274" y="236"/>
                  </a:lnTo>
                  <a:lnTo>
                    <a:pt x="269" y="239"/>
                  </a:lnTo>
                  <a:lnTo>
                    <a:pt x="265" y="241"/>
                  </a:lnTo>
                  <a:lnTo>
                    <a:pt x="261" y="242"/>
                  </a:lnTo>
                  <a:lnTo>
                    <a:pt x="256" y="243"/>
                  </a:lnTo>
                  <a:lnTo>
                    <a:pt x="247" y="251"/>
                  </a:lnTo>
                  <a:lnTo>
                    <a:pt x="235" y="251"/>
                  </a:lnTo>
                  <a:lnTo>
                    <a:pt x="229" y="255"/>
                  </a:lnTo>
                  <a:lnTo>
                    <a:pt x="224" y="260"/>
                  </a:lnTo>
                  <a:lnTo>
                    <a:pt x="218" y="263"/>
                  </a:lnTo>
                  <a:lnTo>
                    <a:pt x="211" y="266"/>
                  </a:lnTo>
                  <a:lnTo>
                    <a:pt x="198" y="272"/>
                  </a:lnTo>
                  <a:lnTo>
                    <a:pt x="184" y="277"/>
                  </a:lnTo>
                  <a:lnTo>
                    <a:pt x="155" y="283"/>
                  </a:lnTo>
                  <a:lnTo>
                    <a:pt x="130" y="289"/>
                  </a:lnTo>
                  <a:lnTo>
                    <a:pt x="105" y="299"/>
                  </a:lnTo>
                  <a:lnTo>
                    <a:pt x="75" y="313"/>
                  </a:lnTo>
                  <a:lnTo>
                    <a:pt x="60" y="320"/>
                  </a:lnTo>
                  <a:lnTo>
                    <a:pt x="45" y="326"/>
                  </a:lnTo>
                  <a:lnTo>
                    <a:pt x="32" y="329"/>
                  </a:lnTo>
                  <a:lnTo>
                    <a:pt x="21" y="330"/>
                  </a:lnTo>
                  <a:lnTo>
                    <a:pt x="17" y="333"/>
                  </a:lnTo>
                  <a:lnTo>
                    <a:pt x="13" y="337"/>
                  </a:lnTo>
                  <a:lnTo>
                    <a:pt x="9" y="340"/>
                  </a:lnTo>
                  <a:lnTo>
                    <a:pt x="8" y="343"/>
                  </a:lnTo>
                  <a:lnTo>
                    <a:pt x="0" y="343"/>
                  </a:lnTo>
                  <a:lnTo>
                    <a:pt x="0" y="351"/>
                  </a:lnTo>
                  <a:lnTo>
                    <a:pt x="7" y="355"/>
                  </a:lnTo>
                  <a:lnTo>
                    <a:pt x="15" y="357"/>
                  </a:lnTo>
                  <a:lnTo>
                    <a:pt x="24" y="359"/>
                  </a:lnTo>
                  <a:lnTo>
                    <a:pt x="34" y="360"/>
                  </a:lnTo>
                  <a:lnTo>
                    <a:pt x="42" y="366"/>
                  </a:lnTo>
                  <a:lnTo>
                    <a:pt x="53" y="371"/>
                  </a:lnTo>
                  <a:lnTo>
                    <a:pt x="65" y="375"/>
                  </a:lnTo>
                  <a:lnTo>
                    <a:pt x="75" y="377"/>
                  </a:lnTo>
                  <a:lnTo>
                    <a:pt x="80" y="385"/>
                  </a:lnTo>
                  <a:lnTo>
                    <a:pt x="90" y="387"/>
                  </a:lnTo>
                  <a:lnTo>
                    <a:pt x="103" y="391"/>
                  </a:lnTo>
                  <a:lnTo>
                    <a:pt x="115" y="396"/>
                  </a:lnTo>
                  <a:lnTo>
                    <a:pt x="125" y="398"/>
                  </a:lnTo>
                  <a:lnTo>
                    <a:pt x="129" y="402"/>
                  </a:lnTo>
                  <a:lnTo>
                    <a:pt x="133" y="405"/>
                  </a:lnTo>
                  <a:lnTo>
                    <a:pt x="138" y="408"/>
                  </a:lnTo>
                  <a:lnTo>
                    <a:pt x="142" y="410"/>
                  </a:lnTo>
                  <a:lnTo>
                    <a:pt x="153" y="413"/>
                  </a:lnTo>
                  <a:lnTo>
                    <a:pt x="165" y="414"/>
                  </a:lnTo>
                  <a:lnTo>
                    <a:pt x="188" y="412"/>
                  </a:lnTo>
                  <a:lnTo>
                    <a:pt x="209" y="410"/>
                  </a:lnTo>
                  <a:lnTo>
                    <a:pt x="214" y="402"/>
                  </a:lnTo>
                  <a:lnTo>
                    <a:pt x="220" y="400"/>
                  </a:lnTo>
                  <a:lnTo>
                    <a:pt x="229" y="398"/>
                  </a:lnTo>
                  <a:lnTo>
                    <a:pt x="240" y="395"/>
                  </a:lnTo>
                  <a:lnTo>
                    <a:pt x="253" y="390"/>
                  </a:lnTo>
                  <a:lnTo>
                    <a:pt x="265" y="386"/>
                  </a:lnTo>
                  <a:lnTo>
                    <a:pt x="275" y="380"/>
                  </a:lnTo>
                  <a:lnTo>
                    <a:pt x="284" y="376"/>
                  </a:lnTo>
                  <a:lnTo>
                    <a:pt x="290" y="373"/>
                  </a:lnTo>
                  <a:lnTo>
                    <a:pt x="302" y="373"/>
                  </a:lnTo>
                  <a:lnTo>
                    <a:pt x="310" y="364"/>
                  </a:lnTo>
                  <a:lnTo>
                    <a:pt x="319" y="364"/>
                  </a:lnTo>
                  <a:lnTo>
                    <a:pt x="330" y="362"/>
                  </a:lnTo>
                  <a:lnTo>
                    <a:pt x="341" y="360"/>
                  </a:lnTo>
                  <a:lnTo>
                    <a:pt x="352" y="360"/>
                  </a:lnTo>
                  <a:lnTo>
                    <a:pt x="353" y="362"/>
                  </a:lnTo>
                  <a:lnTo>
                    <a:pt x="357" y="366"/>
                  </a:lnTo>
                  <a:lnTo>
                    <a:pt x="361" y="368"/>
                  </a:lnTo>
                  <a:lnTo>
                    <a:pt x="364" y="368"/>
                  </a:lnTo>
                  <a:lnTo>
                    <a:pt x="369" y="377"/>
                  </a:lnTo>
                  <a:lnTo>
                    <a:pt x="377" y="380"/>
                  </a:lnTo>
                  <a:lnTo>
                    <a:pt x="386" y="385"/>
                  </a:lnTo>
                  <a:lnTo>
                    <a:pt x="395" y="388"/>
                  </a:lnTo>
                  <a:lnTo>
                    <a:pt x="402" y="389"/>
                  </a:lnTo>
                  <a:lnTo>
                    <a:pt x="403" y="390"/>
                  </a:lnTo>
                  <a:lnTo>
                    <a:pt x="408" y="391"/>
                  </a:lnTo>
                  <a:lnTo>
                    <a:pt x="415" y="393"/>
                  </a:lnTo>
                  <a:lnTo>
                    <a:pt x="421" y="393"/>
                  </a:lnTo>
                  <a:lnTo>
                    <a:pt x="436" y="394"/>
                  </a:lnTo>
                  <a:lnTo>
                    <a:pt x="444" y="394"/>
                  </a:lnTo>
                  <a:lnTo>
                    <a:pt x="447" y="383"/>
                  </a:lnTo>
                  <a:lnTo>
                    <a:pt x="448" y="368"/>
                  </a:lnTo>
                  <a:lnTo>
                    <a:pt x="448" y="355"/>
                  </a:lnTo>
                  <a:lnTo>
                    <a:pt x="448" y="343"/>
                  </a:lnTo>
                  <a:lnTo>
                    <a:pt x="446" y="342"/>
                  </a:lnTo>
                  <a:lnTo>
                    <a:pt x="445" y="340"/>
                  </a:lnTo>
                  <a:lnTo>
                    <a:pt x="444" y="338"/>
                  </a:lnTo>
                  <a:lnTo>
                    <a:pt x="444" y="335"/>
                  </a:lnTo>
                  <a:lnTo>
                    <a:pt x="436" y="327"/>
                  </a:lnTo>
                  <a:lnTo>
                    <a:pt x="436" y="320"/>
                  </a:lnTo>
                  <a:lnTo>
                    <a:pt x="436" y="313"/>
                  </a:lnTo>
                  <a:lnTo>
                    <a:pt x="435" y="313"/>
                  </a:lnTo>
                  <a:lnTo>
                    <a:pt x="434" y="312"/>
                  </a:lnTo>
                  <a:lnTo>
                    <a:pt x="432" y="311"/>
                  </a:lnTo>
                  <a:lnTo>
                    <a:pt x="432" y="309"/>
                  </a:lnTo>
                  <a:lnTo>
                    <a:pt x="432" y="303"/>
                  </a:lnTo>
                  <a:lnTo>
                    <a:pt x="432" y="297"/>
                  </a:lnTo>
                  <a:lnTo>
                    <a:pt x="435" y="285"/>
                  </a:lnTo>
                  <a:lnTo>
                    <a:pt x="436" y="280"/>
                  </a:lnTo>
                  <a:lnTo>
                    <a:pt x="445" y="272"/>
                  </a:lnTo>
                  <a:lnTo>
                    <a:pt x="457" y="263"/>
                  </a:lnTo>
                  <a:lnTo>
                    <a:pt x="457" y="261"/>
                  </a:lnTo>
                  <a:lnTo>
                    <a:pt x="458" y="258"/>
                  </a:lnTo>
                  <a:lnTo>
                    <a:pt x="459" y="254"/>
                  </a:lnTo>
                  <a:lnTo>
                    <a:pt x="461" y="252"/>
                  </a:lnTo>
                  <a:lnTo>
                    <a:pt x="467" y="246"/>
                  </a:lnTo>
                  <a:lnTo>
                    <a:pt x="474" y="243"/>
                  </a:lnTo>
                  <a:lnTo>
                    <a:pt x="475" y="237"/>
                  </a:lnTo>
                  <a:lnTo>
                    <a:pt x="477" y="233"/>
                  </a:lnTo>
                  <a:lnTo>
                    <a:pt x="480" y="227"/>
                  </a:lnTo>
                  <a:lnTo>
                    <a:pt x="486" y="223"/>
                  </a:lnTo>
                  <a:lnTo>
                    <a:pt x="491" y="220"/>
                  </a:lnTo>
                  <a:lnTo>
                    <a:pt x="496" y="216"/>
                  </a:lnTo>
                  <a:lnTo>
                    <a:pt x="502" y="214"/>
                  </a:lnTo>
                  <a:lnTo>
                    <a:pt x="507" y="213"/>
                  </a:lnTo>
                  <a:lnTo>
                    <a:pt x="511" y="205"/>
                  </a:lnTo>
                  <a:lnTo>
                    <a:pt x="517" y="204"/>
                  </a:lnTo>
                  <a:lnTo>
                    <a:pt x="524" y="201"/>
                  </a:lnTo>
                  <a:lnTo>
                    <a:pt x="531" y="196"/>
                  </a:lnTo>
                  <a:lnTo>
                    <a:pt x="537" y="191"/>
                  </a:lnTo>
                  <a:lnTo>
                    <a:pt x="544" y="185"/>
                  </a:lnTo>
                  <a:lnTo>
                    <a:pt x="551" y="181"/>
                  </a:lnTo>
                  <a:lnTo>
                    <a:pt x="556" y="177"/>
                  </a:lnTo>
                  <a:lnTo>
                    <a:pt x="562" y="176"/>
                  </a:lnTo>
                  <a:lnTo>
                    <a:pt x="563" y="173"/>
                  </a:lnTo>
                  <a:lnTo>
                    <a:pt x="565" y="169"/>
                  </a:lnTo>
                  <a:lnTo>
                    <a:pt x="570" y="167"/>
                  </a:lnTo>
                  <a:lnTo>
                    <a:pt x="575" y="164"/>
                  </a:lnTo>
                  <a:lnTo>
                    <a:pt x="587" y="160"/>
                  </a:lnTo>
                  <a:lnTo>
                    <a:pt x="595" y="159"/>
                  </a:lnTo>
                  <a:lnTo>
                    <a:pt x="603" y="150"/>
                  </a:lnTo>
                  <a:lnTo>
                    <a:pt x="621" y="149"/>
                  </a:lnTo>
                  <a:lnTo>
                    <a:pt x="639" y="148"/>
                  </a:lnTo>
                  <a:lnTo>
                    <a:pt x="655" y="145"/>
                  </a:lnTo>
                  <a:lnTo>
                    <a:pt x="670" y="143"/>
                  </a:lnTo>
                  <a:lnTo>
                    <a:pt x="689" y="136"/>
                  </a:lnTo>
                  <a:lnTo>
                    <a:pt x="716" y="126"/>
                  </a:lnTo>
                  <a:lnTo>
                    <a:pt x="742" y="117"/>
                  </a:lnTo>
                  <a:lnTo>
                    <a:pt x="758" y="112"/>
                  </a:lnTo>
                  <a:lnTo>
                    <a:pt x="763" y="109"/>
                  </a:lnTo>
                  <a:lnTo>
                    <a:pt x="763" y="100"/>
                  </a:lnTo>
                  <a:lnTo>
                    <a:pt x="763" y="91"/>
                  </a:lnTo>
                  <a:lnTo>
                    <a:pt x="754" y="91"/>
                  </a:lnTo>
                  <a:lnTo>
                    <a:pt x="746" y="83"/>
                  </a:lnTo>
                  <a:lnTo>
                    <a:pt x="733" y="82"/>
                  </a:lnTo>
                  <a:lnTo>
                    <a:pt x="720" y="81"/>
                  </a:lnTo>
                  <a:lnTo>
                    <a:pt x="707" y="78"/>
                  </a:lnTo>
                  <a:lnTo>
                    <a:pt x="694" y="75"/>
                  </a:lnTo>
                  <a:lnTo>
                    <a:pt x="681" y="72"/>
                  </a:lnTo>
                  <a:lnTo>
                    <a:pt x="669" y="69"/>
                  </a:lnTo>
                  <a:lnTo>
                    <a:pt x="657" y="68"/>
                  </a:lnTo>
                  <a:lnTo>
                    <a:pt x="646" y="67"/>
                  </a:lnTo>
                  <a:lnTo>
                    <a:pt x="642" y="63"/>
                  </a:lnTo>
                  <a:lnTo>
                    <a:pt x="635" y="59"/>
                  </a:lnTo>
                  <a:lnTo>
                    <a:pt x="626" y="56"/>
                  </a:lnTo>
                  <a:lnTo>
                    <a:pt x="620" y="54"/>
                  </a:lnTo>
                  <a:lnTo>
                    <a:pt x="611" y="48"/>
                  </a:lnTo>
                  <a:lnTo>
                    <a:pt x="599" y="41"/>
                  </a:lnTo>
                  <a:lnTo>
                    <a:pt x="599" y="40"/>
                  </a:lnTo>
                  <a:lnTo>
                    <a:pt x="597" y="38"/>
                  </a:lnTo>
                  <a:lnTo>
                    <a:pt x="594" y="34"/>
                  </a:lnTo>
                  <a:lnTo>
                    <a:pt x="591" y="33"/>
                  </a:lnTo>
                  <a:lnTo>
                    <a:pt x="591" y="24"/>
                  </a:lnTo>
                  <a:lnTo>
                    <a:pt x="587" y="21"/>
                  </a:lnTo>
                  <a:lnTo>
                    <a:pt x="579" y="16"/>
                  </a:lnTo>
                  <a:lnTo>
                    <a:pt x="578" y="13"/>
                  </a:lnTo>
                  <a:lnTo>
                    <a:pt x="575" y="10"/>
                  </a:lnTo>
                  <a:lnTo>
                    <a:pt x="573" y="8"/>
                  </a:lnTo>
                  <a:lnTo>
                    <a:pt x="570" y="5"/>
                  </a:lnTo>
                  <a:lnTo>
                    <a:pt x="564" y="1"/>
                  </a:lnTo>
                  <a:lnTo>
                    <a:pt x="562" y="0"/>
                  </a:lnTo>
                  <a:lnTo>
                    <a:pt x="532" y="0"/>
                  </a:lnTo>
                  <a:lnTo>
                    <a:pt x="532" y="1"/>
                  </a:lnTo>
                  <a:lnTo>
                    <a:pt x="530" y="4"/>
                  </a:lnTo>
                  <a:lnTo>
                    <a:pt x="527" y="6"/>
                  </a:lnTo>
                  <a:lnTo>
                    <a:pt x="524" y="8"/>
                  </a:lnTo>
                  <a:lnTo>
                    <a:pt x="524" y="21"/>
                  </a:lnTo>
                  <a:lnTo>
                    <a:pt x="520" y="25"/>
                  </a:lnTo>
                  <a:lnTo>
                    <a:pt x="515" y="3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8" name="Freeform 81">
              <a:extLst>
                <a:ext uri="{FF2B5EF4-FFF2-40B4-BE49-F238E27FC236}">
                  <a16:creationId xmlns:a16="http://schemas.microsoft.com/office/drawing/2014/main" id="{C1F047E8-E096-4648-BDD2-6095FBE32A3A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605838" y="4649788"/>
              <a:ext cx="137776" cy="66675"/>
            </a:xfrm>
            <a:custGeom>
              <a:avLst/>
              <a:gdLst/>
              <a:ahLst/>
              <a:cxnLst>
                <a:cxn ang="0">
                  <a:pos x="464" y="86"/>
                </a:cxn>
                <a:cxn ang="0">
                  <a:pos x="435" y="118"/>
                </a:cxn>
                <a:cxn ang="0">
                  <a:pos x="405" y="140"/>
                </a:cxn>
                <a:cxn ang="0">
                  <a:pos x="371" y="167"/>
                </a:cxn>
                <a:cxn ang="0">
                  <a:pos x="339" y="189"/>
                </a:cxn>
                <a:cxn ang="0">
                  <a:pos x="324" y="204"/>
                </a:cxn>
                <a:cxn ang="0">
                  <a:pos x="290" y="230"/>
                </a:cxn>
                <a:cxn ang="0">
                  <a:pos x="265" y="241"/>
                </a:cxn>
                <a:cxn ang="0">
                  <a:pos x="235" y="251"/>
                </a:cxn>
                <a:cxn ang="0">
                  <a:pos x="211" y="266"/>
                </a:cxn>
                <a:cxn ang="0">
                  <a:pos x="130" y="289"/>
                </a:cxn>
                <a:cxn ang="0">
                  <a:pos x="45" y="326"/>
                </a:cxn>
                <a:cxn ang="0">
                  <a:pos x="13" y="337"/>
                </a:cxn>
                <a:cxn ang="0">
                  <a:pos x="0" y="351"/>
                </a:cxn>
                <a:cxn ang="0">
                  <a:pos x="34" y="360"/>
                </a:cxn>
                <a:cxn ang="0">
                  <a:pos x="75" y="377"/>
                </a:cxn>
                <a:cxn ang="0">
                  <a:pos x="115" y="396"/>
                </a:cxn>
                <a:cxn ang="0">
                  <a:pos x="138" y="408"/>
                </a:cxn>
                <a:cxn ang="0">
                  <a:pos x="188" y="412"/>
                </a:cxn>
                <a:cxn ang="0">
                  <a:pos x="229" y="398"/>
                </a:cxn>
                <a:cxn ang="0">
                  <a:pos x="275" y="380"/>
                </a:cxn>
                <a:cxn ang="0">
                  <a:pos x="310" y="364"/>
                </a:cxn>
                <a:cxn ang="0">
                  <a:pos x="352" y="360"/>
                </a:cxn>
                <a:cxn ang="0">
                  <a:pos x="364" y="368"/>
                </a:cxn>
                <a:cxn ang="0">
                  <a:pos x="395" y="388"/>
                </a:cxn>
                <a:cxn ang="0">
                  <a:pos x="415" y="393"/>
                </a:cxn>
                <a:cxn ang="0">
                  <a:pos x="447" y="383"/>
                </a:cxn>
                <a:cxn ang="0">
                  <a:pos x="446" y="342"/>
                </a:cxn>
                <a:cxn ang="0">
                  <a:pos x="436" y="327"/>
                </a:cxn>
                <a:cxn ang="0">
                  <a:pos x="434" y="312"/>
                </a:cxn>
                <a:cxn ang="0">
                  <a:pos x="432" y="297"/>
                </a:cxn>
                <a:cxn ang="0">
                  <a:pos x="457" y="263"/>
                </a:cxn>
                <a:cxn ang="0">
                  <a:pos x="461" y="252"/>
                </a:cxn>
                <a:cxn ang="0">
                  <a:pos x="477" y="233"/>
                </a:cxn>
                <a:cxn ang="0">
                  <a:pos x="496" y="216"/>
                </a:cxn>
                <a:cxn ang="0">
                  <a:pos x="517" y="204"/>
                </a:cxn>
                <a:cxn ang="0">
                  <a:pos x="544" y="185"/>
                </a:cxn>
                <a:cxn ang="0">
                  <a:pos x="563" y="173"/>
                </a:cxn>
                <a:cxn ang="0">
                  <a:pos x="587" y="160"/>
                </a:cxn>
                <a:cxn ang="0">
                  <a:pos x="639" y="148"/>
                </a:cxn>
                <a:cxn ang="0">
                  <a:pos x="716" y="126"/>
                </a:cxn>
                <a:cxn ang="0">
                  <a:pos x="763" y="100"/>
                </a:cxn>
                <a:cxn ang="0">
                  <a:pos x="733" y="82"/>
                </a:cxn>
                <a:cxn ang="0">
                  <a:pos x="681" y="72"/>
                </a:cxn>
                <a:cxn ang="0">
                  <a:pos x="642" y="63"/>
                </a:cxn>
                <a:cxn ang="0">
                  <a:pos x="611" y="48"/>
                </a:cxn>
                <a:cxn ang="0">
                  <a:pos x="594" y="34"/>
                </a:cxn>
                <a:cxn ang="0">
                  <a:pos x="579" y="16"/>
                </a:cxn>
                <a:cxn ang="0">
                  <a:pos x="570" y="5"/>
                </a:cxn>
                <a:cxn ang="0">
                  <a:pos x="532" y="1"/>
                </a:cxn>
                <a:cxn ang="0">
                  <a:pos x="524" y="21"/>
                </a:cxn>
              </a:cxnLst>
              <a:rect l="0" t="0" r="r" b="b"/>
              <a:pathLst>
                <a:path w="763" h="414">
                  <a:moveTo>
                    <a:pt x="515" y="33"/>
                  </a:moveTo>
                  <a:lnTo>
                    <a:pt x="496" y="50"/>
                  </a:lnTo>
                  <a:lnTo>
                    <a:pt x="475" y="73"/>
                  </a:lnTo>
                  <a:lnTo>
                    <a:pt x="464" y="86"/>
                  </a:lnTo>
                  <a:lnTo>
                    <a:pt x="454" y="97"/>
                  </a:lnTo>
                  <a:lnTo>
                    <a:pt x="446" y="108"/>
                  </a:lnTo>
                  <a:lnTo>
                    <a:pt x="440" y="117"/>
                  </a:lnTo>
                  <a:lnTo>
                    <a:pt x="435" y="118"/>
                  </a:lnTo>
                  <a:lnTo>
                    <a:pt x="429" y="121"/>
                  </a:lnTo>
                  <a:lnTo>
                    <a:pt x="424" y="125"/>
                  </a:lnTo>
                  <a:lnTo>
                    <a:pt x="417" y="130"/>
                  </a:lnTo>
                  <a:lnTo>
                    <a:pt x="405" y="140"/>
                  </a:lnTo>
                  <a:lnTo>
                    <a:pt x="393" y="146"/>
                  </a:lnTo>
                  <a:lnTo>
                    <a:pt x="388" y="154"/>
                  </a:lnTo>
                  <a:lnTo>
                    <a:pt x="380" y="160"/>
                  </a:lnTo>
                  <a:lnTo>
                    <a:pt x="371" y="167"/>
                  </a:lnTo>
                  <a:lnTo>
                    <a:pt x="361" y="174"/>
                  </a:lnTo>
                  <a:lnTo>
                    <a:pt x="351" y="179"/>
                  </a:lnTo>
                  <a:lnTo>
                    <a:pt x="342" y="186"/>
                  </a:lnTo>
                  <a:lnTo>
                    <a:pt x="339" y="189"/>
                  </a:lnTo>
                  <a:lnTo>
                    <a:pt x="335" y="193"/>
                  </a:lnTo>
                  <a:lnTo>
                    <a:pt x="333" y="197"/>
                  </a:lnTo>
                  <a:lnTo>
                    <a:pt x="331" y="201"/>
                  </a:lnTo>
                  <a:lnTo>
                    <a:pt x="324" y="204"/>
                  </a:lnTo>
                  <a:lnTo>
                    <a:pt x="313" y="212"/>
                  </a:lnTo>
                  <a:lnTo>
                    <a:pt x="302" y="221"/>
                  </a:lnTo>
                  <a:lnTo>
                    <a:pt x="297" y="226"/>
                  </a:lnTo>
                  <a:lnTo>
                    <a:pt x="290" y="230"/>
                  </a:lnTo>
                  <a:lnTo>
                    <a:pt x="282" y="232"/>
                  </a:lnTo>
                  <a:lnTo>
                    <a:pt x="274" y="236"/>
                  </a:lnTo>
                  <a:lnTo>
                    <a:pt x="269" y="239"/>
                  </a:lnTo>
                  <a:lnTo>
                    <a:pt x="265" y="241"/>
                  </a:lnTo>
                  <a:lnTo>
                    <a:pt x="261" y="242"/>
                  </a:lnTo>
                  <a:lnTo>
                    <a:pt x="256" y="243"/>
                  </a:lnTo>
                  <a:lnTo>
                    <a:pt x="247" y="251"/>
                  </a:lnTo>
                  <a:lnTo>
                    <a:pt x="235" y="251"/>
                  </a:lnTo>
                  <a:lnTo>
                    <a:pt x="229" y="255"/>
                  </a:lnTo>
                  <a:lnTo>
                    <a:pt x="224" y="260"/>
                  </a:lnTo>
                  <a:lnTo>
                    <a:pt x="218" y="263"/>
                  </a:lnTo>
                  <a:lnTo>
                    <a:pt x="211" y="266"/>
                  </a:lnTo>
                  <a:lnTo>
                    <a:pt x="198" y="272"/>
                  </a:lnTo>
                  <a:lnTo>
                    <a:pt x="184" y="277"/>
                  </a:lnTo>
                  <a:lnTo>
                    <a:pt x="155" y="283"/>
                  </a:lnTo>
                  <a:lnTo>
                    <a:pt x="130" y="289"/>
                  </a:lnTo>
                  <a:lnTo>
                    <a:pt x="105" y="299"/>
                  </a:lnTo>
                  <a:lnTo>
                    <a:pt x="75" y="313"/>
                  </a:lnTo>
                  <a:lnTo>
                    <a:pt x="60" y="320"/>
                  </a:lnTo>
                  <a:lnTo>
                    <a:pt x="45" y="326"/>
                  </a:lnTo>
                  <a:lnTo>
                    <a:pt x="32" y="329"/>
                  </a:lnTo>
                  <a:lnTo>
                    <a:pt x="21" y="330"/>
                  </a:lnTo>
                  <a:lnTo>
                    <a:pt x="17" y="333"/>
                  </a:lnTo>
                  <a:lnTo>
                    <a:pt x="13" y="337"/>
                  </a:lnTo>
                  <a:lnTo>
                    <a:pt x="9" y="340"/>
                  </a:lnTo>
                  <a:lnTo>
                    <a:pt x="8" y="343"/>
                  </a:lnTo>
                  <a:lnTo>
                    <a:pt x="0" y="343"/>
                  </a:lnTo>
                  <a:lnTo>
                    <a:pt x="0" y="351"/>
                  </a:lnTo>
                  <a:lnTo>
                    <a:pt x="7" y="355"/>
                  </a:lnTo>
                  <a:lnTo>
                    <a:pt x="15" y="357"/>
                  </a:lnTo>
                  <a:lnTo>
                    <a:pt x="24" y="359"/>
                  </a:lnTo>
                  <a:lnTo>
                    <a:pt x="34" y="360"/>
                  </a:lnTo>
                  <a:lnTo>
                    <a:pt x="42" y="366"/>
                  </a:lnTo>
                  <a:lnTo>
                    <a:pt x="53" y="371"/>
                  </a:lnTo>
                  <a:lnTo>
                    <a:pt x="65" y="375"/>
                  </a:lnTo>
                  <a:lnTo>
                    <a:pt x="75" y="377"/>
                  </a:lnTo>
                  <a:lnTo>
                    <a:pt x="80" y="385"/>
                  </a:lnTo>
                  <a:lnTo>
                    <a:pt x="90" y="387"/>
                  </a:lnTo>
                  <a:lnTo>
                    <a:pt x="103" y="391"/>
                  </a:lnTo>
                  <a:lnTo>
                    <a:pt x="115" y="396"/>
                  </a:lnTo>
                  <a:lnTo>
                    <a:pt x="125" y="398"/>
                  </a:lnTo>
                  <a:lnTo>
                    <a:pt x="129" y="402"/>
                  </a:lnTo>
                  <a:lnTo>
                    <a:pt x="133" y="405"/>
                  </a:lnTo>
                  <a:lnTo>
                    <a:pt x="138" y="408"/>
                  </a:lnTo>
                  <a:lnTo>
                    <a:pt x="142" y="410"/>
                  </a:lnTo>
                  <a:lnTo>
                    <a:pt x="153" y="413"/>
                  </a:lnTo>
                  <a:lnTo>
                    <a:pt x="165" y="414"/>
                  </a:lnTo>
                  <a:lnTo>
                    <a:pt x="188" y="412"/>
                  </a:lnTo>
                  <a:lnTo>
                    <a:pt x="209" y="410"/>
                  </a:lnTo>
                  <a:lnTo>
                    <a:pt x="214" y="402"/>
                  </a:lnTo>
                  <a:lnTo>
                    <a:pt x="220" y="400"/>
                  </a:lnTo>
                  <a:lnTo>
                    <a:pt x="229" y="398"/>
                  </a:lnTo>
                  <a:lnTo>
                    <a:pt x="240" y="395"/>
                  </a:lnTo>
                  <a:lnTo>
                    <a:pt x="253" y="390"/>
                  </a:lnTo>
                  <a:lnTo>
                    <a:pt x="265" y="386"/>
                  </a:lnTo>
                  <a:lnTo>
                    <a:pt x="275" y="380"/>
                  </a:lnTo>
                  <a:lnTo>
                    <a:pt x="284" y="376"/>
                  </a:lnTo>
                  <a:lnTo>
                    <a:pt x="290" y="373"/>
                  </a:lnTo>
                  <a:lnTo>
                    <a:pt x="302" y="373"/>
                  </a:lnTo>
                  <a:lnTo>
                    <a:pt x="310" y="364"/>
                  </a:lnTo>
                  <a:lnTo>
                    <a:pt x="319" y="364"/>
                  </a:lnTo>
                  <a:lnTo>
                    <a:pt x="330" y="362"/>
                  </a:lnTo>
                  <a:lnTo>
                    <a:pt x="341" y="360"/>
                  </a:lnTo>
                  <a:lnTo>
                    <a:pt x="352" y="360"/>
                  </a:lnTo>
                  <a:lnTo>
                    <a:pt x="353" y="362"/>
                  </a:lnTo>
                  <a:lnTo>
                    <a:pt x="357" y="366"/>
                  </a:lnTo>
                  <a:lnTo>
                    <a:pt x="361" y="368"/>
                  </a:lnTo>
                  <a:lnTo>
                    <a:pt x="364" y="368"/>
                  </a:lnTo>
                  <a:lnTo>
                    <a:pt x="369" y="377"/>
                  </a:lnTo>
                  <a:lnTo>
                    <a:pt x="377" y="380"/>
                  </a:lnTo>
                  <a:lnTo>
                    <a:pt x="386" y="385"/>
                  </a:lnTo>
                  <a:lnTo>
                    <a:pt x="395" y="388"/>
                  </a:lnTo>
                  <a:lnTo>
                    <a:pt x="402" y="389"/>
                  </a:lnTo>
                  <a:lnTo>
                    <a:pt x="403" y="390"/>
                  </a:lnTo>
                  <a:lnTo>
                    <a:pt x="408" y="391"/>
                  </a:lnTo>
                  <a:lnTo>
                    <a:pt x="415" y="393"/>
                  </a:lnTo>
                  <a:lnTo>
                    <a:pt x="421" y="393"/>
                  </a:lnTo>
                  <a:lnTo>
                    <a:pt x="436" y="394"/>
                  </a:lnTo>
                  <a:lnTo>
                    <a:pt x="444" y="394"/>
                  </a:lnTo>
                  <a:lnTo>
                    <a:pt x="447" y="383"/>
                  </a:lnTo>
                  <a:lnTo>
                    <a:pt x="448" y="368"/>
                  </a:lnTo>
                  <a:lnTo>
                    <a:pt x="448" y="355"/>
                  </a:lnTo>
                  <a:lnTo>
                    <a:pt x="448" y="343"/>
                  </a:lnTo>
                  <a:lnTo>
                    <a:pt x="446" y="342"/>
                  </a:lnTo>
                  <a:lnTo>
                    <a:pt x="445" y="340"/>
                  </a:lnTo>
                  <a:lnTo>
                    <a:pt x="444" y="338"/>
                  </a:lnTo>
                  <a:lnTo>
                    <a:pt x="444" y="335"/>
                  </a:lnTo>
                  <a:lnTo>
                    <a:pt x="436" y="327"/>
                  </a:lnTo>
                  <a:lnTo>
                    <a:pt x="436" y="320"/>
                  </a:lnTo>
                  <a:lnTo>
                    <a:pt x="436" y="313"/>
                  </a:lnTo>
                  <a:lnTo>
                    <a:pt x="435" y="313"/>
                  </a:lnTo>
                  <a:lnTo>
                    <a:pt x="434" y="312"/>
                  </a:lnTo>
                  <a:lnTo>
                    <a:pt x="432" y="311"/>
                  </a:lnTo>
                  <a:lnTo>
                    <a:pt x="432" y="309"/>
                  </a:lnTo>
                  <a:lnTo>
                    <a:pt x="432" y="303"/>
                  </a:lnTo>
                  <a:lnTo>
                    <a:pt x="432" y="297"/>
                  </a:lnTo>
                  <a:lnTo>
                    <a:pt x="435" y="285"/>
                  </a:lnTo>
                  <a:lnTo>
                    <a:pt x="436" y="280"/>
                  </a:lnTo>
                  <a:lnTo>
                    <a:pt x="445" y="272"/>
                  </a:lnTo>
                  <a:lnTo>
                    <a:pt x="457" y="263"/>
                  </a:lnTo>
                  <a:lnTo>
                    <a:pt x="457" y="261"/>
                  </a:lnTo>
                  <a:lnTo>
                    <a:pt x="458" y="258"/>
                  </a:lnTo>
                  <a:lnTo>
                    <a:pt x="459" y="254"/>
                  </a:lnTo>
                  <a:lnTo>
                    <a:pt x="461" y="252"/>
                  </a:lnTo>
                  <a:lnTo>
                    <a:pt x="467" y="246"/>
                  </a:lnTo>
                  <a:lnTo>
                    <a:pt x="474" y="243"/>
                  </a:lnTo>
                  <a:lnTo>
                    <a:pt x="475" y="237"/>
                  </a:lnTo>
                  <a:lnTo>
                    <a:pt x="477" y="233"/>
                  </a:lnTo>
                  <a:lnTo>
                    <a:pt x="480" y="227"/>
                  </a:lnTo>
                  <a:lnTo>
                    <a:pt x="486" y="223"/>
                  </a:lnTo>
                  <a:lnTo>
                    <a:pt x="491" y="220"/>
                  </a:lnTo>
                  <a:lnTo>
                    <a:pt x="496" y="216"/>
                  </a:lnTo>
                  <a:lnTo>
                    <a:pt x="502" y="214"/>
                  </a:lnTo>
                  <a:lnTo>
                    <a:pt x="507" y="213"/>
                  </a:lnTo>
                  <a:lnTo>
                    <a:pt x="511" y="205"/>
                  </a:lnTo>
                  <a:lnTo>
                    <a:pt x="517" y="204"/>
                  </a:lnTo>
                  <a:lnTo>
                    <a:pt x="524" y="201"/>
                  </a:lnTo>
                  <a:lnTo>
                    <a:pt x="531" y="196"/>
                  </a:lnTo>
                  <a:lnTo>
                    <a:pt x="537" y="191"/>
                  </a:lnTo>
                  <a:lnTo>
                    <a:pt x="544" y="185"/>
                  </a:lnTo>
                  <a:lnTo>
                    <a:pt x="551" y="181"/>
                  </a:lnTo>
                  <a:lnTo>
                    <a:pt x="556" y="177"/>
                  </a:lnTo>
                  <a:lnTo>
                    <a:pt x="562" y="176"/>
                  </a:lnTo>
                  <a:lnTo>
                    <a:pt x="563" y="173"/>
                  </a:lnTo>
                  <a:lnTo>
                    <a:pt x="565" y="169"/>
                  </a:lnTo>
                  <a:lnTo>
                    <a:pt x="570" y="167"/>
                  </a:lnTo>
                  <a:lnTo>
                    <a:pt x="575" y="164"/>
                  </a:lnTo>
                  <a:lnTo>
                    <a:pt x="587" y="160"/>
                  </a:lnTo>
                  <a:lnTo>
                    <a:pt x="595" y="159"/>
                  </a:lnTo>
                  <a:lnTo>
                    <a:pt x="603" y="150"/>
                  </a:lnTo>
                  <a:lnTo>
                    <a:pt x="621" y="149"/>
                  </a:lnTo>
                  <a:lnTo>
                    <a:pt x="639" y="148"/>
                  </a:lnTo>
                  <a:lnTo>
                    <a:pt x="655" y="145"/>
                  </a:lnTo>
                  <a:lnTo>
                    <a:pt x="670" y="143"/>
                  </a:lnTo>
                  <a:lnTo>
                    <a:pt x="689" y="136"/>
                  </a:lnTo>
                  <a:lnTo>
                    <a:pt x="716" y="126"/>
                  </a:lnTo>
                  <a:lnTo>
                    <a:pt x="742" y="117"/>
                  </a:lnTo>
                  <a:lnTo>
                    <a:pt x="758" y="112"/>
                  </a:lnTo>
                  <a:lnTo>
                    <a:pt x="763" y="109"/>
                  </a:lnTo>
                  <a:lnTo>
                    <a:pt x="763" y="100"/>
                  </a:lnTo>
                  <a:lnTo>
                    <a:pt x="763" y="91"/>
                  </a:lnTo>
                  <a:lnTo>
                    <a:pt x="754" y="91"/>
                  </a:lnTo>
                  <a:lnTo>
                    <a:pt x="746" y="83"/>
                  </a:lnTo>
                  <a:lnTo>
                    <a:pt x="733" y="82"/>
                  </a:lnTo>
                  <a:lnTo>
                    <a:pt x="720" y="81"/>
                  </a:lnTo>
                  <a:lnTo>
                    <a:pt x="707" y="78"/>
                  </a:lnTo>
                  <a:lnTo>
                    <a:pt x="694" y="75"/>
                  </a:lnTo>
                  <a:lnTo>
                    <a:pt x="681" y="72"/>
                  </a:lnTo>
                  <a:lnTo>
                    <a:pt x="669" y="69"/>
                  </a:lnTo>
                  <a:lnTo>
                    <a:pt x="657" y="68"/>
                  </a:lnTo>
                  <a:lnTo>
                    <a:pt x="646" y="67"/>
                  </a:lnTo>
                  <a:lnTo>
                    <a:pt x="642" y="63"/>
                  </a:lnTo>
                  <a:lnTo>
                    <a:pt x="635" y="59"/>
                  </a:lnTo>
                  <a:lnTo>
                    <a:pt x="626" y="56"/>
                  </a:lnTo>
                  <a:lnTo>
                    <a:pt x="620" y="54"/>
                  </a:lnTo>
                  <a:lnTo>
                    <a:pt x="611" y="48"/>
                  </a:lnTo>
                  <a:lnTo>
                    <a:pt x="599" y="41"/>
                  </a:lnTo>
                  <a:lnTo>
                    <a:pt x="599" y="40"/>
                  </a:lnTo>
                  <a:lnTo>
                    <a:pt x="597" y="38"/>
                  </a:lnTo>
                  <a:lnTo>
                    <a:pt x="594" y="34"/>
                  </a:lnTo>
                  <a:lnTo>
                    <a:pt x="591" y="33"/>
                  </a:lnTo>
                  <a:lnTo>
                    <a:pt x="591" y="24"/>
                  </a:lnTo>
                  <a:lnTo>
                    <a:pt x="587" y="21"/>
                  </a:lnTo>
                  <a:lnTo>
                    <a:pt x="579" y="16"/>
                  </a:lnTo>
                  <a:lnTo>
                    <a:pt x="578" y="13"/>
                  </a:lnTo>
                  <a:lnTo>
                    <a:pt x="575" y="10"/>
                  </a:lnTo>
                  <a:lnTo>
                    <a:pt x="573" y="8"/>
                  </a:lnTo>
                  <a:lnTo>
                    <a:pt x="570" y="5"/>
                  </a:lnTo>
                  <a:lnTo>
                    <a:pt x="564" y="1"/>
                  </a:lnTo>
                  <a:lnTo>
                    <a:pt x="562" y="0"/>
                  </a:lnTo>
                  <a:lnTo>
                    <a:pt x="532" y="0"/>
                  </a:lnTo>
                  <a:lnTo>
                    <a:pt x="532" y="1"/>
                  </a:lnTo>
                  <a:lnTo>
                    <a:pt x="530" y="4"/>
                  </a:lnTo>
                  <a:lnTo>
                    <a:pt x="527" y="6"/>
                  </a:lnTo>
                  <a:lnTo>
                    <a:pt x="524" y="8"/>
                  </a:lnTo>
                  <a:lnTo>
                    <a:pt x="524" y="21"/>
                  </a:lnTo>
                  <a:lnTo>
                    <a:pt x="520" y="25"/>
                  </a:lnTo>
                  <a:lnTo>
                    <a:pt x="515" y="33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29" name="Freeform 82">
              <a:extLst>
                <a:ext uri="{FF2B5EF4-FFF2-40B4-BE49-F238E27FC236}">
                  <a16:creationId xmlns:a16="http://schemas.microsoft.com/office/drawing/2014/main" id="{7A8A48CD-D4F1-4DF5-9C3A-811B8516DC1A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437563" y="4694238"/>
              <a:ext cx="67442" cy="60325"/>
            </a:xfrm>
            <a:custGeom>
              <a:avLst/>
              <a:gdLst/>
              <a:ahLst/>
              <a:cxnLst>
                <a:cxn ang="0">
                  <a:pos x="66" y="36"/>
                </a:cxn>
                <a:cxn ang="0">
                  <a:pos x="48" y="55"/>
                </a:cxn>
                <a:cxn ang="0">
                  <a:pos x="38" y="59"/>
                </a:cxn>
                <a:cxn ang="0">
                  <a:pos x="24" y="75"/>
                </a:cxn>
                <a:cxn ang="0">
                  <a:pos x="12" y="84"/>
                </a:cxn>
                <a:cxn ang="0">
                  <a:pos x="4" y="102"/>
                </a:cxn>
                <a:cxn ang="0">
                  <a:pos x="1" y="123"/>
                </a:cxn>
                <a:cxn ang="0">
                  <a:pos x="7" y="146"/>
                </a:cxn>
                <a:cxn ang="0">
                  <a:pos x="26" y="163"/>
                </a:cxn>
                <a:cxn ang="0">
                  <a:pos x="59" y="188"/>
                </a:cxn>
                <a:cxn ang="0">
                  <a:pos x="99" y="218"/>
                </a:cxn>
                <a:cxn ang="0">
                  <a:pos x="114" y="226"/>
                </a:cxn>
                <a:cxn ang="0">
                  <a:pos x="139" y="256"/>
                </a:cxn>
                <a:cxn ang="0">
                  <a:pos x="171" y="300"/>
                </a:cxn>
                <a:cxn ang="0">
                  <a:pos x="192" y="335"/>
                </a:cxn>
                <a:cxn ang="0">
                  <a:pos x="200" y="348"/>
                </a:cxn>
                <a:cxn ang="0">
                  <a:pos x="209" y="355"/>
                </a:cxn>
                <a:cxn ang="0">
                  <a:pos x="222" y="365"/>
                </a:cxn>
                <a:cxn ang="0">
                  <a:pos x="231" y="369"/>
                </a:cxn>
                <a:cxn ang="0">
                  <a:pos x="240" y="362"/>
                </a:cxn>
                <a:cxn ang="0">
                  <a:pos x="246" y="351"/>
                </a:cxn>
                <a:cxn ang="0">
                  <a:pos x="256" y="329"/>
                </a:cxn>
                <a:cxn ang="0">
                  <a:pos x="263" y="314"/>
                </a:cxn>
                <a:cxn ang="0">
                  <a:pos x="277" y="308"/>
                </a:cxn>
                <a:cxn ang="0">
                  <a:pos x="302" y="286"/>
                </a:cxn>
                <a:cxn ang="0">
                  <a:pos x="319" y="275"/>
                </a:cxn>
                <a:cxn ang="0">
                  <a:pos x="328" y="269"/>
                </a:cxn>
                <a:cxn ang="0">
                  <a:pos x="336" y="261"/>
                </a:cxn>
                <a:cxn ang="0">
                  <a:pos x="350" y="249"/>
                </a:cxn>
                <a:cxn ang="0">
                  <a:pos x="361" y="239"/>
                </a:cxn>
                <a:cxn ang="0">
                  <a:pos x="369" y="230"/>
                </a:cxn>
                <a:cxn ang="0">
                  <a:pos x="347" y="212"/>
                </a:cxn>
                <a:cxn ang="0">
                  <a:pos x="301" y="184"/>
                </a:cxn>
                <a:cxn ang="0">
                  <a:pos x="270" y="178"/>
                </a:cxn>
                <a:cxn ang="0">
                  <a:pos x="258" y="172"/>
                </a:cxn>
                <a:cxn ang="0">
                  <a:pos x="246" y="163"/>
                </a:cxn>
                <a:cxn ang="0">
                  <a:pos x="231" y="152"/>
                </a:cxn>
                <a:cxn ang="0">
                  <a:pos x="217" y="141"/>
                </a:cxn>
                <a:cxn ang="0">
                  <a:pos x="210" y="126"/>
                </a:cxn>
                <a:cxn ang="0">
                  <a:pos x="198" y="101"/>
                </a:cxn>
                <a:cxn ang="0">
                  <a:pos x="172" y="59"/>
                </a:cxn>
                <a:cxn ang="0">
                  <a:pos x="153" y="32"/>
                </a:cxn>
                <a:cxn ang="0">
                  <a:pos x="144" y="20"/>
                </a:cxn>
                <a:cxn ang="0">
                  <a:pos x="138" y="13"/>
                </a:cxn>
                <a:cxn ang="0">
                  <a:pos x="122" y="10"/>
                </a:cxn>
                <a:cxn ang="0">
                  <a:pos x="99" y="5"/>
                </a:cxn>
              </a:cxnLst>
              <a:rect l="0" t="0" r="r" b="b"/>
              <a:pathLst>
                <a:path w="373" h="369">
                  <a:moveTo>
                    <a:pt x="88" y="0"/>
                  </a:moveTo>
                  <a:lnTo>
                    <a:pt x="79" y="17"/>
                  </a:lnTo>
                  <a:lnTo>
                    <a:pt x="66" y="36"/>
                  </a:lnTo>
                  <a:lnTo>
                    <a:pt x="59" y="45"/>
                  </a:lnTo>
                  <a:lnTo>
                    <a:pt x="51" y="52"/>
                  </a:lnTo>
                  <a:lnTo>
                    <a:pt x="48" y="55"/>
                  </a:lnTo>
                  <a:lnTo>
                    <a:pt x="45" y="57"/>
                  </a:lnTo>
                  <a:lnTo>
                    <a:pt x="41" y="58"/>
                  </a:lnTo>
                  <a:lnTo>
                    <a:pt x="38" y="59"/>
                  </a:lnTo>
                  <a:lnTo>
                    <a:pt x="33" y="67"/>
                  </a:lnTo>
                  <a:lnTo>
                    <a:pt x="26" y="72"/>
                  </a:lnTo>
                  <a:lnTo>
                    <a:pt x="24" y="75"/>
                  </a:lnTo>
                  <a:lnTo>
                    <a:pt x="21" y="79"/>
                  </a:lnTo>
                  <a:lnTo>
                    <a:pt x="17" y="83"/>
                  </a:lnTo>
                  <a:lnTo>
                    <a:pt x="12" y="84"/>
                  </a:lnTo>
                  <a:lnTo>
                    <a:pt x="11" y="90"/>
                  </a:lnTo>
                  <a:lnTo>
                    <a:pt x="8" y="96"/>
                  </a:lnTo>
                  <a:lnTo>
                    <a:pt x="4" y="102"/>
                  </a:lnTo>
                  <a:lnTo>
                    <a:pt x="0" y="105"/>
                  </a:lnTo>
                  <a:lnTo>
                    <a:pt x="0" y="114"/>
                  </a:lnTo>
                  <a:lnTo>
                    <a:pt x="1" y="123"/>
                  </a:lnTo>
                  <a:lnTo>
                    <a:pt x="1" y="131"/>
                  </a:lnTo>
                  <a:lnTo>
                    <a:pt x="3" y="139"/>
                  </a:lnTo>
                  <a:lnTo>
                    <a:pt x="7" y="146"/>
                  </a:lnTo>
                  <a:lnTo>
                    <a:pt x="11" y="153"/>
                  </a:lnTo>
                  <a:lnTo>
                    <a:pt x="17" y="159"/>
                  </a:lnTo>
                  <a:lnTo>
                    <a:pt x="26" y="163"/>
                  </a:lnTo>
                  <a:lnTo>
                    <a:pt x="35" y="169"/>
                  </a:lnTo>
                  <a:lnTo>
                    <a:pt x="46" y="177"/>
                  </a:lnTo>
                  <a:lnTo>
                    <a:pt x="59" y="188"/>
                  </a:lnTo>
                  <a:lnTo>
                    <a:pt x="73" y="198"/>
                  </a:lnTo>
                  <a:lnTo>
                    <a:pt x="87" y="209"/>
                  </a:lnTo>
                  <a:lnTo>
                    <a:pt x="99" y="218"/>
                  </a:lnTo>
                  <a:lnTo>
                    <a:pt x="105" y="221"/>
                  </a:lnTo>
                  <a:lnTo>
                    <a:pt x="109" y="225"/>
                  </a:lnTo>
                  <a:lnTo>
                    <a:pt x="114" y="226"/>
                  </a:lnTo>
                  <a:lnTo>
                    <a:pt x="117" y="227"/>
                  </a:lnTo>
                  <a:lnTo>
                    <a:pt x="124" y="237"/>
                  </a:lnTo>
                  <a:lnTo>
                    <a:pt x="139" y="256"/>
                  </a:lnTo>
                  <a:lnTo>
                    <a:pt x="155" y="277"/>
                  </a:lnTo>
                  <a:lnTo>
                    <a:pt x="164" y="289"/>
                  </a:lnTo>
                  <a:lnTo>
                    <a:pt x="171" y="300"/>
                  </a:lnTo>
                  <a:lnTo>
                    <a:pt x="182" y="317"/>
                  </a:lnTo>
                  <a:lnTo>
                    <a:pt x="187" y="326"/>
                  </a:lnTo>
                  <a:lnTo>
                    <a:pt x="192" y="335"/>
                  </a:lnTo>
                  <a:lnTo>
                    <a:pt x="196" y="342"/>
                  </a:lnTo>
                  <a:lnTo>
                    <a:pt x="198" y="348"/>
                  </a:lnTo>
                  <a:lnTo>
                    <a:pt x="200" y="348"/>
                  </a:lnTo>
                  <a:lnTo>
                    <a:pt x="203" y="350"/>
                  </a:lnTo>
                  <a:lnTo>
                    <a:pt x="206" y="352"/>
                  </a:lnTo>
                  <a:lnTo>
                    <a:pt x="209" y="355"/>
                  </a:lnTo>
                  <a:lnTo>
                    <a:pt x="212" y="361"/>
                  </a:lnTo>
                  <a:lnTo>
                    <a:pt x="214" y="365"/>
                  </a:lnTo>
                  <a:lnTo>
                    <a:pt x="222" y="365"/>
                  </a:lnTo>
                  <a:lnTo>
                    <a:pt x="223" y="367"/>
                  </a:lnTo>
                  <a:lnTo>
                    <a:pt x="227" y="369"/>
                  </a:lnTo>
                  <a:lnTo>
                    <a:pt x="231" y="369"/>
                  </a:lnTo>
                  <a:lnTo>
                    <a:pt x="234" y="369"/>
                  </a:lnTo>
                  <a:lnTo>
                    <a:pt x="239" y="365"/>
                  </a:lnTo>
                  <a:lnTo>
                    <a:pt x="240" y="362"/>
                  </a:lnTo>
                  <a:lnTo>
                    <a:pt x="241" y="357"/>
                  </a:lnTo>
                  <a:lnTo>
                    <a:pt x="243" y="354"/>
                  </a:lnTo>
                  <a:lnTo>
                    <a:pt x="246" y="351"/>
                  </a:lnTo>
                  <a:lnTo>
                    <a:pt x="251" y="344"/>
                  </a:lnTo>
                  <a:lnTo>
                    <a:pt x="256" y="340"/>
                  </a:lnTo>
                  <a:lnTo>
                    <a:pt x="256" y="329"/>
                  </a:lnTo>
                  <a:lnTo>
                    <a:pt x="256" y="318"/>
                  </a:lnTo>
                  <a:lnTo>
                    <a:pt x="260" y="315"/>
                  </a:lnTo>
                  <a:lnTo>
                    <a:pt x="263" y="314"/>
                  </a:lnTo>
                  <a:lnTo>
                    <a:pt x="268" y="313"/>
                  </a:lnTo>
                  <a:lnTo>
                    <a:pt x="272" y="311"/>
                  </a:lnTo>
                  <a:lnTo>
                    <a:pt x="277" y="308"/>
                  </a:lnTo>
                  <a:lnTo>
                    <a:pt x="285" y="302"/>
                  </a:lnTo>
                  <a:lnTo>
                    <a:pt x="294" y="294"/>
                  </a:lnTo>
                  <a:lnTo>
                    <a:pt x="302" y="286"/>
                  </a:lnTo>
                  <a:lnTo>
                    <a:pt x="310" y="279"/>
                  </a:lnTo>
                  <a:lnTo>
                    <a:pt x="315" y="276"/>
                  </a:lnTo>
                  <a:lnTo>
                    <a:pt x="319" y="275"/>
                  </a:lnTo>
                  <a:lnTo>
                    <a:pt x="323" y="273"/>
                  </a:lnTo>
                  <a:lnTo>
                    <a:pt x="327" y="273"/>
                  </a:lnTo>
                  <a:lnTo>
                    <a:pt x="328" y="269"/>
                  </a:lnTo>
                  <a:lnTo>
                    <a:pt x="329" y="267"/>
                  </a:lnTo>
                  <a:lnTo>
                    <a:pt x="333" y="264"/>
                  </a:lnTo>
                  <a:lnTo>
                    <a:pt x="336" y="261"/>
                  </a:lnTo>
                  <a:lnTo>
                    <a:pt x="343" y="257"/>
                  </a:lnTo>
                  <a:lnTo>
                    <a:pt x="348" y="256"/>
                  </a:lnTo>
                  <a:lnTo>
                    <a:pt x="350" y="249"/>
                  </a:lnTo>
                  <a:lnTo>
                    <a:pt x="353" y="247"/>
                  </a:lnTo>
                  <a:lnTo>
                    <a:pt x="356" y="245"/>
                  </a:lnTo>
                  <a:lnTo>
                    <a:pt x="361" y="239"/>
                  </a:lnTo>
                  <a:lnTo>
                    <a:pt x="369" y="239"/>
                  </a:lnTo>
                  <a:lnTo>
                    <a:pt x="373" y="235"/>
                  </a:lnTo>
                  <a:lnTo>
                    <a:pt x="369" y="230"/>
                  </a:lnTo>
                  <a:lnTo>
                    <a:pt x="364" y="225"/>
                  </a:lnTo>
                  <a:lnTo>
                    <a:pt x="357" y="218"/>
                  </a:lnTo>
                  <a:lnTo>
                    <a:pt x="347" y="212"/>
                  </a:lnTo>
                  <a:lnTo>
                    <a:pt x="337" y="206"/>
                  </a:lnTo>
                  <a:lnTo>
                    <a:pt x="317" y="194"/>
                  </a:lnTo>
                  <a:lnTo>
                    <a:pt x="301" y="184"/>
                  </a:lnTo>
                  <a:lnTo>
                    <a:pt x="291" y="183"/>
                  </a:lnTo>
                  <a:lnTo>
                    <a:pt x="281" y="180"/>
                  </a:lnTo>
                  <a:lnTo>
                    <a:pt x="270" y="178"/>
                  </a:lnTo>
                  <a:lnTo>
                    <a:pt x="260" y="177"/>
                  </a:lnTo>
                  <a:lnTo>
                    <a:pt x="259" y="174"/>
                  </a:lnTo>
                  <a:lnTo>
                    <a:pt x="258" y="172"/>
                  </a:lnTo>
                  <a:lnTo>
                    <a:pt x="254" y="172"/>
                  </a:lnTo>
                  <a:lnTo>
                    <a:pt x="251" y="172"/>
                  </a:lnTo>
                  <a:lnTo>
                    <a:pt x="246" y="163"/>
                  </a:lnTo>
                  <a:lnTo>
                    <a:pt x="239" y="155"/>
                  </a:lnTo>
                  <a:lnTo>
                    <a:pt x="235" y="154"/>
                  </a:lnTo>
                  <a:lnTo>
                    <a:pt x="231" y="152"/>
                  </a:lnTo>
                  <a:lnTo>
                    <a:pt x="227" y="150"/>
                  </a:lnTo>
                  <a:lnTo>
                    <a:pt x="221" y="145"/>
                  </a:lnTo>
                  <a:lnTo>
                    <a:pt x="217" y="141"/>
                  </a:lnTo>
                  <a:lnTo>
                    <a:pt x="213" y="136"/>
                  </a:lnTo>
                  <a:lnTo>
                    <a:pt x="211" y="131"/>
                  </a:lnTo>
                  <a:lnTo>
                    <a:pt x="210" y="126"/>
                  </a:lnTo>
                  <a:lnTo>
                    <a:pt x="201" y="122"/>
                  </a:lnTo>
                  <a:lnTo>
                    <a:pt x="198" y="113"/>
                  </a:lnTo>
                  <a:lnTo>
                    <a:pt x="198" y="101"/>
                  </a:lnTo>
                  <a:lnTo>
                    <a:pt x="183" y="85"/>
                  </a:lnTo>
                  <a:lnTo>
                    <a:pt x="172" y="72"/>
                  </a:lnTo>
                  <a:lnTo>
                    <a:pt x="172" y="59"/>
                  </a:lnTo>
                  <a:lnTo>
                    <a:pt x="165" y="50"/>
                  </a:lnTo>
                  <a:lnTo>
                    <a:pt x="158" y="40"/>
                  </a:lnTo>
                  <a:lnTo>
                    <a:pt x="153" y="32"/>
                  </a:lnTo>
                  <a:lnTo>
                    <a:pt x="151" y="26"/>
                  </a:lnTo>
                  <a:lnTo>
                    <a:pt x="147" y="21"/>
                  </a:lnTo>
                  <a:lnTo>
                    <a:pt x="144" y="20"/>
                  </a:lnTo>
                  <a:lnTo>
                    <a:pt x="141" y="18"/>
                  </a:lnTo>
                  <a:lnTo>
                    <a:pt x="139" y="16"/>
                  </a:lnTo>
                  <a:lnTo>
                    <a:pt x="138" y="13"/>
                  </a:lnTo>
                  <a:lnTo>
                    <a:pt x="132" y="13"/>
                  </a:lnTo>
                  <a:lnTo>
                    <a:pt x="126" y="13"/>
                  </a:lnTo>
                  <a:lnTo>
                    <a:pt x="122" y="10"/>
                  </a:lnTo>
                  <a:lnTo>
                    <a:pt x="112" y="8"/>
                  </a:lnTo>
                  <a:lnTo>
                    <a:pt x="106" y="7"/>
                  </a:lnTo>
                  <a:lnTo>
                    <a:pt x="99" y="5"/>
                  </a:lnTo>
                  <a:lnTo>
                    <a:pt x="94" y="4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0" name="Freeform 83">
              <a:extLst>
                <a:ext uri="{FF2B5EF4-FFF2-40B4-BE49-F238E27FC236}">
                  <a16:creationId xmlns:a16="http://schemas.microsoft.com/office/drawing/2014/main" id="{E39FF310-FCCD-455E-8929-E09D9303152E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380413" y="4703763"/>
              <a:ext cx="34110" cy="30163"/>
            </a:xfrm>
            <a:custGeom>
              <a:avLst/>
              <a:gdLst/>
              <a:ahLst/>
              <a:cxnLst>
                <a:cxn ang="0">
                  <a:pos x="133" y="14"/>
                </a:cxn>
                <a:cxn ang="0">
                  <a:pos x="121" y="32"/>
                </a:cxn>
                <a:cxn ang="0">
                  <a:pos x="108" y="41"/>
                </a:cxn>
                <a:cxn ang="0">
                  <a:pos x="100" y="50"/>
                </a:cxn>
                <a:cxn ang="0">
                  <a:pos x="93" y="55"/>
                </a:cxn>
                <a:cxn ang="0">
                  <a:pos x="83" y="58"/>
                </a:cxn>
                <a:cxn ang="0">
                  <a:pos x="77" y="67"/>
                </a:cxn>
                <a:cxn ang="0">
                  <a:pos x="66" y="74"/>
                </a:cxn>
                <a:cxn ang="0">
                  <a:pos x="62" y="74"/>
                </a:cxn>
                <a:cxn ang="0">
                  <a:pos x="55" y="81"/>
                </a:cxn>
                <a:cxn ang="0">
                  <a:pos x="50" y="86"/>
                </a:cxn>
                <a:cxn ang="0">
                  <a:pos x="39" y="96"/>
                </a:cxn>
                <a:cxn ang="0">
                  <a:pos x="29" y="100"/>
                </a:cxn>
                <a:cxn ang="0">
                  <a:pos x="18" y="110"/>
                </a:cxn>
                <a:cxn ang="0">
                  <a:pos x="13" y="117"/>
                </a:cxn>
                <a:cxn ang="0">
                  <a:pos x="8" y="119"/>
                </a:cxn>
                <a:cxn ang="0">
                  <a:pos x="4" y="126"/>
                </a:cxn>
                <a:cxn ang="0">
                  <a:pos x="2" y="136"/>
                </a:cxn>
                <a:cxn ang="0">
                  <a:pos x="0" y="146"/>
                </a:cxn>
                <a:cxn ang="0">
                  <a:pos x="0" y="155"/>
                </a:cxn>
                <a:cxn ang="0">
                  <a:pos x="0" y="163"/>
                </a:cxn>
                <a:cxn ang="0">
                  <a:pos x="0" y="175"/>
                </a:cxn>
                <a:cxn ang="0">
                  <a:pos x="3" y="188"/>
                </a:cxn>
                <a:cxn ang="0">
                  <a:pos x="10" y="190"/>
                </a:cxn>
                <a:cxn ang="0">
                  <a:pos x="16" y="196"/>
                </a:cxn>
                <a:cxn ang="0">
                  <a:pos x="33" y="196"/>
                </a:cxn>
                <a:cxn ang="0">
                  <a:pos x="35" y="199"/>
                </a:cxn>
                <a:cxn ang="0">
                  <a:pos x="41" y="201"/>
                </a:cxn>
                <a:cxn ang="0">
                  <a:pos x="53" y="201"/>
                </a:cxn>
                <a:cxn ang="0">
                  <a:pos x="60" y="201"/>
                </a:cxn>
                <a:cxn ang="0">
                  <a:pos x="66" y="201"/>
                </a:cxn>
                <a:cxn ang="0">
                  <a:pos x="77" y="198"/>
                </a:cxn>
                <a:cxn ang="0">
                  <a:pos x="85" y="194"/>
                </a:cxn>
                <a:cxn ang="0">
                  <a:pos x="91" y="188"/>
                </a:cxn>
                <a:cxn ang="0">
                  <a:pos x="96" y="184"/>
                </a:cxn>
                <a:cxn ang="0">
                  <a:pos x="112" y="174"/>
                </a:cxn>
                <a:cxn ang="0">
                  <a:pos x="121" y="158"/>
                </a:cxn>
                <a:cxn ang="0">
                  <a:pos x="126" y="150"/>
                </a:cxn>
                <a:cxn ang="0">
                  <a:pos x="133" y="146"/>
                </a:cxn>
                <a:cxn ang="0">
                  <a:pos x="138" y="129"/>
                </a:cxn>
                <a:cxn ang="0">
                  <a:pos x="144" y="127"/>
                </a:cxn>
                <a:cxn ang="0">
                  <a:pos x="150" y="120"/>
                </a:cxn>
                <a:cxn ang="0">
                  <a:pos x="162" y="103"/>
                </a:cxn>
                <a:cxn ang="0">
                  <a:pos x="179" y="96"/>
                </a:cxn>
                <a:cxn ang="0">
                  <a:pos x="184" y="86"/>
                </a:cxn>
                <a:cxn ang="0">
                  <a:pos x="192" y="79"/>
                </a:cxn>
                <a:cxn ang="0">
                  <a:pos x="196" y="62"/>
                </a:cxn>
                <a:cxn ang="0">
                  <a:pos x="200" y="58"/>
                </a:cxn>
                <a:cxn ang="0">
                  <a:pos x="200" y="52"/>
                </a:cxn>
                <a:cxn ang="0">
                  <a:pos x="200" y="41"/>
                </a:cxn>
                <a:cxn ang="0">
                  <a:pos x="192" y="33"/>
                </a:cxn>
                <a:cxn ang="0">
                  <a:pos x="187" y="26"/>
                </a:cxn>
                <a:cxn ang="0">
                  <a:pos x="179" y="24"/>
                </a:cxn>
                <a:cxn ang="0">
                  <a:pos x="171" y="16"/>
                </a:cxn>
                <a:cxn ang="0">
                  <a:pos x="167" y="3"/>
                </a:cxn>
                <a:cxn ang="0">
                  <a:pos x="156" y="0"/>
                </a:cxn>
              </a:cxnLst>
              <a:rect l="0" t="0" r="r" b="b"/>
              <a:pathLst>
                <a:path w="200" h="201">
                  <a:moveTo>
                    <a:pt x="141" y="3"/>
                  </a:moveTo>
                  <a:lnTo>
                    <a:pt x="133" y="14"/>
                  </a:lnTo>
                  <a:lnTo>
                    <a:pt x="125" y="24"/>
                  </a:lnTo>
                  <a:lnTo>
                    <a:pt x="121" y="32"/>
                  </a:lnTo>
                  <a:lnTo>
                    <a:pt x="117" y="36"/>
                  </a:lnTo>
                  <a:lnTo>
                    <a:pt x="108" y="41"/>
                  </a:lnTo>
                  <a:lnTo>
                    <a:pt x="104" y="45"/>
                  </a:lnTo>
                  <a:lnTo>
                    <a:pt x="100" y="50"/>
                  </a:lnTo>
                  <a:lnTo>
                    <a:pt x="97" y="52"/>
                  </a:lnTo>
                  <a:lnTo>
                    <a:pt x="93" y="55"/>
                  </a:lnTo>
                  <a:lnTo>
                    <a:pt x="89" y="58"/>
                  </a:lnTo>
                  <a:lnTo>
                    <a:pt x="83" y="58"/>
                  </a:lnTo>
                  <a:lnTo>
                    <a:pt x="79" y="62"/>
                  </a:lnTo>
                  <a:lnTo>
                    <a:pt x="77" y="67"/>
                  </a:lnTo>
                  <a:lnTo>
                    <a:pt x="74" y="70"/>
                  </a:lnTo>
                  <a:lnTo>
                    <a:pt x="66" y="74"/>
                  </a:lnTo>
                  <a:lnTo>
                    <a:pt x="64" y="74"/>
                  </a:lnTo>
                  <a:lnTo>
                    <a:pt x="62" y="74"/>
                  </a:lnTo>
                  <a:lnTo>
                    <a:pt x="58" y="79"/>
                  </a:lnTo>
                  <a:lnTo>
                    <a:pt x="55" y="81"/>
                  </a:lnTo>
                  <a:lnTo>
                    <a:pt x="53" y="83"/>
                  </a:lnTo>
                  <a:lnTo>
                    <a:pt x="50" y="86"/>
                  </a:lnTo>
                  <a:lnTo>
                    <a:pt x="44" y="90"/>
                  </a:lnTo>
                  <a:lnTo>
                    <a:pt x="39" y="96"/>
                  </a:lnTo>
                  <a:lnTo>
                    <a:pt x="36" y="100"/>
                  </a:lnTo>
                  <a:lnTo>
                    <a:pt x="29" y="100"/>
                  </a:lnTo>
                  <a:lnTo>
                    <a:pt x="20" y="103"/>
                  </a:lnTo>
                  <a:lnTo>
                    <a:pt x="18" y="110"/>
                  </a:lnTo>
                  <a:lnTo>
                    <a:pt x="16" y="117"/>
                  </a:lnTo>
                  <a:lnTo>
                    <a:pt x="13" y="117"/>
                  </a:lnTo>
                  <a:lnTo>
                    <a:pt x="11" y="118"/>
                  </a:lnTo>
                  <a:lnTo>
                    <a:pt x="8" y="119"/>
                  </a:lnTo>
                  <a:lnTo>
                    <a:pt x="6" y="121"/>
                  </a:lnTo>
                  <a:lnTo>
                    <a:pt x="4" y="126"/>
                  </a:lnTo>
                  <a:lnTo>
                    <a:pt x="3" y="129"/>
                  </a:lnTo>
                  <a:lnTo>
                    <a:pt x="2" y="136"/>
                  </a:lnTo>
                  <a:lnTo>
                    <a:pt x="0" y="141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55"/>
                  </a:lnTo>
                  <a:lnTo>
                    <a:pt x="0" y="158"/>
                  </a:lnTo>
                  <a:lnTo>
                    <a:pt x="0" y="163"/>
                  </a:lnTo>
                  <a:lnTo>
                    <a:pt x="0" y="167"/>
                  </a:lnTo>
                  <a:lnTo>
                    <a:pt x="0" y="175"/>
                  </a:lnTo>
                  <a:lnTo>
                    <a:pt x="0" y="184"/>
                  </a:lnTo>
                  <a:lnTo>
                    <a:pt x="3" y="188"/>
                  </a:lnTo>
                  <a:lnTo>
                    <a:pt x="6" y="188"/>
                  </a:lnTo>
                  <a:lnTo>
                    <a:pt x="10" y="190"/>
                  </a:lnTo>
                  <a:lnTo>
                    <a:pt x="13" y="193"/>
                  </a:lnTo>
                  <a:lnTo>
                    <a:pt x="16" y="196"/>
                  </a:lnTo>
                  <a:lnTo>
                    <a:pt x="24" y="196"/>
                  </a:lnTo>
                  <a:lnTo>
                    <a:pt x="33" y="196"/>
                  </a:lnTo>
                  <a:lnTo>
                    <a:pt x="33" y="198"/>
                  </a:lnTo>
                  <a:lnTo>
                    <a:pt x="35" y="199"/>
                  </a:lnTo>
                  <a:lnTo>
                    <a:pt x="37" y="201"/>
                  </a:lnTo>
                  <a:lnTo>
                    <a:pt x="41" y="201"/>
                  </a:lnTo>
                  <a:lnTo>
                    <a:pt x="48" y="201"/>
                  </a:lnTo>
                  <a:lnTo>
                    <a:pt x="53" y="201"/>
                  </a:lnTo>
                  <a:lnTo>
                    <a:pt x="58" y="201"/>
                  </a:lnTo>
                  <a:lnTo>
                    <a:pt x="60" y="201"/>
                  </a:lnTo>
                  <a:lnTo>
                    <a:pt x="62" y="201"/>
                  </a:lnTo>
                  <a:lnTo>
                    <a:pt x="66" y="201"/>
                  </a:lnTo>
                  <a:lnTo>
                    <a:pt x="70" y="201"/>
                  </a:lnTo>
                  <a:lnTo>
                    <a:pt x="77" y="198"/>
                  </a:lnTo>
                  <a:lnTo>
                    <a:pt x="83" y="196"/>
                  </a:lnTo>
                  <a:lnTo>
                    <a:pt x="85" y="194"/>
                  </a:lnTo>
                  <a:lnTo>
                    <a:pt x="88" y="192"/>
                  </a:lnTo>
                  <a:lnTo>
                    <a:pt x="91" y="188"/>
                  </a:lnTo>
                  <a:lnTo>
                    <a:pt x="93" y="186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12" y="174"/>
                  </a:lnTo>
                  <a:lnTo>
                    <a:pt x="121" y="167"/>
                  </a:lnTo>
                  <a:lnTo>
                    <a:pt x="121" y="158"/>
                  </a:lnTo>
                  <a:lnTo>
                    <a:pt x="122" y="155"/>
                  </a:lnTo>
                  <a:lnTo>
                    <a:pt x="126" y="150"/>
                  </a:lnTo>
                  <a:lnTo>
                    <a:pt x="129" y="147"/>
                  </a:lnTo>
                  <a:lnTo>
                    <a:pt x="133" y="146"/>
                  </a:lnTo>
                  <a:lnTo>
                    <a:pt x="136" y="137"/>
                  </a:lnTo>
                  <a:lnTo>
                    <a:pt x="138" y="129"/>
                  </a:lnTo>
                  <a:lnTo>
                    <a:pt x="141" y="129"/>
                  </a:lnTo>
                  <a:lnTo>
                    <a:pt x="144" y="127"/>
                  </a:lnTo>
                  <a:lnTo>
                    <a:pt x="146" y="125"/>
                  </a:lnTo>
                  <a:lnTo>
                    <a:pt x="150" y="120"/>
                  </a:lnTo>
                  <a:lnTo>
                    <a:pt x="156" y="112"/>
                  </a:lnTo>
                  <a:lnTo>
                    <a:pt x="162" y="103"/>
                  </a:lnTo>
                  <a:lnTo>
                    <a:pt x="173" y="100"/>
                  </a:lnTo>
                  <a:lnTo>
                    <a:pt x="179" y="96"/>
                  </a:lnTo>
                  <a:lnTo>
                    <a:pt x="180" y="91"/>
                  </a:lnTo>
                  <a:lnTo>
                    <a:pt x="184" y="86"/>
                  </a:lnTo>
                  <a:lnTo>
                    <a:pt x="188" y="81"/>
                  </a:lnTo>
                  <a:lnTo>
                    <a:pt x="192" y="79"/>
                  </a:lnTo>
                  <a:lnTo>
                    <a:pt x="194" y="70"/>
                  </a:lnTo>
                  <a:lnTo>
                    <a:pt x="196" y="62"/>
                  </a:lnTo>
                  <a:lnTo>
                    <a:pt x="198" y="60"/>
                  </a:lnTo>
                  <a:lnTo>
                    <a:pt x="200" y="58"/>
                  </a:lnTo>
                  <a:lnTo>
                    <a:pt x="200" y="53"/>
                  </a:lnTo>
                  <a:lnTo>
                    <a:pt x="200" y="52"/>
                  </a:lnTo>
                  <a:lnTo>
                    <a:pt x="200" y="50"/>
                  </a:lnTo>
                  <a:lnTo>
                    <a:pt x="200" y="41"/>
                  </a:lnTo>
                  <a:lnTo>
                    <a:pt x="200" y="33"/>
                  </a:lnTo>
                  <a:lnTo>
                    <a:pt x="192" y="33"/>
                  </a:lnTo>
                  <a:lnTo>
                    <a:pt x="190" y="30"/>
                  </a:lnTo>
                  <a:lnTo>
                    <a:pt x="187" y="26"/>
                  </a:lnTo>
                  <a:lnTo>
                    <a:pt x="183" y="25"/>
                  </a:lnTo>
                  <a:lnTo>
                    <a:pt x="179" y="24"/>
                  </a:lnTo>
                  <a:lnTo>
                    <a:pt x="175" y="20"/>
                  </a:lnTo>
                  <a:lnTo>
                    <a:pt x="171" y="16"/>
                  </a:lnTo>
                  <a:lnTo>
                    <a:pt x="171" y="7"/>
                  </a:lnTo>
                  <a:lnTo>
                    <a:pt x="167" y="3"/>
                  </a:lnTo>
                  <a:lnTo>
                    <a:pt x="162" y="0"/>
                  </a:lnTo>
                  <a:lnTo>
                    <a:pt x="156" y="0"/>
                  </a:lnTo>
                  <a:lnTo>
                    <a:pt x="141" y="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1" name="Freeform 84">
              <a:extLst>
                <a:ext uri="{FF2B5EF4-FFF2-40B4-BE49-F238E27FC236}">
                  <a16:creationId xmlns:a16="http://schemas.microsoft.com/office/drawing/2014/main" id="{0F54B389-CD6B-4A1B-8850-D35AA5499EC4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285163" y="4725988"/>
              <a:ext cx="45554" cy="33338"/>
            </a:xfrm>
            <a:custGeom>
              <a:avLst/>
              <a:gdLst/>
              <a:ahLst/>
              <a:cxnLst>
                <a:cxn ang="0">
                  <a:pos x="26" y="40"/>
                </a:cxn>
                <a:cxn ang="0">
                  <a:pos x="48" y="50"/>
                </a:cxn>
                <a:cxn ang="0">
                  <a:pos x="69" y="70"/>
                </a:cxn>
                <a:cxn ang="0">
                  <a:pos x="80" y="93"/>
                </a:cxn>
                <a:cxn ang="0">
                  <a:pos x="80" y="105"/>
                </a:cxn>
                <a:cxn ang="0">
                  <a:pos x="80" y="113"/>
                </a:cxn>
                <a:cxn ang="0">
                  <a:pos x="72" y="138"/>
                </a:cxn>
                <a:cxn ang="0">
                  <a:pos x="69" y="152"/>
                </a:cxn>
                <a:cxn ang="0">
                  <a:pos x="67" y="163"/>
                </a:cxn>
                <a:cxn ang="0">
                  <a:pos x="64" y="172"/>
                </a:cxn>
                <a:cxn ang="0">
                  <a:pos x="64" y="180"/>
                </a:cxn>
                <a:cxn ang="0">
                  <a:pos x="66" y="199"/>
                </a:cxn>
                <a:cxn ang="0">
                  <a:pos x="72" y="210"/>
                </a:cxn>
                <a:cxn ang="0">
                  <a:pos x="80" y="213"/>
                </a:cxn>
                <a:cxn ang="0">
                  <a:pos x="88" y="213"/>
                </a:cxn>
                <a:cxn ang="0">
                  <a:pos x="106" y="211"/>
                </a:cxn>
                <a:cxn ang="0">
                  <a:pos x="114" y="210"/>
                </a:cxn>
                <a:cxn ang="0">
                  <a:pos x="116" y="203"/>
                </a:cxn>
                <a:cxn ang="0">
                  <a:pos x="126" y="201"/>
                </a:cxn>
                <a:cxn ang="0">
                  <a:pos x="134" y="193"/>
                </a:cxn>
                <a:cxn ang="0">
                  <a:pos x="138" y="184"/>
                </a:cxn>
                <a:cxn ang="0">
                  <a:pos x="144" y="180"/>
                </a:cxn>
                <a:cxn ang="0">
                  <a:pos x="160" y="176"/>
                </a:cxn>
                <a:cxn ang="0">
                  <a:pos x="163" y="169"/>
                </a:cxn>
                <a:cxn ang="0">
                  <a:pos x="172" y="163"/>
                </a:cxn>
                <a:cxn ang="0">
                  <a:pos x="186" y="162"/>
                </a:cxn>
                <a:cxn ang="0">
                  <a:pos x="205" y="151"/>
                </a:cxn>
                <a:cxn ang="0">
                  <a:pos x="218" y="143"/>
                </a:cxn>
                <a:cxn ang="0">
                  <a:pos x="231" y="130"/>
                </a:cxn>
                <a:cxn ang="0">
                  <a:pos x="251" y="109"/>
                </a:cxn>
                <a:cxn ang="0">
                  <a:pos x="245" y="104"/>
                </a:cxn>
                <a:cxn ang="0">
                  <a:pos x="234" y="98"/>
                </a:cxn>
                <a:cxn ang="0">
                  <a:pos x="227" y="90"/>
                </a:cxn>
                <a:cxn ang="0">
                  <a:pos x="214" y="79"/>
                </a:cxn>
                <a:cxn ang="0">
                  <a:pos x="194" y="77"/>
                </a:cxn>
                <a:cxn ang="0">
                  <a:pos x="184" y="71"/>
                </a:cxn>
                <a:cxn ang="0">
                  <a:pos x="172" y="67"/>
                </a:cxn>
                <a:cxn ang="0">
                  <a:pos x="162" y="63"/>
                </a:cxn>
                <a:cxn ang="0">
                  <a:pos x="151" y="58"/>
                </a:cxn>
                <a:cxn ang="0">
                  <a:pos x="138" y="50"/>
                </a:cxn>
                <a:cxn ang="0">
                  <a:pos x="121" y="44"/>
                </a:cxn>
                <a:cxn ang="0">
                  <a:pos x="114" y="42"/>
                </a:cxn>
                <a:cxn ang="0">
                  <a:pos x="104" y="30"/>
                </a:cxn>
                <a:cxn ang="0">
                  <a:pos x="97" y="26"/>
                </a:cxn>
                <a:cxn ang="0">
                  <a:pos x="80" y="9"/>
                </a:cxn>
                <a:cxn ang="0">
                  <a:pos x="72" y="5"/>
                </a:cxn>
                <a:cxn ang="0">
                  <a:pos x="55" y="0"/>
                </a:cxn>
                <a:cxn ang="0">
                  <a:pos x="42" y="0"/>
                </a:cxn>
                <a:cxn ang="0">
                  <a:pos x="31" y="0"/>
                </a:cxn>
                <a:cxn ang="0">
                  <a:pos x="17" y="0"/>
                </a:cxn>
                <a:cxn ang="0">
                  <a:pos x="0" y="17"/>
                </a:cxn>
              </a:cxnLst>
              <a:rect l="0" t="0" r="r" b="b"/>
              <a:pathLst>
                <a:path w="251" h="213">
                  <a:moveTo>
                    <a:pt x="0" y="17"/>
                  </a:moveTo>
                  <a:lnTo>
                    <a:pt x="21" y="38"/>
                  </a:lnTo>
                  <a:lnTo>
                    <a:pt x="26" y="40"/>
                  </a:lnTo>
                  <a:lnTo>
                    <a:pt x="29" y="42"/>
                  </a:lnTo>
                  <a:lnTo>
                    <a:pt x="38" y="46"/>
                  </a:lnTo>
                  <a:lnTo>
                    <a:pt x="48" y="50"/>
                  </a:lnTo>
                  <a:lnTo>
                    <a:pt x="59" y="55"/>
                  </a:lnTo>
                  <a:lnTo>
                    <a:pt x="64" y="59"/>
                  </a:lnTo>
                  <a:lnTo>
                    <a:pt x="69" y="70"/>
                  </a:lnTo>
                  <a:lnTo>
                    <a:pt x="76" y="79"/>
                  </a:lnTo>
                  <a:lnTo>
                    <a:pt x="78" y="86"/>
                  </a:lnTo>
                  <a:lnTo>
                    <a:pt x="80" y="93"/>
                  </a:lnTo>
                  <a:lnTo>
                    <a:pt x="80" y="96"/>
                  </a:lnTo>
                  <a:lnTo>
                    <a:pt x="80" y="101"/>
                  </a:lnTo>
                  <a:lnTo>
                    <a:pt x="80" y="105"/>
                  </a:lnTo>
                  <a:lnTo>
                    <a:pt x="80" y="107"/>
                  </a:lnTo>
                  <a:lnTo>
                    <a:pt x="80" y="109"/>
                  </a:lnTo>
                  <a:lnTo>
                    <a:pt x="80" y="113"/>
                  </a:lnTo>
                  <a:lnTo>
                    <a:pt x="80" y="122"/>
                  </a:lnTo>
                  <a:lnTo>
                    <a:pt x="80" y="130"/>
                  </a:lnTo>
                  <a:lnTo>
                    <a:pt x="72" y="138"/>
                  </a:lnTo>
                  <a:lnTo>
                    <a:pt x="72" y="145"/>
                  </a:lnTo>
                  <a:lnTo>
                    <a:pt x="72" y="151"/>
                  </a:lnTo>
                  <a:lnTo>
                    <a:pt x="69" y="152"/>
                  </a:lnTo>
                  <a:lnTo>
                    <a:pt x="68" y="155"/>
                  </a:lnTo>
                  <a:lnTo>
                    <a:pt x="67" y="160"/>
                  </a:lnTo>
                  <a:lnTo>
                    <a:pt x="67" y="163"/>
                  </a:lnTo>
                  <a:lnTo>
                    <a:pt x="65" y="165"/>
                  </a:lnTo>
                  <a:lnTo>
                    <a:pt x="64" y="167"/>
                  </a:lnTo>
                  <a:lnTo>
                    <a:pt x="64" y="172"/>
                  </a:lnTo>
                  <a:lnTo>
                    <a:pt x="64" y="174"/>
                  </a:lnTo>
                  <a:lnTo>
                    <a:pt x="64" y="176"/>
                  </a:lnTo>
                  <a:lnTo>
                    <a:pt x="64" y="180"/>
                  </a:lnTo>
                  <a:lnTo>
                    <a:pt x="64" y="189"/>
                  </a:lnTo>
                  <a:lnTo>
                    <a:pt x="64" y="196"/>
                  </a:lnTo>
                  <a:lnTo>
                    <a:pt x="66" y="199"/>
                  </a:lnTo>
                  <a:lnTo>
                    <a:pt x="69" y="202"/>
                  </a:lnTo>
                  <a:lnTo>
                    <a:pt x="70" y="205"/>
                  </a:lnTo>
                  <a:lnTo>
                    <a:pt x="72" y="210"/>
                  </a:lnTo>
                  <a:lnTo>
                    <a:pt x="76" y="213"/>
                  </a:lnTo>
                  <a:lnTo>
                    <a:pt x="78" y="213"/>
                  </a:lnTo>
                  <a:lnTo>
                    <a:pt x="80" y="213"/>
                  </a:lnTo>
                  <a:lnTo>
                    <a:pt x="84" y="213"/>
                  </a:lnTo>
                  <a:lnTo>
                    <a:pt x="86" y="213"/>
                  </a:lnTo>
                  <a:lnTo>
                    <a:pt x="88" y="213"/>
                  </a:lnTo>
                  <a:lnTo>
                    <a:pt x="97" y="213"/>
                  </a:lnTo>
                  <a:lnTo>
                    <a:pt x="105" y="213"/>
                  </a:lnTo>
                  <a:lnTo>
                    <a:pt x="106" y="211"/>
                  </a:lnTo>
                  <a:lnTo>
                    <a:pt x="107" y="210"/>
                  </a:lnTo>
                  <a:lnTo>
                    <a:pt x="111" y="210"/>
                  </a:lnTo>
                  <a:lnTo>
                    <a:pt x="114" y="210"/>
                  </a:lnTo>
                  <a:lnTo>
                    <a:pt x="114" y="207"/>
                  </a:lnTo>
                  <a:lnTo>
                    <a:pt x="115" y="204"/>
                  </a:lnTo>
                  <a:lnTo>
                    <a:pt x="116" y="203"/>
                  </a:lnTo>
                  <a:lnTo>
                    <a:pt x="118" y="202"/>
                  </a:lnTo>
                  <a:lnTo>
                    <a:pt x="122" y="201"/>
                  </a:lnTo>
                  <a:lnTo>
                    <a:pt x="126" y="201"/>
                  </a:lnTo>
                  <a:lnTo>
                    <a:pt x="128" y="199"/>
                  </a:lnTo>
                  <a:lnTo>
                    <a:pt x="131" y="196"/>
                  </a:lnTo>
                  <a:lnTo>
                    <a:pt x="134" y="193"/>
                  </a:lnTo>
                  <a:lnTo>
                    <a:pt x="136" y="191"/>
                  </a:lnTo>
                  <a:lnTo>
                    <a:pt x="138" y="189"/>
                  </a:lnTo>
                  <a:lnTo>
                    <a:pt x="138" y="184"/>
                  </a:lnTo>
                  <a:lnTo>
                    <a:pt x="140" y="183"/>
                  </a:lnTo>
                  <a:lnTo>
                    <a:pt x="142" y="181"/>
                  </a:lnTo>
                  <a:lnTo>
                    <a:pt x="144" y="180"/>
                  </a:lnTo>
                  <a:lnTo>
                    <a:pt x="147" y="179"/>
                  </a:lnTo>
                  <a:lnTo>
                    <a:pt x="154" y="176"/>
                  </a:lnTo>
                  <a:lnTo>
                    <a:pt x="160" y="176"/>
                  </a:lnTo>
                  <a:lnTo>
                    <a:pt x="160" y="173"/>
                  </a:lnTo>
                  <a:lnTo>
                    <a:pt x="162" y="171"/>
                  </a:lnTo>
                  <a:lnTo>
                    <a:pt x="163" y="169"/>
                  </a:lnTo>
                  <a:lnTo>
                    <a:pt x="165" y="166"/>
                  </a:lnTo>
                  <a:lnTo>
                    <a:pt x="170" y="164"/>
                  </a:lnTo>
                  <a:lnTo>
                    <a:pt x="172" y="163"/>
                  </a:lnTo>
                  <a:lnTo>
                    <a:pt x="176" y="163"/>
                  </a:lnTo>
                  <a:lnTo>
                    <a:pt x="181" y="163"/>
                  </a:lnTo>
                  <a:lnTo>
                    <a:pt x="186" y="162"/>
                  </a:lnTo>
                  <a:lnTo>
                    <a:pt x="193" y="160"/>
                  </a:lnTo>
                  <a:lnTo>
                    <a:pt x="198" y="155"/>
                  </a:lnTo>
                  <a:lnTo>
                    <a:pt x="205" y="151"/>
                  </a:lnTo>
                  <a:lnTo>
                    <a:pt x="210" y="146"/>
                  </a:lnTo>
                  <a:lnTo>
                    <a:pt x="214" y="143"/>
                  </a:lnTo>
                  <a:lnTo>
                    <a:pt x="218" y="143"/>
                  </a:lnTo>
                  <a:lnTo>
                    <a:pt x="222" y="138"/>
                  </a:lnTo>
                  <a:lnTo>
                    <a:pt x="227" y="134"/>
                  </a:lnTo>
                  <a:lnTo>
                    <a:pt x="231" y="130"/>
                  </a:lnTo>
                  <a:lnTo>
                    <a:pt x="240" y="124"/>
                  </a:lnTo>
                  <a:lnTo>
                    <a:pt x="251" y="117"/>
                  </a:lnTo>
                  <a:lnTo>
                    <a:pt x="251" y="109"/>
                  </a:lnTo>
                  <a:lnTo>
                    <a:pt x="249" y="108"/>
                  </a:lnTo>
                  <a:lnTo>
                    <a:pt x="246" y="106"/>
                  </a:lnTo>
                  <a:lnTo>
                    <a:pt x="245" y="104"/>
                  </a:lnTo>
                  <a:lnTo>
                    <a:pt x="243" y="101"/>
                  </a:lnTo>
                  <a:lnTo>
                    <a:pt x="234" y="101"/>
                  </a:lnTo>
                  <a:lnTo>
                    <a:pt x="234" y="98"/>
                  </a:lnTo>
                  <a:lnTo>
                    <a:pt x="234" y="96"/>
                  </a:lnTo>
                  <a:lnTo>
                    <a:pt x="231" y="93"/>
                  </a:lnTo>
                  <a:lnTo>
                    <a:pt x="227" y="90"/>
                  </a:lnTo>
                  <a:lnTo>
                    <a:pt x="221" y="87"/>
                  </a:lnTo>
                  <a:lnTo>
                    <a:pt x="216" y="84"/>
                  </a:lnTo>
                  <a:lnTo>
                    <a:pt x="214" y="79"/>
                  </a:lnTo>
                  <a:lnTo>
                    <a:pt x="205" y="79"/>
                  </a:lnTo>
                  <a:lnTo>
                    <a:pt x="198" y="79"/>
                  </a:lnTo>
                  <a:lnTo>
                    <a:pt x="194" y="77"/>
                  </a:lnTo>
                  <a:lnTo>
                    <a:pt x="191" y="74"/>
                  </a:lnTo>
                  <a:lnTo>
                    <a:pt x="188" y="73"/>
                  </a:lnTo>
                  <a:lnTo>
                    <a:pt x="184" y="71"/>
                  </a:lnTo>
                  <a:lnTo>
                    <a:pt x="181" y="69"/>
                  </a:lnTo>
                  <a:lnTo>
                    <a:pt x="176" y="67"/>
                  </a:lnTo>
                  <a:lnTo>
                    <a:pt x="172" y="67"/>
                  </a:lnTo>
                  <a:lnTo>
                    <a:pt x="168" y="67"/>
                  </a:lnTo>
                  <a:lnTo>
                    <a:pt x="164" y="63"/>
                  </a:lnTo>
                  <a:lnTo>
                    <a:pt x="162" y="63"/>
                  </a:lnTo>
                  <a:lnTo>
                    <a:pt x="160" y="63"/>
                  </a:lnTo>
                  <a:lnTo>
                    <a:pt x="155" y="59"/>
                  </a:lnTo>
                  <a:lnTo>
                    <a:pt x="151" y="58"/>
                  </a:lnTo>
                  <a:lnTo>
                    <a:pt x="145" y="56"/>
                  </a:lnTo>
                  <a:lnTo>
                    <a:pt x="141" y="54"/>
                  </a:lnTo>
                  <a:lnTo>
                    <a:pt x="138" y="50"/>
                  </a:lnTo>
                  <a:lnTo>
                    <a:pt x="131" y="46"/>
                  </a:lnTo>
                  <a:lnTo>
                    <a:pt x="122" y="46"/>
                  </a:lnTo>
                  <a:lnTo>
                    <a:pt x="121" y="44"/>
                  </a:lnTo>
                  <a:lnTo>
                    <a:pt x="120" y="42"/>
                  </a:lnTo>
                  <a:lnTo>
                    <a:pt x="116" y="42"/>
                  </a:lnTo>
                  <a:lnTo>
                    <a:pt x="114" y="42"/>
                  </a:lnTo>
                  <a:lnTo>
                    <a:pt x="109" y="38"/>
                  </a:lnTo>
                  <a:lnTo>
                    <a:pt x="105" y="34"/>
                  </a:lnTo>
                  <a:lnTo>
                    <a:pt x="104" y="30"/>
                  </a:lnTo>
                  <a:lnTo>
                    <a:pt x="103" y="28"/>
                  </a:lnTo>
                  <a:lnTo>
                    <a:pt x="99" y="26"/>
                  </a:lnTo>
                  <a:lnTo>
                    <a:pt x="97" y="26"/>
                  </a:lnTo>
                  <a:lnTo>
                    <a:pt x="93" y="17"/>
                  </a:lnTo>
                  <a:lnTo>
                    <a:pt x="88" y="9"/>
                  </a:lnTo>
                  <a:lnTo>
                    <a:pt x="80" y="9"/>
                  </a:lnTo>
                  <a:lnTo>
                    <a:pt x="78" y="6"/>
                  </a:lnTo>
                  <a:lnTo>
                    <a:pt x="75" y="5"/>
                  </a:lnTo>
                  <a:lnTo>
                    <a:pt x="72" y="5"/>
                  </a:lnTo>
                  <a:lnTo>
                    <a:pt x="67" y="5"/>
                  </a:lnTo>
                  <a:lnTo>
                    <a:pt x="61" y="2"/>
                  </a:lnTo>
                  <a:lnTo>
                    <a:pt x="55" y="0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17" y="0"/>
                  </a:lnTo>
                  <a:lnTo>
                    <a:pt x="9" y="0"/>
                  </a:lnTo>
                  <a:lnTo>
                    <a:pt x="9" y="9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2" name="Freeform 85">
              <a:extLst>
                <a:ext uri="{FF2B5EF4-FFF2-40B4-BE49-F238E27FC236}">
                  <a16:creationId xmlns:a16="http://schemas.microsoft.com/office/drawing/2014/main" id="{27B86241-69BB-4DBC-832C-4C54483DCCCE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489950" y="4541838"/>
              <a:ext cx="93495" cy="104775"/>
            </a:xfrm>
            <a:custGeom>
              <a:avLst/>
              <a:gdLst/>
              <a:ahLst/>
              <a:cxnLst>
                <a:cxn ang="0">
                  <a:pos x="223" y="14"/>
                </a:cxn>
                <a:cxn ang="0">
                  <a:pos x="202" y="53"/>
                </a:cxn>
                <a:cxn ang="0">
                  <a:pos x="194" y="116"/>
                </a:cxn>
                <a:cxn ang="0">
                  <a:pos x="174" y="132"/>
                </a:cxn>
                <a:cxn ang="0">
                  <a:pos x="137" y="150"/>
                </a:cxn>
                <a:cxn ang="0">
                  <a:pos x="101" y="173"/>
                </a:cxn>
                <a:cxn ang="0">
                  <a:pos x="85" y="186"/>
                </a:cxn>
                <a:cxn ang="0">
                  <a:pos x="58" y="201"/>
                </a:cxn>
                <a:cxn ang="0">
                  <a:pos x="39" y="212"/>
                </a:cxn>
                <a:cxn ang="0">
                  <a:pos x="37" y="215"/>
                </a:cxn>
                <a:cxn ang="0">
                  <a:pos x="13" y="249"/>
                </a:cxn>
                <a:cxn ang="0">
                  <a:pos x="4" y="272"/>
                </a:cxn>
                <a:cxn ang="0">
                  <a:pos x="0" y="317"/>
                </a:cxn>
                <a:cxn ang="0">
                  <a:pos x="8" y="408"/>
                </a:cxn>
                <a:cxn ang="0">
                  <a:pos x="32" y="480"/>
                </a:cxn>
                <a:cxn ang="0">
                  <a:pos x="49" y="505"/>
                </a:cxn>
                <a:cxn ang="0">
                  <a:pos x="60" y="529"/>
                </a:cxn>
                <a:cxn ang="0">
                  <a:pos x="70" y="554"/>
                </a:cxn>
                <a:cxn ang="0">
                  <a:pos x="109" y="606"/>
                </a:cxn>
                <a:cxn ang="0">
                  <a:pos x="131" y="626"/>
                </a:cxn>
                <a:cxn ang="0">
                  <a:pos x="158" y="641"/>
                </a:cxn>
                <a:cxn ang="0">
                  <a:pos x="251" y="630"/>
                </a:cxn>
                <a:cxn ang="0">
                  <a:pos x="289" y="602"/>
                </a:cxn>
                <a:cxn ang="0">
                  <a:pos x="303" y="584"/>
                </a:cxn>
                <a:cxn ang="0">
                  <a:pos x="317" y="575"/>
                </a:cxn>
                <a:cxn ang="0">
                  <a:pos x="337" y="565"/>
                </a:cxn>
                <a:cxn ang="0">
                  <a:pos x="352" y="553"/>
                </a:cxn>
                <a:cxn ang="0">
                  <a:pos x="400" y="527"/>
                </a:cxn>
                <a:cxn ang="0">
                  <a:pos x="425" y="517"/>
                </a:cxn>
                <a:cxn ang="0">
                  <a:pos x="448" y="500"/>
                </a:cxn>
                <a:cxn ang="0">
                  <a:pos x="466" y="488"/>
                </a:cxn>
                <a:cxn ang="0">
                  <a:pos x="481" y="469"/>
                </a:cxn>
                <a:cxn ang="0">
                  <a:pos x="497" y="442"/>
                </a:cxn>
                <a:cxn ang="0">
                  <a:pos x="504" y="427"/>
                </a:cxn>
                <a:cxn ang="0">
                  <a:pos x="509" y="383"/>
                </a:cxn>
                <a:cxn ang="0">
                  <a:pos x="497" y="345"/>
                </a:cxn>
                <a:cxn ang="0">
                  <a:pos x="481" y="306"/>
                </a:cxn>
                <a:cxn ang="0">
                  <a:pos x="466" y="270"/>
                </a:cxn>
                <a:cxn ang="0">
                  <a:pos x="450" y="238"/>
                </a:cxn>
                <a:cxn ang="0">
                  <a:pos x="430" y="201"/>
                </a:cxn>
                <a:cxn ang="0">
                  <a:pos x="425" y="125"/>
                </a:cxn>
                <a:cxn ang="0">
                  <a:pos x="423" y="63"/>
                </a:cxn>
                <a:cxn ang="0">
                  <a:pos x="400" y="52"/>
                </a:cxn>
                <a:cxn ang="0">
                  <a:pos x="382" y="39"/>
                </a:cxn>
                <a:cxn ang="0">
                  <a:pos x="356" y="33"/>
                </a:cxn>
                <a:cxn ang="0">
                  <a:pos x="282" y="22"/>
                </a:cxn>
                <a:cxn ang="0">
                  <a:pos x="269" y="4"/>
                </a:cxn>
                <a:cxn ang="0">
                  <a:pos x="257" y="0"/>
                </a:cxn>
              </a:cxnLst>
              <a:rect l="0" t="0" r="r" b="b"/>
              <a:pathLst>
                <a:path w="509" h="641">
                  <a:moveTo>
                    <a:pt x="237" y="4"/>
                  </a:moveTo>
                  <a:lnTo>
                    <a:pt x="233" y="6"/>
                  </a:lnTo>
                  <a:lnTo>
                    <a:pt x="227" y="9"/>
                  </a:lnTo>
                  <a:lnTo>
                    <a:pt x="223" y="14"/>
                  </a:lnTo>
                  <a:lnTo>
                    <a:pt x="218" y="18"/>
                  </a:lnTo>
                  <a:lnTo>
                    <a:pt x="209" y="27"/>
                  </a:lnTo>
                  <a:lnTo>
                    <a:pt x="203" y="35"/>
                  </a:lnTo>
                  <a:lnTo>
                    <a:pt x="202" y="53"/>
                  </a:lnTo>
                  <a:lnTo>
                    <a:pt x="200" y="73"/>
                  </a:lnTo>
                  <a:lnTo>
                    <a:pt x="198" y="93"/>
                  </a:lnTo>
                  <a:lnTo>
                    <a:pt x="198" y="114"/>
                  </a:lnTo>
                  <a:lnTo>
                    <a:pt x="194" y="116"/>
                  </a:lnTo>
                  <a:lnTo>
                    <a:pt x="189" y="119"/>
                  </a:lnTo>
                  <a:lnTo>
                    <a:pt x="185" y="128"/>
                  </a:lnTo>
                  <a:lnTo>
                    <a:pt x="180" y="129"/>
                  </a:lnTo>
                  <a:lnTo>
                    <a:pt x="174" y="132"/>
                  </a:lnTo>
                  <a:lnTo>
                    <a:pt x="167" y="136"/>
                  </a:lnTo>
                  <a:lnTo>
                    <a:pt x="162" y="140"/>
                  </a:lnTo>
                  <a:lnTo>
                    <a:pt x="149" y="140"/>
                  </a:lnTo>
                  <a:lnTo>
                    <a:pt x="137" y="150"/>
                  </a:lnTo>
                  <a:lnTo>
                    <a:pt x="121" y="159"/>
                  </a:lnTo>
                  <a:lnTo>
                    <a:pt x="113" y="163"/>
                  </a:lnTo>
                  <a:lnTo>
                    <a:pt x="107" y="168"/>
                  </a:lnTo>
                  <a:lnTo>
                    <a:pt x="101" y="173"/>
                  </a:lnTo>
                  <a:lnTo>
                    <a:pt x="97" y="180"/>
                  </a:lnTo>
                  <a:lnTo>
                    <a:pt x="93" y="180"/>
                  </a:lnTo>
                  <a:lnTo>
                    <a:pt x="89" y="182"/>
                  </a:lnTo>
                  <a:lnTo>
                    <a:pt x="85" y="186"/>
                  </a:lnTo>
                  <a:lnTo>
                    <a:pt x="83" y="189"/>
                  </a:lnTo>
                  <a:lnTo>
                    <a:pt x="74" y="191"/>
                  </a:lnTo>
                  <a:lnTo>
                    <a:pt x="66" y="193"/>
                  </a:lnTo>
                  <a:lnTo>
                    <a:pt x="58" y="201"/>
                  </a:lnTo>
                  <a:lnTo>
                    <a:pt x="49" y="210"/>
                  </a:lnTo>
                  <a:lnTo>
                    <a:pt x="43" y="211"/>
                  </a:lnTo>
                  <a:lnTo>
                    <a:pt x="40" y="211"/>
                  </a:lnTo>
                  <a:lnTo>
                    <a:pt x="39" y="212"/>
                  </a:lnTo>
                  <a:lnTo>
                    <a:pt x="39" y="212"/>
                  </a:lnTo>
                  <a:lnTo>
                    <a:pt x="39" y="213"/>
                  </a:lnTo>
                  <a:lnTo>
                    <a:pt x="39" y="215"/>
                  </a:lnTo>
                  <a:lnTo>
                    <a:pt x="37" y="215"/>
                  </a:lnTo>
                  <a:lnTo>
                    <a:pt x="35" y="215"/>
                  </a:lnTo>
                  <a:lnTo>
                    <a:pt x="31" y="224"/>
                  </a:lnTo>
                  <a:lnTo>
                    <a:pt x="22" y="236"/>
                  </a:lnTo>
                  <a:lnTo>
                    <a:pt x="13" y="249"/>
                  </a:lnTo>
                  <a:lnTo>
                    <a:pt x="8" y="255"/>
                  </a:lnTo>
                  <a:lnTo>
                    <a:pt x="8" y="268"/>
                  </a:lnTo>
                  <a:lnTo>
                    <a:pt x="6" y="269"/>
                  </a:lnTo>
                  <a:lnTo>
                    <a:pt x="4" y="272"/>
                  </a:lnTo>
                  <a:lnTo>
                    <a:pt x="2" y="277"/>
                  </a:lnTo>
                  <a:lnTo>
                    <a:pt x="1" y="283"/>
                  </a:lnTo>
                  <a:lnTo>
                    <a:pt x="0" y="299"/>
                  </a:lnTo>
                  <a:lnTo>
                    <a:pt x="0" y="317"/>
                  </a:lnTo>
                  <a:lnTo>
                    <a:pt x="3" y="355"/>
                  </a:lnTo>
                  <a:lnTo>
                    <a:pt x="4" y="378"/>
                  </a:lnTo>
                  <a:lnTo>
                    <a:pt x="5" y="391"/>
                  </a:lnTo>
                  <a:lnTo>
                    <a:pt x="8" y="408"/>
                  </a:lnTo>
                  <a:lnTo>
                    <a:pt x="13" y="426"/>
                  </a:lnTo>
                  <a:lnTo>
                    <a:pt x="18" y="445"/>
                  </a:lnTo>
                  <a:lnTo>
                    <a:pt x="25" y="463"/>
                  </a:lnTo>
                  <a:lnTo>
                    <a:pt x="32" y="480"/>
                  </a:lnTo>
                  <a:lnTo>
                    <a:pt x="36" y="488"/>
                  </a:lnTo>
                  <a:lnTo>
                    <a:pt x="40" y="495"/>
                  </a:lnTo>
                  <a:lnTo>
                    <a:pt x="44" y="500"/>
                  </a:lnTo>
                  <a:lnTo>
                    <a:pt x="49" y="505"/>
                  </a:lnTo>
                  <a:lnTo>
                    <a:pt x="50" y="511"/>
                  </a:lnTo>
                  <a:lnTo>
                    <a:pt x="52" y="517"/>
                  </a:lnTo>
                  <a:lnTo>
                    <a:pt x="55" y="524"/>
                  </a:lnTo>
                  <a:lnTo>
                    <a:pt x="60" y="529"/>
                  </a:lnTo>
                  <a:lnTo>
                    <a:pt x="63" y="535"/>
                  </a:lnTo>
                  <a:lnTo>
                    <a:pt x="66" y="540"/>
                  </a:lnTo>
                  <a:lnTo>
                    <a:pt x="70" y="547"/>
                  </a:lnTo>
                  <a:lnTo>
                    <a:pt x="70" y="554"/>
                  </a:lnTo>
                  <a:lnTo>
                    <a:pt x="81" y="566"/>
                  </a:lnTo>
                  <a:lnTo>
                    <a:pt x="96" y="586"/>
                  </a:lnTo>
                  <a:lnTo>
                    <a:pt x="102" y="597"/>
                  </a:lnTo>
                  <a:lnTo>
                    <a:pt x="109" y="606"/>
                  </a:lnTo>
                  <a:lnTo>
                    <a:pt x="112" y="614"/>
                  </a:lnTo>
                  <a:lnTo>
                    <a:pt x="114" y="620"/>
                  </a:lnTo>
                  <a:lnTo>
                    <a:pt x="122" y="622"/>
                  </a:lnTo>
                  <a:lnTo>
                    <a:pt x="131" y="626"/>
                  </a:lnTo>
                  <a:lnTo>
                    <a:pt x="140" y="632"/>
                  </a:lnTo>
                  <a:lnTo>
                    <a:pt x="145" y="636"/>
                  </a:lnTo>
                  <a:lnTo>
                    <a:pt x="151" y="639"/>
                  </a:lnTo>
                  <a:lnTo>
                    <a:pt x="158" y="641"/>
                  </a:lnTo>
                  <a:lnTo>
                    <a:pt x="224" y="641"/>
                  </a:lnTo>
                  <a:lnTo>
                    <a:pt x="229" y="640"/>
                  </a:lnTo>
                  <a:lnTo>
                    <a:pt x="238" y="635"/>
                  </a:lnTo>
                  <a:lnTo>
                    <a:pt x="251" y="630"/>
                  </a:lnTo>
                  <a:lnTo>
                    <a:pt x="263" y="622"/>
                  </a:lnTo>
                  <a:lnTo>
                    <a:pt x="274" y="614"/>
                  </a:lnTo>
                  <a:lnTo>
                    <a:pt x="285" y="606"/>
                  </a:lnTo>
                  <a:lnTo>
                    <a:pt x="289" y="602"/>
                  </a:lnTo>
                  <a:lnTo>
                    <a:pt x="292" y="599"/>
                  </a:lnTo>
                  <a:lnTo>
                    <a:pt x="294" y="595"/>
                  </a:lnTo>
                  <a:lnTo>
                    <a:pt x="294" y="593"/>
                  </a:lnTo>
                  <a:lnTo>
                    <a:pt x="303" y="584"/>
                  </a:lnTo>
                  <a:lnTo>
                    <a:pt x="308" y="583"/>
                  </a:lnTo>
                  <a:lnTo>
                    <a:pt x="312" y="582"/>
                  </a:lnTo>
                  <a:lnTo>
                    <a:pt x="315" y="578"/>
                  </a:lnTo>
                  <a:lnTo>
                    <a:pt x="317" y="575"/>
                  </a:lnTo>
                  <a:lnTo>
                    <a:pt x="327" y="573"/>
                  </a:lnTo>
                  <a:lnTo>
                    <a:pt x="334" y="571"/>
                  </a:lnTo>
                  <a:lnTo>
                    <a:pt x="334" y="567"/>
                  </a:lnTo>
                  <a:lnTo>
                    <a:pt x="337" y="565"/>
                  </a:lnTo>
                  <a:lnTo>
                    <a:pt x="340" y="563"/>
                  </a:lnTo>
                  <a:lnTo>
                    <a:pt x="343" y="562"/>
                  </a:lnTo>
                  <a:lnTo>
                    <a:pt x="346" y="558"/>
                  </a:lnTo>
                  <a:lnTo>
                    <a:pt x="352" y="553"/>
                  </a:lnTo>
                  <a:lnTo>
                    <a:pt x="363" y="546"/>
                  </a:lnTo>
                  <a:lnTo>
                    <a:pt x="376" y="539"/>
                  </a:lnTo>
                  <a:lnTo>
                    <a:pt x="388" y="533"/>
                  </a:lnTo>
                  <a:lnTo>
                    <a:pt x="400" y="527"/>
                  </a:lnTo>
                  <a:lnTo>
                    <a:pt x="410" y="524"/>
                  </a:lnTo>
                  <a:lnTo>
                    <a:pt x="418" y="523"/>
                  </a:lnTo>
                  <a:lnTo>
                    <a:pt x="421" y="519"/>
                  </a:lnTo>
                  <a:lnTo>
                    <a:pt x="425" y="517"/>
                  </a:lnTo>
                  <a:lnTo>
                    <a:pt x="429" y="515"/>
                  </a:lnTo>
                  <a:lnTo>
                    <a:pt x="435" y="514"/>
                  </a:lnTo>
                  <a:lnTo>
                    <a:pt x="444" y="500"/>
                  </a:lnTo>
                  <a:lnTo>
                    <a:pt x="448" y="500"/>
                  </a:lnTo>
                  <a:lnTo>
                    <a:pt x="453" y="498"/>
                  </a:lnTo>
                  <a:lnTo>
                    <a:pt x="456" y="496"/>
                  </a:lnTo>
                  <a:lnTo>
                    <a:pt x="459" y="494"/>
                  </a:lnTo>
                  <a:lnTo>
                    <a:pt x="466" y="488"/>
                  </a:lnTo>
                  <a:lnTo>
                    <a:pt x="475" y="484"/>
                  </a:lnTo>
                  <a:lnTo>
                    <a:pt x="475" y="479"/>
                  </a:lnTo>
                  <a:lnTo>
                    <a:pt x="477" y="475"/>
                  </a:lnTo>
                  <a:lnTo>
                    <a:pt x="481" y="469"/>
                  </a:lnTo>
                  <a:lnTo>
                    <a:pt x="484" y="463"/>
                  </a:lnTo>
                  <a:lnTo>
                    <a:pt x="492" y="455"/>
                  </a:lnTo>
                  <a:lnTo>
                    <a:pt x="497" y="448"/>
                  </a:lnTo>
                  <a:lnTo>
                    <a:pt x="497" y="442"/>
                  </a:lnTo>
                  <a:lnTo>
                    <a:pt x="500" y="436"/>
                  </a:lnTo>
                  <a:lnTo>
                    <a:pt x="501" y="432"/>
                  </a:lnTo>
                  <a:lnTo>
                    <a:pt x="502" y="429"/>
                  </a:lnTo>
                  <a:lnTo>
                    <a:pt x="504" y="427"/>
                  </a:lnTo>
                  <a:lnTo>
                    <a:pt x="505" y="426"/>
                  </a:lnTo>
                  <a:lnTo>
                    <a:pt x="505" y="400"/>
                  </a:lnTo>
                  <a:lnTo>
                    <a:pt x="507" y="392"/>
                  </a:lnTo>
                  <a:lnTo>
                    <a:pt x="509" y="383"/>
                  </a:lnTo>
                  <a:lnTo>
                    <a:pt x="507" y="373"/>
                  </a:lnTo>
                  <a:lnTo>
                    <a:pt x="505" y="363"/>
                  </a:lnTo>
                  <a:lnTo>
                    <a:pt x="502" y="354"/>
                  </a:lnTo>
                  <a:lnTo>
                    <a:pt x="497" y="345"/>
                  </a:lnTo>
                  <a:lnTo>
                    <a:pt x="493" y="338"/>
                  </a:lnTo>
                  <a:lnTo>
                    <a:pt x="488" y="334"/>
                  </a:lnTo>
                  <a:lnTo>
                    <a:pt x="488" y="316"/>
                  </a:lnTo>
                  <a:lnTo>
                    <a:pt x="481" y="306"/>
                  </a:lnTo>
                  <a:lnTo>
                    <a:pt x="474" y="293"/>
                  </a:lnTo>
                  <a:lnTo>
                    <a:pt x="471" y="285"/>
                  </a:lnTo>
                  <a:lnTo>
                    <a:pt x="468" y="278"/>
                  </a:lnTo>
                  <a:lnTo>
                    <a:pt x="466" y="270"/>
                  </a:lnTo>
                  <a:lnTo>
                    <a:pt x="466" y="264"/>
                  </a:lnTo>
                  <a:lnTo>
                    <a:pt x="457" y="255"/>
                  </a:lnTo>
                  <a:lnTo>
                    <a:pt x="457" y="246"/>
                  </a:lnTo>
                  <a:lnTo>
                    <a:pt x="450" y="238"/>
                  </a:lnTo>
                  <a:lnTo>
                    <a:pt x="443" y="230"/>
                  </a:lnTo>
                  <a:lnTo>
                    <a:pt x="436" y="222"/>
                  </a:lnTo>
                  <a:lnTo>
                    <a:pt x="430" y="215"/>
                  </a:lnTo>
                  <a:lnTo>
                    <a:pt x="430" y="201"/>
                  </a:lnTo>
                  <a:lnTo>
                    <a:pt x="427" y="193"/>
                  </a:lnTo>
                  <a:lnTo>
                    <a:pt x="423" y="184"/>
                  </a:lnTo>
                  <a:lnTo>
                    <a:pt x="423" y="154"/>
                  </a:lnTo>
                  <a:lnTo>
                    <a:pt x="425" y="125"/>
                  </a:lnTo>
                  <a:lnTo>
                    <a:pt x="426" y="95"/>
                  </a:lnTo>
                  <a:lnTo>
                    <a:pt x="427" y="65"/>
                  </a:lnTo>
                  <a:lnTo>
                    <a:pt x="424" y="65"/>
                  </a:lnTo>
                  <a:lnTo>
                    <a:pt x="423" y="63"/>
                  </a:lnTo>
                  <a:lnTo>
                    <a:pt x="423" y="59"/>
                  </a:lnTo>
                  <a:lnTo>
                    <a:pt x="423" y="56"/>
                  </a:lnTo>
                  <a:lnTo>
                    <a:pt x="413" y="55"/>
                  </a:lnTo>
                  <a:lnTo>
                    <a:pt x="400" y="52"/>
                  </a:lnTo>
                  <a:lnTo>
                    <a:pt x="395" y="48"/>
                  </a:lnTo>
                  <a:lnTo>
                    <a:pt x="389" y="46"/>
                  </a:lnTo>
                  <a:lnTo>
                    <a:pt x="385" y="43"/>
                  </a:lnTo>
                  <a:lnTo>
                    <a:pt x="382" y="39"/>
                  </a:lnTo>
                  <a:lnTo>
                    <a:pt x="369" y="39"/>
                  </a:lnTo>
                  <a:lnTo>
                    <a:pt x="362" y="37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3" y="30"/>
                  </a:lnTo>
                  <a:lnTo>
                    <a:pt x="350" y="30"/>
                  </a:lnTo>
                  <a:lnTo>
                    <a:pt x="348" y="30"/>
                  </a:lnTo>
                  <a:lnTo>
                    <a:pt x="282" y="22"/>
                  </a:lnTo>
                  <a:lnTo>
                    <a:pt x="277" y="17"/>
                  </a:lnTo>
                  <a:lnTo>
                    <a:pt x="273" y="13"/>
                  </a:lnTo>
                  <a:lnTo>
                    <a:pt x="271" y="8"/>
                  </a:lnTo>
                  <a:lnTo>
                    <a:pt x="269" y="4"/>
                  </a:lnTo>
                  <a:lnTo>
                    <a:pt x="260" y="4"/>
                  </a:lnTo>
                  <a:lnTo>
                    <a:pt x="260" y="3"/>
                  </a:lnTo>
                  <a:lnTo>
                    <a:pt x="258" y="1"/>
                  </a:lnTo>
                  <a:lnTo>
                    <a:pt x="257" y="0"/>
                  </a:lnTo>
                  <a:lnTo>
                    <a:pt x="255" y="0"/>
                  </a:lnTo>
                  <a:lnTo>
                    <a:pt x="248" y="1"/>
                  </a:lnTo>
                  <a:lnTo>
                    <a:pt x="237" y="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3" name="Freeform 86">
              <a:extLst>
                <a:ext uri="{FF2B5EF4-FFF2-40B4-BE49-F238E27FC236}">
                  <a16:creationId xmlns:a16="http://schemas.microsoft.com/office/drawing/2014/main" id="{412FD696-F664-4FF5-9E51-4660B0C374A8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489950" y="4541838"/>
              <a:ext cx="93495" cy="104775"/>
            </a:xfrm>
            <a:custGeom>
              <a:avLst/>
              <a:gdLst/>
              <a:ahLst/>
              <a:cxnLst>
                <a:cxn ang="0">
                  <a:pos x="223" y="14"/>
                </a:cxn>
                <a:cxn ang="0">
                  <a:pos x="202" y="53"/>
                </a:cxn>
                <a:cxn ang="0">
                  <a:pos x="194" y="116"/>
                </a:cxn>
                <a:cxn ang="0">
                  <a:pos x="174" y="132"/>
                </a:cxn>
                <a:cxn ang="0">
                  <a:pos x="137" y="150"/>
                </a:cxn>
                <a:cxn ang="0">
                  <a:pos x="101" y="173"/>
                </a:cxn>
                <a:cxn ang="0">
                  <a:pos x="85" y="186"/>
                </a:cxn>
                <a:cxn ang="0">
                  <a:pos x="58" y="201"/>
                </a:cxn>
                <a:cxn ang="0">
                  <a:pos x="39" y="212"/>
                </a:cxn>
                <a:cxn ang="0">
                  <a:pos x="37" y="215"/>
                </a:cxn>
                <a:cxn ang="0">
                  <a:pos x="13" y="249"/>
                </a:cxn>
                <a:cxn ang="0">
                  <a:pos x="4" y="272"/>
                </a:cxn>
                <a:cxn ang="0">
                  <a:pos x="0" y="317"/>
                </a:cxn>
                <a:cxn ang="0">
                  <a:pos x="8" y="408"/>
                </a:cxn>
                <a:cxn ang="0">
                  <a:pos x="32" y="480"/>
                </a:cxn>
                <a:cxn ang="0">
                  <a:pos x="49" y="505"/>
                </a:cxn>
                <a:cxn ang="0">
                  <a:pos x="60" y="529"/>
                </a:cxn>
                <a:cxn ang="0">
                  <a:pos x="70" y="554"/>
                </a:cxn>
                <a:cxn ang="0">
                  <a:pos x="109" y="606"/>
                </a:cxn>
                <a:cxn ang="0">
                  <a:pos x="131" y="626"/>
                </a:cxn>
                <a:cxn ang="0">
                  <a:pos x="158" y="641"/>
                </a:cxn>
                <a:cxn ang="0">
                  <a:pos x="251" y="630"/>
                </a:cxn>
                <a:cxn ang="0">
                  <a:pos x="289" y="602"/>
                </a:cxn>
                <a:cxn ang="0">
                  <a:pos x="303" y="584"/>
                </a:cxn>
                <a:cxn ang="0">
                  <a:pos x="317" y="575"/>
                </a:cxn>
                <a:cxn ang="0">
                  <a:pos x="337" y="565"/>
                </a:cxn>
                <a:cxn ang="0">
                  <a:pos x="352" y="553"/>
                </a:cxn>
                <a:cxn ang="0">
                  <a:pos x="400" y="527"/>
                </a:cxn>
                <a:cxn ang="0">
                  <a:pos x="425" y="517"/>
                </a:cxn>
                <a:cxn ang="0">
                  <a:pos x="448" y="500"/>
                </a:cxn>
                <a:cxn ang="0">
                  <a:pos x="466" y="488"/>
                </a:cxn>
                <a:cxn ang="0">
                  <a:pos x="481" y="469"/>
                </a:cxn>
                <a:cxn ang="0">
                  <a:pos x="497" y="442"/>
                </a:cxn>
                <a:cxn ang="0">
                  <a:pos x="504" y="427"/>
                </a:cxn>
                <a:cxn ang="0">
                  <a:pos x="509" y="383"/>
                </a:cxn>
                <a:cxn ang="0">
                  <a:pos x="497" y="345"/>
                </a:cxn>
                <a:cxn ang="0">
                  <a:pos x="481" y="306"/>
                </a:cxn>
                <a:cxn ang="0">
                  <a:pos x="466" y="270"/>
                </a:cxn>
                <a:cxn ang="0">
                  <a:pos x="450" y="238"/>
                </a:cxn>
                <a:cxn ang="0">
                  <a:pos x="430" y="201"/>
                </a:cxn>
                <a:cxn ang="0">
                  <a:pos x="425" y="125"/>
                </a:cxn>
                <a:cxn ang="0">
                  <a:pos x="423" y="63"/>
                </a:cxn>
                <a:cxn ang="0">
                  <a:pos x="400" y="52"/>
                </a:cxn>
                <a:cxn ang="0">
                  <a:pos x="382" y="39"/>
                </a:cxn>
                <a:cxn ang="0">
                  <a:pos x="356" y="33"/>
                </a:cxn>
                <a:cxn ang="0">
                  <a:pos x="282" y="22"/>
                </a:cxn>
                <a:cxn ang="0">
                  <a:pos x="269" y="4"/>
                </a:cxn>
                <a:cxn ang="0">
                  <a:pos x="257" y="0"/>
                </a:cxn>
              </a:cxnLst>
              <a:rect l="0" t="0" r="r" b="b"/>
              <a:pathLst>
                <a:path w="509" h="641">
                  <a:moveTo>
                    <a:pt x="237" y="4"/>
                  </a:moveTo>
                  <a:lnTo>
                    <a:pt x="233" y="6"/>
                  </a:lnTo>
                  <a:lnTo>
                    <a:pt x="227" y="9"/>
                  </a:lnTo>
                  <a:lnTo>
                    <a:pt x="223" y="14"/>
                  </a:lnTo>
                  <a:lnTo>
                    <a:pt x="218" y="18"/>
                  </a:lnTo>
                  <a:lnTo>
                    <a:pt x="209" y="27"/>
                  </a:lnTo>
                  <a:lnTo>
                    <a:pt x="203" y="35"/>
                  </a:lnTo>
                  <a:lnTo>
                    <a:pt x="202" y="53"/>
                  </a:lnTo>
                  <a:lnTo>
                    <a:pt x="200" y="73"/>
                  </a:lnTo>
                  <a:lnTo>
                    <a:pt x="198" y="93"/>
                  </a:lnTo>
                  <a:lnTo>
                    <a:pt x="198" y="114"/>
                  </a:lnTo>
                  <a:lnTo>
                    <a:pt x="194" y="116"/>
                  </a:lnTo>
                  <a:lnTo>
                    <a:pt x="189" y="119"/>
                  </a:lnTo>
                  <a:lnTo>
                    <a:pt x="185" y="128"/>
                  </a:lnTo>
                  <a:lnTo>
                    <a:pt x="180" y="129"/>
                  </a:lnTo>
                  <a:lnTo>
                    <a:pt x="174" y="132"/>
                  </a:lnTo>
                  <a:lnTo>
                    <a:pt x="167" y="136"/>
                  </a:lnTo>
                  <a:lnTo>
                    <a:pt x="162" y="140"/>
                  </a:lnTo>
                  <a:lnTo>
                    <a:pt x="149" y="140"/>
                  </a:lnTo>
                  <a:lnTo>
                    <a:pt x="137" y="150"/>
                  </a:lnTo>
                  <a:lnTo>
                    <a:pt x="121" y="159"/>
                  </a:lnTo>
                  <a:lnTo>
                    <a:pt x="113" y="163"/>
                  </a:lnTo>
                  <a:lnTo>
                    <a:pt x="107" y="168"/>
                  </a:lnTo>
                  <a:lnTo>
                    <a:pt x="101" y="173"/>
                  </a:lnTo>
                  <a:lnTo>
                    <a:pt x="97" y="180"/>
                  </a:lnTo>
                  <a:lnTo>
                    <a:pt x="93" y="180"/>
                  </a:lnTo>
                  <a:lnTo>
                    <a:pt x="89" y="182"/>
                  </a:lnTo>
                  <a:lnTo>
                    <a:pt x="85" y="186"/>
                  </a:lnTo>
                  <a:lnTo>
                    <a:pt x="83" y="189"/>
                  </a:lnTo>
                  <a:lnTo>
                    <a:pt x="74" y="191"/>
                  </a:lnTo>
                  <a:lnTo>
                    <a:pt x="66" y="193"/>
                  </a:lnTo>
                  <a:lnTo>
                    <a:pt x="58" y="201"/>
                  </a:lnTo>
                  <a:lnTo>
                    <a:pt x="49" y="210"/>
                  </a:lnTo>
                  <a:lnTo>
                    <a:pt x="43" y="211"/>
                  </a:lnTo>
                  <a:lnTo>
                    <a:pt x="40" y="211"/>
                  </a:lnTo>
                  <a:lnTo>
                    <a:pt x="39" y="212"/>
                  </a:lnTo>
                  <a:lnTo>
                    <a:pt x="39" y="212"/>
                  </a:lnTo>
                  <a:lnTo>
                    <a:pt x="39" y="213"/>
                  </a:lnTo>
                  <a:lnTo>
                    <a:pt x="39" y="215"/>
                  </a:lnTo>
                  <a:lnTo>
                    <a:pt x="37" y="215"/>
                  </a:lnTo>
                  <a:lnTo>
                    <a:pt x="35" y="215"/>
                  </a:lnTo>
                  <a:lnTo>
                    <a:pt x="31" y="224"/>
                  </a:lnTo>
                  <a:lnTo>
                    <a:pt x="22" y="236"/>
                  </a:lnTo>
                  <a:lnTo>
                    <a:pt x="13" y="249"/>
                  </a:lnTo>
                  <a:lnTo>
                    <a:pt x="8" y="255"/>
                  </a:lnTo>
                  <a:lnTo>
                    <a:pt x="8" y="268"/>
                  </a:lnTo>
                  <a:lnTo>
                    <a:pt x="6" y="269"/>
                  </a:lnTo>
                  <a:lnTo>
                    <a:pt x="4" y="272"/>
                  </a:lnTo>
                  <a:lnTo>
                    <a:pt x="2" y="277"/>
                  </a:lnTo>
                  <a:lnTo>
                    <a:pt x="1" y="283"/>
                  </a:lnTo>
                  <a:lnTo>
                    <a:pt x="0" y="299"/>
                  </a:lnTo>
                  <a:lnTo>
                    <a:pt x="0" y="317"/>
                  </a:lnTo>
                  <a:lnTo>
                    <a:pt x="3" y="355"/>
                  </a:lnTo>
                  <a:lnTo>
                    <a:pt x="4" y="378"/>
                  </a:lnTo>
                  <a:lnTo>
                    <a:pt x="5" y="391"/>
                  </a:lnTo>
                  <a:lnTo>
                    <a:pt x="8" y="408"/>
                  </a:lnTo>
                  <a:lnTo>
                    <a:pt x="13" y="426"/>
                  </a:lnTo>
                  <a:lnTo>
                    <a:pt x="18" y="445"/>
                  </a:lnTo>
                  <a:lnTo>
                    <a:pt x="25" y="463"/>
                  </a:lnTo>
                  <a:lnTo>
                    <a:pt x="32" y="480"/>
                  </a:lnTo>
                  <a:lnTo>
                    <a:pt x="36" y="488"/>
                  </a:lnTo>
                  <a:lnTo>
                    <a:pt x="40" y="495"/>
                  </a:lnTo>
                  <a:lnTo>
                    <a:pt x="44" y="500"/>
                  </a:lnTo>
                  <a:lnTo>
                    <a:pt x="49" y="505"/>
                  </a:lnTo>
                  <a:lnTo>
                    <a:pt x="50" y="511"/>
                  </a:lnTo>
                  <a:lnTo>
                    <a:pt x="52" y="517"/>
                  </a:lnTo>
                  <a:lnTo>
                    <a:pt x="55" y="524"/>
                  </a:lnTo>
                  <a:lnTo>
                    <a:pt x="60" y="529"/>
                  </a:lnTo>
                  <a:lnTo>
                    <a:pt x="63" y="535"/>
                  </a:lnTo>
                  <a:lnTo>
                    <a:pt x="66" y="540"/>
                  </a:lnTo>
                  <a:lnTo>
                    <a:pt x="70" y="547"/>
                  </a:lnTo>
                  <a:lnTo>
                    <a:pt x="70" y="554"/>
                  </a:lnTo>
                  <a:lnTo>
                    <a:pt x="81" y="566"/>
                  </a:lnTo>
                  <a:lnTo>
                    <a:pt x="96" y="586"/>
                  </a:lnTo>
                  <a:lnTo>
                    <a:pt x="102" y="597"/>
                  </a:lnTo>
                  <a:lnTo>
                    <a:pt x="109" y="606"/>
                  </a:lnTo>
                  <a:lnTo>
                    <a:pt x="112" y="614"/>
                  </a:lnTo>
                  <a:lnTo>
                    <a:pt x="114" y="620"/>
                  </a:lnTo>
                  <a:lnTo>
                    <a:pt x="122" y="622"/>
                  </a:lnTo>
                  <a:lnTo>
                    <a:pt x="131" y="626"/>
                  </a:lnTo>
                  <a:lnTo>
                    <a:pt x="140" y="632"/>
                  </a:lnTo>
                  <a:lnTo>
                    <a:pt x="145" y="636"/>
                  </a:lnTo>
                  <a:lnTo>
                    <a:pt x="151" y="639"/>
                  </a:lnTo>
                  <a:lnTo>
                    <a:pt x="158" y="641"/>
                  </a:lnTo>
                  <a:lnTo>
                    <a:pt x="224" y="641"/>
                  </a:lnTo>
                  <a:lnTo>
                    <a:pt x="229" y="640"/>
                  </a:lnTo>
                  <a:lnTo>
                    <a:pt x="238" y="635"/>
                  </a:lnTo>
                  <a:lnTo>
                    <a:pt x="251" y="630"/>
                  </a:lnTo>
                  <a:lnTo>
                    <a:pt x="263" y="622"/>
                  </a:lnTo>
                  <a:lnTo>
                    <a:pt x="274" y="614"/>
                  </a:lnTo>
                  <a:lnTo>
                    <a:pt x="285" y="606"/>
                  </a:lnTo>
                  <a:lnTo>
                    <a:pt x="289" y="602"/>
                  </a:lnTo>
                  <a:lnTo>
                    <a:pt x="292" y="599"/>
                  </a:lnTo>
                  <a:lnTo>
                    <a:pt x="294" y="595"/>
                  </a:lnTo>
                  <a:lnTo>
                    <a:pt x="294" y="593"/>
                  </a:lnTo>
                  <a:lnTo>
                    <a:pt x="303" y="584"/>
                  </a:lnTo>
                  <a:lnTo>
                    <a:pt x="308" y="583"/>
                  </a:lnTo>
                  <a:lnTo>
                    <a:pt x="312" y="582"/>
                  </a:lnTo>
                  <a:lnTo>
                    <a:pt x="315" y="578"/>
                  </a:lnTo>
                  <a:lnTo>
                    <a:pt x="317" y="575"/>
                  </a:lnTo>
                  <a:lnTo>
                    <a:pt x="327" y="573"/>
                  </a:lnTo>
                  <a:lnTo>
                    <a:pt x="334" y="571"/>
                  </a:lnTo>
                  <a:lnTo>
                    <a:pt x="334" y="567"/>
                  </a:lnTo>
                  <a:lnTo>
                    <a:pt x="337" y="565"/>
                  </a:lnTo>
                  <a:lnTo>
                    <a:pt x="340" y="563"/>
                  </a:lnTo>
                  <a:lnTo>
                    <a:pt x="343" y="562"/>
                  </a:lnTo>
                  <a:lnTo>
                    <a:pt x="346" y="558"/>
                  </a:lnTo>
                  <a:lnTo>
                    <a:pt x="352" y="553"/>
                  </a:lnTo>
                  <a:lnTo>
                    <a:pt x="363" y="546"/>
                  </a:lnTo>
                  <a:lnTo>
                    <a:pt x="376" y="539"/>
                  </a:lnTo>
                  <a:lnTo>
                    <a:pt x="388" y="533"/>
                  </a:lnTo>
                  <a:lnTo>
                    <a:pt x="400" y="527"/>
                  </a:lnTo>
                  <a:lnTo>
                    <a:pt x="410" y="524"/>
                  </a:lnTo>
                  <a:lnTo>
                    <a:pt x="418" y="523"/>
                  </a:lnTo>
                  <a:lnTo>
                    <a:pt x="421" y="519"/>
                  </a:lnTo>
                  <a:lnTo>
                    <a:pt x="425" y="517"/>
                  </a:lnTo>
                  <a:lnTo>
                    <a:pt x="429" y="515"/>
                  </a:lnTo>
                  <a:lnTo>
                    <a:pt x="435" y="514"/>
                  </a:lnTo>
                  <a:lnTo>
                    <a:pt x="444" y="500"/>
                  </a:lnTo>
                  <a:lnTo>
                    <a:pt x="448" y="500"/>
                  </a:lnTo>
                  <a:lnTo>
                    <a:pt x="453" y="498"/>
                  </a:lnTo>
                  <a:lnTo>
                    <a:pt x="456" y="496"/>
                  </a:lnTo>
                  <a:lnTo>
                    <a:pt x="459" y="494"/>
                  </a:lnTo>
                  <a:lnTo>
                    <a:pt x="466" y="488"/>
                  </a:lnTo>
                  <a:lnTo>
                    <a:pt x="475" y="484"/>
                  </a:lnTo>
                  <a:lnTo>
                    <a:pt x="475" y="479"/>
                  </a:lnTo>
                  <a:lnTo>
                    <a:pt x="477" y="475"/>
                  </a:lnTo>
                  <a:lnTo>
                    <a:pt x="481" y="469"/>
                  </a:lnTo>
                  <a:lnTo>
                    <a:pt x="484" y="463"/>
                  </a:lnTo>
                  <a:lnTo>
                    <a:pt x="492" y="455"/>
                  </a:lnTo>
                  <a:lnTo>
                    <a:pt x="497" y="448"/>
                  </a:lnTo>
                  <a:lnTo>
                    <a:pt x="497" y="442"/>
                  </a:lnTo>
                  <a:lnTo>
                    <a:pt x="500" y="436"/>
                  </a:lnTo>
                  <a:lnTo>
                    <a:pt x="501" y="432"/>
                  </a:lnTo>
                  <a:lnTo>
                    <a:pt x="502" y="429"/>
                  </a:lnTo>
                  <a:lnTo>
                    <a:pt x="504" y="427"/>
                  </a:lnTo>
                  <a:lnTo>
                    <a:pt x="505" y="426"/>
                  </a:lnTo>
                  <a:lnTo>
                    <a:pt x="505" y="400"/>
                  </a:lnTo>
                  <a:lnTo>
                    <a:pt x="507" y="392"/>
                  </a:lnTo>
                  <a:lnTo>
                    <a:pt x="509" y="383"/>
                  </a:lnTo>
                  <a:lnTo>
                    <a:pt x="507" y="373"/>
                  </a:lnTo>
                  <a:lnTo>
                    <a:pt x="505" y="363"/>
                  </a:lnTo>
                  <a:lnTo>
                    <a:pt x="502" y="354"/>
                  </a:lnTo>
                  <a:lnTo>
                    <a:pt x="497" y="345"/>
                  </a:lnTo>
                  <a:lnTo>
                    <a:pt x="493" y="338"/>
                  </a:lnTo>
                  <a:lnTo>
                    <a:pt x="488" y="334"/>
                  </a:lnTo>
                  <a:lnTo>
                    <a:pt x="488" y="316"/>
                  </a:lnTo>
                  <a:lnTo>
                    <a:pt x="481" y="306"/>
                  </a:lnTo>
                  <a:lnTo>
                    <a:pt x="474" y="293"/>
                  </a:lnTo>
                  <a:lnTo>
                    <a:pt x="471" y="285"/>
                  </a:lnTo>
                  <a:lnTo>
                    <a:pt x="468" y="278"/>
                  </a:lnTo>
                  <a:lnTo>
                    <a:pt x="466" y="270"/>
                  </a:lnTo>
                  <a:lnTo>
                    <a:pt x="466" y="264"/>
                  </a:lnTo>
                  <a:lnTo>
                    <a:pt x="457" y="255"/>
                  </a:lnTo>
                  <a:lnTo>
                    <a:pt x="457" y="246"/>
                  </a:lnTo>
                  <a:lnTo>
                    <a:pt x="450" y="238"/>
                  </a:lnTo>
                  <a:lnTo>
                    <a:pt x="443" y="230"/>
                  </a:lnTo>
                  <a:lnTo>
                    <a:pt x="436" y="222"/>
                  </a:lnTo>
                  <a:lnTo>
                    <a:pt x="430" y="215"/>
                  </a:lnTo>
                  <a:lnTo>
                    <a:pt x="430" y="201"/>
                  </a:lnTo>
                  <a:lnTo>
                    <a:pt x="427" y="193"/>
                  </a:lnTo>
                  <a:lnTo>
                    <a:pt x="423" y="184"/>
                  </a:lnTo>
                  <a:lnTo>
                    <a:pt x="423" y="154"/>
                  </a:lnTo>
                  <a:lnTo>
                    <a:pt x="425" y="125"/>
                  </a:lnTo>
                  <a:lnTo>
                    <a:pt x="426" y="95"/>
                  </a:lnTo>
                  <a:lnTo>
                    <a:pt x="427" y="65"/>
                  </a:lnTo>
                  <a:lnTo>
                    <a:pt x="424" y="65"/>
                  </a:lnTo>
                  <a:lnTo>
                    <a:pt x="423" y="63"/>
                  </a:lnTo>
                  <a:lnTo>
                    <a:pt x="423" y="59"/>
                  </a:lnTo>
                  <a:lnTo>
                    <a:pt x="423" y="56"/>
                  </a:lnTo>
                  <a:lnTo>
                    <a:pt x="413" y="55"/>
                  </a:lnTo>
                  <a:lnTo>
                    <a:pt x="400" y="52"/>
                  </a:lnTo>
                  <a:lnTo>
                    <a:pt x="395" y="48"/>
                  </a:lnTo>
                  <a:lnTo>
                    <a:pt x="389" y="46"/>
                  </a:lnTo>
                  <a:lnTo>
                    <a:pt x="385" y="43"/>
                  </a:lnTo>
                  <a:lnTo>
                    <a:pt x="382" y="39"/>
                  </a:lnTo>
                  <a:lnTo>
                    <a:pt x="369" y="39"/>
                  </a:lnTo>
                  <a:lnTo>
                    <a:pt x="362" y="37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3" y="30"/>
                  </a:lnTo>
                  <a:lnTo>
                    <a:pt x="350" y="30"/>
                  </a:lnTo>
                  <a:lnTo>
                    <a:pt x="348" y="30"/>
                  </a:lnTo>
                  <a:lnTo>
                    <a:pt x="282" y="22"/>
                  </a:lnTo>
                  <a:lnTo>
                    <a:pt x="277" y="17"/>
                  </a:lnTo>
                  <a:lnTo>
                    <a:pt x="273" y="13"/>
                  </a:lnTo>
                  <a:lnTo>
                    <a:pt x="271" y="8"/>
                  </a:lnTo>
                  <a:lnTo>
                    <a:pt x="269" y="4"/>
                  </a:lnTo>
                  <a:lnTo>
                    <a:pt x="260" y="4"/>
                  </a:lnTo>
                  <a:lnTo>
                    <a:pt x="260" y="3"/>
                  </a:lnTo>
                  <a:lnTo>
                    <a:pt x="258" y="1"/>
                  </a:lnTo>
                  <a:lnTo>
                    <a:pt x="257" y="0"/>
                  </a:lnTo>
                  <a:lnTo>
                    <a:pt x="255" y="0"/>
                  </a:lnTo>
                  <a:lnTo>
                    <a:pt x="248" y="1"/>
                  </a:lnTo>
                  <a:lnTo>
                    <a:pt x="237" y="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4" name="Freeform 87">
              <a:extLst>
                <a:ext uri="{FF2B5EF4-FFF2-40B4-BE49-F238E27FC236}">
                  <a16:creationId xmlns:a16="http://schemas.microsoft.com/office/drawing/2014/main" id="{ACB74762-2C21-4018-A319-75AACA707E83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342313" y="4557713"/>
              <a:ext cx="117794" cy="53975"/>
            </a:xfrm>
            <a:custGeom>
              <a:avLst/>
              <a:gdLst/>
              <a:ahLst/>
              <a:cxnLst>
                <a:cxn ang="0">
                  <a:pos x="269" y="21"/>
                </a:cxn>
                <a:cxn ang="0">
                  <a:pos x="252" y="35"/>
                </a:cxn>
                <a:cxn ang="0">
                  <a:pos x="248" y="80"/>
                </a:cxn>
                <a:cxn ang="0">
                  <a:pos x="254" y="106"/>
                </a:cxn>
                <a:cxn ang="0">
                  <a:pos x="260" y="112"/>
                </a:cxn>
                <a:cxn ang="0">
                  <a:pos x="264" y="167"/>
                </a:cxn>
                <a:cxn ang="0">
                  <a:pos x="241" y="192"/>
                </a:cxn>
                <a:cxn ang="0">
                  <a:pos x="175" y="199"/>
                </a:cxn>
                <a:cxn ang="0">
                  <a:pos x="115" y="206"/>
                </a:cxn>
                <a:cxn ang="0">
                  <a:pos x="95" y="213"/>
                </a:cxn>
                <a:cxn ang="0">
                  <a:pos x="86" y="218"/>
                </a:cxn>
                <a:cxn ang="0">
                  <a:pos x="68" y="224"/>
                </a:cxn>
                <a:cxn ang="0">
                  <a:pos x="55" y="228"/>
                </a:cxn>
                <a:cxn ang="0">
                  <a:pos x="34" y="244"/>
                </a:cxn>
                <a:cxn ang="0">
                  <a:pos x="24" y="251"/>
                </a:cxn>
                <a:cxn ang="0">
                  <a:pos x="13" y="265"/>
                </a:cxn>
                <a:cxn ang="0">
                  <a:pos x="3" y="274"/>
                </a:cxn>
                <a:cxn ang="0">
                  <a:pos x="9" y="304"/>
                </a:cxn>
                <a:cxn ang="0">
                  <a:pos x="33" y="323"/>
                </a:cxn>
                <a:cxn ang="0">
                  <a:pos x="120" y="328"/>
                </a:cxn>
                <a:cxn ang="0">
                  <a:pos x="152" y="323"/>
                </a:cxn>
                <a:cxn ang="0">
                  <a:pos x="175" y="312"/>
                </a:cxn>
                <a:cxn ang="0">
                  <a:pos x="187" y="298"/>
                </a:cxn>
                <a:cxn ang="0">
                  <a:pos x="204" y="287"/>
                </a:cxn>
                <a:cxn ang="0">
                  <a:pos x="216" y="270"/>
                </a:cxn>
                <a:cxn ang="0">
                  <a:pos x="229" y="255"/>
                </a:cxn>
                <a:cxn ang="0">
                  <a:pos x="238" y="242"/>
                </a:cxn>
                <a:cxn ang="0">
                  <a:pos x="248" y="235"/>
                </a:cxn>
                <a:cxn ang="0">
                  <a:pos x="288" y="241"/>
                </a:cxn>
                <a:cxn ang="0">
                  <a:pos x="308" y="253"/>
                </a:cxn>
                <a:cxn ang="0">
                  <a:pos x="320" y="274"/>
                </a:cxn>
                <a:cxn ang="0">
                  <a:pos x="346" y="307"/>
                </a:cxn>
                <a:cxn ang="0">
                  <a:pos x="372" y="325"/>
                </a:cxn>
                <a:cxn ang="0">
                  <a:pos x="414" y="325"/>
                </a:cxn>
                <a:cxn ang="0">
                  <a:pos x="437" y="322"/>
                </a:cxn>
                <a:cxn ang="0">
                  <a:pos x="457" y="311"/>
                </a:cxn>
                <a:cxn ang="0">
                  <a:pos x="479" y="304"/>
                </a:cxn>
                <a:cxn ang="0">
                  <a:pos x="501" y="292"/>
                </a:cxn>
                <a:cxn ang="0">
                  <a:pos x="548" y="277"/>
                </a:cxn>
                <a:cxn ang="0">
                  <a:pos x="578" y="267"/>
                </a:cxn>
                <a:cxn ang="0">
                  <a:pos x="598" y="260"/>
                </a:cxn>
                <a:cxn ang="0">
                  <a:pos x="603" y="251"/>
                </a:cxn>
                <a:cxn ang="0">
                  <a:pos x="610" y="248"/>
                </a:cxn>
                <a:cxn ang="0">
                  <a:pos x="617" y="221"/>
                </a:cxn>
                <a:cxn ang="0">
                  <a:pos x="620" y="211"/>
                </a:cxn>
                <a:cxn ang="0">
                  <a:pos x="623" y="173"/>
                </a:cxn>
                <a:cxn ang="0">
                  <a:pos x="625" y="153"/>
                </a:cxn>
                <a:cxn ang="0">
                  <a:pos x="629" y="142"/>
                </a:cxn>
                <a:cxn ang="0">
                  <a:pos x="634" y="123"/>
                </a:cxn>
                <a:cxn ang="0">
                  <a:pos x="639" y="115"/>
                </a:cxn>
                <a:cxn ang="0">
                  <a:pos x="645" y="81"/>
                </a:cxn>
                <a:cxn ang="0">
                  <a:pos x="618" y="40"/>
                </a:cxn>
                <a:cxn ang="0">
                  <a:pos x="594" y="32"/>
                </a:cxn>
                <a:cxn ang="0">
                  <a:pos x="519" y="33"/>
                </a:cxn>
                <a:cxn ang="0">
                  <a:pos x="472" y="37"/>
                </a:cxn>
                <a:cxn ang="0">
                  <a:pos x="436" y="26"/>
                </a:cxn>
                <a:cxn ang="0">
                  <a:pos x="394" y="8"/>
                </a:cxn>
                <a:cxn ang="0">
                  <a:pos x="375" y="4"/>
                </a:cxn>
                <a:cxn ang="0">
                  <a:pos x="363" y="1"/>
                </a:cxn>
                <a:cxn ang="0">
                  <a:pos x="343" y="4"/>
                </a:cxn>
                <a:cxn ang="0">
                  <a:pos x="337" y="14"/>
                </a:cxn>
                <a:cxn ang="0">
                  <a:pos x="327" y="17"/>
                </a:cxn>
                <a:cxn ang="0">
                  <a:pos x="312" y="15"/>
                </a:cxn>
              </a:cxnLst>
              <a:rect l="0" t="0" r="r" b="b"/>
              <a:pathLst>
                <a:path w="645" h="330">
                  <a:moveTo>
                    <a:pt x="299" y="14"/>
                  </a:moveTo>
                  <a:lnTo>
                    <a:pt x="273" y="14"/>
                  </a:lnTo>
                  <a:lnTo>
                    <a:pt x="269" y="21"/>
                  </a:lnTo>
                  <a:lnTo>
                    <a:pt x="262" y="24"/>
                  </a:lnTo>
                  <a:lnTo>
                    <a:pt x="257" y="26"/>
                  </a:lnTo>
                  <a:lnTo>
                    <a:pt x="252" y="35"/>
                  </a:lnTo>
                  <a:lnTo>
                    <a:pt x="243" y="38"/>
                  </a:lnTo>
                  <a:lnTo>
                    <a:pt x="244" y="55"/>
                  </a:lnTo>
                  <a:lnTo>
                    <a:pt x="248" y="80"/>
                  </a:lnTo>
                  <a:lnTo>
                    <a:pt x="250" y="92"/>
                  </a:lnTo>
                  <a:lnTo>
                    <a:pt x="252" y="102"/>
                  </a:lnTo>
                  <a:lnTo>
                    <a:pt x="254" y="106"/>
                  </a:lnTo>
                  <a:lnTo>
                    <a:pt x="257" y="109"/>
                  </a:lnTo>
                  <a:lnTo>
                    <a:pt x="258" y="111"/>
                  </a:lnTo>
                  <a:lnTo>
                    <a:pt x="260" y="112"/>
                  </a:lnTo>
                  <a:lnTo>
                    <a:pt x="261" y="129"/>
                  </a:lnTo>
                  <a:lnTo>
                    <a:pt x="262" y="148"/>
                  </a:lnTo>
                  <a:lnTo>
                    <a:pt x="264" y="167"/>
                  </a:lnTo>
                  <a:lnTo>
                    <a:pt x="264" y="184"/>
                  </a:lnTo>
                  <a:lnTo>
                    <a:pt x="257" y="184"/>
                  </a:lnTo>
                  <a:lnTo>
                    <a:pt x="241" y="192"/>
                  </a:lnTo>
                  <a:lnTo>
                    <a:pt x="226" y="201"/>
                  </a:lnTo>
                  <a:lnTo>
                    <a:pt x="201" y="200"/>
                  </a:lnTo>
                  <a:lnTo>
                    <a:pt x="175" y="199"/>
                  </a:lnTo>
                  <a:lnTo>
                    <a:pt x="149" y="198"/>
                  </a:lnTo>
                  <a:lnTo>
                    <a:pt x="124" y="197"/>
                  </a:lnTo>
                  <a:lnTo>
                    <a:pt x="115" y="206"/>
                  </a:lnTo>
                  <a:lnTo>
                    <a:pt x="103" y="206"/>
                  </a:lnTo>
                  <a:lnTo>
                    <a:pt x="98" y="213"/>
                  </a:lnTo>
                  <a:lnTo>
                    <a:pt x="95" y="213"/>
                  </a:lnTo>
                  <a:lnTo>
                    <a:pt x="90" y="215"/>
                  </a:lnTo>
                  <a:lnTo>
                    <a:pt x="87" y="216"/>
                  </a:lnTo>
                  <a:lnTo>
                    <a:pt x="86" y="218"/>
                  </a:lnTo>
                  <a:lnTo>
                    <a:pt x="72" y="218"/>
                  </a:lnTo>
                  <a:lnTo>
                    <a:pt x="70" y="221"/>
                  </a:lnTo>
                  <a:lnTo>
                    <a:pt x="68" y="224"/>
                  </a:lnTo>
                  <a:lnTo>
                    <a:pt x="65" y="225"/>
                  </a:lnTo>
                  <a:lnTo>
                    <a:pt x="61" y="226"/>
                  </a:lnTo>
                  <a:lnTo>
                    <a:pt x="55" y="228"/>
                  </a:lnTo>
                  <a:lnTo>
                    <a:pt x="47" y="231"/>
                  </a:lnTo>
                  <a:lnTo>
                    <a:pt x="40" y="236"/>
                  </a:lnTo>
                  <a:lnTo>
                    <a:pt x="34" y="244"/>
                  </a:lnTo>
                  <a:lnTo>
                    <a:pt x="31" y="247"/>
                  </a:lnTo>
                  <a:lnTo>
                    <a:pt x="28" y="249"/>
                  </a:lnTo>
                  <a:lnTo>
                    <a:pt x="24" y="251"/>
                  </a:lnTo>
                  <a:lnTo>
                    <a:pt x="21" y="253"/>
                  </a:lnTo>
                  <a:lnTo>
                    <a:pt x="17" y="257"/>
                  </a:lnTo>
                  <a:lnTo>
                    <a:pt x="13" y="265"/>
                  </a:lnTo>
                  <a:lnTo>
                    <a:pt x="10" y="266"/>
                  </a:lnTo>
                  <a:lnTo>
                    <a:pt x="7" y="270"/>
                  </a:lnTo>
                  <a:lnTo>
                    <a:pt x="3" y="274"/>
                  </a:lnTo>
                  <a:lnTo>
                    <a:pt x="0" y="278"/>
                  </a:lnTo>
                  <a:lnTo>
                    <a:pt x="0" y="295"/>
                  </a:lnTo>
                  <a:lnTo>
                    <a:pt x="9" y="304"/>
                  </a:lnTo>
                  <a:lnTo>
                    <a:pt x="13" y="307"/>
                  </a:lnTo>
                  <a:lnTo>
                    <a:pt x="23" y="315"/>
                  </a:lnTo>
                  <a:lnTo>
                    <a:pt x="33" y="323"/>
                  </a:lnTo>
                  <a:lnTo>
                    <a:pt x="39" y="330"/>
                  </a:lnTo>
                  <a:lnTo>
                    <a:pt x="76" y="330"/>
                  </a:lnTo>
                  <a:lnTo>
                    <a:pt x="120" y="328"/>
                  </a:lnTo>
                  <a:lnTo>
                    <a:pt x="132" y="327"/>
                  </a:lnTo>
                  <a:lnTo>
                    <a:pt x="143" y="325"/>
                  </a:lnTo>
                  <a:lnTo>
                    <a:pt x="152" y="323"/>
                  </a:lnTo>
                  <a:lnTo>
                    <a:pt x="161" y="321"/>
                  </a:lnTo>
                  <a:lnTo>
                    <a:pt x="168" y="316"/>
                  </a:lnTo>
                  <a:lnTo>
                    <a:pt x="175" y="312"/>
                  </a:lnTo>
                  <a:lnTo>
                    <a:pt x="181" y="306"/>
                  </a:lnTo>
                  <a:lnTo>
                    <a:pt x="184" y="299"/>
                  </a:lnTo>
                  <a:lnTo>
                    <a:pt x="187" y="298"/>
                  </a:lnTo>
                  <a:lnTo>
                    <a:pt x="193" y="296"/>
                  </a:lnTo>
                  <a:lnTo>
                    <a:pt x="199" y="292"/>
                  </a:lnTo>
                  <a:lnTo>
                    <a:pt x="204" y="287"/>
                  </a:lnTo>
                  <a:lnTo>
                    <a:pt x="210" y="282"/>
                  </a:lnTo>
                  <a:lnTo>
                    <a:pt x="214" y="276"/>
                  </a:lnTo>
                  <a:lnTo>
                    <a:pt x="216" y="270"/>
                  </a:lnTo>
                  <a:lnTo>
                    <a:pt x="217" y="265"/>
                  </a:lnTo>
                  <a:lnTo>
                    <a:pt x="226" y="260"/>
                  </a:lnTo>
                  <a:lnTo>
                    <a:pt x="229" y="255"/>
                  </a:lnTo>
                  <a:lnTo>
                    <a:pt x="231" y="248"/>
                  </a:lnTo>
                  <a:lnTo>
                    <a:pt x="235" y="244"/>
                  </a:lnTo>
                  <a:lnTo>
                    <a:pt x="238" y="242"/>
                  </a:lnTo>
                  <a:lnTo>
                    <a:pt x="241" y="241"/>
                  </a:lnTo>
                  <a:lnTo>
                    <a:pt x="244" y="238"/>
                  </a:lnTo>
                  <a:lnTo>
                    <a:pt x="248" y="235"/>
                  </a:lnTo>
                  <a:lnTo>
                    <a:pt x="269" y="235"/>
                  </a:lnTo>
                  <a:lnTo>
                    <a:pt x="277" y="237"/>
                  </a:lnTo>
                  <a:lnTo>
                    <a:pt x="288" y="241"/>
                  </a:lnTo>
                  <a:lnTo>
                    <a:pt x="298" y="246"/>
                  </a:lnTo>
                  <a:lnTo>
                    <a:pt x="303" y="248"/>
                  </a:lnTo>
                  <a:lnTo>
                    <a:pt x="308" y="253"/>
                  </a:lnTo>
                  <a:lnTo>
                    <a:pt x="311" y="260"/>
                  </a:lnTo>
                  <a:lnTo>
                    <a:pt x="320" y="265"/>
                  </a:lnTo>
                  <a:lnTo>
                    <a:pt x="320" y="274"/>
                  </a:lnTo>
                  <a:lnTo>
                    <a:pt x="327" y="285"/>
                  </a:lnTo>
                  <a:lnTo>
                    <a:pt x="334" y="299"/>
                  </a:lnTo>
                  <a:lnTo>
                    <a:pt x="346" y="307"/>
                  </a:lnTo>
                  <a:lnTo>
                    <a:pt x="355" y="316"/>
                  </a:lnTo>
                  <a:lnTo>
                    <a:pt x="363" y="316"/>
                  </a:lnTo>
                  <a:lnTo>
                    <a:pt x="372" y="325"/>
                  </a:lnTo>
                  <a:lnTo>
                    <a:pt x="385" y="325"/>
                  </a:lnTo>
                  <a:lnTo>
                    <a:pt x="399" y="325"/>
                  </a:lnTo>
                  <a:lnTo>
                    <a:pt x="414" y="325"/>
                  </a:lnTo>
                  <a:lnTo>
                    <a:pt x="427" y="325"/>
                  </a:lnTo>
                  <a:lnTo>
                    <a:pt x="432" y="324"/>
                  </a:lnTo>
                  <a:lnTo>
                    <a:pt x="437" y="322"/>
                  </a:lnTo>
                  <a:lnTo>
                    <a:pt x="444" y="318"/>
                  </a:lnTo>
                  <a:lnTo>
                    <a:pt x="451" y="314"/>
                  </a:lnTo>
                  <a:lnTo>
                    <a:pt x="457" y="311"/>
                  </a:lnTo>
                  <a:lnTo>
                    <a:pt x="465" y="307"/>
                  </a:lnTo>
                  <a:lnTo>
                    <a:pt x="472" y="304"/>
                  </a:lnTo>
                  <a:lnTo>
                    <a:pt x="479" y="304"/>
                  </a:lnTo>
                  <a:lnTo>
                    <a:pt x="485" y="301"/>
                  </a:lnTo>
                  <a:lnTo>
                    <a:pt x="493" y="296"/>
                  </a:lnTo>
                  <a:lnTo>
                    <a:pt x="501" y="292"/>
                  </a:lnTo>
                  <a:lnTo>
                    <a:pt x="508" y="286"/>
                  </a:lnTo>
                  <a:lnTo>
                    <a:pt x="523" y="284"/>
                  </a:lnTo>
                  <a:lnTo>
                    <a:pt x="548" y="277"/>
                  </a:lnTo>
                  <a:lnTo>
                    <a:pt x="560" y="274"/>
                  </a:lnTo>
                  <a:lnTo>
                    <a:pt x="570" y="270"/>
                  </a:lnTo>
                  <a:lnTo>
                    <a:pt x="578" y="267"/>
                  </a:lnTo>
                  <a:lnTo>
                    <a:pt x="580" y="265"/>
                  </a:lnTo>
                  <a:lnTo>
                    <a:pt x="589" y="263"/>
                  </a:lnTo>
                  <a:lnTo>
                    <a:pt x="598" y="260"/>
                  </a:lnTo>
                  <a:lnTo>
                    <a:pt x="598" y="257"/>
                  </a:lnTo>
                  <a:lnTo>
                    <a:pt x="601" y="253"/>
                  </a:lnTo>
                  <a:lnTo>
                    <a:pt x="603" y="251"/>
                  </a:lnTo>
                  <a:lnTo>
                    <a:pt x="605" y="249"/>
                  </a:lnTo>
                  <a:lnTo>
                    <a:pt x="607" y="248"/>
                  </a:lnTo>
                  <a:lnTo>
                    <a:pt x="610" y="248"/>
                  </a:lnTo>
                  <a:lnTo>
                    <a:pt x="613" y="235"/>
                  </a:lnTo>
                  <a:lnTo>
                    <a:pt x="615" y="222"/>
                  </a:lnTo>
                  <a:lnTo>
                    <a:pt x="617" y="221"/>
                  </a:lnTo>
                  <a:lnTo>
                    <a:pt x="618" y="219"/>
                  </a:lnTo>
                  <a:lnTo>
                    <a:pt x="620" y="216"/>
                  </a:lnTo>
                  <a:lnTo>
                    <a:pt x="620" y="211"/>
                  </a:lnTo>
                  <a:lnTo>
                    <a:pt x="623" y="199"/>
                  </a:lnTo>
                  <a:lnTo>
                    <a:pt x="623" y="186"/>
                  </a:lnTo>
                  <a:lnTo>
                    <a:pt x="623" y="173"/>
                  </a:lnTo>
                  <a:lnTo>
                    <a:pt x="624" y="161"/>
                  </a:lnTo>
                  <a:lnTo>
                    <a:pt x="624" y="157"/>
                  </a:lnTo>
                  <a:lnTo>
                    <a:pt x="625" y="153"/>
                  </a:lnTo>
                  <a:lnTo>
                    <a:pt x="626" y="151"/>
                  </a:lnTo>
                  <a:lnTo>
                    <a:pt x="627" y="150"/>
                  </a:lnTo>
                  <a:lnTo>
                    <a:pt x="629" y="142"/>
                  </a:lnTo>
                  <a:lnTo>
                    <a:pt x="632" y="136"/>
                  </a:lnTo>
                  <a:lnTo>
                    <a:pt x="632" y="124"/>
                  </a:lnTo>
                  <a:lnTo>
                    <a:pt x="634" y="123"/>
                  </a:lnTo>
                  <a:lnTo>
                    <a:pt x="636" y="121"/>
                  </a:lnTo>
                  <a:lnTo>
                    <a:pt x="638" y="119"/>
                  </a:lnTo>
                  <a:lnTo>
                    <a:pt x="639" y="115"/>
                  </a:lnTo>
                  <a:lnTo>
                    <a:pt x="642" y="107"/>
                  </a:lnTo>
                  <a:lnTo>
                    <a:pt x="643" y="100"/>
                  </a:lnTo>
                  <a:lnTo>
                    <a:pt x="645" y="81"/>
                  </a:lnTo>
                  <a:lnTo>
                    <a:pt x="645" y="64"/>
                  </a:lnTo>
                  <a:lnTo>
                    <a:pt x="632" y="52"/>
                  </a:lnTo>
                  <a:lnTo>
                    <a:pt x="618" y="40"/>
                  </a:lnTo>
                  <a:lnTo>
                    <a:pt x="610" y="36"/>
                  </a:lnTo>
                  <a:lnTo>
                    <a:pt x="603" y="33"/>
                  </a:lnTo>
                  <a:lnTo>
                    <a:pt x="594" y="32"/>
                  </a:lnTo>
                  <a:lnTo>
                    <a:pt x="585" y="30"/>
                  </a:lnTo>
                  <a:lnTo>
                    <a:pt x="538" y="30"/>
                  </a:lnTo>
                  <a:lnTo>
                    <a:pt x="519" y="33"/>
                  </a:lnTo>
                  <a:lnTo>
                    <a:pt x="495" y="36"/>
                  </a:lnTo>
                  <a:lnTo>
                    <a:pt x="483" y="37"/>
                  </a:lnTo>
                  <a:lnTo>
                    <a:pt x="472" y="37"/>
                  </a:lnTo>
                  <a:lnTo>
                    <a:pt x="462" y="37"/>
                  </a:lnTo>
                  <a:lnTo>
                    <a:pt x="453" y="35"/>
                  </a:lnTo>
                  <a:lnTo>
                    <a:pt x="436" y="26"/>
                  </a:lnTo>
                  <a:lnTo>
                    <a:pt x="416" y="16"/>
                  </a:lnTo>
                  <a:lnTo>
                    <a:pt x="405" y="11"/>
                  </a:lnTo>
                  <a:lnTo>
                    <a:pt x="394" y="8"/>
                  </a:lnTo>
                  <a:lnTo>
                    <a:pt x="385" y="6"/>
                  </a:lnTo>
                  <a:lnTo>
                    <a:pt x="376" y="5"/>
                  </a:lnTo>
                  <a:lnTo>
                    <a:pt x="375" y="4"/>
                  </a:lnTo>
                  <a:lnTo>
                    <a:pt x="372" y="3"/>
                  </a:lnTo>
                  <a:lnTo>
                    <a:pt x="367" y="1"/>
                  </a:lnTo>
                  <a:lnTo>
                    <a:pt x="363" y="1"/>
                  </a:lnTo>
                  <a:lnTo>
                    <a:pt x="353" y="0"/>
                  </a:lnTo>
                  <a:lnTo>
                    <a:pt x="346" y="0"/>
                  </a:lnTo>
                  <a:lnTo>
                    <a:pt x="343" y="4"/>
                  </a:lnTo>
                  <a:lnTo>
                    <a:pt x="340" y="7"/>
                  </a:lnTo>
                  <a:lnTo>
                    <a:pt x="338" y="10"/>
                  </a:lnTo>
                  <a:lnTo>
                    <a:pt x="337" y="14"/>
                  </a:lnTo>
                  <a:lnTo>
                    <a:pt x="329" y="14"/>
                  </a:lnTo>
                  <a:lnTo>
                    <a:pt x="328" y="16"/>
                  </a:lnTo>
                  <a:lnTo>
                    <a:pt x="327" y="17"/>
                  </a:lnTo>
                  <a:lnTo>
                    <a:pt x="325" y="17"/>
                  </a:lnTo>
                  <a:lnTo>
                    <a:pt x="321" y="16"/>
                  </a:lnTo>
                  <a:lnTo>
                    <a:pt x="312" y="15"/>
                  </a:lnTo>
                  <a:lnTo>
                    <a:pt x="299" y="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5" name="Freeform 88">
              <a:extLst>
                <a:ext uri="{FF2B5EF4-FFF2-40B4-BE49-F238E27FC236}">
                  <a16:creationId xmlns:a16="http://schemas.microsoft.com/office/drawing/2014/main" id="{3C9968B7-383B-4F6D-8666-4CACE4F7AC28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091488" y="4619625"/>
              <a:ext cx="138827" cy="111125"/>
            </a:xfrm>
            <a:custGeom>
              <a:avLst/>
              <a:gdLst/>
              <a:ahLst/>
              <a:cxnLst>
                <a:cxn ang="0">
                  <a:pos x="346" y="317"/>
                </a:cxn>
                <a:cxn ang="0">
                  <a:pos x="313" y="345"/>
                </a:cxn>
                <a:cxn ang="0">
                  <a:pos x="250" y="370"/>
                </a:cxn>
                <a:cxn ang="0">
                  <a:pos x="172" y="378"/>
                </a:cxn>
                <a:cxn ang="0">
                  <a:pos x="59" y="383"/>
                </a:cxn>
                <a:cxn ang="0">
                  <a:pos x="26" y="423"/>
                </a:cxn>
                <a:cxn ang="0">
                  <a:pos x="14" y="438"/>
                </a:cxn>
                <a:cxn ang="0">
                  <a:pos x="1" y="526"/>
                </a:cxn>
                <a:cxn ang="0">
                  <a:pos x="3" y="648"/>
                </a:cxn>
                <a:cxn ang="0">
                  <a:pos x="12" y="682"/>
                </a:cxn>
                <a:cxn ang="0">
                  <a:pos x="17" y="690"/>
                </a:cxn>
                <a:cxn ang="0">
                  <a:pos x="25" y="692"/>
                </a:cxn>
                <a:cxn ang="0">
                  <a:pos x="28" y="696"/>
                </a:cxn>
                <a:cxn ang="0">
                  <a:pos x="50" y="688"/>
                </a:cxn>
                <a:cxn ang="0">
                  <a:pos x="103" y="649"/>
                </a:cxn>
                <a:cxn ang="0">
                  <a:pos x="126" y="620"/>
                </a:cxn>
                <a:cxn ang="0">
                  <a:pos x="164" y="591"/>
                </a:cxn>
                <a:cxn ang="0">
                  <a:pos x="209" y="569"/>
                </a:cxn>
                <a:cxn ang="0">
                  <a:pos x="252" y="557"/>
                </a:cxn>
                <a:cxn ang="0">
                  <a:pos x="303" y="551"/>
                </a:cxn>
                <a:cxn ang="0">
                  <a:pos x="363" y="528"/>
                </a:cxn>
                <a:cxn ang="0">
                  <a:pos x="420" y="493"/>
                </a:cxn>
                <a:cxn ang="0">
                  <a:pos x="460" y="454"/>
                </a:cxn>
                <a:cxn ang="0">
                  <a:pos x="472" y="422"/>
                </a:cxn>
                <a:cxn ang="0">
                  <a:pos x="473" y="328"/>
                </a:cxn>
                <a:cxn ang="0">
                  <a:pos x="477" y="283"/>
                </a:cxn>
                <a:cxn ang="0">
                  <a:pos x="481" y="272"/>
                </a:cxn>
                <a:cxn ang="0">
                  <a:pos x="487" y="265"/>
                </a:cxn>
                <a:cxn ang="0">
                  <a:pos x="507" y="253"/>
                </a:cxn>
                <a:cxn ang="0">
                  <a:pos x="518" y="247"/>
                </a:cxn>
                <a:cxn ang="0">
                  <a:pos x="534" y="242"/>
                </a:cxn>
                <a:cxn ang="0">
                  <a:pos x="586" y="241"/>
                </a:cxn>
                <a:cxn ang="0">
                  <a:pos x="624" y="291"/>
                </a:cxn>
                <a:cxn ang="0">
                  <a:pos x="678" y="341"/>
                </a:cxn>
                <a:cxn ang="0">
                  <a:pos x="710" y="356"/>
                </a:cxn>
                <a:cxn ang="0">
                  <a:pos x="732" y="351"/>
                </a:cxn>
                <a:cxn ang="0">
                  <a:pos x="749" y="326"/>
                </a:cxn>
                <a:cxn ang="0">
                  <a:pos x="754" y="277"/>
                </a:cxn>
                <a:cxn ang="0">
                  <a:pos x="732" y="233"/>
                </a:cxn>
                <a:cxn ang="0">
                  <a:pos x="693" y="203"/>
                </a:cxn>
                <a:cxn ang="0">
                  <a:pos x="645" y="188"/>
                </a:cxn>
                <a:cxn ang="0">
                  <a:pos x="616" y="164"/>
                </a:cxn>
                <a:cxn ang="0">
                  <a:pos x="606" y="127"/>
                </a:cxn>
                <a:cxn ang="0">
                  <a:pos x="584" y="66"/>
                </a:cxn>
                <a:cxn ang="0">
                  <a:pos x="540" y="17"/>
                </a:cxn>
                <a:cxn ang="0">
                  <a:pos x="507" y="1"/>
                </a:cxn>
                <a:cxn ang="0">
                  <a:pos x="479" y="1"/>
                </a:cxn>
                <a:cxn ang="0">
                  <a:pos x="451" y="17"/>
                </a:cxn>
                <a:cxn ang="0">
                  <a:pos x="420" y="58"/>
                </a:cxn>
                <a:cxn ang="0">
                  <a:pos x="408" y="114"/>
                </a:cxn>
                <a:cxn ang="0">
                  <a:pos x="393" y="196"/>
                </a:cxn>
                <a:cxn ang="0">
                  <a:pos x="383" y="222"/>
                </a:cxn>
                <a:cxn ang="0">
                  <a:pos x="379" y="233"/>
                </a:cxn>
                <a:cxn ang="0">
                  <a:pos x="374" y="245"/>
                </a:cxn>
                <a:cxn ang="0">
                  <a:pos x="379" y="279"/>
                </a:cxn>
              </a:cxnLst>
              <a:rect l="0" t="0" r="r" b="b"/>
              <a:pathLst>
                <a:path w="755" h="696">
                  <a:moveTo>
                    <a:pt x="370" y="288"/>
                  </a:moveTo>
                  <a:lnTo>
                    <a:pt x="362" y="299"/>
                  </a:lnTo>
                  <a:lnTo>
                    <a:pt x="354" y="308"/>
                  </a:lnTo>
                  <a:lnTo>
                    <a:pt x="346" y="317"/>
                  </a:lnTo>
                  <a:lnTo>
                    <a:pt x="338" y="325"/>
                  </a:lnTo>
                  <a:lnTo>
                    <a:pt x="329" y="332"/>
                  </a:lnTo>
                  <a:lnTo>
                    <a:pt x="322" y="339"/>
                  </a:lnTo>
                  <a:lnTo>
                    <a:pt x="313" y="345"/>
                  </a:lnTo>
                  <a:lnTo>
                    <a:pt x="304" y="350"/>
                  </a:lnTo>
                  <a:lnTo>
                    <a:pt x="287" y="359"/>
                  </a:lnTo>
                  <a:lnTo>
                    <a:pt x="268" y="366"/>
                  </a:lnTo>
                  <a:lnTo>
                    <a:pt x="250" y="370"/>
                  </a:lnTo>
                  <a:lnTo>
                    <a:pt x="231" y="375"/>
                  </a:lnTo>
                  <a:lnTo>
                    <a:pt x="212" y="376"/>
                  </a:lnTo>
                  <a:lnTo>
                    <a:pt x="192" y="377"/>
                  </a:lnTo>
                  <a:lnTo>
                    <a:pt x="172" y="378"/>
                  </a:lnTo>
                  <a:lnTo>
                    <a:pt x="152" y="377"/>
                  </a:lnTo>
                  <a:lnTo>
                    <a:pt x="110" y="376"/>
                  </a:lnTo>
                  <a:lnTo>
                    <a:pt x="66" y="375"/>
                  </a:lnTo>
                  <a:lnTo>
                    <a:pt x="59" y="383"/>
                  </a:lnTo>
                  <a:lnTo>
                    <a:pt x="46" y="398"/>
                  </a:lnTo>
                  <a:lnTo>
                    <a:pt x="38" y="407"/>
                  </a:lnTo>
                  <a:lnTo>
                    <a:pt x="31" y="415"/>
                  </a:lnTo>
                  <a:lnTo>
                    <a:pt x="26" y="423"/>
                  </a:lnTo>
                  <a:lnTo>
                    <a:pt x="25" y="428"/>
                  </a:lnTo>
                  <a:lnTo>
                    <a:pt x="20" y="430"/>
                  </a:lnTo>
                  <a:lnTo>
                    <a:pt x="17" y="433"/>
                  </a:lnTo>
                  <a:lnTo>
                    <a:pt x="14" y="438"/>
                  </a:lnTo>
                  <a:lnTo>
                    <a:pt x="11" y="445"/>
                  </a:lnTo>
                  <a:lnTo>
                    <a:pt x="7" y="463"/>
                  </a:lnTo>
                  <a:lnTo>
                    <a:pt x="3" y="483"/>
                  </a:lnTo>
                  <a:lnTo>
                    <a:pt x="1" y="526"/>
                  </a:lnTo>
                  <a:lnTo>
                    <a:pt x="1" y="555"/>
                  </a:lnTo>
                  <a:lnTo>
                    <a:pt x="0" y="581"/>
                  </a:lnTo>
                  <a:lnTo>
                    <a:pt x="1" y="626"/>
                  </a:lnTo>
                  <a:lnTo>
                    <a:pt x="3" y="648"/>
                  </a:lnTo>
                  <a:lnTo>
                    <a:pt x="6" y="667"/>
                  </a:lnTo>
                  <a:lnTo>
                    <a:pt x="8" y="674"/>
                  </a:lnTo>
                  <a:lnTo>
                    <a:pt x="10" y="680"/>
                  </a:lnTo>
                  <a:lnTo>
                    <a:pt x="12" y="682"/>
                  </a:lnTo>
                  <a:lnTo>
                    <a:pt x="14" y="684"/>
                  </a:lnTo>
                  <a:lnTo>
                    <a:pt x="16" y="685"/>
                  </a:lnTo>
                  <a:lnTo>
                    <a:pt x="17" y="685"/>
                  </a:lnTo>
                  <a:lnTo>
                    <a:pt x="17" y="690"/>
                  </a:lnTo>
                  <a:lnTo>
                    <a:pt x="22" y="690"/>
                  </a:lnTo>
                  <a:lnTo>
                    <a:pt x="22" y="691"/>
                  </a:lnTo>
                  <a:lnTo>
                    <a:pt x="24" y="692"/>
                  </a:lnTo>
                  <a:lnTo>
                    <a:pt x="25" y="692"/>
                  </a:lnTo>
                  <a:lnTo>
                    <a:pt x="27" y="692"/>
                  </a:lnTo>
                  <a:lnTo>
                    <a:pt x="27" y="694"/>
                  </a:lnTo>
                  <a:lnTo>
                    <a:pt x="28" y="695"/>
                  </a:lnTo>
                  <a:lnTo>
                    <a:pt x="28" y="696"/>
                  </a:lnTo>
                  <a:lnTo>
                    <a:pt x="30" y="696"/>
                  </a:lnTo>
                  <a:lnTo>
                    <a:pt x="34" y="696"/>
                  </a:lnTo>
                  <a:lnTo>
                    <a:pt x="38" y="695"/>
                  </a:lnTo>
                  <a:lnTo>
                    <a:pt x="50" y="688"/>
                  </a:lnTo>
                  <a:lnTo>
                    <a:pt x="65" y="680"/>
                  </a:lnTo>
                  <a:lnTo>
                    <a:pt x="79" y="669"/>
                  </a:lnTo>
                  <a:lnTo>
                    <a:pt x="93" y="658"/>
                  </a:lnTo>
                  <a:lnTo>
                    <a:pt x="103" y="649"/>
                  </a:lnTo>
                  <a:lnTo>
                    <a:pt x="108" y="643"/>
                  </a:lnTo>
                  <a:lnTo>
                    <a:pt x="113" y="635"/>
                  </a:lnTo>
                  <a:lnTo>
                    <a:pt x="120" y="628"/>
                  </a:lnTo>
                  <a:lnTo>
                    <a:pt x="126" y="620"/>
                  </a:lnTo>
                  <a:lnTo>
                    <a:pt x="135" y="613"/>
                  </a:lnTo>
                  <a:lnTo>
                    <a:pt x="144" y="606"/>
                  </a:lnTo>
                  <a:lnTo>
                    <a:pt x="154" y="598"/>
                  </a:lnTo>
                  <a:lnTo>
                    <a:pt x="164" y="591"/>
                  </a:lnTo>
                  <a:lnTo>
                    <a:pt x="175" y="585"/>
                  </a:lnTo>
                  <a:lnTo>
                    <a:pt x="185" y="579"/>
                  </a:lnTo>
                  <a:lnTo>
                    <a:pt x="198" y="574"/>
                  </a:lnTo>
                  <a:lnTo>
                    <a:pt x="209" y="569"/>
                  </a:lnTo>
                  <a:lnTo>
                    <a:pt x="220" y="565"/>
                  </a:lnTo>
                  <a:lnTo>
                    <a:pt x="231" y="561"/>
                  </a:lnTo>
                  <a:lnTo>
                    <a:pt x="242" y="559"/>
                  </a:lnTo>
                  <a:lnTo>
                    <a:pt x="252" y="557"/>
                  </a:lnTo>
                  <a:lnTo>
                    <a:pt x="262" y="557"/>
                  </a:lnTo>
                  <a:lnTo>
                    <a:pt x="275" y="556"/>
                  </a:lnTo>
                  <a:lnTo>
                    <a:pt x="288" y="553"/>
                  </a:lnTo>
                  <a:lnTo>
                    <a:pt x="303" y="551"/>
                  </a:lnTo>
                  <a:lnTo>
                    <a:pt x="317" y="547"/>
                  </a:lnTo>
                  <a:lnTo>
                    <a:pt x="332" y="541"/>
                  </a:lnTo>
                  <a:lnTo>
                    <a:pt x="347" y="534"/>
                  </a:lnTo>
                  <a:lnTo>
                    <a:pt x="363" y="528"/>
                  </a:lnTo>
                  <a:lnTo>
                    <a:pt x="377" y="520"/>
                  </a:lnTo>
                  <a:lnTo>
                    <a:pt x="392" y="511"/>
                  </a:lnTo>
                  <a:lnTo>
                    <a:pt x="406" y="502"/>
                  </a:lnTo>
                  <a:lnTo>
                    <a:pt x="420" y="493"/>
                  </a:lnTo>
                  <a:lnTo>
                    <a:pt x="432" y="484"/>
                  </a:lnTo>
                  <a:lnTo>
                    <a:pt x="442" y="474"/>
                  </a:lnTo>
                  <a:lnTo>
                    <a:pt x="452" y="464"/>
                  </a:lnTo>
                  <a:lnTo>
                    <a:pt x="460" y="454"/>
                  </a:lnTo>
                  <a:lnTo>
                    <a:pt x="466" y="444"/>
                  </a:lnTo>
                  <a:lnTo>
                    <a:pt x="468" y="438"/>
                  </a:lnTo>
                  <a:lnTo>
                    <a:pt x="470" y="431"/>
                  </a:lnTo>
                  <a:lnTo>
                    <a:pt x="472" y="422"/>
                  </a:lnTo>
                  <a:lnTo>
                    <a:pt x="473" y="413"/>
                  </a:lnTo>
                  <a:lnTo>
                    <a:pt x="475" y="392"/>
                  </a:lnTo>
                  <a:lnTo>
                    <a:pt x="475" y="370"/>
                  </a:lnTo>
                  <a:lnTo>
                    <a:pt x="473" y="328"/>
                  </a:lnTo>
                  <a:lnTo>
                    <a:pt x="472" y="293"/>
                  </a:lnTo>
                  <a:lnTo>
                    <a:pt x="475" y="292"/>
                  </a:lnTo>
                  <a:lnTo>
                    <a:pt x="477" y="291"/>
                  </a:lnTo>
                  <a:lnTo>
                    <a:pt x="477" y="283"/>
                  </a:lnTo>
                  <a:lnTo>
                    <a:pt x="479" y="282"/>
                  </a:lnTo>
                  <a:lnTo>
                    <a:pt x="480" y="279"/>
                  </a:lnTo>
                  <a:lnTo>
                    <a:pt x="481" y="274"/>
                  </a:lnTo>
                  <a:lnTo>
                    <a:pt x="481" y="272"/>
                  </a:lnTo>
                  <a:lnTo>
                    <a:pt x="485" y="271"/>
                  </a:lnTo>
                  <a:lnTo>
                    <a:pt x="486" y="269"/>
                  </a:lnTo>
                  <a:lnTo>
                    <a:pt x="486" y="267"/>
                  </a:lnTo>
                  <a:lnTo>
                    <a:pt x="487" y="265"/>
                  </a:lnTo>
                  <a:lnTo>
                    <a:pt x="492" y="264"/>
                  </a:lnTo>
                  <a:lnTo>
                    <a:pt x="498" y="262"/>
                  </a:lnTo>
                  <a:lnTo>
                    <a:pt x="502" y="258"/>
                  </a:lnTo>
                  <a:lnTo>
                    <a:pt x="507" y="253"/>
                  </a:lnTo>
                  <a:lnTo>
                    <a:pt x="513" y="253"/>
                  </a:lnTo>
                  <a:lnTo>
                    <a:pt x="515" y="250"/>
                  </a:lnTo>
                  <a:lnTo>
                    <a:pt x="517" y="247"/>
                  </a:lnTo>
                  <a:lnTo>
                    <a:pt x="518" y="247"/>
                  </a:lnTo>
                  <a:lnTo>
                    <a:pt x="520" y="247"/>
                  </a:lnTo>
                  <a:lnTo>
                    <a:pt x="521" y="245"/>
                  </a:lnTo>
                  <a:lnTo>
                    <a:pt x="521" y="244"/>
                  </a:lnTo>
                  <a:lnTo>
                    <a:pt x="534" y="242"/>
                  </a:lnTo>
                  <a:lnTo>
                    <a:pt x="550" y="239"/>
                  </a:lnTo>
                  <a:lnTo>
                    <a:pt x="566" y="234"/>
                  </a:lnTo>
                  <a:lnTo>
                    <a:pt x="582" y="232"/>
                  </a:lnTo>
                  <a:lnTo>
                    <a:pt x="586" y="241"/>
                  </a:lnTo>
                  <a:lnTo>
                    <a:pt x="594" y="251"/>
                  </a:lnTo>
                  <a:lnTo>
                    <a:pt x="602" y="263"/>
                  </a:lnTo>
                  <a:lnTo>
                    <a:pt x="613" y="278"/>
                  </a:lnTo>
                  <a:lnTo>
                    <a:pt x="624" y="291"/>
                  </a:lnTo>
                  <a:lnTo>
                    <a:pt x="636" y="306"/>
                  </a:lnTo>
                  <a:lnTo>
                    <a:pt x="650" y="319"/>
                  </a:lnTo>
                  <a:lnTo>
                    <a:pt x="663" y="331"/>
                  </a:lnTo>
                  <a:lnTo>
                    <a:pt x="678" y="341"/>
                  </a:lnTo>
                  <a:lnTo>
                    <a:pt x="691" y="350"/>
                  </a:lnTo>
                  <a:lnTo>
                    <a:pt x="698" y="353"/>
                  </a:lnTo>
                  <a:lnTo>
                    <a:pt x="705" y="355"/>
                  </a:lnTo>
                  <a:lnTo>
                    <a:pt x="710" y="356"/>
                  </a:lnTo>
                  <a:lnTo>
                    <a:pt x="717" y="357"/>
                  </a:lnTo>
                  <a:lnTo>
                    <a:pt x="722" y="356"/>
                  </a:lnTo>
                  <a:lnTo>
                    <a:pt x="728" y="355"/>
                  </a:lnTo>
                  <a:lnTo>
                    <a:pt x="732" y="351"/>
                  </a:lnTo>
                  <a:lnTo>
                    <a:pt x="738" y="347"/>
                  </a:lnTo>
                  <a:lnTo>
                    <a:pt x="742" y="341"/>
                  </a:lnTo>
                  <a:lnTo>
                    <a:pt x="746" y="335"/>
                  </a:lnTo>
                  <a:lnTo>
                    <a:pt x="749" y="326"/>
                  </a:lnTo>
                  <a:lnTo>
                    <a:pt x="753" y="317"/>
                  </a:lnTo>
                  <a:lnTo>
                    <a:pt x="755" y="302"/>
                  </a:lnTo>
                  <a:lnTo>
                    <a:pt x="755" y="289"/>
                  </a:lnTo>
                  <a:lnTo>
                    <a:pt x="754" y="277"/>
                  </a:lnTo>
                  <a:lnTo>
                    <a:pt x="750" y="264"/>
                  </a:lnTo>
                  <a:lnTo>
                    <a:pt x="746" y="253"/>
                  </a:lnTo>
                  <a:lnTo>
                    <a:pt x="740" y="243"/>
                  </a:lnTo>
                  <a:lnTo>
                    <a:pt x="732" y="233"/>
                  </a:lnTo>
                  <a:lnTo>
                    <a:pt x="725" y="224"/>
                  </a:lnTo>
                  <a:lnTo>
                    <a:pt x="715" y="216"/>
                  </a:lnTo>
                  <a:lnTo>
                    <a:pt x="705" y="209"/>
                  </a:lnTo>
                  <a:lnTo>
                    <a:pt x="693" y="203"/>
                  </a:lnTo>
                  <a:lnTo>
                    <a:pt x="682" y="197"/>
                  </a:lnTo>
                  <a:lnTo>
                    <a:pt x="670" y="193"/>
                  </a:lnTo>
                  <a:lnTo>
                    <a:pt x="658" y="191"/>
                  </a:lnTo>
                  <a:lnTo>
                    <a:pt x="645" y="188"/>
                  </a:lnTo>
                  <a:lnTo>
                    <a:pt x="633" y="188"/>
                  </a:lnTo>
                  <a:lnTo>
                    <a:pt x="630" y="182"/>
                  </a:lnTo>
                  <a:lnTo>
                    <a:pt x="621" y="171"/>
                  </a:lnTo>
                  <a:lnTo>
                    <a:pt x="616" y="164"/>
                  </a:lnTo>
                  <a:lnTo>
                    <a:pt x="612" y="157"/>
                  </a:lnTo>
                  <a:lnTo>
                    <a:pt x="609" y="149"/>
                  </a:lnTo>
                  <a:lnTo>
                    <a:pt x="607" y="142"/>
                  </a:lnTo>
                  <a:lnTo>
                    <a:pt x="606" y="127"/>
                  </a:lnTo>
                  <a:lnTo>
                    <a:pt x="604" y="111"/>
                  </a:lnTo>
                  <a:lnTo>
                    <a:pt x="598" y="97"/>
                  </a:lnTo>
                  <a:lnTo>
                    <a:pt x="592" y="81"/>
                  </a:lnTo>
                  <a:lnTo>
                    <a:pt x="584" y="66"/>
                  </a:lnTo>
                  <a:lnTo>
                    <a:pt x="575" y="52"/>
                  </a:lnTo>
                  <a:lnTo>
                    <a:pt x="565" y="39"/>
                  </a:lnTo>
                  <a:lnTo>
                    <a:pt x="553" y="27"/>
                  </a:lnTo>
                  <a:lnTo>
                    <a:pt x="540" y="17"/>
                  </a:lnTo>
                  <a:lnTo>
                    <a:pt x="528" y="9"/>
                  </a:lnTo>
                  <a:lnTo>
                    <a:pt x="521" y="5"/>
                  </a:lnTo>
                  <a:lnTo>
                    <a:pt x="515" y="3"/>
                  </a:lnTo>
                  <a:lnTo>
                    <a:pt x="507" y="1"/>
                  </a:lnTo>
                  <a:lnTo>
                    <a:pt x="500" y="0"/>
                  </a:lnTo>
                  <a:lnTo>
                    <a:pt x="494" y="0"/>
                  </a:lnTo>
                  <a:lnTo>
                    <a:pt x="486" y="0"/>
                  </a:lnTo>
                  <a:lnTo>
                    <a:pt x="479" y="1"/>
                  </a:lnTo>
                  <a:lnTo>
                    <a:pt x="472" y="3"/>
                  </a:lnTo>
                  <a:lnTo>
                    <a:pt x="465" y="7"/>
                  </a:lnTo>
                  <a:lnTo>
                    <a:pt x="458" y="11"/>
                  </a:lnTo>
                  <a:lnTo>
                    <a:pt x="451" y="17"/>
                  </a:lnTo>
                  <a:lnTo>
                    <a:pt x="444" y="22"/>
                  </a:lnTo>
                  <a:lnTo>
                    <a:pt x="434" y="33"/>
                  </a:lnTo>
                  <a:lnTo>
                    <a:pt x="427" y="44"/>
                  </a:lnTo>
                  <a:lnTo>
                    <a:pt x="420" y="58"/>
                  </a:lnTo>
                  <a:lnTo>
                    <a:pt x="415" y="71"/>
                  </a:lnTo>
                  <a:lnTo>
                    <a:pt x="411" y="85"/>
                  </a:lnTo>
                  <a:lnTo>
                    <a:pt x="409" y="99"/>
                  </a:lnTo>
                  <a:lnTo>
                    <a:pt x="408" y="114"/>
                  </a:lnTo>
                  <a:lnTo>
                    <a:pt x="406" y="129"/>
                  </a:lnTo>
                  <a:lnTo>
                    <a:pt x="404" y="149"/>
                  </a:lnTo>
                  <a:lnTo>
                    <a:pt x="398" y="181"/>
                  </a:lnTo>
                  <a:lnTo>
                    <a:pt x="393" y="196"/>
                  </a:lnTo>
                  <a:lnTo>
                    <a:pt x="390" y="210"/>
                  </a:lnTo>
                  <a:lnTo>
                    <a:pt x="388" y="215"/>
                  </a:lnTo>
                  <a:lnTo>
                    <a:pt x="385" y="220"/>
                  </a:lnTo>
                  <a:lnTo>
                    <a:pt x="383" y="222"/>
                  </a:lnTo>
                  <a:lnTo>
                    <a:pt x="382" y="223"/>
                  </a:lnTo>
                  <a:lnTo>
                    <a:pt x="382" y="228"/>
                  </a:lnTo>
                  <a:lnTo>
                    <a:pt x="380" y="229"/>
                  </a:lnTo>
                  <a:lnTo>
                    <a:pt x="379" y="233"/>
                  </a:lnTo>
                  <a:lnTo>
                    <a:pt x="377" y="236"/>
                  </a:lnTo>
                  <a:lnTo>
                    <a:pt x="376" y="240"/>
                  </a:lnTo>
                  <a:lnTo>
                    <a:pt x="375" y="241"/>
                  </a:lnTo>
                  <a:lnTo>
                    <a:pt x="374" y="245"/>
                  </a:lnTo>
                  <a:lnTo>
                    <a:pt x="374" y="251"/>
                  </a:lnTo>
                  <a:lnTo>
                    <a:pt x="375" y="258"/>
                  </a:lnTo>
                  <a:lnTo>
                    <a:pt x="377" y="271"/>
                  </a:lnTo>
                  <a:lnTo>
                    <a:pt x="379" y="279"/>
                  </a:lnTo>
                  <a:lnTo>
                    <a:pt x="370" y="28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6" name="Freeform 89">
              <a:extLst>
                <a:ext uri="{FF2B5EF4-FFF2-40B4-BE49-F238E27FC236}">
                  <a16:creationId xmlns:a16="http://schemas.microsoft.com/office/drawing/2014/main" id="{280E60E6-DAF9-4BA3-B59F-7266CDE0AF7A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226425" y="4562475"/>
              <a:ext cx="51535" cy="63500"/>
            </a:xfrm>
            <a:custGeom>
              <a:avLst/>
              <a:gdLst/>
              <a:ahLst/>
              <a:cxnLst>
                <a:cxn ang="0">
                  <a:pos x="32" y="22"/>
                </a:cxn>
                <a:cxn ang="0">
                  <a:pos x="21" y="51"/>
                </a:cxn>
                <a:cxn ang="0">
                  <a:pos x="11" y="72"/>
                </a:cxn>
                <a:cxn ang="0">
                  <a:pos x="2" y="104"/>
                </a:cxn>
                <a:cxn ang="0">
                  <a:pos x="1" y="125"/>
                </a:cxn>
                <a:cxn ang="0">
                  <a:pos x="6" y="144"/>
                </a:cxn>
                <a:cxn ang="0">
                  <a:pos x="12" y="153"/>
                </a:cxn>
                <a:cxn ang="0">
                  <a:pos x="13" y="157"/>
                </a:cxn>
                <a:cxn ang="0">
                  <a:pos x="23" y="168"/>
                </a:cxn>
                <a:cxn ang="0">
                  <a:pos x="61" y="209"/>
                </a:cxn>
                <a:cxn ang="0">
                  <a:pos x="75" y="225"/>
                </a:cxn>
                <a:cxn ang="0">
                  <a:pos x="82" y="234"/>
                </a:cxn>
                <a:cxn ang="0">
                  <a:pos x="86" y="245"/>
                </a:cxn>
                <a:cxn ang="0">
                  <a:pos x="88" y="257"/>
                </a:cxn>
                <a:cxn ang="0">
                  <a:pos x="88" y="280"/>
                </a:cxn>
                <a:cxn ang="0">
                  <a:pos x="86" y="297"/>
                </a:cxn>
                <a:cxn ang="0">
                  <a:pos x="83" y="315"/>
                </a:cxn>
                <a:cxn ang="0">
                  <a:pos x="71" y="348"/>
                </a:cxn>
                <a:cxn ang="0">
                  <a:pos x="67" y="364"/>
                </a:cxn>
                <a:cxn ang="0">
                  <a:pos x="64" y="382"/>
                </a:cxn>
                <a:cxn ang="0">
                  <a:pos x="65" y="389"/>
                </a:cxn>
                <a:cxn ang="0">
                  <a:pos x="69" y="393"/>
                </a:cxn>
                <a:cxn ang="0">
                  <a:pos x="80" y="396"/>
                </a:cxn>
                <a:cxn ang="0">
                  <a:pos x="91" y="392"/>
                </a:cxn>
                <a:cxn ang="0">
                  <a:pos x="97" y="388"/>
                </a:cxn>
                <a:cxn ang="0">
                  <a:pos x="111" y="383"/>
                </a:cxn>
                <a:cxn ang="0">
                  <a:pos x="128" y="372"/>
                </a:cxn>
                <a:cxn ang="0">
                  <a:pos x="156" y="353"/>
                </a:cxn>
                <a:cxn ang="0">
                  <a:pos x="177" y="334"/>
                </a:cxn>
                <a:cxn ang="0">
                  <a:pos x="201" y="317"/>
                </a:cxn>
                <a:cxn ang="0">
                  <a:pos x="233" y="288"/>
                </a:cxn>
                <a:cxn ang="0">
                  <a:pos x="251" y="276"/>
                </a:cxn>
                <a:cxn ang="0">
                  <a:pos x="265" y="263"/>
                </a:cxn>
                <a:cxn ang="0">
                  <a:pos x="276" y="247"/>
                </a:cxn>
                <a:cxn ang="0">
                  <a:pos x="284" y="229"/>
                </a:cxn>
                <a:cxn ang="0">
                  <a:pos x="286" y="206"/>
                </a:cxn>
                <a:cxn ang="0">
                  <a:pos x="283" y="194"/>
                </a:cxn>
                <a:cxn ang="0">
                  <a:pos x="276" y="186"/>
                </a:cxn>
                <a:cxn ang="0">
                  <a:pos x="236" y="156"/>
                </a:cxn>
                <a:cxn ang="0">
                  <a:pos x="196" y="124"/>
                </a:cxn>
                <a:cxn ang="0">
                  <a:pos x="170" y="107"/>
                </a:cxn>
                <a:cxn ang="0">
                  <a:pos x="147" y="86"/>
                </a:cxn>
                <a:cxn ang="0">
                  <a:pos x="126" y="54"/>
                </a:cxn>
                <a:cxn ang="0">
                  <a:pos x="116" y="41"/>
                </a:cxn>
                <a:cxn ang="0">
                  <a:pos x="107" y="22"/>
                </a:cxn>
                <a:cxn ang="0">
                  <a:pos x="105" y="18"/>
                </a:cxn>
                <a:cxn ang="0">
                  <a:pos x="105" y="14"/>
                </a:cxn>
                <a:cxn ang="0">
                  <a:pos x="93" y="8"/>
                </a:cxn>
                <a:cxn ang="0">
                  <a:pos x="91" y="3"/>
                </a:cxn>
                <a:cxn ang="0">
                  <a:pos x="59" y="0"/>
                </a:cxn>
                <a:cxn ang="0">
                  <a:pos x="55" y="3"/>
                </a:cxn>
                <a:cxn ang="0">
                  <a:pos x="51" y="3"/>
                </a:cxn>
                <a:cxn ang="0">
                  <a:pos x="48" y="8"/>
                </a:cxn>
              </a:cxnLst>
              <a:rect l="0" t="0" r="r" b="b"/>
              <a:pathLst>
                <a:path w="286" h="396">
                  <a:moveTo>
                    <a:pt x="38" y="11"/>
                  </a:moveTo>
                  <a:lnTo>
                    <a:pt x="32" y="22"/>
                  </a:lnTo>
                  <a:lnTo>
                    <a:pt x="26" y="36"/>
                  </a:lnTo>
                  <a:lnTo>
                    <a:pt x="21" y="51"/>
                  </a:lnTo>
                  <a:lnTo>
                    <a:pt x="15" y="62"/>
                  </a:lnTo>
                  <a:lnTo>
                    <a:pt x="11" y="72"/>
                  </a:lnTo>
                  <a:lnTo>
                    <a:pt x="5" y="88"/>
                  </a:lnTo>
                  <a:lnTo>
                    <a:pt x="2" y="104"/>
                  </a:lnTo>
                  <a:lnTo>
                    <a:pt x="0" y="115"/>
                  </a:lnTo>
                  <a:lnTo>
                    <a:pt x="1" y="125"/>
                  </a:lnTo>
                  <a:lnTo>
                    <a:pt x="2" y="134"/>
                  </a:lnTo>
                  <a:lnTo>
                    <a:pt x="6" y="144"/>
                  </a:lnTo>
                  <a:lnTo>
                    <a:pt x="11" y="153"/>
                  </a:lnTo>
                  <a:lnTo>
                    <a:pt x="12" y="153"/>
                  </a:lnTo>
                  <a:lnTo>
                    <a:pt x="13" y="156"/>
                  </a:lnTo>
                  <a:lnTo>
                    <a:pt x="13" y="157"/>
                  </a:lnTo>
                  <a:lnTo>
                    <a:pt x="13" y="159"/>
                  </a:lnTo>
                  <a:lnTo>
                    <a:pt x="23" y="168"/>
                  </a:lnTo>
                  <a:lnTo>
                    <a:pt x="42" y="188"/>
                  </a:lnTo>
                  <a:lnTo>
                    <a:pt x="61" y="209"/>
                  </a:lnTo>
                  <a:lnTo>
                    <a:pt x="72" y="220"/>
                  </a:lnTo>
                  <a:lnTo>
                    <a:pt x="75" y="225"/>
                  </a:lnTo>
                  <a:lnTo>
                    <a:pt x="79" y="229"/>
                  </a:lnTo>
                  <a:lnTo>
                    <a:pt x="82" y="234"/>
                  </a:lnTo>
                  <a:lnTo>
                    <a:pt x="84" y="239"/>
                  </a:lnTo>
                  <a:lnTo>
                    <a:pt x="86" y="245"/>
                  </a:lnTo>
                  <a:lnTo>
                    <a:pt x="88" y="250"/>
                  </a:lnTo>
                  <a:lnTo>
                    <a:pt x="88" y="257"/>
                  </a:lnTo>
                  <a:lnTo>
                    <a:pt x="88" y="264"/>
                  </a:lnTo>
                  <a:lnTo>
                    <a:pt x="88" y="280"/>
                  </a:lnTo>
                  <a:lnTo>
                    <a:pt x="88" y="287"/>
                  </a:lnTo>
                  <a:lnTo>
                    <a:pt x="86" y="297"/>
                  </a:lnTo>
                  <a:lnTo>
                    <a:pt x="83" y="309"/>
                  </a:lnTo>
                  <a:lnTo>
                    <a:pt x="83" y="315"/>
                  </a:lnTo>
                  <a:lnTo>
                    <a:pt x="78" y="331"/>
                  </a:lnTo>
                  <a:lnTo>
                    <a:pt x="71" y="348"/>
                  </a:lnTo>
                  <a:lnTo>
                    <a:pt x="69" y="357"/>
                  </a:lnTo>
                  <a:lnTo>
                    <a:pt x="67" y="364"/>
                  </a:lnTo>
                  <a:lnTo>
                    <a:pt x="64" y="373"/>
                  </a:lnTo>
                  <a:lnTo>
                    <a:pt x="64" y="382"/>
                  </a:lnTo>
                  <a:lnTo>
                    <a:pt x="64" y="386"/>
                  </a:lnTo>
                  <a:lnTo>
                    <a:pt x="65" y="389"/>
                  </a:lnTo>
                  <a:lnTo>
                    <a:pt x="67" y="391"/>
                  </a:lnTo>
                  <a:lnTo>
                    <a:pt x="69" y="393"/>
                  </a:lnTo>
                  <a:lnTo>
                    <a:pt x="74" y="394"/>
                  </a:lnTo>
                  <a:lnTo>
                    <a:pt x="80" y="396"/>
                  </a:lnTo>
                  <a:lnTo>
                    <a:pt x="87" y="394"/>
                  </a:lnTo>
                  <a:lnTo>
                    <a:pt x="91" y="392"/>
                  </a:lnTo>
                  <a:lnTo>
                    <a:pt x="94" y="390"/>
                  </a:lnTo>
                  <a:lnTo>
                    <a:pt x="97" y="388"/>
                  </a:lnTo>
                  <a:lnTo>
                    <a:pt x="103" y="387"/>
                  </a:lnTo>
                  <a:lnTo>
                    <a:pt x="111" y="383"/>
                  </a:lnTo>
                  <a:lnTo>
                    <a:pt x="119" y="378"/>
                  </a:lnTo>
                  <a:lnTo>
                    <a:pt x="128" y="372"/>
                  </a:lnTo>
                  <a:lnTo>
                    <a:pt x="144" y="361"/>
                  </a:lnTo>
                  <a:lnTo>
                    <a:pt x="156" y="353"/>
                  </a:lnTo>
                  <a:lnTo>
                    <a:pt x="166" y="343"/>
                  </a:lnTo>
                  <a:lnTo>
                    <a:pt x="177" y="334"/>
                  </a:lnTo>
                  <a:lnTo>
                    <a:pt x="189" y="326"/>
                  </a:lnTo>
                  <a:lnTo>
                    <a:pt x="201" y="317"/>
                  </a:lnTo>
                  <a:lnTo>
                    <a:pt x="217" y="303"/>
                  </a:lnTo>
                  <a:lnTo>
                    <a:pt x="233" y="288"/>
                  </a:lnTo>
                  <a:lnTo>
                    <a:pt x="242" y="282"/>
                  </a:lnTo>
                  <a:lnTo>
                    <a:pt x="251" y="276"/>
                  </a:lnTo>
                  <a:lnTo>
                    <a:pt x="257" y="269"/>
                  </a:lnTo>
                  <a:lnTo>
                    <a:pt x="265" y="263"/>
                  </a:lnTo>
                  <a:lnTo>
                    <a:pt x="271" y="255"/>
                  </a:lnTo>
                  <a:lnTo>
                    <a:pt x="276" y="247"/>
                  </a:lnTo>
                  <a:lnTo>
                    <a:pt x="281" y="238"/>
                  </a:lnTo>
                  <a:lnTo>
                    <a:pt x="284" y="229"/>
                  </a:lnTo>
                  <a:lnTo>
                    <a:pt x="286" y="218"/>
                  </a:lnTo>
                  <a:lnTo>
                    <a:pt x="286" y="206"/>
                  </a:lnTo>
                  <a:lnTo>
                    <a:pt x="285" y="199"/>
                  </a:lnTo>
                  <a:lnTo>
                    <a:pt x="283" y="194"/>
                  </a:lnTo>
                  <a:lnTo>
                    <a:pt x="281" y="189"/>
                  </a:lnTo>
                  <a:lnTo>
                    <a:pt x="276" y="186"/>
                  </a:lnTo>
                  <a:lnTo>
                    <a:pt x="256" y="172"/>
                  </a:lnTo>
                  <a:lnTo>
                    <a:pt x="236" y="156"/>
                  </a:lnTo>
                  <a:lnTo>
                    <a:pt x="215" y="139"/>
                  </a:lnTo>
                  <a:lnTo>
                    <a:pt x="196" y="124"/>
                  </a:lnTo>
                  <a:lnTo>
                    <a:pt x="183" y="115"/>
                  </a:lnTo>
                  <a:lnTo>
                    <a:pt x="170" y="107"/>
                  </a:lnTo>
                  <a:lnTo>
                    <a:pt x="158" y="96"/>
                  </a:lnTo>
                  <a:lnTo>
                    <a:pt x="147" y="86"/>
                  </a:lnTo>
                  <a:lnTo>
                    <a:pt x="137" y="71"/>
                  </a:lnTo>
                  <a:lnTo>
                    <a:pt x="126" y="54"/>
                  </a:lnTo>
                  <a:lnTo>
                    <a:pt x="121" y="50"/>
                  </a:lnTo>
                  <a:lnTo>
                    <a:pt x="116" y="41"/>
                  </a:lnTo>
                  <a:lnTo>
                    <a:pt x="110" y="30"/>
                  </a:lnTo>
                  <a:lnTo>
                    <a:pt x="107" y="22"/>
                  </a:lnTo>
                  <a:lnTo>
                    <a:pt x="106" y="21"/>
                  </a:lnTo>
                  <a:lnTo>
                    <a:pt x="105" y="18"/>
                  </a:lnTo>
                  <a:lnTo>
                    <a:pt x="105" y="16"/>
                  </a:lnTo>
                  <a:lnTo>
                    <a:pt x="105" y="14"/>
                  </a:lnTo>
                  <a:lnTo>
                    <a:pt x="99" y="11"/>
                  </a:lnTo>
                  <a:lnTo>
                    <a:pt x="93" y="8"/>
                  </a:lnTo>
                  <a:lnTo>
                    <a:pt x="92" y="5"/>
                  </a:lnTo>
                  <a:lnTo>
                    <a:pt x="91" y="3"/>
                  </a:lnTo>
                  <a:lnTo>
                    <a:pt x="74" y="2"/>
                  </a:lnTo>
                  <a:lnTo>
                    <a:pt x="59" y="0"/>
                  </a:lnTo>
                  <a:lnTo>
                    <a:pt x="58" y="2"/>
                  </a:lnTo>
                  <a:lnTo>
                    <a:pt x="55" y="3"/>
                  </a:lnTo>
                  <a:lnTo>
                    <a:pt x="53" y="3"/>
                  </a:lnTo>
                  <a:lnTo>
                    <a:pt x="51" y="3"/>
                  </a:lnTo>
                  <a:lnTo>
                    <a:pt x="50" y="5"/>
                  </a:lnTo>
                  <a:lnTo>
                    <a:pt x="48" y="8"/>
                  </a:lnTo>
                  <a:lnTo>
                    <a:pt x="38" y="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7" name="Freeform 90">
              <a:extLst>
                <a:ext uri="{FF2B5EF4-FFF2-40B4-BE49-F238E27FC236}">
                  <a16:creationId xmlns:a16="http://schemas.microsoft.com/office/drawing/2014/main" id="{E7993E54-BD2E-4F04-9EB1-087A54AA650C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134350" y="4484688"/>
              <a:ext cx="69850" cy="57311"/>
            </a:xfrm>
            <a:custGeom>
              <a:avLst/>
              <a:gdLst/>
              <a:ahLst/>
              <a:cxnLst>
                <a:cxn ang="0">
                  <a:pos x="188" y="65"/>
                </a:cxn>
                <a:cxn ang="0">
                  <a:pos x="179" y="83"/>
                </a:cxn>
                <a:cxn ang="0">
                  <a:pos x="167" y="102"/>
                </a:cxn>
                <a:cxn ang="0">
                  <a:pos x="153" y="113"/>
                </a:cxn>
                <a:cxn ang="0">
                  <a:pos x="134" y="118"/>
                </a:cxn>
                <a:cxn ang="0">
                  <a:pos x="93" y="128"/>
                </a:cxn>
                <a:cxn ang="0">
                  <a:pos x="65" y="133"/>
                </a:cxn>
                <a:cxn ang="0">
                  <a:pos x="43" y="147"/>
                </a:cxn>
                <a:cxn ang="0">
                  <a:pos x="20" y="166"/>
                </a:cxn>
                <a:cxn ang="0">
                  <a:pos x="8" y="180"/>
                </a:cxn>
                <a:cxn ang="0">
                  <a:pos x="2" y="190"/>
                </a:cxn>
                <a:cxn ang="0">
                  <a:pos x="0" y="204"/>
                </a:cxn>
                <a:cxn ang="0">
                  <a:pos x="2" y="222"/>
                </a:cxn>
                <a:cxn ang="0">
                  <a:pos x="7" y="234"/>
                </a:cxn>
                <a:cxn ang="0">
                  <a:pos x="11" y="241"/>
                </a:cxn>
                <a:cxn ang="0">
                  <a:pos x="19" y="246"/>
                </a:cxn>
                <a:cxn ang="0">
                  <a:pos x="28" y="248"/>
                </a:cxn>
                <a:cxn ang="0">
                  <a:pos x="45" y="250"/>
                </a:cxn>
                <a:cxn ang="0">
                  <a:pos x="72" y="253"/>
                </a:cxn>
                <a:cxn ang="0">
                  <a:pos x="115" y="262"/>
                </a:cxn>
                <a:cxn ang="0">
                  <a:pos x="150" y="271"/>
                </a:cxn>
                <a:cxn ang="0">
                  <a:pos x="170" y="280"/>
                </a:cxn>
                <a:cxn ang="0">
                  <a:pos x="197" y="296"/>
                </a:cxn>
                <a:cxn ang="0">
                  <a:pos x="231" y="323"/>
                </a:cxn>
                <a:cxn ang="0">
                  <a:pos x="258" y="341"/>
                </a:cxn>
                <a:cxn ang="0">
                  <a:pos x="277" y="351"/>
                </a:cxn>
                <a:cxn ang="0">
                  <a:pos x="296" y="357"/>
                </a:cxn>
                <a:cxn ang="0">
                  <a:pos x="313" y="360"/>
                </a:cxn>
                <a:cxn ang="0">
                  <a:pos x="326" y="360"/>
                </a:cxn>
                <a:cxn ang="0">
                  <a:pos x="337" y="357"/>
                </a:cxn>
                <a:cxn ang="0">
                  <a:pos x="347" y="351"/>
                </a:cxn>
                <a:cxn ang="0">
                  <a:pos x="355" y="344"/>
                </a:cxn>
                <a:cxn ang="0">
                  <a:pos x="364" y="330"/>
                </a:cxn>
                <a:cxn ang="0">
                  <a:pos x="371" y="305"/>
                </a:cxn>
                <a:cxn ang="0">
                  <a:pos x="373" y="277"/>
                </a:cxn>
                <a:cxn ang="0">
                  <a:pos x="373" y="235"/>
                </a:cxn>
                <a:cxn ang="0">
                  <a:pos x="374" y="179"/>
                </a:cxn>
                <a:cxn ang="0">
                  <a:pos x="381" y="118"/>
                </a:cxn>
                <a:cxn ang="0">
                  <a:pos x="386" y="80"/>
                </a:cxn>
                <a:cxn ang="0">
                  <a:pos x="383" y="53"/>
                </a:cxn>
                <a:cxn ang="0">
                  <a:pos x="375" y="26"/>
                </a:cxn>
                <a:cxn ang="0">
                  <a:pos x="365" y="11"/>
                </a:cxn>
                <a:cxn ang="0">
                  <a:pos x="356" y="5"/>
                </a:cxn>
                <a:cxn ang="0">
                  <a:pos x="350" y="3"/>
                </a:cxn>
                <a:cxn ang="0">
                  <a:pos x="344" y="1"/>
                </a:cxn>
                <a:cxn ang="0">
                  <a:pos x="332" y="0"/>
                </a:cxn>
                <a:cxn ang="0">
                  <a:pos x="308" y="1"/>
                </a:cxn>
                <a:cxn ang="0">
                  <a:pos x="287" y="10"/>
                </a:cxn>
                <a:cxn ang="0">
                  <a:pos x="264" y="25"/>
                </a:cxn>
                <a:cxn ang="0">
                  <a:pos x="253" y="36"/>
                </a:cxn>
                <a:cxn ang="0">
                  <a:pos x="244" y="43"/>
                </a:cxn>
                <a:cxn ang="0">
                  <a:pos x="227" y="46"/>
                </a:cxn>
                <a:cxn ang="0">
                  <a:pos x="205" y="53"/>
                </a:cxn>
              </a:cxnLst>
              <a:rect l="0" t="0" r="r" b="b"/>
              <a:pathLst>
                <a:path w="386" h="360">
                  <a:moveTo>
                    <a:pt x="192" y="58"/>
                  </a:moveTo>
                  <a:lnTo>
                    <a:pt x="188" y="65"/>
                  </a:lnTo>
                  <a:lnTo>
                    <a:pt x="183" y="74"/>
                  </a:lnTo>
                  <a:lnTo>
                    <a:pt x="179" y="83"/>
                  </a:lnTo>
                  <a:lnTo>
                    <a:pt x="176" y="91"/>
                  </a:lnTo>
                  <a:lnTo>
                    <a:pt x="167" y="102"/>
                  </a:lnTo>
                  <a:lnTo>
                    <a:pt x="157" y="112"/>
                  </a:lnTo>
                  <a:lnTo>
                    <a:pt x="153" y="113"/>
                  </a:lnTo>
                  <a:lnTo>
                    <a:pt x="151" y="117"/>
                  </a:lnTo>
                  <a:lnTo>
                    <a:pt x="134" y="118"/>
                  </a:lnTo>
                  <a:lnTo>
                    <a:pt x="114" y="123"/>
                  </a:lnTo>
                  <a:lnTo>
                    <a:pt x="93" y="128"/>
                  </a:lnTo>
                  <a:lnTo>
                    <a:pt x="75" y="131"/>
                  </a:lnTo>
                  <a:lnTo>
                    <a:pt x="65" y="133"/>
                  </a:lnTo>
                  <a:lnTo>
                    <a:pt x="55" y="139"/>
                  </a:lnTo>
                  <a:lnTo>
                    <a:pt x="43" y="147"/>
                  </a:lnTo>
                  <a:lnTo>
                    <a:pt x="31" y="156"/>
                  </a:lnTo>
                  <a:lnTo>
                    <a:pt x="20" y="166"/>
                  </a:lnTo>
                  <a:lnTo>
                    <a:pt x="11" y="176"/>
                  </a:lnTo>
                  <a:lnTo>
                    <a:pt x="8" y="180"/>
                  </a:lnTo>
                  <a:lnTo>
                    <a:pt x="5" y="186"/>
                  </a:lnTo>
                  <a:lnTo>
                    <a:pt x="2" y="190"/>
                  </a:lnTo>
                  <a:lnTo>
                    <a:pt x="1" y="194"/>
                  </a:lnTo>
                  <a:lnTo>
                    <a:pt x="0" y="204"/>
                  </a:lnTo>
                  <a:lnTo>
                    <a:pt x="0" y="213"/>
                  </a:lnTo>
                  <a:lnTo>
                    <a:pt x="2" y="222"/>
                  </a:lnTo>
                  <a:lnTo>
                    <a:pt x="5" y="231"/>
                  </a:lnTo>
                  <a:lnTo>
                    <a:pt x="7" y="234"/>
                  </a:lnTo>
                  <a:lnTo>
                    <a:pt x="9" y="237"/>
                  </a:lnTo>
                  <a:lnTo>
                    <a:pt x="11" y="241"/>
                  </a:lnTo>
                  <a:lnTo>
                    <a:pt x="15" y="244"/>
                  </a:lnTo>
                  <a:lnTo>
                    <a:pt x="19" y="246"/>
                  </a:lnTo>
                  <a:lnTo>
                    <a:pt x="23" y="247"/>
                  </a:lnTo>
                  <a:lnTo>
                    <a:pt x="28" y="248"/>
                  </a:lnTo>
                  <a:lnTo>
                    <a:pt x="33" y="248"/>
                  </a:lnTo>
                  <a:lnTo>
                    <a:pt x="45" y="250"/>
                  </a:lnTo>
                  <a:lnTo>
                    <a:pt x="58" y="251"/>
                  </a:lnTo>
                  <a:lnTo>
                    <a:pt x="72" y="253"/>
                  </a:lnTo>
                  <a:lnTo>
                    <a:pt x="86" y="256"/>
                  </a:lnTo>
                  <a:lnTo>
                    <a:pt x="115" y="262"/>
                  </a:lnTo>
                  <a:lnTo>
                    <a:pt x="140" y="267"/>
                  </a:lnTo>
                  <a:lnTo>
                    <a:pt x="150" y="271"/>
                  </a:lnTo>
                  <a:lnTo>
                    <a:pt x="160" y="274"/>
                  </a:lnTo>
                  <a:lnTo>
                    <a:pt x="170" y="280"/>
                  </a:lnTo>
                  <a:lnTo>
                    <a:pt x="179" y="284"/>
                  </a:lnTo>
                  <a:lnTo>
                    <a:pt x="197" y="296"/>
                  </a:lnTo>
                  <a:lnTo>
                    <a:pt x="215" y="310"/>
                  </a:lnTo>
                  <a:lnTo>
                    <a:pt x="231" y="323"/>
                  </a:lnTo>
                  <a:lnTo>
                    <a:pt x="249" y="335"/>
                  </a:lnTo>
                  <a:lnTo>
                    <a:pt x="258" y="341"/>
                  </a:lnTo>
                  <a:lnTo>
                    <a:pt x="268" y="347"/>
                  </a:lnTo>
                  <a:lnTo>
                    <a:pt x="277" y="351"/>
                  </a:lnTo>
                  <a:lnTo>
                    <a:pt x="287" y="354"/>
                  </a:lnTo>
                  <a:lnTo>
                    <a:pt x="296" y="357"/>
                  </a:lnTo>
                  <a:lnTo>
                    <a:pt x="305" y="359"/>
                  </a:lnTo>
                  <a:lnTo>
                    <a:pt x="313" y="360"/>
                  </a:lnTo>
                  <a:lnTo>
                    <a:pt x="320" y="360"/>
                  </a:lnTo>
                  <a:lnTo>
                    <a:pt x="326" y="360"/>
                  </a:lnTo>
                  <a:lnTo>
                    <a:pt x="332" y="359"/>
                  </a:lnTo>
                  <a:lnTo>
                    <a:pt x="337" y="357"/>
                  </a:lnTo>
                  <a:lnTo>
                    <a:pt x="343" y="354"/>
                  </a:lnTo>
                  <a:lnTo>
                    <a:pt x="347" y="351"/>
                  </a:lnTo>
                  <a:lnTo>
                    <a:pt x="352" y="348"/>
                  </a:lnTo>
                  <a:lnTo>
                    <a:pt x="355" y="344"/>
                  </a:lnTo>
                  <a:lnTo>
                    <a:pt x="359" y="340"/>
                  </a:lnTo>
                  <a:lnTo>
                    <a:pt x="364" y="330"/>
                  </a:lnTo>
                  <a:lnTo>
                    <a:pt x="368" y="318"/>
                  </a:lnTo>
                  <a:lnTo>
                    <a:pt x="371" y="305"/>
                  </a:lnTo>
                  <a:lnTo>
                    <a:pt x="372" y="292"/>
                  </a:lnTo>
                  <a:lnTo>
                    <a:pt x="373" y="277"/>
                  </a:lnTo>
                  <a:lnTo>
                    <a:pt x="374" y="263"/>
                  </a:lnTo>
                  <a:lnTo>
                    <a:pt x="373" y="235"/>
                  </a:lnTo>
                  <a:lnTo>
                    <a:pt x="373" y="209"/>
                  </a:lnTo>
                  <a:lnTo>
                    <a:pt x="374" y="179"/>
                  </a:lnTo>
                  <a:lnTo>
                    <a:pt x="376" y="148"/>
                  </a:lnTo>
                  <a:lnTo>
                    <a:pt x="381" y="118"/>
                  </a:lnTo>
                  <a:lnTo>
                    <a:pt x="385" y="89"/>
                  </a:lnTo>
                  <a:lnTo>
                    <a:pt x="386" y="80"/>
                  </a:lnTo>
                  <a:lnTo>
                    <a:pt x="385" y="67"/>
                  </a:lnTo>
                  <a:lnTo>
                    <a:pt x="383" y="53"/>
                  </a:lnTo>
                  <a:lnTo>
                    <a:pt x="380" y="39"/>
                  </a:lnTo>
                  <a:lnTo>
                    <a:pt x="375" y="26"/>
                  </a:lnTo>
                  <a:lnTo>
                    <a:pt x="369" y="15"/>
                  </a:lnTo>
                  <a:lnTo>
                    <a:pt x="365" y="11"/>
                  </a:lnTo>
                  <a:lnTo>
                    <a:pt x="361" y="7"/>
                  </a:lnTo>
                  <a:lnTo>
                    <a:pt x="356" y="5"/>
                  </a:lnTo>
                  <a:lnTo>
                    <a:pt x="352" y="5"/>
                  </a:lnTo>
                  <a:lnTo>
                    <a:pt x="350" y="3"/>
                  </a:lnTo>
                  <a:lnTo>
                    <a:pt x="345" y="3"/>
                  </a:lnTo>
                  <a:lnTo>
                    <a:pt x="344" y="1"/>
                  </a:lnTo>
                  <a:lnTo>
                    <a:pt x="340" y="0"/>
                  </a:lnTo>
                  <a:lnTo>
                    <a:pt x="332" y="0"/>
                  </a:lnTo>
                  <a:lnTo>
                    <a:pt x="324" y="0"/>
                  </a:lnTo>
                  <a:lnTo>
                    <a:pt x="308" y="1"/>
                  </a:lnTo>
                  <a:lnTo>
                    <a:pt x="299" y="3"/>
                  </a:lnTo>
                  <a:lnTo>
                    <a:pt x="287" y="10"/>
                  </a:lnTo>
                  <a:lnTo>
                    <a:pt x="272" y="20"/>
                  </a:lnTo>
                  <a:lnTo>
                    <a:pt x="264" y="25"/>
                  </a:lnTo>
                  <a:lnTo>
                    <a:pt x="257" y="31"/>
                  </a:lnTo>
                  <a:lnTo>
                    <a:pt x="253" y="36"/>
                  </a:lnTo>
                  <a:lnTo>
                    <a:pt x="249" y="41"/>
                  </a:lnTo>
                  <a:lnTo>
                    <a:pt x="244" y="43"/>
                  </a:lnTo>
                  <a:lnTo>
                    <a:pt x="237" y="45"/>
                  </a:lnTo>
                  <a:lnTo>
                    <a:pt x="227" y="46"/>
                  </a:lnTo>
                  <a:lnTo>
                    <a:pt x="216" y="46"/>
                  </a:lnTo>
                  <a:lnTo>
                    <a:pt x="205" y="53"/>
                  </a:lnTo>
                  <a:lnTo>
                    <a:pt x="192" y="5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8" name="Freeform 91">
              <a:extLst>
                <a:ext uri="{FF2B5EF4-FFF2-40B4-BE49-F238E27FC236}">
                  <a16:creationId xmlns:a16="http://schemas.microsoft.com/office/drawing/2014/main" id="{48B26CA6-9BFB-4A81-B279-A6DC85EBE976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326438" y="4392613"/>
              <a:ext cx="49432" cy="41275"/>
            </a:xfrm>
            <a:custGeom>
              <a:avLst/>
              <a:gdLst/>
              <a:ahLst/>
              <a:cxnLst>
                <a:cxn ang="0">
                  <a:pos x="236" y="18"/>
                </a:cxn>
                <a:cxn ang="0">
                  <a:pos x="222" y="24"/>
                </a:cxn>
                <a:cxn ang="0">
                  <a:pos x="205" y="27"/>
                </a:cxn>
                <a:cxn ang="0">
                  <a:pos x="186" y="27"/>
                </a:cxn>
                <a:cxn ang="0">
                  <a:pos x="138" y="20"/>
                </a:cxn>
                <a:cxn ang="0">
                  <a:pos x="90" y="12"/>
                </a:cxn>
                <a:cxn ang="0">
                  <a:pos x="71" y="12"/>
                </a:cxn>
                <a:cxn ang="0">
                  <a:pos x="61" y="17"/>
                </a:cxn>
                <a:cxn ang="0">
                  <a:pos x="44" y="26"/>
                </a:cxn>
                <a:cxn ang="0">
                  <a:pos x="29" y="37"/>
                </a:cxn>
                <a:cxn ang="0">
                  <a:pos x="15" y="52"/>
                </a:cxn>
                <a:cxn ang="0">
                  <a:pos x="6" y="66"/>
                </a:cxn>
                <a:cxn ang="0">
                  <a:pos x="1" y="76"/>
                </a:cxn>
                <a:cxn ang="0">
                  <a:pos x="1" y="87"/>
                </a:cxn>
                <a:cxn ang="0">
                  <a:pos x="8" y="99"/>
                </a:cxn>
                <a:cxn ang="0">
                  <a:pos x="29" y="116"/>
                </a:cxn>
                <a:cxn ang="0">
                  <a:pos x="44" y="132"/>
                </a:cxn>
                <a:cxn ang="0">
                  <a:pos x="51" y="144"/>
                </a:cxn>
                <a:cxn ang="0">
                  <a:pos x="60" y="151"/>
                </a:cxn>
                <a:cxn ang="0">
                  <a:pos x="71" y="162"/>
                </a:cxn>
                <a:cxn ang="0">
                  <a:pos x="80" y="174"/>
                </a:cxn>
                <a:cxn ang="0">
                  <a:pos x="100" y="201"/>
                </a:cxn>
                <a:cxn ang="0">
                  <a:pos x="111" y="212"/>
                </a:cxn>
                <a:cxn ang="0">
                  <a:pos x="125" y="222"/>
                </a:cxn>
                <a:cxn ang="0">
                  <a:pos x="156" y="242"/>
                </a:cxn>
                <a:cxn ang="0">
                  <a:pos x="171" y="251"/>
                </a:cxn>
                <a:cxn ang="0">
                  <a:pos x="188" y="257"/>
                </a:cxn>
                <a:cxn ang="0">
                  <a:pos x="200" y="261"/>
                </a:cxn>
                <a:cxn ang="0">
                  <a:pos x="233" y="259"/>
                </a:cxn>
                <a:cxn ang="0">
                  <a:pos x="243" y="253"/>
                </a:cxn>
                <a:cxn ang="0">
                  <a:pos x="253" y="244"/>
                </a:cxn>
                <a:cxn ang="0">
                  <a:pos x="267" y="231"/>
                </a:cxn>
                <a:cxn ang="0">
                  <a:pos x="271" y="213"/>
                </a:cxn>
                <a:cxn ang="0">
                  <a:pos x="269" y="183"/>
                </a:cxn>
                <a:cxn ang="0">
                  <a:pos x="267" y="162"/>
                </a:cxn>
                <a:cxn ang="0">
                  <a:pos x="262" y="144"/>
                </a:cxn>
                <a:cxn ang="0">
                  <a:pos x="259" y="125"/>
                </a:cxn>
                <a:cxn ang="0">
                  <a:pos x="259" y="99"/>
                </a:cxn>
                <a:cxn ang="0">
                  <a:pos x="264" y="79"/>
                </a:cxn>
                <a:cxn ang="0">
                  <a:pos x="272" y="60"/>
                </a:cxn>
                <a:cxn ang="0">
                  <a:pos x="276" y="49"/>
                </a:cxn>
                <a:cxn ang="0">
                  <a:pos x="280" y="37"/>
                </a:cxn>
                <a:cxn ang="0">
                  <a:pos x="283" y="9"/>
                </a:cxn>
                <a:cxn ang="0">
                  <a:pos x="276" y="7"/>
                </a:cxn>
                <a:cxn ang="0">
                  <a:pos x="273" y="4"/>
                </a:cxn>
                <a:cxn ang="0">
                  <a:pos x="266" y="2"/>
                </a:cxn>
                <a:cxn ang="0">
                  <a:pos x="253" y="0"/>
                </a:cxn>
                <a:cxn ang="0">
                  <a:pos x="248" y="9"/>
                </a:cxn>
              </a:cxnLst>
              <a:rect l="0" t="0" r="r" b="b"/>
              <a:pathLst>
                <a:path w="283" h="261">
                  <a:moveTo>
                    <a:pt x="242" y="13"/>
                  </a:moveTo>
                  <a:lnTo>
                    <a:pt x="236" y="18"/>
                  </a:lnTo>
                  <a:lnTo>
                    <a:pt x="229" y="22"/>
                  </a:lnTo>
                  <a:lnTo>
                    <a:pt x="222" y="24"/>
                  </a:lnTo>
                  <a:lnTo>
                    <a:pt x="214" y="27"/>
                  </a:lnTo>
                  <a:lnTo>
                    <a:pt x="205" y="27"/>
                  </a:lnTo>
                  <a:lnTo>
                    <a:pt x="196" y="28"/>
                  </a:lnTo>
                  <a:lnTo>
                    <a:pt x="186" y="27"/>
                  </a:lnTo>
                  <a:lnTo>
                    <a:pt x="176" y="27"/>
                  </a:lnTo>
                  <a:lnTo>
                    <a:pt x="138" y="20"/>
                  </a:lnTo>
                  <a:lnTo>
                    <a:pt x="106" y="13"/>
                  </a:lnTo>
                  <a:lnTo>
                    <a:pt x="90" y="12"/>
                  </a:lnTo>
                  <a:lnTo>
                    <a:pt x="75" y="11"/>
                  </a:lnTo>
                  <a:lnTo>
                    <a:pt x="71" y="12"/>
                  </a:lnTo>
                  <a:lnTo>
                    <a:pt x="65" y="13"/>
                  </a:lnTo>
                  <a:lnTo>
                    <a:pt x="61" y="17"/>
                  </a:lnTo>
                  <a:lnTo>
                    <a:pt x="55" y="19"/>
                  </a:lnTo>
                  <a:lnTo>
                    <a:pt x="44" y="26"/>
                  </a:lnTo>
                  <a:lnTo>
                    <a:pt x="36" y="31"/>
                  </a:lnTo>
                  <a:lnTo>
                    <a:pt x="29" y="37"/>
                  </a:lnTo>
                  <a:lnTo>
                    <a:pt x="22" y="45"/>
                  </a:lnTo>
                  <a:lnTo>
                    <a:pt x="15" y="52"/>
                  </a:lnTo>
                  <a:lnTo>
                    <a:pt x="11" y="61"/>
                  </a:lnTo>
                  <a:lnTo>
                    <a:pt x="6" y="66"/>
                  </a:lnTo>
                  <a:lnTo>
                    <a:pt x="3" y="71"/>
                  </a:lnTo>
                  <a:lnTo>
                    <a:pt x="1" y="76"/>
                  </a:lnTo>
                  <a:lnTo>
                    <a:pt x="0" y="80"/>
                  </a:lnTo>
                  <a:lnTo>
                    <a:pt x="1" y="87"/>
                  </a:lnTo>
                  <a:lnTo>
                    <a:pt x="4" y="94"/>
                  </a:lnTo>
                  <a:lnTo>
                    <a:pt x="8" y="99"/>
                  </a:lnTo>
                  <a:lnTo>
                    <a:pt x="15" y="105"/>
                  </a:lnTo>
                  <a:lnTo>
                    <a:pt x="29" y="116"/>
                  </a:lnTo>
                  <a:lnTo>
                    <a:pt x="41" y="126"/>
                  </a:lnTo>
                  <a:lnTo>
                    <a:pt x="44" y="132"/>
                  </a:lnTo>
                  <a:lnTo>
                    <a:pt x="48" y="138"/>
                  </a:lnTo>
                  <a:lnTo>
                    <a:pt x="51" y="144"/>
                  </a:lnTo>
                  <a:lnTo>
                    <a:pt x="55" y="148"/>
                  </a:lnTo>
                  <a:lnTo>
                    <a:pt x="60" y="151"/>
                  </a:lnTo>
                  <a:lnTo>
                    <a:pt x="65" y="155"/>
                  </a:lnTo>
                  <a:lnTo>
                    <a:pt x="71" y="162"/>
                  </a:lnTo>
                  <a:lnTo>
                    <a:pt x="75" y="168"/>
                  </a:lnTo>
                  <a:lnTo>
                    <a:pt x="80" y="174"/>
                  </a:lnTo>
                  <a:lnTo>
                    <a:pt x="90" y="187"/>
                  </a:lnTo>
                  <a:lnTo>
                    <a:pt x="100" y="201"/>
                  </a:lnTo>
                  <a:lnTo>
                    <a:pt x="106" y="206"/>
                  </a:lnTo>
                  <a:lnTo>
                    <a:pt x="111" y="212"/>
                  </a:lnTo>
                  <a:lnTo>
                    <a:pt x="118" y="218"/>
                  </a:lnTo>
                  <a:lnTo>
                    <a:pt x="125" y="222"/>
                  </a:lnTo>
                  <a:lnTo>
                    <a:pt x="140" y="231"/>
                  </a:lnTo>
                  <a:lnTo>
                    <a:pt x="156" y="242"/>
                  </a:lnTo>
                  <a:lnTo>
                    <a:pt x="164" y="247"/>
                  </a:lnTo>
                  <a:lnTo>
                    <a:pt x="171" y="251"/>
                  </a:lnTo>
                  <a:lnTo>
                    <a:pt x="179" y="254"/>
                  </a:lnTo>
                  <a:lnTo>
                    <a:pt x="188" y="257"/>
                  </a:lnTo>
                  <a:lnTo>
                    <a:pt x="195" y="259"/>
                  </a:lnTo>
                  <a:lnTo>
                    <a:pt x="200" y="261"/>
                  </a:lnTo>
                  <a:lnTo>
                    <a:pt x="218" y="260"/>
                  </a:lnTo>
                  <a:lnTo>
                    <a:pt x="233" y="259"/>
                  </a:lnTo>
                  <a:lnTo>
                    <a:pt x="240" y="257"/>
                  </a:lnTo>
                  <a:lnTo>
                    <a:pt x="243" y="253"/>
                  </a:lnTo>
                  <a:lnTo>
                    <a:pt x="246" y="248"/>
                  </a:lnTo>
                  <a:lnTo>
                    <a:pt x="253" y="244"/>
                  </a:lnTo>
                  <a:lnTo>
                    <a:pt x="261" y="238"/>
                  </a:lnTo>
                  <a:lnTo>
                    <a:pt x="267" y="231"/>
                  </a:lnTo>
                  <a:lnTo>
                    <a:pt x="270" y="226"/>
                  </a:lnTo>
                  <a:lnTo>
                    <a:pt x="271" y="213"/>
                  </a:lnTo>
                  <a:lnTo>
                    <a:pt x="270" y="199"/>
                  </a:lnTo>
                  <a:lnTo>
                    <a:pt x="269" y="183"/>
                  </a:lnTo>
                  <a:lnTo>
                    <a:pt x="269" y="170"/>
                  </a:lnTo>
                  <a:lnTo>
                    <a:pt x="267" y="162"/>
                  </a:lnTo>
                  <a:lnTo>
                    <a:pt x="264" y="153"/>
                  </a:lnTo>
                  <a:lnTo>
                    <a:pt x="262" y="144"/>
                  </a:lnTo>
                  <a:lnTo>
                    <a:pt x="260" y="135"/>
                  </a:lnTo>
                  <a:lnTo>
                    <a:pt x="259" y="125"/>
                  </a:lnTo>
                  <a:lnTo>
                    <a:pt x="257" y="113"/>
                  </a:lnTo>
                  <a:lnTo>
                    <a:pt x="259" y="99"/>
                  </a:lnTo>
                  <a:lnTo>
                    <a:pt x="260" y="89"/>
                  </a:lnTo>
                  <a:lnTo>
                    <a:pt x="264" y="79"/>
                  </a:lnTo>
                  <a:lnTo>
                    <a:pt x="270" y="67"/>
                  </a:lnTo>
                  <a:lnTo>
                    <a:pt x="272" y="60"/>
                  </a:lnTo>
                  <a:lnTo>
                    <a:pt x="274" y="55"/>
                  </a:lnTo>
                  <a:lnTo>
                    <a:pt x="276" y="49"/>
                  </a:lnTo>
                  <a:lnTo>
                    <a:pt x="276" y="43"/>
                  </a:lnTo>
                  <a:lnTo>
                    <a:pt x="280" y="37"/>
                  </a:lnTo>
                  <a:lnTo>
                    <a:pt x="283" y="29"/>
                  </a:lnTo>
                  <a:lnTo>
                    <a:pt x="283" y="9"/>
                  </a:lnTo>
                  <a:lnTo>
                    <a:pt x="281" y="7"/>
                  </a:lnTo>
                  <a:lnTo>
                    <a:pt x="276" y="7"/>
                  </a:lnTo>
                  <a:lnTo>
                    <a:pt x="276" y="6"/>
                  </a:lnTo>
                  <a:lnTo>
                    <a:pt x="273" y="4"/>
                  </a:lnTo>
                  <a:lnTo>
                    <a:pt x="271" y="3"/>
                  </a:lnTo>
                  <a:lnTo>
                    <a:pt x="266" y="2"/>
                  </a:lnTo>
                  <a:lnTo>
                    <a:pt x="259" y="1"/>
                  </a:lnTo>
                  <a:lnTo>
                    <a:pt x="253" y="0"/>
                  </a:lnTo>
                  <a:lnTo>
                    <a:pt x="248" y="4"/>
                  </a:lnTo>
                  <a:lnTo>
                    <a:pt x="248" y="9"/>
                  </a:lnTo>
                  <a:lnTo>
                    <a:pt x="242" y="13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39" name="Freeform 92">
              <a:extLst>
                <a:ext uri="{FF2B5EF4-FFF2-40B4-BE49-F238E27FC236}">
                  <a16:creationId xmlns:a16="http://schemas.microsoft.com/office/drawing/2014/main" id="{64593901-1674-4839-A721-DB0C44FB5A11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474075" y="4411663"/>
              <a:ext cx="59162" cy="39688"/>
            </a:xfrm>
            <a:custGeom>
              <a:avLst/>
              <a:gdLst/>
              <a:ahLst/>
              <a:cxnLst>
                <a:cxn ang="0">
                  <a:pos x="143" y="7"/>
                </a:cxn>
                <a:cxn ang="0">
                  <a:pos x="110" y="21"/>
                </a:cxn>
                <a:cxn ang="0">
                  <a:pos x="89" y="32"/>
                </a:cxn>
                <a:cxn ang="0">
                  <a:pos x="70" y="44"/>
                </a:cxn>
                <a:cxn ang="0">
                  <a:pos x="52" y="60"/>
                </a:cxn>
                <a:cxn ang="0">
                  <a:pos x="39" y="77"/>
                </a:cxn>
                <a:cxn ang="0">
                  <a:pos x="28" y="98"/>
                </a:cxn>
                <a:cxn ang="0">
                  <a:pos x="21" y="118"/>
                </a:cxn>
                <a:cxn ang="0">
                  <a:pos x="10" y="138"/>
                </a:cxn>
                <a:cxn ang="0">
                  <a:pos x="4" y="158"/>
                </a:cxn>
                <a:cxn ang="0">
                  <a:pos x="1" y="184"/>
                </a:cxn>
                <a:cxn ang="0">
                  <a:pos x="1" y="202"/>
                </a:cxn>
                <a:cxn ang="0">
                  <a:pos x="8" y="215"/>
                </a:cxn>
                <a:cxn ang="0">
                  <a:pos x="22" y="227"/>
                </a:cxn>
                <a:cxn ang="0">
                  <a:pos x="31" y="235"/>
                </a:cxn>
                <a:cxn ang="0">
                  <a:pos x="41" y="240"/>
                </a:cxn>
                <a:cxn ang="0">
                  <a:pos x="62" y="252"/>
                </a:cxn>
                <a:cxn ang="0">
                  <a:pos x="115" y="255"/>
                </a:cxn>
                <a:cxn ang="0">
                  <a:pos x="127" y="242"/>
                </a:cxn>
                <a:cxn ang="0">
                  <a:pos x="138" y="226"/>
                </a:cxn>
                <a:cxn ang="0">
                  <a:pos x="154" y="213"/>
                </a:cxn>
                <a:cxn ang="0">
                  <a:pos x="171" y="202"/>
                </a:cxn>
                <a:cxn ang="0">
                  <a:pos x="188" y="196"/>
                </a:cxn>
                <a:cxn ang="0">
                  <a:pos x="210" y="192"/>
                </a:cxn>
                <a:cxn ang="0">
                  <a:pos x="232" y="189"/>
                </a:cxn>
                <a:cxn ang="0">
                  <a:pos x="244" y="187"/>
                </a:cxn>
                <a:cxn ang="0">
                  <a:pos x="261" y="181"/>
                </a:cxn>
                <a:cxn ang="0">
                  <a:pos x="288" y="168"/>
                </a:cxn>
                <a:cxn ang="0">
                  <a:pos x="308" y="150"/>
                </a:cxn>
                <a:cxn ang="0">
                  <a:pos x="316" y="146"/>
                </a:cxn>
                <a:cxn ang="0">
                  <a:pos x="322" y="140"/>
                </a:cxn>
                <a:cxn ang="0">
                  <a:pos x="327" y="133"/>
                </a:cxn>
                <a:cxn ang="0">
                  <a:pos x="338" y="113"/>
                </a:cxn>
                <a:cxn ang="0">
                  <a:pos x="345" y="90"/>
                </a:cxn>
                <a:cxn ang="0">
                  <a:pos x="344" y="76"/>
                </a:cxn>
                <a:cxn ang="0">
                  <a:pos x="340" y="65"/>
                </a:cxn>
                <a:cxn ang="0">
                  <a:pos x="329" y="52"/>
                </a:cxn>
                <a:cxn ang="0">
                  <a:pos x="322" y="46"/>
                </a:cxn>
                <a:cxn ang="0">
                  <a:pos x="316" y="44"/>
                </a:cxn>
                <a:cxn ang="0">
                  <a:pos x="311" y="40"/>
                </a:cxn>
                <a:cxn ang="0">
                  <a:pos x="299" y="35"/>
                </a:cxn>
                <a:cxn ang="0">
                  <a:pos x="278" y="31"/>
                </a:cxn>
                <a:cxn ang="0">
                  <a:pos x="249" y="26"/>
                </a:cxn>
                <a:cxn ang="0">
                  <a:pos x="221" y="22"/>
                </a:cxn>
                <a:cxn ang="0">
                  <a:pos x="210" y="15"/>
                </a:cxn>
                <a:cxn ang="0">
                  <a:pos x="195" y="12"/>
                </a:cxn>
                <a:cxn ang="0">
                  <a:pos x="191" y="9"/>
                </a:cxn>
                <a:cxn ang="0">
                  <a:pos x="182" y="5"/>
                </a:cxn>
                <a:cxn ang="0">
                  <a:pos x="176" y="3"/>
                </a:cxn>
                <a:cxn ang="0">
                  <a:pos x="169" y="0"/>
                </a:cxn>
              </a:cxnLst>
              <a:rect l="0" t="0" r="r" b="b"/>
              <a:pathLst>
                <a:path w="345" h="255">
                  <a:moveTo>
                    <a:pt x="165" y="0"/>
                  </a:moveTo>
                  <a:lnTo>
                    <a:pt x="143" y="7"/>
                  </a:lnTo>
                  <a:lnTo>
                    <a:pt x="121" y="15"/>
                  </a:lnTo>
                  <a:lnTo>
                    <a:pt x="110" y="21"/>
                  </a:lnTo>
                  <a:lnTo>
                    <a:pt x="100" y="25"/>
                  </a:lnTo>
                  <a:lnTo>
                    <a:pt x="89" y="32"/>
                  </a:lnTo>
                  <a:lnTo>
                    <a:pt x="79" y="37"/>
                  </a:lnTo>
                  <a:lnTo>
                    <a:pt x="70" y="44"/>
                  </a:lnTo>
                  <a:lnTo>
                    <a:pt x="61" y="52"/>
                  </a:lnTo>
                  <a:lnTo>
                    <a:pt x="52" y="60"/>
                  </a:lnTo>
                  <a:lnTo>
                    <a:pt x="45" y="69"/>
                  </a:lnTo>
                  <a:lnTo>
                    <a:pt x="39" y="77"/>
                  </a:lnTo>
                  <a:lnTo>
                    <a:pt x="32" y="88"/>
                  </a:lnTo>
                  <a:lnTo>
                    <a:pt x="28" y="98"/>
                  </a:lnTo>
                  <a:lnTo>
                    <a:pt x="23" y="109"/>
                  </a:lnTo>
                  <a:lnTo>
                    <a:pt x="21" y="118"/>
                  </a:lnTo>
                  <a:lnTo>
                    <a:pt x="15" y="128"/>
                  </a:lnTo>
                  <a:lnTo>
                    <a:pt x="10" y="138"/>
                  </a:lnTo>
                  <a:lnTo>
                    <a:pt x="6" y="146"/>
                  </a:lnTo>
                  <a:lnTo>
                    <a:pt x="4" y="158"/>
                  </a:lnTo>
                  <a:lnTo>
                    <a:pt x="2" y="170"/>
                  </a:lnTo>
                  <a:lnTo>
                    <a:pt x="1" y="184"/>
                  </a:lnTo>
                  <a:lnTo>
                    <a:pt x="0" y="196"/>
                  </a:lnTo>
                  <a:lnTo>
                    <a:pt x="1" y="202"/>
                  </a:lnTo>
                  <a:lnTo>
                    <a:pt x="4" y="209"/>
                  </a:lnTo>
                  <a:lnTo>
                    <a:pt x="8" y="215"/>
                  </a:lnTo>
                  <a:lnTo>
                    <a:pt x="13" y="220"/>
                  </a:lnTo>
                  <a:lnTo>
                    <a:pt x="22" y="227"/>
                  </a:lnTo>
                  <a:lnTo>
                    <a:pt x="30" y="233"/>
                  </a:lnTo>
                  <a:lnTo>
                    <a:pt x="31" y="235"/>
                  </a:lnTo>
                  <a:lnTo>
                    <a:pt x="32" y="237"/>
                  </a:lnTo>
                  <a:lnTo>
                    <a:pt x="41" y="240"/>
                  </a:lnTo>
                  <a:lnTo>
                    <a:pt x="48" y="246"/>
                  </a:lnTo>
                  <a:lnTo>
                    <a:pt x="62" y="252"/>
                  </a:lnTo>
                  <a:lnTo>
                    <a:pt x="78" y="255"/>
                  </a:lnTo>
                  <a:lnTo>
                    <a:pt x="115" y="255"/>
                  </a:lnTo>
                  <a:lnTo>
                    <a:pt x="120" y="250"/>
                  </a:lnTo>
                  <a:lnTo>
                    <a:pt x="127" y="242"/>
                  </a:lnTo>
                  <a:lnTo>
                    <a:pt x="135" y="232"/>
                  </a:lnTo>
                  <a:lnTo>
                    <a:pt x="138" y="226"/>
                  </a:lnTo>
                  <a:lnTo>
                    <a:pt x="145" y="220"/>
                  </a:lnTo>
                  <a:lnTo>
                    <a:pt x="154" y="213"/>
                  </a:lnTo>
                  <a:lnTo>
                    <a:pt x="164" y="206"/>
                  </a:lnTo>
                  <a:lnTo>
                    <a:pt x="171" y="202"/>
                  </a:lnTo>
                  <a:lnTo>
                    <a:pt x="179" y="199"/>
                  </a:lnTo>
                  <a:lnTo>
                    <a:pt x="188" y="196"/>
                  </a:lnTo>
                  <a:lnTo>
                    <a:pt x="198" y="194"/>
                  </a:lnTo>
                  <a:lnTo>
                    <a:pt x="210" y="192"/>
                  </a:lnTo>
                  <a:lnTo>
                    <a:pt x="221" y="190"/>
                  </a:lnTo>
                  <a:lnTo>
                    <a:pt x="232" y="189"/>
                  </a:lnTo>
                  <a:lnTo>
                    <a:pt x="237" y="189"/>
                  </a:lnTo>
                  <a:lnTo>
                    <a:pt x="244" y="187"/>
                  </a:lnTo>
                  <a:lnTo>
                    <a:pt x="252" y="185"/>
                  </a:lnTo>
                  <a:lnTo>
                    <a:pt x="261" y="181"/>
                  </a:lnTo>
                  <a:lnTo>
                    <a:pt x="277" y="173"/>
                  </a:lnTo>
                  <a:lnTo>
                    <a:pt x="288" y="168"/>
                  </a:lnTo>
                  <a:lnTo>
                    <a:pt x="299" y="159"/>
                  </a:lnTo>
                  <a:lnTo>
                    <a:pt x="308" y="150"/>
                  </a:lnTo>
                  <a:lnTo>
                    <a:pt x="311" y="149"/>
                  </a:lnTo>
                  <a:lnTo>
                    <a:pt x="316" y="146"/>
                  </a:lnTo>
                  <a:lnTo>
                    <a:pt x="320" y="142"/>
                  </a:lnTo>
                  <a:lnTo>
                    <a:pt x="322" y="140"/>
                  </a:lnTo>
                  <a:lnTo>
                    <a:pt x="325" y="136"/>
                  </a:lnTo>
                  <a:lnTo>
                    <a:pt x="327" y="133"/>
                  </a:lnTo>
                  <a:lnTo>
                    <a:pt x="332" y="125"/>
                  </a:lnTo>
                  <a:lnTo>
                    <a:pt x="338" y="113"/>
                  </a:lnTo>
                  <a:lnTo>
                    <a:pt x="342" y="101"/>
                  </a:lnTo>
                  <a:lnTo>
                    <a:pt x="345" y="90"/>
                  </a:lnTo>
                  <a:lnTo>
                    <a:pt x="345" y="83"/>
                  </a:lnTo>
                  <a:lnTo>
                    <a:pt x="344" y="76"/>
                  </a:lnTo>
                  <a:lnTo>
                    <a:pt x="342" y="71"/>
                  </a:lnTo>
                  <a:lnTo>
                    <a:pt x="340" y="65"/>
                  </a:lnTo>
                  <a:lnTo>
                    <a:pt x="336" y="60"/>
                  </a:lnTo>
                  <a:lnTo>
                    <a:pt x="329" y="52"/>
                  </a:lnTo>
                  <a:lnTo>
                    <a:pt x="326" y="50"/>
                  </a:lnTo>
                  <a:lnTo>
                    <a:pt x="322" y="46"/>
                  </a:lnTo>
                  <a:lnTo>
                    <a:pt x="319" y="45"/>
                  </a:lnTo>
                  <a:lnTo>
                    <a:pt x="316" y="44"/>
                  </a:lnTo>
                  <a:lnTo>
                    <a:pt x="315" y="42"/>
                  </a:lnTo>
                  <a:lnTo>
                    <a:pt x="311" y="40"/>
                  </a:lnTo>
                  <a:lnTo>
                    <a:pt x="306" y="37"/>
                  </a:lnTo>
                  <a:lnTo>
                    <a:pt x="299" y="35"/>
                  </a:lnTo>
                  <a:lnTo>
                    <a:pt x="285" y="32"/>
                  </a:lnTo>
                  <a:lnTo>
                    <a:pt x="278" y="31"/>
                  </a:lnTo>
                  <a:lnTo>
                    <a:pt x="263" y="30"/>
                  </a:lnTo>
                  <a:lnTo>
                    <a:pt x="249" y="26"/>
                  </a:lnTo>
                  <a:lnTo>
                    <a:pt x="234" y="24"/>
                  </a:lnTo>
                  <a:lnTo>
                    <a:pt x="221" y="22"/>
                  </a:lnTo>
                  <a:lnTo>
                    <a:pt x="216" y="18"/>
                  </a:lnTo>
                  <a:lnTo>
                    <a:pt x="210" y="15"/>
                  </a:lnTo>
                  <a:lnTo>
                    <a:pt x="202" y="13"/>
                  </a:lnTo>
                  <a:lnTo>
                    <a:pt x="195" y="12"/>
                  </a:lnTo>
                  <a:lnTo>
                    <a:pt x="194" y="9"/>
                  </a:lnTo>
                  <a:lnTo>
                    <a:pt x="191" y="9"/>
                  </a:lnTo>
                  <a:lnTo>
                    <a:pt x="186" y="5"/>
                  </a:lnTo>
                  <a:lnTo>
                    <a:pt x="182" y="5"/>
                  </a:lnTo>
                  <a:lnTo>
                    <a:pt x="177" y="5"/>
                  </a:lnTo>
                  <a:lnTo>
                    <a:pt x="176" y="3"/>
                  </a:lnTo>
                  <a:lnTo>
                    <a:pt x="174" y="2"/>
                  </a:lnTo>
                  <a:lnTo>
                    <a:pt x="169" y="0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40" name="Freeform 93">
              <a:extLst>
                <a:ext uri="{FF2B5EF4-FFF2-40B4-BE49-F238E27FC236}">
                  <a16:creationId xmlns:a16="http://schemas.microsoft.com/office/drawing/2014/main" id="{F12ECB6F-B064-4EF2-9F36-0C807FDABD9E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364538" y="4332288"/>
              <a:ext cx="120675" cy="69850"/>
            </a:xfrm>
            <a:custGeom>
              <a:avLst/>
              <a:gdLst/>
              <a:ahLst/>
              <a:cxnLst>
                <a:cxn ang="0">
                  <a:pos x="61" y="15"/>
                </a:cxn>
                <a:cxn ang="0">
                  <a:pos x="26" y="20"/>
                </a:cxn>
                <a:cxn ang="0">
                  <a:pos x="0" y="24"/>
                </a:cxn>
                <a:cxn ang="0">
                  <a:pos x="5" y="50"/>
                </a:cxn>
                <a:cxn ang="0">
                  <a:pos x="16" y="74"/>
                </a:cxn>
                <a:cxn ang="0">
                  <a:pos x="33" y="98"/>
                </a:cxn>
                <a:cxn ang="0">
                  <a:pos x="53" y="119"/>
                </a:cxn>
                <a:cxn ang="0">
                  <a:pos x="100" y="157"/>
                </a:cxn>
                <a:cxn ang="0">
                  <a:pos x="143" y="191"/>
                </a:cxn>
                <a:cxn ang="0">
                  <a:pos x="209" y="249"/>
                </a:cxn>
                <a:cxn ang="0">
                  <a:pos x="277" y="313"/>
                </a:cxn>
                <a:cxn ang="0">
                  <a:pos x="348" y="374"/>
                </a:cxn>
                <a:cxn ang="0">
                  <a:pos x="383" y="400"/>
                </a:cxn>
                <a:cxn ang="0">
                  <a:pos x="421" y="422"/>
                </a:cxn>
                <a:cxn ang="0">
                  <a:pos x="443" y="428"/>
                </a:cxn>
                <a:cxn ang="0">
                  <a:pos x="464" y="426"/>
                </a:cxn>
                <a:cxn ang="0">
                  <a:pos x="485" y="418"/>
                </a:cxn>
                <a:cxn ang="0">
                  <a:pos x="504" y="406"/>
                </a:cxn>
                <a:cxn ang="0">
                  <a:pos x="571" y="348"/>
                </a:cxn>
                <a:cxn ang="0">
                  <a:pos x="599" y="327"/>
                </a:cxn>
                <a:cxn ang="0">
                  <a:pos x="627" y="301"/>
                </a:cxn>
                <a:cxn ang="0">
                  <a:pos x="638" y="287"/>
                </a:cxn>
                <a:cxn ang="0">
                  <a:pos x="646" y="271"/>
                </a:cxn>
                <a:cxn ang="0">
                  <a:pos x="650" y="253"/>
                </a:cxn>
                <a:cxn ang="0">
                  <a:pos x="650" y="234"/>
                </a:cxn>
                <a:cxn ang="0">
                  <a:pos x="646" y="218"/>
                </a:cxn>
                <a:cxn ang="0">
                  <a:pos x="639" y="203"/>
                </a:cxn>
                <a:cxn ang="0">
                  <a:pos x="618" y="175"/>
                </a:cxn>
                <a:cxn ang="0">
                  <a:pos x="590" y="148"/>
                </a:cxn>
                <a:cxn ang="0">
                  <a:pos x="556" y="124"/>
                </a:cxn>
                <a:cxn ang="0">
                  <a:pos x="521" y="102"/>
                </a:cxn>
                <a:cxn ang="0">
                  <a:pos x="485" y="83"/>
                </a:cxn>
                <a:cxn ang="0">
                  <a:pos x="422" y="57"/>
                </a:cxn>
                <a:cxn ang="0">
                  <a:pos x="391" y="42"/>
                </a:cxn>
                <a:cxn ang="0">
                  <a:pos x="330" y="16"/>
                </a:cxn>
                <a:cxn ang="0">
                  <a:pos x="297" y="5"/>
                </a:cxn>
                <a:cxn ang="0">
                  <a:pos x="269" y="0"/>
                </a:cxn>
                <a:cxn ang="0">
                  <a:pos x="258" y="0"/>
                </a:cxn>
                <a:cxn ang="0">
                  <a:pos x="251" y="2"/>
                </a:cxn>
                <a:cxn ang="0">
                  <a:pos x="245" y="6"/>
                </a:cxn>
                <a:cxn ang="0">
                  <a:pos x="243" y="13"/>
                </a:cxn>
                <a:cxn ang="0">
                  <a:pos x="234" y="15"/>
                </a:cxn>
                <a:cxn ang="0">
                  <a:pos x="225" y="16"/>
                </a:cxn>
                <a:cxn ang="0">
                  <a:pos x="205" y="16"/>
                </a:cxn>
              </a:cxnLst>
              <a:rect l="0" t="0" r="r" b="b"/>
              <a:pathLst>
                <a:path w="650" h="428">
                  <a:moveTo>
                    <a:pt x="196" y="15"/>
                  </a:moveTo>
                  <a:lnTo>
                    <a:pt x="61" y="15"/>
                  </a:lnTo>
                  <a:lnTo>
                    <a:pt x="45" y="16"/>
                  </a:lnTo>
                  <a:lnTo>
                    <a:pt x="26" y="20"/>
                  </a:lnTo>
                  <a:lnTo>
                    <a:pt x="11" y="23"/>
                  </a:lnTo>
                  <a:lnTo>
                    <a:pt x="0" y="24"/>
                  </a:lnTo>
                  <a:lnTo>
                    <a:pt x="2" y="38"/>
                  </a:lnTo>
                  <a:lnTo>
                    <a:pt x="5" y="50"/>
                  </a:lnTo>
                  <a:lnTo>
                    <a:pt x="9" y="62"/>
                  </a:lnTo>
                  <a:lnTo>
                    <a:pt x="16" y="74"/>
                  </a:lnTo>
                  <a:lnTo>
                    <a:pt x="24" y="86"/>
                  </a:lnTo>
                  <a:lnTo>
                    <a:pt x="33" y="98"/>
                  </a:lnTo>
                  <a:lnTo>
                    <a:pt x="43" y="108"/>
                  </a:lnTo>
                  <a:lnTo>
                    <a:pt x="53" y="119"/>
                  </a:lnTo>
                  <a:lnTo>
                    <a:pt x="76" y="139"/>
                  </a:lnTo>
                  <a:lnTo>
                    <a:pt x="100" y="157"/>
                  </a:lnTo>
                  <a:lnTo>
                    <a:pt x="122" y="175"/>
                  </a:lnTo>
                  <a:lnTo>
                    <a:pt x="143" y="191"/>
                  </a:lnTo>
                  <a:lnTo>
                    <a:pt x="177" y="218"/>
                  </a:lnTo>
                  <a:lnTo>
                    <a:pt x="209" y="249"/>
                  </a:lnTo>
                  <a:lnTo>
                    <a:pt x="243" y="281"/>
                  </a:lnTo>
                  <a:lnTo>
                    <a:pt x="277" y="313"/>
                  </a:lnTo>
                  <a:lnTo>
                    <a:pt x="312" y="345"/>
                  </a:lnTo>
                  <a:lnTo>
                    <a:pt x="348" y="374"/>
                  </a:lnTo>
                  <a:lnTo>
                    <a:pt x="365" y="387"/>
                  </a:lnTo>
                  <a:lnTo>
                    <a:pt x="383" y="400"/>
                  </a:lnTo>
                  <a:lnTo>
                    <a:pt x="402" y="412"/>
                  </a:lnTo>
                  <a:lnTo>
                    <a:pt x="421" y="422"/>
                  </a:lnTo>
                  <a:lnTo>
                    <a:pt x="431" y="426"/>
                  </a:lnTo>
                  <a:lnTo>
                    <a:pt x="443" y="428"/>
                  </a:lnTo>
                  <a:lnTo>
                    <a:pt x="454" y="428"/>
                  </a:lnTo>
                  <a:lnTo>
                    <a:pt x="464" y="426"/>
                  </a:lnTo>
                  <a:lnTo>
                    <a:pt x="474" y="423"/>
                  </a:lnTo>
                  <a:lnTo>
                    <a:pt x="485" y="418"/>
                  </a:lnTo>
                  <a:lnTo>
                    <a:pt x="495" y="413"/>
                  </a:lnTo>
                  <a:lnTo>
                    <a:pt x="504" y="406"/>
                  </a:lnTo>
                  <a:lnTo>
                    <a:pt x="541" y="375"/>
                  </a:lnTo>
                  <a:lnTo>
                    <a:pt x="571" y="348"/>
                  </a:lnTo>
                  <a:lnTo>
                    <a:pt x="585" y="338"/>
                  </a:lnTo>
                  <a:lnTo>
                    <a:pt x="599" y="327"/>
                  </a:lnTo>
                  <a:lnTo>
                    <a:pt x="613" y="314"/>
                  </a:lnTo>
                  <a:lnTo>
                    <a:pt x="627" y="301"/>
                  </a:lnTo>
                  <a:lnTo>
                    <a:pt x="632" y="294"/>
                  </a:lnTo>
                  <a:lnTo>
                    <a:pt x="638" y="287"/>
                  </a:lnTo>
                  <a:lnTo>
                    <a:pt x="642" y="279"/>
                  </a:lnTo>
                  <a:lnTo>
                    <a:pt x="646" y="271"/>
                  </a:lnTo>
                  <a:lnTo>
                    <a:pt x="648" y="262"/>
                  </a:lnTo>
                  <a:lnTo>
                    <a:pt x="650" y="253"/>
                  </a:lnTo>
                  <a:lnTo>
                    <a:pt x="650" y="244"/>
                  </a:lnTo>
                  <a:lnTo>
                    <a:pt x="650" y="234"/>
                  </a:lnTo>
                  <a:lnTo>
                    <a:pt x="648" y="226"/>
                  </a:lnTo>
                  <a:lnTo>
                    <a:pt x="646" y="218"/>
                  </a:lnTo>
                  <a:lnTo>
                    <a:pt x="642" y="211"/>
                  </a:lnTo>
                  <a:lnTo>
                    <a:pt x="639" y="203"/>
                  </a:lnTo>
                  <a:lnTo>
                    <a:pt x="630" y="188"/>
                  </a:lnTo>
                  <a:lnTo>
                    <a:pt x="618" y="175"/>
                  </a:lnTo>
                  <a:lnTo>
                    <a:pt x="604" y="162"/>
                  </a:lnTo>
                  <a:lnTo>
                    <a:pt x="590" y="148"/>
                  </a:lnTo>
                  <a:lnTo>
                    <a:pt x="574" y="136"/>
                  </a:lnTo>
                  <a:lnTo>
                    <a:pt x="556" y="124"/>
                  </a:lnTo>
                  <a:lnTo>
                    <a:pt x="539" y="112"/>
                  </a:lnTo>
                  <a:lnTo>
                    <a:pt x="521" y="102"/>
                  </a:lnTo>
                  <a:lnTo>
                    <a:pt x="503" y="92"/>
                  </a:lnTo>
                  <a:lnTo>
                    <a:pt x="485" y="83"/>
                  </a:lnTo>
                  <a:lnTo>
                    <a:pt x="451" y="69"/>
                  </a:lnTo>
                  <a:lnTo>
                    <a:pt x="422" y="57"/>
                  </a:lnTo>
                  <a:lnTo>
                    <a:pt x="412" y="52"/>
                  </a:lnTo>
                  <a:lnTo>
                    <a:pt x="391" y="42"/>
                  </a:lnTo>
                  <a:lnTo>
                    <a:pt x="362" y="29"/>
                  </a:lnTo>
                  <a:lnTo>
                    <a:pt x="330" y="16"/>
                  </a:lnTo>
                  <a:lnTo>
                    <a:pt x="313" y="11"/>
                  </a:lnTo>
                  <a:lnTo>
                    <a:pt x="297" y="5"/>
                  </a:lnTo>
                  <a:lnTo>
                    <a:pt x="283" y="2"/>
                  </a:lnTo>
                  <a:lnTo>
                    <a:pt x="269" y="0"/>
                  </a:lnTo>
                  <a:lnTo>
                    <a:pt x="264" y="0"/>
                  </a:lnTo>
                  <a:lnTo>
                    <a:pt x="258" y="0"/>
                  </a:lnTo>
                  <a:lnTo>
                    <a:pt x="254" y="1"/>
                  </a:lnTo>
                  <a:lnTo>
                    <a:pt x="251" y="2"/>
                  </a:lnTo>
                  <a:lnTo>
                    <a:pt x="247" y="4"/>
                  </a:lnTo>
                  <a:lnTo>
                    <a:pt x="245" y="6"/>
                  </a:lnTo>
                  <a:lnTo>
                    <a:pt x="243" y="10"/>
                  </a:lnTo>
                  <a:lnTo>
                    <a:pt x="243" y="13"/>
                  </a:lnTo>
                  <a:lnTo>
                    <a:pt x="235" y="13"/>
                  </a:lnTo>
                  <a:lnTo>
                    <a:pt x="234" y="15"/>
                  </a:lnTo>
                  <a:lnTo>
                    <a:pt x="230" y="15"/>
                  </a:lnTo>
                  <a:lnTo>
                    <a:pt x="225" y="16"/>
                  </a:lnTo>
                  <a:lnTo>
                    <a:pt x="218" y="16"/>
                  </a:lnTo>
                  <a:lnTo>
                    <a:pt x="205" y="16"/>
                  </a:lnTo>
                  <a:lnTo>
                    <a:pt x="196" y="1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41" name="Freeform 94">
              <a:extLst>
                <a:ext uri="{FF2B5EF4-FFF2-40B4-BE49-F238E27FC236}">
                  <a16:creationId xmlns:a16="http://schemas.microsoft.com/office/drawing/2014/main" id="{B0DBC1BA-82C8-4D0F-A80F-126161A584B0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115300" y="4294188"/>
              <a:ext cx="56792" cy="57150"/>
            </a:xfrm>
            <a:custGeom>
              <a:avLst/>
              <a:gdLst/>
              <a:ahLst/>
              <a:cxnLst>
                <a:cxn ang="0">
                  <a:pos x="111" y="43"/>
                </a:cxn>
                <a:cxn ang="0">
                  <a:pos x="97" y="56"/>
                </a:cxn>
                <a:cxn ang="0">
                  <a:pos x="87" y="75"/>
                </a:cxn>
                <a:cxn ang="0">
                  <a:pos x="77" y="85"/>
                </a:cxn>
                <a:cxn ang="0">
                  <a:pos x="59" y="112"/>
                </a:cxn>
                <a:cxn ang="0">
                  <a:pos x="46" y="125"/>
                </a:cxn>
                <a:cxn ang="0">
                  <a:pos x="40" y="138"/>
                </a:cxn>
                <a:cxn ang="0">
                  <a:pos x="34" y="148"/>
                </a:cxn>
                <a:cxn ang="0">
                  <a:pos x="20" y="158"/>
                </a:cxn>
                <a:cxn ang="0">
                  <a:pos x="20" y="171"/>
                </a:cxn>
                <a:cxn ang="0">
                  <a:pos x="11" y="197"/>
                </a:cxn>
                <a:cxn ang="0">
                  <a:pos x="8" y="201"/>
                </a:cxn>
                <a:cxn ang="0">
                  <a:pos x="7" y="217"/>
                </a:cxn>
                <a:cxn ang="0">
                  <a:pos x="0" y="236"/>
                </a:cxn>
                <a:cxn ang="0">
                  <a:pos x="0" y="249"/>
                </a:cxn>
                <a:cxn ang="0">
                  <a:pos x="5" y="276"/>
                </a:cxn>
                <a:cxn ang="0">
                  <a:pos x="7" y="278"/>
                </a:cxn>
                <a:cxn ang="0">
                  <a:pos x="10" y="282"/>
                </a:cxn>
                <a:cxn ang="0">
                  <a:pos x="16" y="296"/>
                </a:cxn>
                <a:cxn ang="0">
                  <a:pos x="23" y="306"/>
                </a:cxn>
                <a:cxn ang="0">
                  <a:pos x="33" y="323"/>
                </a:cxn>
                <a:cxn ang="0">
                  <a:pos x="45" y="332"/>
                </a:cxn>
                <a:cxn ang="0">
                  <a:pos x="59" y="341"/>
                </a:cxn>
                <a:cxn ang="0">
                  <a:pos x="62" y="348"/>
                </a:cxn>
                <a:cxn ang="0">
                  <a:pos x="65" y="349"/>
                </a:cxn>
                <a:cxn ang="0">
                  <a:pos x="73" y="354"/>
                </a:cxn>
                <a:cxn ang="0">
                  <a:pos x="89" y="354"/>
                </a:cxn>
                <a:cxn ang="0">
                  <a:pos x="119" y="354"/>
                </a:cxn>
                <a:cxn ang="0">
                  <a:pos x="129" y="339"/>
                </a:cxn>
                <a:cxn ang="0">
                  <a:pos x="137" y="327"/>
                </a:cxn>
                <a:cxn ang="0">
                  <a:pos x="148" y="309"/>
                </a:cxn>
                <a:cxn ang="0">
                  <a:pos x="168" y="283"/>
                </a:cxn>
                <a:cxn ang="0">
                  <a:pos x="183" y="269"/>
                </a:cxn>
                <a:cxn ang="0">
                  <a:pos x="210" y="236"/>
                </a:cxn>
                <a:cxn ang="0">
                  <a:pos x="222" y="229"/>
                </a:cxn>
                <a:cxn ang="0">
                  <a:pos x="223" y="225"/>
                </a:cxn>
                <a:cxn ang="0">
                  <a:pos x="229" y="224"/>
                </a:cxn>
                <a:cxn ang="0">
                  <a:pos x="242" y="204"/>
                </a:cxn>
                <a:cxn ang="0">
                  <a:pos x="275" y="171"/>
                </a:cxn>
                <a:cxn ang="0">
                  <a:pos x="287" y="156"/>
                </a:cxn>
                <a:cxn ang="0">
                  <a:pos x="295" y="151"/>
                </a:cxn>
                <a:cxn ang="0">
                  <a:pos x="300" y="137"/>
                </a:cxn>
                <a:cxn ang="0">
                  <a:pos x="302" y="133"/>
                </a:cxn>
                <a:cxn ang="0">
                  <a:pos x="308" y="132"/>
                </a:cxn>
                <a:cxn ang="0">
                  <a:pos x="314" y="117"/>
                </a:cxn>
                <a:cxn ang="0">
                  <a:pos x="322" y="112"/>
                </a:cxn>
                <a:cxn ang="0">
                  <a:pos x="322" y="92"/>
                </a:cxn>
                <a:cxn ang="0">
                  <a:pos x="322" y="76"/>
                </a:cxn>
                <a:cxn ang="0">
                  <a:pos x="322" y="50"/>
                </a:cxn>
                <a:cxn ang="0">
                  <a:pos x="316" y="32"/>
                </a:cxn>
                <a:cxn ang="0">
                  <a:pos x="309" y="19"/>
                </a:cxn>
                <a:cxn ang="0">
                  <a:pos x="302" y="9"/>
                </a:cxn>
                <a:cxn ang="0">
                  <a:pos x="296" y="4"/>
                </a:cxn>
                <a:cxn ang="0">
                  <a:pos x="269" y="0"/>
                </a:cxn>
                <a:cxn ang="0">
                  <a:pos x="242" y="0"/>
                </a:cxn>
                <a:cxn ang="0">
                  <a:pos x="223" y="0"/>
                </a:cxn>
                <a:cxn ang="0">
                  <a:pos x="210" y="0"/>
                </a:cxn>
                <a:cxn ang="0">
                  <a:pos x="187" y="4"/>
                </a:cxn>
                <a:cxn ang="0">
                  <a:pos x="175" y="12"/>
                </a:cxn>
                <a:cxn ang="0">
                  <a:pos x="163" y="14"/>
                </a:cxn>
                <a:cxn ang="0">
                  <a:pos x="156" y="18"/>
                </a:cxn>
                <a:cxn ang="0">
                  <a:pos x="141" y="23"/>
                </a:cxn>
              </a:cxnLst>
              <a:rect l="0" t="0" r="r" b="b"/>
              <a:pathLst>
                <a:path w="322" h="354">
                  <a:moveTo>
                    <a:pt x="125" y="27"/>
                  </a:moveTo>
                  <a:lnTo>
                    <a:pt x="119" y="34"/>
                  </a:lnTo>
                  <a:lnTo>
                    <a:pt x="111" y="43"/>
                  </a:lnTo>
                  <a:lnTo>
                    <a:pt x="106" y="48"/>
                  </a:lnTo>
                  <a:lnTo>
                    <a:pt x="102" y="53"/>
                  </a:lnTo>
                  <a:lnTo>
                    <a:pt x="97" y="56"/>
                  </a:lnTo>
                  <a:lnTo>
                    <a:pt x="92" y="60"/>
                  </a:lnTo>
                  <a:lnTo>
                    <a:pt x="91" y="66"/>
                  </a:lnTo>
                  <a:lnTo>
                    <a:pt x="87" y="75"/>
                  </a:lnTo>
                  <a:lnTo>
                    <a:pt x="85" y="80"/>
                  </a:lnTo>
                  <a:lnTo>
                    <a:pt x="82" y="83"/>
                  </a:lnTo>
                  <a:lnTo>
                    <a:pt x="77" y="85"/>
                  </a:lnTo>
                  <a:lnTo>
                    <a:pt x="73" y="86"/>
                  </a:lnTo>
                  <a:lnTo>
                    <a:pt x="66" y="99"/>
                  </a:lnTo>
                  <a:lnTo>
                    <a:pt x="59" y="112"/>
                  </a:lnTo>
                  <a:lnTo>
                    <a:pt x="56" y="115"/>
                  </a:lnTo>
                  <a:lnTo>
                    <a:pt x="53" y="119"/>
                  </a:lnTo>
                  <a:lnTo>
                    <a:pt x="46" y="125"/>
                  </a:lnTo>
                  <a:lnTo>
                    <a:pt x="44" y="129"/>
                  </a:lnTo>
                  <a:lnTo>
                    <a:pt x="40" y="132"/>
                  </a:lnTo>
                  <a:lnTo>
                    <a:pt x="40" y="138"/>
                  </a:lnTo>
                  <a:lnTo>
                    <a:pt x="39" y="141"/>
                  </a:lnTo>
                  <a:lnTo>
                    <a:pt x="37" y="144"/>
                  </a:lnTo>
                  <a:lnTo>
                    <a:pt x="34" y="148"/>
                  </a:lnTo>
                  <a:lnTo>
                    <a:pt x="30" y="150"/>
                  </a:lnTo>
                  <a:lnTo>
                    <a:pt x="24" y="156"/>
                  </a:lnTo>
                  <a:lnTo>
                    <a:pt x="20" y="158"/>
                  </a:lnTo>
                  <a:lnTo>
                    <a:pt x="20" y="165"/>
                  </a:lnTo>
                  <a:lnTo>
                    <a:pt x="20" y="168"/>
                  </a:lnTo>
                  <a:lnTo>
                    <a:pt x="20" y="171"/>
                  </a:lnTo>
                  <a:lnTo>
                    <a:pt x="17" y="181"/>
                  </a:lnTo>
                  <a:lnTo>
                    <a:pt x="14" y="197"/>
                  </a:lnTo>
                  <a:lnTo>
                    <a:pt x="11" y="197"/>
                  </a:lnTo>
                  <a:lnTo>
                    <a:pt x="10" y="198"/>
                  </a:lnTo>
                  <a:lnTo>
                    <a:pt x="9" y="199"/>
                  </a:lnTo>
                  <a:lnTo>
                    <a:pt x="8" y="201"/>
                  </a:lnTo>
                  <a:lnTo>
                    <a:pt x="7" y="206"/>
                  </a:lnTo>
                  <a:lnTo>
                    <a:pt x="7" y="210"/>
                  </a:lnTo>
                  <a:lnTo>
                    <a:pt x="7" y="217"/>
                  </a:lnTo>
                  <a:lnTo>
                    <a:pt x="7" y="224"/>
                  </a:lnTo>
                  <a:lnTo>
                    <a:pt x="4" y="229"/>
                  </a:lnTo>
                  <a:lnTo>
                    <a:pt x="0" y="236"/>
                  </a:lnTo>
                  <a:lnTo>
                    <a:pt x="0" y="243"/>
                  </a:lnTo>
                  <a:lnTo>
                    <a:pt x="0" y="246"/>
                  </a:lnTo>
                  <a:lnTo>
                    <a:pt x="0" y="249"/>
                  </a:lnTo>
                  <a:lnTo>
                    <a:pt x="0" y="263"/>
                  </a:lnTo>
                  <a:lnTo>
                    <a:pt x="0" y="275"/>
                  </a:lnTo>
                  <a:lnTo>
                    <a:pt x="5" y="276"/>
                  </a:lnTo>
                  <a:lnTo>
                    <a:pt x="7" y="276"/>
                  </a:lnTo>
                  <a:lnTo>
                    <a:pt x="7" y="277"/>
                  </a:lnTo>
                  <a:lnTo>
                    <a:pt x="7" y="278"/>
                  </a:lnTo>
                  <a:lnTo>
                    <a:pt x="7" y="279"/>
                  </a:lnTo>
                  <a:lnTo>
                    <a:pt x="8" y="281"/>
                  </a:lnTo>
                  <a:lnTo>
                    <a:pt x="10" y="282"/>
                  </a:lnTo>
                  <a:lnTo>
                    <a:pt x="14" y="282"/>
                  </a:lnTo>
                  <a:lnTo>
                    <a:pt x="14" y="295"/>
                  </a:lnTo>
                  <a:lnTo>
                    <a:pt x="16" y="296"/>
                  </a:lnTo>
                  <a:lnTo>
                    <a:pt x="18" y="298"/>
                  </a:lnTo>
                  <a:lnTo>
                    <a:pt x="20" y="302"/>
                  </a:lnTo>
                  <a:lnTo>
                    <a:pt x="23" y="306"/>
                  </a:lnTo>
                  <a:lnTo>
                    <a:pt x="26" y="314"/>
                  </a:lnTo>
                  <a:lnTo>
                    <a:pt x="27" y="321"/>
                  </a:lnTo>
                  <a:lnTo>
                    <a:pt x="33" y="323"/>
                  </a:lnTo>
                  <a:lnTo>
                    <a:pt x="39" y="326"/>
                  </a:lnTo>
                  <a:lnTo>
                    <a:pt x="41" y="329"/>
                  </a:lnTo>
                  <a:lnTo>
                    <a:pt x="45" y="332"/>
                  </a:lnTo>
                  <a:lnTo>
                    <a:pt x="46" y="336"/>
                  </a:lnTo>
                  <a:lnTo>
                    <a:pt x="46" y="341"/>
                  </a:lnTo>
                  <a:lnTo>
                    <a:pt x="59" y="341"/>
                  </a:lnTo>
                  <a:lnTo>
                    <a:pt x="59" y="344"/>
                  </a:lnTo>
                  <a:lnTo>
                    <a:pt x="60" y="346"/>
                  </a:lnTo>
                  <a:lnTo>
                    <a:pt x="62" y="348"/>
                  </a:lnTo>
                  <a:lnTo>
                    <a:pt x="63" y="348"/>
                  </a:lnTo>
                  <a:lnTo>
                    <a:pt x="64" y="348"/>
                  </a:lnTo>
                  <a:lnTo>
                    <a:pt x="65" y="349"/>
                  </a:lnTo>
                  <a:lnTo>
                    <a:pt x="66" y="350"/>
                  </a:lnTo>
                  <a:lnTo>
                    <a:pt x="66" y="354"/>
                  </a:lnTo>
                  <a:lnTo>
                    <a:pt x="73" y="354"/>
                  </a:lnTo>
                  <a:lnTo>
                    <a:pt x="79" y="354"/>
                  </a:lnTo>
                  <a:lnTo>
                    <a:pt x="86" y="354"/>
                  </a:lnTo>
                  <a:lnTo>
                    <a:pt x="89" y="354"/>
                  </a:lnTo>
                  <a:lnTo>
                    <a:pt x="92" y="354"/>
                  </a:lnTo>
                  <a:lnTo>
                    <a:pt x="105" y="354"/>
                  </a:lnTo>
                  <a:lnTo>
                    <a:pt x="119" y="354"/>
                  </a:lnTo>
                  <a:lnTo>
                    <a:pt x="125" y="348"/>
                  </a:lnTo>
                  <a:lnTo>
                    <a:pt x="126" y="343"/>
                  </a:lnTo>
                  <a:lnTo>
                    <a:pt x="129" y="339"/>
                  </a:lnTo>
                  <a:lnTo>
                    <a:pt x="133" y="335"/>
                  </a:lnTo>
                  <a:lnTo>
                    <a:pt x="137" y="334"/>
                  </a:lnTo>
                  <a:lnTo>
                    <a:pt x="137" y="327"/>
                  </a:lnTo>
                  <a:lnTo>
                    <a:pt x="141" y="324"/>
                  </a:lnTo>
                  <a:lnTo>
                    <a:pt x="144" y="321"/>
                  </a:lnTo>
                  <a:lnTo>
                    <a:pt x="148" y="309"/>
                  </a:lnTo>
                  <a:lnTo>
                    <a:pt x="151" y="295"/>
                  </a:lnTo>
                  <a:lnTo>
                    <a:pt x="158" y="290"/>
                  </a:lnTo>
                  <a:lnTo>
                    <a:pt x="168" y="283"/>
                  </a:lnTo>
                  <a:lnTo>
                    <a:pt x="177" y="277"/>
                  </a:lnTo>
                  <a:lnTo>
                    <a:pt x="183" y="275"/>
                  </a:lnTo>
                  <a:lnTo>
                    <a:pt x="183" y="269"/>
                  </a:lnTo>
                  <a:lnTo>
                    <a:pt x="197" y="259"/>
                  </a:lnTo>
                  <a:lnTo>
                    <a:pt x="210" y="249"/>
                  </a:lnTo>
                  <a:lnTo>
                    <a:pt x="210" y="236"/>
                  </a:lnTo>
                  <a:lnTo>
                    <a:pt x="217" y="229"/>
                  </a:lnTo>
                  <a:lnTo>
                    <a:pt x="220" y="229"/>
                  </a:lnTo>
                  <a:lnTo>
                    <a:pt x="222" y="229"/>
                  </a:lnTo>
                  <a:lnTo>
                    <a:pt x="223" y="228"/>
                  </a:lnTo>
                  <a:lnTo>
                    <a:pt x="223" y="226"/>
                  </a:lnTo>
                  <a:lnTo>
                    <a:pt x="223" y="225"/>
                  </a:lnTo>
                  <a:lnTo>
                    <a:pt x="223" y="224"/>
                  </a:lnTo>
                  <a:lnTo>
                    <a:pt x="226" y="224"/>
                  </a:lnTo>
                  <a:lnTo>
                    <a:pt x="229" y="224"/>
                  </a:lnTo>
                  <a:lnTo>
                    <a:pt x="232" y="214"/>
                  </a:lnTo>
                  <a:lnTo>
                    <a:pt x="236" y="204"/>
                  </a:lnTo>
                  <a:lnTo>
                    <a:pt x="242" y="204"/>
                  </a:lnTo>
                  <a:lnTo>
                    <a:pt x="249" y="190"/>
                  </a:lnTo>
                  <a:lnTo>
                    <a:pt x="256" y="178"/>
                  </a:lnTo>
                  <a:lnTo>
                    <a:pt x="275" y="171"/>
                  </a:lnTo>
                  <a:lnTo>
                    <a:pt x="280" y="165"/>
                  </a:lnTo>
                  <a:lnTo>
                    <a:pt x="285" y="159"/>
                  </a:lnTo>
                  <a:lnTo>
                    <a:pt x="287" y="156"/>
                  </a:lnTo>
                  <a:lnTo>
                    <a:pt x="290" y="153"/>
                  </a:lnTo>
                  <a:lnTo>
                    <a:pt x="293" y="152"/>
                  </a:lnTo>
                  <a:lnTo>
                    <a:pt x="295" y="151"/>
                  </a:lnTo>
                  <a:lnTo>
                    <a:pt x="295" y="138"/>
                  </a:lnTo>
                  <a:lnTo>
                    <a:pt x="298" y="138"/>
                  </a:lnTo>
                  <a:lnTo>
                    <a:pt x="300" y="137"/>
                  </a:lnTo>
                  <a:lnTo>
                    <a:pt x="302" y="137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3" y="132"/>
                  </a:lnTo>
                  <a:lnTo>
                    <a:pt x="304" y="132"/>
                  </a:lnTo>
                  <a:lnTo>
                    <a:pt x="308" y="132"/>
                  </a:lnTo>
                  <a:lnTo>
                    <a:pt x="309" y="125"/>
                  </a:lnTo>
                  <a:lnTo>
                    <a:pt x="312" y="120"/>
                  </a:lnTo>
                  <a:lnTo>
                    <a:pt x="314" y="117"/>
                  </a:lnTo>
                  <a:lnTo>
                    <a:pt x="316" y="114"/>
                  </a:lnTo>
                  <a:lnTo>
                    <a:pt x="318" y="112"/>
                  </a:lnTo>
                  <a:lnTo>
                    <a:pt x="322" y="112"/>
                  </a:lnTo>
                  <a:lnTo>
                    <a:pt x="322" y="105"/>
                  </a:lnTo>
                  <a:lnTo>
                    <a:pt x="322" y="99"/>
                  </a:lnTo>
                  <a:lnTo>
                    <a:pt x="322" y="92"/>
                  </a:lnTo>
                  <a:lnTo>
                    <a:pt x="322" y="86"/>
                  </a:lnTo>
                  <a:lnTo>
                    <a:pt x="322" y="80"/>
                  </a:lnTo>
                  <a:lnTo>
                    <a:pt x="322" y="76"/>
                  </a:lnTo>
                  <a:lnTo>
                    <a:pt x="322" y="73"/>
                  </a:lnTo>
                  <a:lnTo>
                    <a:pt x="322" y="66"/>
                  </a:lnTo>
                  <a:lnTo>
                    <a:pt x="322" y="50"/>
                  </a:lnTo>
                  <a:lnTo>
                    <a:pt x="322" y="34"/>
                  </a:lnTo>
                  <a:lnTo>
                    <a:pt x="318" y="33"/>
                  </a:lnTo>
                  <a:lnTo>
                    <a:pt x="316" y="32"/>
                  </a:lnTo>
                  <a:lnTo>
                    <a:pt x="314" y="29"/>
                  </a:lnTo>
                  <a:lnTo>
                    <a:pt x="312" y="26"/>
                  </a:lnTo>
                  <a:lnTo>
                    <a:pt x="309" y="19"/>
                  </a:lnTo>
                  <a:lnTo>
                    <a:pt x="308" y="14"/>
                  </a:lnTo>
                  <a:lnTo>
                    <a:pt x="306" y="13"/>
                  </a:lnTo>
                  <a:lnTo>
                    <a:pt x="302" y="9"/>
                  </a:lnTo>
                  <a:lnTo>
                    <a:pt x="299" y="8"/>
                  </a:lnTo>
                  <a:lnTo>
                    <a:pt x="297" y="6"/>
                  </a:lnTo>
                  <a:lnTo>
                    <a:pt x="296" y="4"/>
                  </a:lnTo>
                  <a:lnTo>
                    <a:pt x="295" y="0"/>
                  </a:lnTo>
                  <a:lnTo>
                    <a:pt x="281" y="0"/>
                  </a:lnTo>
                  <a:lnTo>
                    <a:pt x="269" y="0"/>
                  </a:lnTo>
                  <a:lnTo>
                    <a:pt x="259" y="0"/>
                  </a:lnTo>
                  <a:lnTo>
                    <a:pt x="249" y="0"/>
                  </a:lnTo>
                  <a:lnTo>
                    <a:pt x="242" y="0"/>
                  </a:lnTo>
                  <a:lnTo>
                    <a:pt x="236" y="0"/>
                  </a:lnTo>
                  <a:lnTo>
                    <a:pt x="229" y="0"/>
                  </a:lnTo>
                  <a:lnTo>
                    <a:pt x="223" y="0"/>
                  </a:lnTo>
                  <a:lnTo>
                    <a:pt x="217" y="0"/>
                  </a:lnTo>
                  <a:lnTo>
                    <a:pt x="213" y="0"/>
                  </a:lnTo>
                  <a:lnTo>
                    <a:pt x="210" y="0"/>
                  </a:lnTo>
                  <a:lnTo>
                    <a:pt x="203" y="0"/>
                  </a:lnTo>
                  <a:lnTo>
                    <a:pt x="197" y="0"/>
                  </a:lnTo>
                  <a:lnTo>
                    <a:pt x="187" y="4"/>
                  </a:lnTo>
                  <a:lnTo>
                    <a:pt x="178" y="7"/>
                  </a:lnTo>
                  <a:lnTo>
                    <a:pt x="177" y="9"/>
                  </a:lnTo>
                  <a:lnTo>
                    <a:pt x="175" y="12"/>
                  </a:lnTo>
                  <a:lnTo>
                    <a:pt x="173" y="13"/>
                  </a:lnTo>
                  <a:lnTo>
                    <a:pt x="170" y="13"/>
                  </a:lnTo>
                  <a:lnTo>
                    <a:pt x="163" y="14"/>
                  </a:lnTo>
                  <a:lnTo>
                    <a:pt x="158" y="14"/>
                  </a:lnTo>
                  <a:lnTo>
                    <a:pt x="158" y="16"/>
                  </a:lnTo>
                  <a:lnTo>
                    <a:pt x="156" y="18"/>
                  </a:lnTo>
                  <a:lnTo>
                    <a:pt x="154" y="19"/>
                  </a:lnTo>
                  <a:lnTo>
                    <a:pt x="151" y="21"/>
                  </a:lnTo>
                  <a:lnTo>
                    <a:pt x="141" y="23"/>
                  </a:lnTo>
                  <a:lnTo>
                    <a:pt x="125" y="27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42" name="Freeform 95">
              <a:extLst>
                <a:ext uri="{FF2B5EF4-FFF2-40B4-BE49-F238E27FC236}">
                  <a16:creationId xmlns:a16="http://schemas.microsoft.com/office/drawing/2014/main" id="{2D6854DF-C8E2-4EF0-8463-55F0752ACD3E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145463" y="4379913"/>
              <a:ext cx="38539" cy="60325"/>
            </a:xfrm>
            <a:custGeom>
              <a:avLst/>
              <a:gdLst/>
              <a:ahLst/>
              <a:cxnLst>
                <a:cxn ang="0">
                  <a:pos x="92" y="65"/>
                </a:cxn>
                <a:cxn ang="0">
                  <a:pos x="78" y="85"/>
                </a:cxn>
                <a:cxn ang="0">
                  <a:pos x="63" y="107"/>
                </a:cxn>
                <a:cxn ang="0">
                  <a:pos x="46" y="124"/>
                </a:cxn>
                <a:cxn ang="0">
                  <a:pos x="39" y="138"/>
                </a:cxn>
                <a:cxn ang="0">
                  <a:pos x="20" y="177"/>
                </a:cxn>
                <a:cxn ang="0">
                  <a:pos x="18" y="202"/>
                </a:cxn>
                <a:cxn ang="0">
                  <a:pos x="15" y="207"/>
                </a:cxn>
                <a:cxn ang="0">
                  <a:pos x="0" y="229"/>
                </a:cxn>
                <a:cxn ang="0">
                  <a:pos x="0" y="255"/>
                </a:cxn>
                <a:cxn ang="0">
                  <a:pos x="0" y="280"/>
                </a:cxn>
                <a:cxn ang="0">
                  <a:pos x="0" y="307"/>
                </a:cxn>
                <a:cxn ang="0">
                  <a:pos x="14" y="333"/>
                </a:cxn>
                <a:cxn ang="0">
                  <a:pos x="26" y="360"/>
                </a:cxn>
                <a:cxn ang="0">
                  <a:pos x="66" y="379"/>
                </a:cxn>
                <a:cxn ang="0">
                  <a:pos x="92" y="373"/>
                </a:cxn>
                <a:cxn ang="0">
                  <a:pos x="119" y="353"/>
                </a:cxn>
                <a:cxn ang="0">
                  <a:pos x="132" y="345"/>
                </a:cxn>
                <a:cxn ang="0">
                  <a:pos x="138" y="333"/>
                </a:cxn>
                <a:cxn ang="0">
                  <a:pos x="144" y="328"/>
                </a:cxn>
                <a:cxn ang="0">
                  <a:pos x="151" y="314"/>
                </a:cxn>
                <a:cxn ang="0">
                  <a:pos x="168" y="302"/>
                </a:cxn>
                <a:cxn ang="0">
                  <a:pos x="179" y="295"/>
                </a:cxn>
                <a:cxn ang="0">
                  <a:pos x="197" y="268"/>
                </a:cxn>
                <a:cxn ang="0">
                  <a:pos x="197" y="255"/>
                </a:cxn>
                <a:cxn ang="0">
                  <a:pos x="199" y="228"/>
                </a:cxn>
                <a:cxn ang="0">
                  <a:pos x="202" y="221"/>
                </a:cxn>
                <a:cxn ang="0">
                  <a:pos x="210" y="209"/>
                </a:cxn>
                <a:cxn ang="0">
                  <a:pos x="216" y="183"/>
                </a:cxn>
                <a:cxn ang="0">
                  <a:pos x="220" y="180"/>
                </a:cxn>
                <a:cxn ang="0">
                  <a:pos x="216" y="167"/>
                </a:cxn>
                <a:cxn ang="0">
                  <a:pos x="212" y="125"/>
                </a:cxn>
                <a:cxn ang="0">
                  <a:pos x="221" y="101"/>
                </a:cxn>
                <a:cxn ang="0">
                  <a:pos x="221" y="71"/>
                </a:cxn>
                <a:cxn ang="0">
                  <a:pos x="215" y="69"/>
                </a:cxn>
                <a:cxn ang="0">
                  <a:pos x="214" y="66"/>
                </a:cxn>
                <a:cxn ang="0">
                  <a:pos x="208" y="58"/>
                </a:cxn>
                <a:cxn ang="0">
                  <a:pos x="208" y="45"/>
                </a:cxn>
                <a:cxn ang="0">
                  <a:pos x="195" y="19"/>
                </a:cxn>
                <a:cxn ang="0">
                  <a:pos x="181" y="19"/>
                </a:cxn>
                <a:cxn ang="0">
                  <a:pos x="170" y="4"/>
                </a:cxn>
                <a:cxn ang="0">
                  <a:pos x="167" y="6"/>
                </a:cxn>
                <a:cxn ang="0">
                  <a:pos x="164" y="9"/>
                </a:cxn>
                <a:cxn ang="0">
                  <a:pos x="154" y="13"/>
                </a:cxn>
                <a:cxn ang="0">
                  <a:pos x="124" y="13"/>
                </a:cxn>
              </a:cxnLst>
              <a:rect l="0" t="0" r="r" b="b"/>
              <a:pathLst>
                <a:path w="221" h="379">
                  <a:moveTo>
                    <a:pt x="119" y="39"/>
                  </a:moveTo>
                  <a:lnTo>
                    <a:pt x="105" y="52"/>
                  </a:lnTo>
                  <a:lnTo>
                    <a:pt x="92" y="65"/>
                  </a:lnTo>
                  <a:lnTo>
                    <a:pt x="89" y="75"/>
                  </a:lnTo>
                  <a:lnTo>
                    <a:pt x="85" y="85"/>
                  </a:lnTo>
                  <a:lnTo>
                    <a:pt x="78" y="85"/>
                  </a:lnTo>
                  <a:lnTo>
                    <a:pt x="72" y="92"/>
                  </a:lnTo>
                  <a:lnTo>
                    <a:pt x="66" y="97"/>
                  </a:lnTo>
                  <a:lnTo>
                    <a:pt x="63" y="107"/>
                  </a:lnTo>
                  <a:lnTo>
                    <a:pt x="60" y="117"/>
                  </a:lnTo>
                  <a:lnTo>
                    <a:pt x="53" y="121"/>
                  </a:lnTo>
                  <a:lnTo>
                    <a:pt x="46" y="124"/>
                  </a:lnTo>
                  <a:lnTo>
                    <a:pt x="46" y="131"/>
                  </a:lnTo>
                  <a:lnTo>
                    <a:pt x="43" y="134"/>
                  </a:lnTo>
                  <a:lnTo>
                    <a:pt x="39" y="138"/>
                  </a:lnTo>
                  <a:lnTo>
                    <a:pt x="36" y="150"/>
                  </a:lnTo>
                  <a:lnTo>
                    <a:pt x="33" y="163"/>
                  </a:lnTo>
                  <a:lnTo>
                    <a:pt x="20" y="177"/>
                  </a:lnTo>
                  <a:lnTo>
                    <a:pt x="20" y="189"/>
                  </a:lnTo>
                  <a:lnTo>
                    <a:pt x="20" y="202"/>
                  </a:lnTo>
                  <a:lnTo>
                    <a:pt x="18" y="202"/>
                  </a:lnTo>
                  <a:lnTo>
                    <a:pt x="16" y="203"/>
                  </a:lnTo>
                  <a:lnTo>
                    <a:pt x="15" y="204"/>
                  </a:lnTo>
                  <a:lnTo>
                    <a:pt x="15" y="207"/>
                  </a:lnTo>
                  <a:lnTo>
                    <a:pt x="14" y="211"/>
                  </a:lnTo>
                  <a:lnTo>
                    <a:pt x="14" y="216"/>
                  </a:lnTo>
                  <a:lnTo>
                    <a:pt x="0" y="229"/>
                  </a:lnTo>
                  <a:lnTo>
                    <a:pt x="0" y="238"/>
                  </a:lnTo>
                  <a:lnTo>
                    <a:pt x="0" y="248"/>
                  </a:lnTo>
                  <a:lnTo>
                    <a:pt x="0" y="255"/>
                  </a:lnTo>
                  <a:lnTo>
                    <a:pt x="0" y="261"/>
                  </a:lnTo>
                  <a:lnTo>
                    <a:pt x="0" y="271"/>
                  </a:lnTo>
                  <a:lnTo>
                    <a:pt x="0" y="280"/>
                  </a:lnTo>
                  <a:lnTo>
                    <a:pt x="0" y="287"/>
                  </a:lnTo>
                  <a:lnTo>
                    <a:pt x="0" y="297"/>
                  </a:lnTo>
                  <a:lnTo>
                    <a:pt x="0" y="307"/>
                  </a:lnTo>
                  <a:lnTo>
                    <a:pt x="0" y="317"/>
                  </a:lnTo>
                  <a:lnTo>
                    <a:pt x="0" y="327"/>
                  </a:lnTo>
                  <a:lnTo>
                    <a:pt x="14" y="333"/>
                  </a:lnTo>
                  <a:lnTo>
                    <a:pt x="14" y="346"/>
                  </a:lnTo>
                  <a:lnTo>
                    <a:pt x="20" y="353"/>
                  </a:lnTo>
                  <a:lnTo>
                    <a:pt x="26" y="360"/>
                  </a:lnTo>
                  <a:lnTo>
                    <a:pt x="39" y="363"/>
                  </a:lnTo>
                  <a:lnTo>
                    <a:pt x="53" y="366"/>
                  </a:lnTo>
                  <a:lnTo>
                    <a:pt x="66" y="379"/>
                  </a:lnTo>
                  <a:lnTo>
                    <a:pt x="78" y="379"/>
                  </a:lnTo>
                  <a:lnTo>
                    <a:pt x="92" y="379"/>
                  </a:lnTo>
                  <a:lnTo>
                    <a:pt x="92" y="373"/>
                  </a:lnTo>
                  <a:lnTo>
                    <a:pt x="105" y="366"/>
                  </a:lnTo>
                  <a:lnTo>
                    <a:pt x="119" y="360"/>
                  </a:lnTo>
                  <a:lnTo>
                    <a:pt x="119" y="353"/>
                  </a:lnTo>
                  <a:lnTo>
                    <a:pt x="121" y="352"/>
                  </a:lnTo>
                  <a:lnTo>
                    <a:pt x="128" y="348"/>
                  </a:lnTo>
                  <a:lnTo>
                    <a:pt x="132" y="345"/>
                  </a:lnTo>
                  <a:lnTo>
                    <a:pt x="134" y="342"/>
                  </a:lnTo>
                  <a:lnTo>
                    <a:pt x="137" y="338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2" y="331"/>
                  </a:lnTo>
                  <a:lnTo>
                    <a:pt x="144" y="328"/>
                  </a:lnTo>
                  <a:lnTo>
                    <a:pt x="147" y="326"/>
                  </a:lnTo>
                  <a:lnTo>
                    <a:pt x="150" y="319"/>
                  </a:lnTo>
                  <a:lnTo>
                    <a:pt x="151" y="314"/>
                  </a:lnTo>
                  <a:lnTo>
                    <a:pt x="158" y="314"/>
                  </a:lnTo>
                  <a:lnTo>
                    <a:pt x="162" y="308"/>
                  </a:lnTo>
                  <a:lnTo>
                    <a:pt x="168" y="302"/>
                  </a:lnTo>
                  <a:lnTo>
                    <a:pt x="171" y="298"/>
                  </a:lnTo>
                  <a:lnTo>
                    <a:pt x="175" y="296"/>
                  </a:lnTo>
                  <a:lnTo>
                    <a:pt x="179" y="295"/>
                  </a:lnTo>
                  <a:lnTo>
                    <a:pt x="183" y="294"/>
                  </a:lnTo>
                  <a:lnTo>
                    <a:pt x="183" y="280"/>
                  </a:lnTo>
                  <a:lnTo>
                    <a:pt x="197" y="268"/>
                  </a:lnTo>
                  <a:lnTo>
                    <a:pt x="197" y="265"/>
                  </a:lnTo>
                  <a:lnTo>
                    <a:pt x="197" y="261"/>
                  </a:lnTo>
                  <a:lnTo>
                    <a:pt x="197" y="255"/>
                  </a:lnTo>
                  <a:lnTo>
                    <a:pt x="197" y="241"/>
                  </a:lnTo>
                  <a:lnTo>
                    <a:pt x="197" y="229"/>
                  </a:lnTo>
                  <a:lnTo>
                    <a:pt x="199" y="228"/>
                  </a:lnTo>
                  <a:lnTo>
                    <a:pt x="200" y="227"/>
                  </a:lnTo>
                  <a:lnTo>
                    <a:pt x="201" y="225"/>
                  </a:lnTo>
                  <a:lnTo>
                    <a:pt x="202" y="221"/>
                  </a:lnTo>
                  <a:lnTo>
                    <a:pt x="204" y="215"/>
                  </a:lnTo>
                  <a:lnTo>
                    <a:pt x="204" y="209"/>
                  </a:lnTo>
                  <a:lnTo>
                    <a:pt x="210" y="209"/>
                  </a:lnTo>
                  <a:lnTo>
                    <a:pt x="210" y="196"/>
                  </a:lnTo>
                  <a:lnTo>
                    <a:pt x="210" y="183"/>
                  </a:lnTo>
                  <a:lnTo>
                    <a:pt x="216" y="183"/>
                  </a:lnTo>
                  <a:lnTo>
                    <a:pt x="218" y="182"/>
                  </a:lnTo>
                  <a:lnTo>
                    <a:pt x="219" y="181"/>
                  </a:lnTo>
                  <a:lnTo>
                    <a:pt x="220" y="180"/>
                  </a:lnTo>
                  <a:lnTo>
                    <a:pt x="220" y="178"/>
                  </a:lnTo>
                  <a:lnTo>
                    <a:pt x="218" y="173"/>
                  </a:lnTo>
                  <a:lnTo>
                    <a:pt x="216" y="167"/>
                  </a:lnTo>
                  <a:lnTo>
                    <a:pt x="208" y="152"/>
                  </a:lnTo>
                  <a:lnTo>
                    <a:pt x="204" y="141"/>
                  </a:lnTo>
                  <a:lnTo>
                    <a:pt x="212" y="125"/>
                  </a:lnTo>
                  <a:lnTo>
                    <a:pt x="221" y="111"/>
                  </a:lnTo>
                  <a:lnTo>
                    <a:pt x="221" y="104"/>
                  </a:lnTo>
                  <a:lnTo>
                    <a:pt x="221" y="101"/>
                  </a:lnTo>
                  <a:lnTo>
                    <a:pt x="221" y="97"/>
                  </a:lnTo>
                  <a:lnTo>
                    <a:pt x="221" y="84"/>
                  </a:lnTo>
                  <a:lnTo>
                    <a:pt x="221" y="71"/>
                  </a:lnTo>
                  <a:lnTo>
                    <a:pt x="217" y="71"/>
                  </a:lnTo>
                  <a:lnTo>
                    <a:pt x="215" y="71"/>
                  </a:lnTo>
                  <a:lnTo>
                    <a:pt x="215" y="69"/>
                  </a:lnTo>
                  <a:lnTo>
                    <a:pt x="215" y="68"/>
                  </a:lnTo>
                  <a:lnTo>
                    <a:pt x="215" y="66"/>
                  </a:lnTo>
                  <a:lnTo>
                    <a:pt x="214" y="66"/>
                  </a:lnTo>
                  <a:lnTo>
                    <a:pt x="211" y="65"/>
                  </a:lnTo>
                  <a:lnTo>
                    <a:pt x="208" y="65"/>
                  </a:lnTo>
                  <a:lnTo>
                    <a:pt x="208" y="58"/>
                  </a:lnTo>
                  <a:lnTo>
                    <a:pt x="208" y="55"/>
                  </a:lnTo>
                  <a:lnTo>
                    <a:pt x="208" y="52"/>
                  </a:lnTo>
                  <a:lnTo>
                    <a:pt x="208" y="45"/>
                  </a:lnTo>
                  <a:lnTo>
                    <a:pt x="205" y="35"/>
                  </a:lnTo>
                  <a:lnTo>
                    <a:pt x="201" y="19"/>
                  </a:lnTo>
                  <a:lnTo>
                    <a:pt x="195" y="19"/>
                  </a:lnTo>
                  <a:lnTo>
                    <a:pt x="191" y="19"/>
                  </a:lnTo>
                  <a:lnTo>
                    <a:pt x="188" y="19"/>
                  </a:lnTo>
                  <a:lnTo>
                    <a:pt x="181" y="19"/>
                  </a:lnTo>
                  <a:lnTo>
                    <a:pt x="176" y="9"/>
                  </a:lnTo>
                  <a:lnTo>
                    <a:pt x="170" y="0"/>
                  </a:lnTo>
                  <a:lnTo>
                    <a:pt x="170" y="4"/>
                  </a:lnTo>
                  <a:lnTo>
                    <a:pt x="169" y="6"/>
                  </a:lnTo>
                  <a:lnTo>
                    <a:pt x="168" y="6"/>
                  </a:lnTo>
                  <a:lnTo>
                    <a:pt x="167" y="6"/>
                  </a:lnTo>
                  <a:lnTo>
                    <a:pt x="166" y="7"/>
                  </a:lnTo>
                  <a:lnTo>
                    <a:pt x="164" y="7"/>
                  </a:lnTo>
                  <a:lnTo>
                    <a:pt x="164" y="9"/>
                  </a:lnTo>
                  <a:lnTo>
                    <a:pt x="164" y="13"/>
                  </a:lnTo>
                  <a:lnTo>
                    <a:pt x="158" y="13"/>
                  </a:lnTo>
                  <a:lnTo>
                    <a:pt x="154" y="13"/>
                  </a:lnTo>
                  <a:lnTo>
                    <a:pt x="151" y="13"/>
                  </a:lnTo>
                  <a:lnTo>
                    <a:pt x="138" y="13"/>
                  </a:lnTo>
                  <a:lnTo>
                    <a:pt x="124" y="13"/>
                  </a:lnTo>
                  <a:lnTo>
                    <a:pt x="119" y="3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43" name="Freeform 96">
              <a:extLst>
                <a:ext uri="{FF2B5EF4-FFF2-40B4-BE49-F238E27FC236}">
                  <a16:creationId xmlns:a16="http://schemas.microsoft.com/office/drawing/2014/main" id="{F663AEEB-D3BC-4BD3-85C0-66B4C7D6E477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245475" y="4327525"/>
              <a:ext cx="51533" cy="19050"/>
            </a:xfrm>
            <a:custGeom>
              <a:avLst/>
              <a:gdLst/>
              <a:ahLst/>
              <a:cxnLst>
                <a:cxn ang="0">
                  <a:pos x="178" y="0"/>
                </a:cxn>
                <a:cxn ang="0">
                  <a:pos x="166" y="0"/>
                </a:cxn>
                <a:cxn ang="0">
                  <a:pos x="139" y="5"/>
                </a:cxn>
                <a:cxn ang="0">
                  <a:pos x="122" y="7"/>
                </a:cxn>
                <a:cxn ang="0">
                  <a:pos x="105" y="11"/>
                </a:cxn>
                <a:cxn ang="0">
                  <a:pos x="77" y="11"/>
                </a:cxn>
                <a:cxn ang="0">
                  <a:pos x="60" y="16"/>
                </a:cxn>
                <a:cxn ang="0">
                  <a:pos x="53" y="22"/>
                </a:cxn>
                <a:cxn ang="0">
                  <a:pos x="38" y="27"/>
                </a:cxn>
                <a:cxn ang="0">
                  <a:pos x="34" y="31"/>
                </a:cxn>
                <a:cxn ang="0">
                  <a:pos x="28" y="39"/>
                </a:cxn>
                <a:cxn ang="0">
                  <a:pos x="22" y="55"/>
                </a:cxn>
                <a:cxn ang="0">
                  <a:pos x="17" y="55"/>
                </a:cxn>
                <a:cxn ang="0">
                  <a:pos x="17" y="58"/>
                </a:cxn>
                <a:cxn ang="0">
                  <a:pos x="16" y="60"/>
                </a:cxn>
                <a:cxn ang="0">
                  <a:pos x="11" y="61"/>
                </a:cxn>
                <a:cxn ang="0">
                  <a:pos x="0" y="78"/>
                </a:cxn>
                <a:cxn ang="0">
                  <a:pos x="0" y="94"/>
                </a:cxn>
                <a:cxn ang="0">
                  <a:pos x="8" y="98"/>
                </a:cxn>
                <a:cxn ang="0">
                  <a:pos x="14" y="101"/>
                </a:cxn>
                <a:cxn ang="0">
                  <a:pos x="17" y="106"/>
                </a:cxn>
                <a:cxn ang="0">
                  <a:pos x="38" y="106"/>
                </a:cxn>
                <a:cxn ang="0">
                  <a:pos x="55" y="106"/>
                </a:cxn>
                <a:cxn ang="0">
                  <a:pos x="66" y="106"/>
                </a:cxn>
                <a:cxn ang="0">
                  <a:pos x="75" y="106"/>
                </a:cxn>
                <a:cxn ang="0">
                  <a:pos x="88" y="106"/>
                </a:cxn>
                <a:cxn ang="0">
                  <a:pos x="101" y="108"/>
                </a:cxn>
                <a:cxn ang="0">
                  <a:pos x="107" y="110"/>
                </a:cxn>
                <a:cxn ang="0">
                  <a:pos x="122" y="128"/>
                </a:cxn>
                <a:cxn ang="0">
                  <a:pos x="133" y="128"/>
                </a:cxn>
                <a:cxn ang="0">
                  <a:pos x="142" y="128"/>
                </a:cxn>
                <a:cxn ang="0">
                  <a:pos x="150" y="128"/>
                </a:cxn>
                <a:cxn ang="0">
                  <a:pos x="178" y="128"/>
                </a:cxn>
                <a:cxn ang="0">
                  <a:pos x="179" y="117"/>
                </a:cxn>
                <a:cxn ang="0">
                  <a:pos x="181" y="114"/>
                </a:cxn>
                <a:cxn ang="0">
                  <a:pos x="182" y="114"/>
                </a:cxn>
                <a:cxn ang="0">
                  <a:pos x="183" y="111"/>
                </a:cxn>
                <a:cxn ang="0">
                  <a:pos x="191" y="107"/>
                </a:cxn>
                <a:cxn ang="0">
                  <a:pos x="194" y="100"/>
                </a:cxn>
                <a:cxn ang="0">
                  <a:pos x="206" y="89"/>
                </a:cxn>
                <a:cxn ang="0">
                  <a:pos x="217" y="85"/>
                </a:cxn>
                <a:cxn ang="0">
                  <a:pos x="219" y="83"/>
                </a:cxn>
                <a:cxn ang="0">
                  <a:pos x="221" y="83"/>
                </a:cxn>
                <a:cxn ang="0">
                  <a:pos x="222" y="80"/>
                </a:cxn>
                <a:cxn ang="0">
                  <a:pos x="228" y="78"/>
                </a:cxn>
                <a:cxn ang="0">
                  <a:pos x="239" y="78"/>
                </a:cxn>
                <a:cxn ang="0">
                  <a:pos x="259" y="69"/>
                </a:cxn>
                <a:cxn ang="0">
                  <a:pos x="274" y="64"/>
                </a:cxn>
                <a:cxn ang="0">
                  <a:pos x="276" y="62"/>
                </a:cxn>
                <a:cxn ang="0">
                  <a:pos x="285" y="61"/>
                </a:cxn>
                <a:cxn ang="0">
                  <a:pos x="289" y="50"/>
                </a:cxn>
                <a:cxn ang="0">
                  <a:pos x="295" y="50"/>
                </a:cxn>
                <a:cxn ang="0">
                  <a:pos x="295" y="27"/>
                </a:cxn>
                <a:cxn ang="0">
                  <a:pos x="278" y="27"/>
                </a:cxn>
                <a:cxn ang="0">
                  <a:pos x="276" y="24"/>
                </a:cxn>
                <a:cxn ang="0">
                  <a:pos x="271" y="22"/>
                </a:cxn>
                <a:cxn ang="0">
                  <a:pos x="261" y="22"/>
                </a:cxn>
                <a:cxn ang="0">
                  <a:pos x="256" y="16"/>
                </a:cxn>
                <a:cxn ang="0">
                  <a:pos x="245" y="11"/>
                </a:cxn>
                <a:cxn ang="0">
                  <a:pos x="237" y="11"/>
                </a:cxn>
                <a:cxn ang="0">
                  <a:pos x="229" y="10"/>
                </a:cxn>
                <a:cxn ang="0">
                  <a:pos x="214" y="5"/>
                </a:cxn>
              </a:cxnLst>
              <a:rect l="0" t="0" r="r" b="b"/>
              <a:pathLst>
                <a:path w="295" h="128">
                  <a:moveTo>
                    <a:pt x="200" y="5"/>
                  </a:moveTo>
                  <a:lnTo>
                    <a:pt x="178" y="0"/>
                  </a:lnTo>
                  <a:lnTo>
                    <a:pt x="172" y="0"/>
                  </a:lnTo>
                  <a:lnTo>
                    <a:pt x="166" y="0"/>
                  </a:lnTo>
                  <a:lnTo>
                    <a:pt x="151" y="2"/>
                  </a:lnTo>
                  <a:lnTo>
                    <a:pt x="139" y="5"/>
                  </a:lnTo>
                  <a:lnTo>
                    <a:pt x="134" y="5"/>
                  </a:lnTo>
                  <a:lnTo>
                    <a:pt x="122" y="7"/>
                  </a:lnTo>
                  <a:lnTo>
                    <a:pt x="111" y="10"/>
                  </a:lnTo>
                  <a:lnTo>
                    <a:pt x="105" y="11"/>
                  </a:lnTo>
                  <a:lnTo>
                    <a:pt x="92" y="11"/>
                  </a:lnTo>
                  <a:lnTo>
                    <a:pt x="77" y="11"/>
                  </a:lnTo>
                  <a:lnTo>
                    <a:pt x="67" y="13"/>
                  </a:lnTo>
                  <a:lnTo>
                    <a:pt x="60" y="16"/>
                  </a:lnTo>
                  <a:lnTo>
                    <a:pt x="55" y="22"/>
                  </a:lnTo>
                  <a:lnTo>
                    <a:pt x="53" y="22"/>
                  </a:lnTo>
                  <a:lnTo>
                    <a:pt x="49" y="22"/>
                  </a:lnTo>
                  <a:lnTo>
                    <a:pt x="38" y="27"/>
                  </a:lnTo>
                  <a:lnTo>
                    <a:pt x="36" y="29"/>
                  </a:lnTo>
                  <a:lnTo>
                    <a:pt x="34" y="31"/>
                  </a:lnTo>
                  <a:lnTo>
                    <a:pt x="31" y="34"/>
                  </a:lnTo>
                  <a:lnTo>
                    <a:pt x="28" y="39"/>
                  </a:lnTo>
                  <a:lnTo>
                    <a:pt x="24" y="49"/>
                  </a:lnTo>
                  <a:lnTo>
                    <a:pt x="22" y="55"/>
                  </a:lnTo>
                  <a:lnTo>
                    <a:pt x="19" y="55"/>
                  </a:lnTo>
                  <a:lnTo>
                    <a:pt x="17" y="55"/>
                  </a:lnTo>
                  <a:lnTo>
                    <a:pt x="17" y="56"/>
                  </a:lnTo>
                  <a:lnTo>
                    <a:pt x="17" y="58"/>
                  </a:lnTo>
                  <a:lnTo>
                    <a:pt x="16" y="59"/>
                  </a:lnTo>
                  <a:lnTo>
                    <a:pt x="16" y="60"/>
                  </a:lnTo>
                  <a:lnTo>
                    <a:pt x="14" y="60"/>
                  </a:lnTo>
                  <a:lnTo>
                    <a:pt x="11" y="61"/>
                  </a:lnTo>
                  <a:lnTo>
                    <a:pt x="11" y="72"/>
                  </a:lnTo>
                  <a:lnTo>
                    <a:pt x="0" y="78"/>
                  </a:lnTo>
                  <a:lnTo>
                    <a:pt x="0" y="85"/>
                  </a:lnTo>
                  <a:lnTo>
                    <a:pt x="0" y="94"/>
                  </a:lnTo>
                  <a:lnTo>
                    <a:pt x="2" y="94"/>
                  </a:lnTo>
                  <a:lnTo>
                    <a:pt x="8" y="98"/>
                  </a:lnTo>
                  <a:lnTo>
                    <a:pt x="11" y="99"/>
                  </a:lnTo>
                  <a:lnTo>
                    <a:pt x="14" y="101"/>
                  </a:lnTo>
                  <a:lnTo>
                    <a:pt x="16" y="103"/>
                  </a:lnTo>
                  <a:lnTo>
                    <a:pt x="17" y="106"/>
                  </a:lnTo>
                  <a:lnTo>
                    <a:pt x="28" y="106"/>
                  </a:lnTo>
                  <a:lnTo>
                    <a:pt x="38" y="106"/>
                  </a:lnTo>
                  <a:lnTo>
                    <a:pt x="47" y="106"/>
                  </a:lnTo>
                  <a:lnTo>
                    <a:pt x="55" y="106"/>
                  </a:lnTo>
                  <a:lnTo>
                    <a:pt x="60" y="106"/>
                  </a:lnTo>
                  <a:lnTo>
                    <a:pt x="66" y="106"/>
                  </a:lnTo>
                  <a:lnTo>
                    <a:pt x="72" y="106"/>
                  </a:lnTo>
                  <a:lnTo>
                    <a:pt x="75" y="106"/>
                  </a:lnTo>
                  <a:lnTo>
                    <a:pt x="77" y="106"/>
                  </a:lnTo>
                  <a:lnTo>
                    <a:pt x="88" y="106"/>
                  </a:lnTo>
                  <a:lnTo>
                    <a:pt x="99" y="106"/>
                  </a:lnTo>
                  <a:lnTo>
                    <a:pt x="101" y="108"/>
                  </a:lnTo>
                  <a:lnTo>
                    <a:pt x="103" y="110"/>
                  </a:lnTo>
                  <a:lnTo>
                    <a:pt x="107" y="110"/>
                  </a:lnTo>
                  <a:lnTo>
                    <a:pt x="111" y="111"/>
                  </a:lnTo>
                  <a:lnTo>
                    <a:pt x="122" y="128"/>
                  </a:lnTo>
                  <a:lnTo>
                    <a:pt x="127" y="128"/>
                  </a:lnTo>
                  <a:lnTo>
                    <a:pt x="133" y="128"/>
                  </a:lnTo>
                  <a:lnTo>
                    <a:pt x="139" y="128"/>
                  </a:lnTo>
                  <a:lnTo>
                    <a:pt x="142" y="128"/>
                  </a:lnTo>
                  <a:lnTo>
                    <a:pt x="144" y="128"/>
                  </a:lnTo>
                  <a:lnTo>
                    <a:pt x="150" y="128"/>
                  </a:lnTo>
                  <a:lnTo>
                    <a:pt x="164" y="128"/>
                  </a:lnTo>
                  <a:lnTo>
                    <a:pt x="178" y="128"/>
                  </a:lnTo>
                  <a:lnTo>
                    <a:pt x="178" y="121"/>
                  </a:lnTo>
                  <a:lnTo>
                    <a:pt x="179" y="117"/>
                  </a:lnTo>
                  <a:lnTo>
                    <a:pt x="180" y="116"/>
                  </a:lnTo>
                  <a:lnTo>
                    <a:pt x="181" y="114"/>
                  </a:lnTo>
                  <a:lnTo>
                    <a:pt x="182" y="114"/>
                  </a:lnTo>
                  <a:lnTo>
                    <a:pt x="182" y="114"/>
                  </a:lnTo>
                  <a:lnTo>
                    <a:pt x="183" y="113"/>
                  </a:lnTo>
                  <a:lnTo>
                    <a:pt x="183" y="111"/>
                  </a:lnTo>
                  <a:lnTo>
                    <a:pt x="188" y="110"/>
                  </a:lnTo>
                  <a:lnTo>
                    <a:pt x="191" y="107"/>
                  </a:lnTo>
                  <a:lnTo>
                    <a:pt x="193" y="103"/>
                  </a:lnTo>
                  <a:lnTo>
                    <a:pt x="194" y="100"/>
                  </a:lnTo>
                  <a:lnTo>
                    <a:pt x="200" y="94"/>
                  </a:lnTo>
                  <a:lnTo>
                    <a:pt x="206" y="89"/>
                  </a:lnTo>
                  <a:lnTo>
                    <a:pt x="217" y="89"/>
                  </a:lnTo>
                  <a:lnTo>
                    <a:pt x="217" y="85"/>
                  </a:lnTo>
                  <a:lnTo>
                    <a:pt x="218" y="83"/>
                  </a:lnTo>
                  <a:lnTo>
                    <a:pt x="219" y="83"/>
                  </a:lnTo>
                  <a:lnTo>
                    <a:pt x="220" y="83"/>
                  </a:lnTo>
                  <a:lnTo>
                    <a:pt x="221" y="83"/>
                  </a:lnTo>
                  <a:lnTo>
                    <a:pt x="221" y="82"/>
                  </a:lnTo>
                  <a:lnTo>
                    <a:pt x="222" y="80"/>
                  </a:lnTo>
                  <a:lnTo>
                    <a:pt x="222" y="78"/>
                  </a:lnTo>
                  <a:lnTo>
                    <a:pt x="228" y="78"/>
                  </a:lnTo>
                  <a:lnTo>
                    <a:pt x="233" y="78"/>
                  </a:lnTo>
                  <a:lnTo>
                    <a:pt x="239" y="78"/>
                  </a:lnTo>
                  <a:lnTo>
                    <a:pt x="245" y="72"/>
                  </a:lnTo>
                  <a:lnTo>
                    <a:pt x="259" y="69"/>
                  </a:lnTo>
                  <a:lnTo>
                    <a:pt x="273" y="66"/>
                  </a:lnTo>
                  <a:lnTo>
                    <a:pt x="274" y="64"/>
                  </a:lnTo>
                  <a:lnTo>
                    <a:pt x="275" y="63"/>
                  </a:lnTo>
                  <a:lnTo>
                    <a:pt x="276" y="62"/>
                  </a:lnTo>
                  <a:lnTo>
                    <a:pt x="279" y="61"/>
                  </a:lnTo>
                  <a:lnTo>
                    <a:pt x="285" y="61"/>
                  </a:lnTo>
                  <a:lnTo>
                    <a:pt x="289" y="61"/>
                  </a:lnTo>
                  <a:lnTo>
                    <a:pt x="289" y="50"/>
                  </a:lnTo>
                  <a:lnTo>
                    <a:pt x="293" y="50"/>
                  </a:lnTo>
                  <a:lnTo>
                    <a:pt x="295" y="50"/>
                  </a:lnTo>
                  <a:lnTo>
                    <a:pt x="295" y="39"/>
                  </a:lnTo>
                  <a:lnTo>
                    <a:pt x="295" y="27"/>
                  </a:lnTo>
                  <a:lnTo>
                    <a:pt x="287" y="27"/>
                  </a:lnTo>
                  <a:lnTo>
                    <a:pt x="278" y="27"/>
                  </a:lnTo>
                  <a:lnTo>
                    <a:pt x="278" y="25"/>
                  </a:lnTo>
                  <a:lnTo>
                    <a:pt x="276" y="24"/>
                  </a:lnTo>
                  <a:lnTo>
                    <a:pt x="275" y="23"/>
                  </a:lnTo>
                  <a:lnTo>
                    <a:pt x="271" y="22"/>
                  </a:lnTo>
                  <a:lnTo>
                    <a:pt x="267" y="22"/>
                  </a:lnTo>
                  <a:lnTo>
                    <a:pt x="261" y="22"/>
                  </a:lnTo>
                  <a:lnTo>
                    <a:pt x="259" y="18"/>
                  </a:lnTo>
                  <a:lnTo>
                    <a:pt x="256" y="16"/>
                  </a:lnTo>
                  <a:lnTo>
                    <a:pt x="250" y="13"/>
                  </a:lnTo>
                  <a:lnTo>
                    <a:pt x="245" y="11"/>
                  </a:lnTo>
                  <a:lnTo>
                    <a:pt x="239" y="11"/>
                  </a:lnTo>
                  <a:lnTo>
                    <a:pt x="237" y="11"/>
                  </a:lnTo>
                  <a:lnTo>
                    <a:pt x="233" y="11"/>
                  </a:lnTo>
                  <a:lnTo>
                    <a:pt x="229" y="10"/>
                  </a:lnTo>
                  <a:lnTo>
                    <a:pt x="223" y="7"/>
                  </a:lnTo>
                  <a:lnTo>
                    <a:pt x="214" y="5"/>
                  </a:lnTo>
                  <a:lnTo>
                    <a:pt x="200" y="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44" name="Freeform 97">
              <a:extLst>
                <a:ext uri="{FF2B5EF4-FFF2-40B4-BE49-F238E27FC236}">
                  <a16:creationId xmlns:a16="http://schemas.microsoft.com/office/drawing/2014/main" id="{41812890-3928-4792-9082-0D55793EA012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677275" y="3963988"/>
              <a:ext cx="154455" cy="180975"/>
            </a:xfrm>
            <a:custGeom>
              <a:avLst/>
              <a:gdLst/>
              <a:ahLst/>
              <a:cxnLst>
                <a:cxn ang="0">
                  <a:pos x="336" y="79"/>
                </a:cxn>
                <a:cxn ang="0">
                  <a:pos x="155" y="95"/>
                </a:cxn>
                <a:cxn ang="0">
                  <a:pos x="63" y="115"/>
                </a:cxn>
                <a:cxn ang="0">
                  <a:pos x="23" y="128"/>
                </a:cxn>
                <a:cxn ang="0">
                  <a:pos x="12" y="158"/>
                </a:cxn>
                <a:cxn ang="0">
                  <a:pos x="43" y="177"/>
                </a:cxn>
                <a:cxn ang="0">
                  <a:pos x="73" y="201"/>
                </a:cxn>
                <a:cxn ang="0">
                  <a:pos x="96" y="225"/>
                </a:cxn>
                <a:cxn ang="0">
                  <a:pos x="116" y="257"/>
                </a:cxn>
                <a:cxn ang="0">
                  <a:pos x="142" y="295"/>
                </a:cxn>
                <a:cxn ang="0">
                  <a:pos x="167" y="330"/>
                </a:cxn>
                <a:cxn ang="0">
                  <a:pos x="175" y="352"/>
                </a:cxn>
                <a:cxn ang="0">
                  <a:pos x="232" y="421"/>
                </a:cxn>
                <a:cxn ang="0">
                  <a:pos x="273" y="446"/>
                </a:cxn>
                <a:cxn ang="0">
                  <a:pos x="338" y="478"/>
                </a:cxn>
                <a:cxn ang="0">
                  <a:pos x="377" y="497"/>
                </a:cxn>
                <a:cxn ang="0">
                  <a:pos x="400" y="511"/>
                </a:cxn>
                <a:cxn ang="0">
                  <a:pos x="423" y="529"/>
                </a:cxn>
                <a:cxn ang="0">
                  <a:pos x="447" y="551"/>
                </a:cxn>
                <a:cxn ang="0">
                  <a:pos x="457" y="586"/>
                </a:cxn>
                <a:cxn ang="0">
                  <a:pos x="447" y="679"/>
                </a:cxn>
                <a:cxn ang="0">
                  <a:pos x="442" y="734"/>
                </a:cxn>
                <a:cxn ang="0">
                  <a:pos x="408" y="742"/>
                </a:cxn>
                <a:cxn ang="0">
                  <a:pos x="332" y="755"/>
                </a:cxn>
                <a:cxn ang="0">
                  <a:pos x="292" y="777"/>
                </a:cxn>
                <a:cxn ang="0">
                  <a:pos x="271" y="808"/>
                </a:cxn>
                <a:cxn ang="0">
                  <a:pos x="267" y="912"/>
                </a:cxn>
                <a:cxn ang="0">
                  <a:pos x="286" y="955"/>
                </a:cxn>
                <a:cxn ang="0">
                  <a:pos x="304" y="979"/>
                </a:cxn>
                <a:cxn ang="0">
                  <a:pos x="329" y="1010"/>
                </a:cxn>
                <a:cxn ang="0">
                  <a:pos x="360" y="1006"/>
                </a:cxn>
                <a:cxn ang="0">
                  <a:pos x="411" y="1077"/>
                </a:cxn>
                <a:cxn ang="0">
                  <a:pos x="433" y="1122"/>
                </a:cxn>
                <a:cxn ang="0">
                  <a:pos x="514" y="1114"/>
                </a:cxn>
                <a:cxn ang="0">
                  <a:pos x="544" y="1074"/>
                </a:cxn>
                <a:cxn ang="0">
                  <a:pos x="574" y="1028"/>
                </a:cxn>
                <a:cxn ang="0">
                  <a:pos x="670" y="909"/>
                </a:cxn>
                <a:cxn ang="0">
                  <a:pos x="694" y="880"/>
                </a:cxn>
                <a:cxn ang="0">
                  <a:pos x="727" y="836"/>
                </a:cxn>
                <a:cxn ang="0">
                  <a:pos x="747" y="812"/>
                </a:cxn>
                <a:cxn ang="0">
                  <a:pos x="782" y="748"/>
                </a:cxn>
                <a:cxn ang="0">
                  <a:pos x="802" y="636"/>
                </a:cxn>
                <a:cxn ang="0">
                  <a:pos x="794" y="517"/>
                </a:cxn>
                <a:cxn ang="0">
                  <a:pos x="782" y="439"/>
                </a:cxn>
                <a:cxn ang="0">
                  <a:pos x="797" y="261"/>
                </a:cxn>
                <a:cxn ang="0">
                  <a:pos x="823" y="192"/>
                </a:cxn>
                <a:cxn ang="0">
                  <a:pos x="835" y="162"/>
                </a:cxn>
                <a:cxn ang="0">
                  <a:pos x="820" y="131"/>
                </a:cxn>
                <a:cxn ang="0">
                  <a:pos x="698" y="109"/>
                </a:cxn>
                <a:cxn ang="0">
                  <a:pos x="634" y="93"/>
                </a:cxn>
                <a:cxn ang="0">
                  <a:pos x="574" y="64"/>
                </a:cxn>
                <a:cxn ang="0">
                  <a:pos x="550" y="15"/>
                </a:cxn>
                <a:cxn ang="0">
                  <a:pos x="515" y="3"/>
                </a:cxn>
                <a:cxn ang="0">
                  <a:pos x="442" y="6"/>
                </a:cxn>
                <a:cxn ang="0">
                  <a:pos x="382" y="35"/>
                </a:cxn>
              </a:cxnLst>
              <a:rect l="0" t="0" r="r" b="b"/>
              <a:pathLst>
                <a:path w="840" h="1127">
                  <a:moveTo>
                    <a:pt x="382" y="35"/>
                  </a:moveTo>
                  <a:lnTo>
                    <a:pt x="374" y="47"/>
                  </a:lnTo>
                  <a:lnTo>
                    <a:pt x="363" y="64"/>
                  </a:lnTo>
                  <a:lnTo>
                    <a:pt x="357" y="66"/>
                  </a:lnTo>
                  <a:lnTo>
                    <a:pt x="346" y="72"/>
                  </a:lnTo>
                  <a:lnTo>
                    <a:pt x="336" y="79"/>
                  </a:lnTo>
                  <a:lnTo>
                    <a:pt x="329" y="84"/>
                  </a:lnTo>
                  <a:lnTo>
                    <a:pt x="289" y="85"/>
                  </a:lnTo>
                  <a:lnTo>
                    <a:pt x="247" y="89"/>
                  </a:lnTo>
                  <a:lnTo>
                    <a:pt x="207" y="92"/>
                  </a:lnTo>
                  <a:lnTo>
                    <a:pt x="167" y="93"/>
                  </a:lnTo>
                  <a:lnTo>
                    <a:pt x="155" y="95"/>
                  </a:lnTo>
                  <a:lnTo>
                    <a:pt x="142" y="99"/>
                  </a:lnTo>
                  <a:lnTo>
                    <a:pt x="131" y="102"/>
                  </a:lnTo>
                  <a:lnTo>
                    <a:pt x="122" y="103"/>
                  </a:lnTo>
                  <a:lnTo>
                    <a:pt x="109" y="105"/>
                  </a:lnTo>
                  <a:lnTo>
                    <a:pt x="86" y="111"/>
                  </a:lnTo>
                  <a:lnTo>
                    <a:pt x="63" y="115"/>
                  </a:lnTo>
                  <a:lnTo>
                    <a:pt x="53" y="119"/>
                  </a:lnTo>
                  <a:lnTo>
                    <a:pt x="39" y="119"/>
                  </a:lnTo>
                  <a:lnTo>
                    <a:pt x="38" y="120"/>
                  </a:lnTo>
                  <a:lnTo>
                    <a:pt x="34" y="122"/>
                  </a:lnTo>
                  <a:lnTo>
                    <a:pt x="29" y="125"/>
                  </a:lnTo>
                  <a:lnTo>
                    <a:pt x="23" y="128"/>
                  </a:lnTo>
                  <a:lnTo>
                    <a:pt x="12" y="131"/>
                  </a:lnTo>
                  <a:lnTo>
                    <a:pt x="4" y="133"/>
                  </a:lnTo>
                  <a:lnTo>
                    <a:pt x="2" y="144"/>
                  </a:lnTo>
                  <a:lnTo>
                    <a:pt x="0" y="152"/>
                  </a:lnTo>
                  <a:lnTo>
                    <a:pt x="8" y="152"/>
                  </a:lnTo>
                  <a:lnTo>
                    <a:pt x="12" y="158"/>
                  </a:lnTo>
                  <a:lnTo>
                    <a:pt x="14" y="162"/>
                  </a:lnTo>
                  <a:lnTo>
                    <a:pt x="24" y="162"/>
                  </a:lnTo>
                  <a:lnTo>
                    <a:pt x="26" y="168"/>
                  </a:lnTo>
                  <a:lnTo>
                    <a:pt x="29" y="172"/>
                  </a:lnTo>
                  <a:lnTo>
                    <a:pt x="36" y="175"/>
                  </a:lnTo>
                  <a:lnTo>
                    <a:pt x="43" y="177"/>
                  </a:lnTo>
                  <a:lnTo>
                    <a:pt x="46" y="181"/>
                  </a:lnTo>
                  <a:lnTo>
                    <a:pt x="54" y="189"/>
                  </a:lnTo>
                  <a:lnTo>
                    <a:pt x="60" y="195"/>
                  </a:lnTo>
                  <a:lnTo>
                    <a:pt x="64" y="198"/>
                  </a:lnTo>
                  <a:lnTo>
                    <a:pt x="69" y="201"/>
                  </a:lnTo>
                  <a:lnTo>
                    <a:pt x="73" y="201"/>
                  </a:lnTo>
                  <a:lnTo>
                    <a:pt x="75" y="207"/>
                  </a:lnTo>
                  <a:lnTo>
                    <a:pt x="78" y="211"/>
                  </a:lnTo>
                  <a:lnTo>
                    <a:pt x="88" y="211"/>
                  </a:lnTo>
                  <a:lnTo>
                    <a:pt x="88" y="221"/>
                  </a:lnTo>
                  <a:lnTo>
                    <a:pt x="91" y="223"/>
                  </a:lnTo>
                  <a:lnTo>
                    <a:pt x="96" y="225"/>
                  </a:lnTo>
                  <a:lnTo>
                    <a:pt x="99" y="228"/>
                  </a:lnTo>
                  <a:lnTo>
                    <a:pt x="102" y="231"/>
                  </a:lnTo>
                  <a:lnTo>
                    <a:pt x="108" y="240"/>
                  </a:lnTo>
                  <a:lnTo>
                    <a:pt x="112" y="246"/>
                  </a:lnTo>
                  <a:lnTo>
                    <a:pt x="112" y="256"/>
                  </a:lnTo>
                  <a:lnTo>
                    <a:pt x="116" y="257"/>
                  </a:lnTo>
                  <a:lnTo>
                    <a:pt x="120" y="259"/>
                  </a:lnTo>
                  <a:lnTo>
                    <a:pt x="123" y="264"/>
                  </a:lnTo>
                  <a:lnTo>
                    <a:pt x="127" y="269"/>
                  </a:lnTo>
                  <a:lnTo>
                    <a:pt x="135" y="278"/>
                  </a:lnTo>
                  <a:lnTo>
                    <a:pt x="142" y="285"/>
                  </a:lnTo>
                  <a:lnTo>
                    <a:pt x="142" y="295"/>
                  </a:lnTo>
                  <a:lnTo>
                    <a:pt x="145" y="297"/>
                  </a:lnTo>
                  <a:lnTo>
                    <a:pt x="148" y="301"/>
                  </a:lnTo>
                  <a:lnTo>
                    <a:pt x="151" y="306"/>
                  </a:lnTo>
                  <a:lnTo>
                    <a:pt x="156" y="313"/>
                  </a:lnTo>
                  <a:lnTo>
                    <a:pt x="164" y="324"/>
                  </a:lnTo>
                  <a:lnTo>
                    <a:pt x="167" y="330"/>
                  </a:lnTo>
                  <a:lnTo>
                    <a:pt x="167" y="340"/>
                  </a:lnTo>
                  <a:lnTo>
                    <a:pt x="169" y="341"/>
                  </a:lnTo>
                  <a:lnTo>
                    <a:pt x="170" y="343"/>
                  </a:lnTo>
                  <a:lnTo>
                    <a:pt x="171" y="345"/>
                  </a:lnTo>
                  <a:lnTo>
                    <a:pt x="171" y="350"/>
                  </a:lnTo>
                  <a:lnTo>
                    <a:pt x="175" y="352"/>
                  </a:lnTo>
                  <a:lnTo>
                    <a:pt x="182" y="360"/>
                  </a:lnTo>
                  <a:lnTo>
                    <a:pt x="189" y="370"/>
                  </a:lnTo>
                  <a:lnTo>
                    <a:pt x="198" y="382"/>
                  </a:lnTo>
                  <a:lnTo>
                    <a:pt x="216" y="406"/>
                  </a:lnTo>
                  <a:lnTo>
                    <a:pt x="225" y="418"/>
                  </a:lnTo>
                  <a:lnTo>
                    <a:pt x="232" y="421"/>
                  </a:lnTo>
                  <a:lnTo>
                    <a:pt x="240" y="427"/>
                  </a:lnTo>
                  <a:lnTo>
                    <a:pt x="247" y="432"/>
                  </a:lnTo>
                  <a:lnTo>
                    <a:pt x="250" y="438"/>
                  </a:lnTo>
                  <a:lnTo>
                    <a:pt x="260" y="440"/>
                  </a:lnTo>
                  <a:lnTo>
                    <a:pt x="270" y="442"/>
                  </a:lnTo>
                  <a:lnTo>
                    <a:pt x="273" y="446"/>
                  </a:lnTo>
                  <a:lnTo>
                    <a:pt x="280" y="450"/>
                  </a:lnTo>
                  <a:lnTo>
                    <a:pt x="291" y="455"/>
                  </a:lnTo>
                  <a:lnTo>
                    <a:pt x="303" y="460"/>
                  </a:lnTo>
                  <a:lnTo>
                    <a:pt x="315" y="467"/>
                  </a:lnTo>
                  <a:lnTo>
                    <a:pt x="328" y="473"/>
                  </a:lnTo>
                  <a:lnTo>
                    <a:pt x="338" y="478"/>
                  </a:lnTo>
                  <a:lnTo>
                    <a:pt x="343" y="483"/>
                  </a:lnTo>
                  <a:lnTo>
                    <a:pt x="348" y="483"/>
                  </a:lnTo>
                  <a:lnTo>
                    <a:pt x="355" y="486"/>
                  </a:lnTo>
                  <a:lnTo>
                    <a:pt x="362" y="489"/>
                  </a:lnTo>
                  <a:lnTo>
                    <a:pt x="369" y="493"/>
                  </a:lnTo>
                  <a:lnTo>
                    <a:pt x="377" y="497"/>
                  </a:lnTo>
                  <a:lnTo>
                    <a:pt x="382" y="500"/>
                  </a:lnTo>
                  <a:lnTo>
                    <a:pt x="387" y="505"/>
                  </a:lnTo>
                  <a:lnTo>
                    <a:pt x="388" y="507"/>
                  </a:lnTo>
                  <a:lnTo>
                    <a:pt x="391" y="507"/>
                  </a:lnTo>
                  <a:lnTo>
                    <a:pt x="396" y="508"/>
                  </a:lnTo>
                  <a:lnTo>
                    <a:pt x="400" y="511"/>
                  </a:lnTo>
                  <a:lnTo>
                    <a:pt x="404" y="513"/>
                  </a:lnTo>
                  <a:lnTo>
                    <a:pt x="407" y="516"/>
                  </a:lnTo>
                  <a:lnTo>
                    <a:pt x="410" y="519"/>
                  </a:lnTo>
                  <a:lnTo>
                    <a:pt x="411" y="523"/>
                  </a:lnTo>
                  <a:lnTo>
                    <a:pt x="413" y="526"/>
                  </a:lnTo>
                  <a:lnTo>
                    <a:pt x="423" y="529"/>
                  </a:lnTo>
                  <a:lnTo>
                    <a:pt x="437" y="532"/>
                  </a:lnTo>
                  <a:lnTo>
                    <a:pt x="437" y="542"/>
                  </a:lnTo>
                  <a:lnTo>
                    <a:pt x="440" y="542"/>
                  </a:lnTo>
                  <a:lnTo>
                    <a:pt x="444" y="544"/>
                  </a:lnTo>
                  <a:lnTo>
                    <a:pt x="446" y="547"/>
                  </a:lnTo>
                  <a:lnTo>
                    <a:pt x="447" y="551"/>
                  </a:lnTo>
                  <a:lnTo>
                    <a:pt x="449" y="552"/>
                  </a:lnTo>
                  <a:lnTo>
                    <a:pt x="452" y="554"/>
                  </a:lnTo>
                  <a:lnTo>
                    <a:pt x="453" y="557"/>
                  </a:lnTo>
                  <a:lnTo>
                    <a:pt x="455" y="562"/>
                  </a:lnTo>
                  <a:lnTo>
                    <a:pt x="456" y="573"/>
                  </a:lnTo>
                  <a:lnTo>
                    <a:pt x="457" y="586"/>
                  </a:lnTo>
                  <a:lnTo>
                    <a:pt x="457" y="613"/>
                  </a:lnTo>
                  <a:lnTo>
                    <a:pt x="457" y="630"/>
                  </a:lnTo>
                  <a:lnTo>
                    <a:pt x="455" y="640"/>
                  </a:lnTo>
                  <a:lnTo>
                    <a:pt x="452" y="652"/>
                  </a:lnTo>
                  <a:lnTo>
                    <a:pt x="448" y="667"/>
                  </a:lnTo>
                  <a:lnTo>
                    <a:pt x="447" y="679"/>
                  </a:lnTo>
                  <a:lnTo>
                    <a:pt x="448" y="689"/>
                  </a:lnTo>
                  <a:lnTo>
                    <a:pt x="452" y="701"/>
                  </a:lnTo>
                  <a:lnTo>
                    <a:pt x="455" y="716"/>
                  </a:lnTo>
                  <a:lnTo>
                    <a:pt x="457" y="728"/>
                  </a:lnTo>
                  <a:lnTo>
                    <a:pt x="452" y="734"/>
                  </a:lnTo>
                  <a:lnTo>
                    <a:pt x="442" y="734"/>
                  </a:lnTo>
                  <a:lnTo>
                    <a:pt x="442" y="735"/>
                  </a:lnTo>
                  <a:lnTo>
                    <a:pt x="439" y="736"/>
                  </a:lnTo>
                  <a:lnTo>
                    <a:pt x="436" y="738"/>
                  </a:lnTo>
                  <a:lnTo>
                    <a:pt x="432" y="739"/>
                  </a:lnTo>
                  <a:lnTo>
                    <a:pt x="422" y="740"/>
                  </a:lnTo>
                  <a:lnTo>
                    <a:pt x="408" y="742"/>
                  </a:lnTo>
                  <a:lnTo>
                    <a:pt x="381" y="743"/>
                  </a:lnTo>
                  <a:lnTo>
                    <a:pt x="363" y="743"/>
                  </a:lnTo>
                  <a:lnTo>
                    <a:pt x="353" y="748"/>
                  </a:lnTo>
                  <a:lnTo>
                    <a:pt x="343" y="753"/>
                  </a:lnTo>
                  <a:lnTo>
                    <a:pt x="338" y="754"/>
                  </a:lnTo>
                  <a:lnTo>
                    <a:pt x="332" y="755"/>
                  </a:lnTo>
                  <a:lnTo>
                    <a:pt x="326" y="757"/>
                  </a:lnTo>
                  <a:lnTo>
                    <a:pt x="320" y="761"/>
                  </a:lnTo>
                  <a:lnTo>
                    <a:pt x="309" y="765"/>
                  </a:lnTo>
                  <a:lnTo>
                    <a:pt x="300" y="767"/>
                  </a:lnTo>
                  <a:lnTo>
                    <a:pt x="294" y="773"/>
                  </a:lnTo>
                  <a:lnTo>
                    <a:pt x="292" y="777"/>
                  </a:lnTo>
                  <a:lnTo>
                    <a:pt x="290" y="783"/>
                  </a:lnTo>
                  <a:lnTo>
                    <a:pt x="280" y="783"/>
                  </a:lnTo>
                  <a:lnTo>
                    <a:pt x="280" y="797"/>
                  </a:lnTo>
                  <a:lnTo>
                    <a:pt x="276" y="798"/>
                  </a:lnTo>
                  <a:lnTo>
                    <a:pt x="273" y="802"/>
                  </a:lnTo>
                  <a:lnTo>
                    <a:pt x="271" y="808"/>
                  </a:lnTo>
                  <a:lnTo>
                    <a:pt x="269" y="816"/>
                  </a:lnTo>
                  <a:lnTo>
                    <a:pt x="265" y="835"/>
                  </a:lnTo>
                  <a:lnTo>
                    <a:pt x="264" y="858"/>
                  </a:lnTo>
                  <a:lnTo>
                    <a:pt x="264" y="881"/>
                  </a:lnTo>
                  <a:lnTo>
                    <a:pt x="266" y="903"/>
                  </a:lnTo>
                  <a:lnTo>
                    <a:pt x="267" y="912"/>
                  </a:lnTo>
                  <a:lnTo>
                    <a:pt x="270" y="920"/>
                  </a:lnTo>
                  <a:lnTo>
                    <a:pt x="272" y="926"/>
                  </a:lnTo>
                  <a:lnTo>
                    <a:pt x="275" y="930"/>
                  </a:lnTo>
                  <a:lnTo>
                    <a:pt x="275" y="940"/>
                  </a:lnTo>
                  <a:lnTo>
                    <a:pt x="280" y="946"/>
                  </a:lnTo>
                  <a:lnTo>
                    <a:pt x="286" y="955"/>
                  </a:lnTo>
                  <a:lnTo>
                    <a:pt x="290" y="960"/>
                  </a:lnTo>
                  <a:lnTo>
                    <a:pt x="292" y="966"/>
                  </a:lnTo>
                  <a:lnTo>
                    <a:pt x="294" y="970"/>
                  </a:lnTo>
                  <a:lnTo>
                    <a:pt x="294" y="975"/>
                  </a:lnTo>
                  <a:lnTo>
                    <a:pt x="300" y="977"/>
                  </a:lnTo>
                  <a:lnTo>
                    <a:pt x="304" y="979"/>
                  </a:lnTo>
                  <a:lnTo>
                    <a:pt x="307" y="987"/>
                  </a:lnTo>
                  <a:lnTo>
                    <a:pt x="309" y="994"/>
                  </a:lnTo>
                  <a:lnTo>
                    <a:pt x="314" y="999"/>
                  </a:lnTo>
                  <a:lnTo>
                    <a:pt x="323" y="1004"/>
                  </a:lnTo>
                  <a:lnTo>
                    <a:pt x="329" y="1008"/>
                  </a:lnTo>
                  <a:lnTo>
                    <a:pt x="329" y="1010"/>
                  </a:lnTo>
                  <a:lnTo>
                    <a:pt x="330" y="1012"/>
                  </a:lnTo>
                  <a:lnTo>
                    <a:pt x="332" y="1012"/>
                  </a:lnTo>
                  <a:lnTo>
                    <a:pt x="334" y="1012"/>
                  </a:lnTo>
                  <a:lnTo>
                    <a:pt x="340" y="1012"/>
                  </a:lnTo>
                  <a:lnTo>
                    <a:pt x="347" y="1009"/>
                  </a:lnTo>
                  <a:lnTo>
                    <a:pt x="360" y="1006"/>
                  </a:lnTo>
                  <a:lnTo>
                    <a:pt x="368" y="1004"/>
                  </a:lnTo>
                  <a:lnTo>
                    <a:pt x="380" y="1016"/>
                  </a:lnTo>
                  <a:lnTo>
                    <a:pt x="392" y="1028"/>
                  </a:lnTo>
                  <a:lnTo>
                    <a:pt x="408" y="1053"/>
                  </a:lnTo>
                  <a:lnTo>
                    <a:pt x="410" y="1063"/>
                  </a:lnTo>
                  <a:lnTo>
                    <a:pt x="411" y="1077"/>
                  </a:lnTo>
                  <a:lnTo>
                    <a:pt x="413" y="1093"/>
                  </a:lnTo>
                  <a:lnTo>
                    <a:pt x="413" y="1102"/>
                  </a:lnTo>
                  <a:lnTo>
                    <a:pt x="420" y="1104"/>
                  </a:lnTo>
                  <a:lnTo>
                    <a:pt x="427" y="1108"/>
                  </a:lnTo>
                  <a:lnTo>
                    <a:pt x="427" y="1117"/>
                  </a:lnTo>
                  <a:lnTo>
                    <a:pt x="433" y="1122"/>
                  </a:lnTo>
                  <a:lnTo>
                    <a:pt x="448" y="1122"/>
                  </a:lnTo>
                  <a:lnTo>
                    <a:pt x="467" y="1124"/>
                  </a:lnTo>
                  <a:lnTo>
                    <a:pt x="487" y="1125"/>
                  </a:lnTo>
                  <a:lnTo>
                    <a:pt x="506" y="1127"/>
                  </a:lnTo>
                  <a:lnTo>
                    <a:pt x="509" y="1121"/>
                  </a:lnTo>
                  <a:lnTo>
                    <a:pt x="514" y="1114"/>
                  </a:lnTo>
                  <a:lnTo>
                    <a:pt x="523" y="1108"/>
                  </a:lnTo>
                  <a:lnTo>
                    <a:pt x="531" y="1102"/>
                  </a:lnTo>
                  <a:lnTo>
                    <a:pt x="532" y="1098"/>
                  </a:lnTo>
                  <a:lnTo>
                    <a:pt x="534" y="1091"/>
                  </a:lnTo>
                  <a:lnTo>
                    <a:pt x="539" y="1082"/>
                  </a:lnTo>
                  <a:lnTo>
                    <a:pt x="544" y="1074"/>
                  </a:lnTo>
                  <a:lnTo>
                    <a:pt x="550" y="1066"/>
                  </a:lnTo>
                  <a:lnTo>
                    <a:pt x="555" y="1060"/>
                  </a:lnTo>
                  <a:lnTo>
                    <a:pt x="561" y="1055"/>
                  </a:lnTo>
                  <a:lnTo>
                    <a:pt x="566" y="1053"/>
                  </a:lnTo>
                  <a:lnTo>
                    <a:pt x="570" y="1041"/>
                  </a:lnTo>
                  <a:lnTo>
                    <a:pt x="574" y="1028"/>
                  </a:lnTo>
                  <a:lnTo>
                    <a:pt x="584" y="1021"/>
                  </a:lnTo>
                  <a:lnTo>
                    <a:pt x="595" y="1014"/>
                  </a:lnTo>
                  <a:lnTo>
                    <a:pt x="612" y="987"/>
                  </a:lnTo>
                  <a:lnTo>
                    <a:pt x="643" y="948"/>
                  </a:lnTo>
                  <a:lnTo>
                    <a:pt x="658" y="928"/>
                  </a:lnTo>
                  <a:lnTo>
                    <a:pt x="670" y="909"/>
                  </a:lnTo>
                  <a:lnTo>
                    <a:pt x="676" y="901"/>
                  </a:lnTo>
                  <a:lnTo>
                    <a:pt x="679" y="894"/>
                  </a:lnTo>
                  <a:lnTo>
                    <a:pt x="683" y="889"/>
                  </a:lnTo>
                  <a:lnTo>
                    <a:pt x="683" y="885"/>
                  </a:lnTo>
                  <a:lnTo>
                    <a:pt x="689" y="882"/>
                  </a:lnTo>
                  <a:lnTo>
                    <a:pt x="694" y="880"/>
                  </a:lnTo>
                  <a:lnTo>
                    <a:pt x="696" y="878"/>
                  </a:lnTo>
                  <a:lnTo>
                    <a:pt x="697" y="874"/>
                  </a:lnTo>
                  <a:lnTo>
                    <a:pt x="697" y="871"/>
                  </a:lnTo>
                  <a:lnTo>
                    <a:pt x="698" y="867"/>
                  </a:lnTo>
                  <a:lnTo>
                    <a:pt x="713" y="851"/>
                  </a:lnTo>
                  <a:lnTo>
                    <a:pt x="727" y="836"/>
                  </a:lnTo>
                  <a:lnTo>
                    <a:pt x="727" y="832"/>
                  </a:lnTo>
                  <a:lnTo>
                    <a:pt x="730" y="827"/>
                  </a:lnTo>
                  <a:lnTo>
                    <a:pt x="731" y="823"/>
                  </a:lnTo>
                  <a:lnTo>
                    <a:pt x="734" y="821"/>
                  </a:lnTo>
                  <a:lnTo>
                    <a:pt x="740" y="815"/>
                  </a:lnTo>
                  <a:lnTo>
                    <a:pt x="747" y="812"/>
                  </a:lnTo>
                  <a:lnTo>
                    <a:pt x="749" y="806"/>
                  </a:lnTo>
                  <a:lnTo>
                    <a:pt x="752" y="800"/>
                  </a:lnTo>
                  <a:lnTo>
                    <a:pt x="756" y="790"/>
                  </a:lnTo>
                  <a:lnTo>
                    <a:pt x="762" y="779"/>
                  </a:lnTo>
                  <a:lnTo>
                    <a:pt x="774" y="761"/>
                  </a:lnTo>
                  <a:lnTo>
                    <a:pt x="782" y="748"/>
                  </a:lnTo>
                  <a:lnTo>
                    <a:pt x="787" y="734"/>
                  </a:lnTo>
                  <a:lnTo>
                    <a:pt x="791" y="719"/>
                  </a:lnTo>
                  <a:lnTo>
                    <a:pt x="794" y="705"/>
                  </a:lnTo>
                  <a:lnTo>
                    <a:pt x="797" y="690"/>
                  </a:lnTo>
                  <a:lnTo>
                    <a:pt x="801" y="662"/>
                  </a:lnTo>
                  <a:lnTo>
                    <a:pt x="802" y="636"/>
                  </a:lnTo>
                  <a:lnTo>
                    <a:pt x="803" y="609"/>
                  </a:lnTo>
                  <a:lnTo>
                    <a:pt x="802" y="581"/>
                  </a:lnTo>
                  <a:lnTo>
                    <a:pt x="801" y="554"/>
                  </a:lnTo>
                  <a:lnTo>
                    <a:pt x="801" y="526"/>
                  </a:lnTo>
                  <a:lnTo>
                    <a:pt x="798" y="523"/>
                  </a:lnTo>
                  <a:lnTo>
                    <a:pt x="794" y="517"/>
                  </a:lnTo>
                  <a:lnTo>
                    <a:pt x="792" y="513"/>
                  </a:lnTo>
                  <a:lnTo>
                    <a:pt x="790" y="506"/>
                  </a:lnTo>
                  <a:lnTo>
                    <a:pt x="787" y="492"/>
                  </a:lnTo>
                  <a:lnTo>
                    <a:pt x="784" y="476"/>
                  </a:lnTo>
                  <a:lnTo>
                    <a:pt x="782" y="458"/>
                  </a:lnTo>
                  <a:lnTo>
                    <a:pt x="782" y="439"/>
                  </a:lnTo>
                  <a:lnTo>
                    <a:pt x="783" y="420"/>
                  </a:lnTo>
                  <a:lnTo>
                    <a:pt x="784" y="399"/>
                  </a:lnTo>
                  <a:lnTo>
                    <a:pt x="788" y="359"/>
                  </a:lnTo>
                  <a:lnTo>
                    <a:pt x="791" y="320"/>
                  </a:lnTo>
                  <a:lnTo>
                    <a:pt x="794" y="286"/>
                  </a:lnTo>
                  <a:lnTo>
                    <a:pt x="797" y="261"/>
                  </a:lnTo>
                  <a:lnTo>
                    <a:pt x="802" y="254"/>
                  </a:lnTo>
                  <a:lnTo>
                    <a:pt x="807" y="244"/>
                  </a:lnTo>
                  <a:lnTo>
                    <a:pt x="812" y="231"/>
                  </a:lnTo>
                  <a:lnTo>
                    <a:pt x="817" y="218"/>
                  </a:lnTo>
                  <a:lnTo>
                    <a:pt x="820" y="205"/>
                  </a:lnTo>
                  <a:lnTo>
                    <a:pt x="823" y="192"/>
                  </a:lnTo>
                  <a:lnTo>
                    <a:pt x="826" y="181"/>
                  </a:lnTo>
                  <a:lnTo>
                    <a:pt x="826" y="172"/>
                  </a:lnTo>
                  <a:lnTo>
                    <a:pt x="829" y="171"/>
                  </a:lnTo>
                  <a:lnTo>
                    <a:pt x="831" y="169"/>
                  </a:lnTo>
                  <a:lnTo>
                    <a:pt x="833" y="166"/>
                  </a:lnTo>
                  <a:lnTo>
                    <a:pt x="835" y="162"/>
                  </a:lnTo>
                  <a:lnTo>
                    <a:pt x="837" y="159"/>
                  </a:lnTo>
                  <a:lnTo>
                    <a:pt x="838" y="156"/>
                  </a:lnTo>
                  <a:lnTo>
                    <a:pt x="839" y="153"/>
                  </a:lnTo>
                  <a:lnTo>
                    <a:pt x="840" y="152"/>
                  </a:lnTo>
                  <a:lnTo>
                    <a:pt x="840" y="133"/>
                  </a:lnTo>
                  <a:lnTo>
                    <a:pt x="820" y="131"/>
                  </a:lnTo>
                  <a:lnTo>
                    <a:pt x="795" y="125"/>
                  </a:lnTo>
                  <a:lnTo>
                    <a:pt x="783" y="123"/>
                  </a:lnTo>
                  <a:lnTo>
                    <a:pt x="771" y="121"/>
                  </a:lnTo>
                  <a:lnTo>
                    <a:pt x="759" y="119"/>
                  </a:lnTo>
                  <a:lnTo>
                    <a:pt x="747" y="119"/>
                  </a:lnTo>
                  <a:lnTo>
                    <a:pt x="698" y="109"/>
                  </a:lnTo>
                  <a:lnTo>
                    <a:pt x="691" y="108"/>
                  </a:lnTo>
                  <a:lnTo>
                    <a:pt x="682" y="106"/>
                  </a:lnTo>
                  <a:lnTo>
                    <a:pt x="673" y="104"/>
                  </a:lnTo>
                  <a:lnTo>
                    <a:pt x="664" y="101"/>
                  </a:lnTo>
                  <a:lnTo>
                    <a:pt x="647" y="96"/>
                  </a:lnTo>
                  <a:lnTo>
                    <a:pt x="634" y="93"/>
                  </a:lnTo>
                  <a:lnTo>
                    <a:pt x="624" y="84"/>
                  </a:lnTo>
                  <a:lnTo>
                    <a:pt x="609" y="84"/>
                  </a:lnTo>
                  <a:lnTo>
                    <a:pt x="603" y="81"/>
                  </a:lnTo>
                  <a:lnTo>
                    <a:pt x="592" y="74"/>
                  </a:lnTo>
                  <a:lnTo>
                    <a:pt x="580" y="67"/>
                  </a:lnTo>
                  <a:lnTo>
                    <a:pt x="574" y="64"/>
                  </a:lnTo>
                  <a:lnTo>
                    <a:pt x="572" y="58"/>
                  </a:lnTo>
                  <a:lnTo>
                    <a:pt x="567" y="53"/>
                  </a:lnTo>
                  <a:lnTo>
                    <a:pt x="560" y="47"/>
                  </a:lnTo>
                  <a:lnTo>
                    <a:pt x="555" y="44"/>
                  </a:lnTo>
                  <a:lnTo>
                    <a:pt x="553" y="29"/>
                  </a:lnTo>
                  <a:lnTo>
                    <a:pt x="550" y="15"/>
                  </a:lnTo>
                  <a:lnTo>
                    <a:pt x="545" y="11"/>
                  </a:lnTo>
                  <a:lnTo>
                    <a:pt x="541" y="5"/>
                  </a:lnTo>
                  <a:lnTo>
                    <a:pt x="533" y="5"/>
                  </a:lnTo>
                  <a:lnTo>
                    <a:pt x="525" y="5"/>
                  </a:lnTo>
                  <a:lnTo>
                    <a:pt x="523" y="4"/>
                  </a:lnTo>
                  <a:lnTo>
                    <a:pt x="515" y="3"/>
                  </a:lnTo>
                  <a:lnTo>
                    <a:pt x="505" y="2"/>
                  </a:lnTo>
                  <a:lnTo>
                    <a:pt x="493" y="0"/>
                  </a:lnTo>
                  <a:lnTo>
                    <a:pt x="467" y="0"/>
                  </a:lnTo>
                  <a:lnTo>
                    <a:pt x="452" y="0"/>
                  </a:lnTo>
                  <a:lnTo>
                    <a:pt x="448" y="2"/>
                  </a:lnTo>
                  <a:lnTo>
                    <a:pt x="442" y="6"/>
                  </a:lnTo>
                  <a:lnTo>
                    <a:pt x="435" y="11"/>
                  </a:lnTo>
                  <a:lnTo>
                    <a:pt x="433" y="15"/>
                  </a:lnTo>
                  <a:lnTo>
                    <a:pt x="423" y="15"/>
                  </a:lnTo>
                  <a:lnTo>
                    <a:pt x="420" y="19"/>
                  </a:lnTo>
                  <a:lnTo>
                    <a:pt x="417" y="25"/>
                  </a:lnTo>
                  <a:lnTo>
                    <a:pt x="382" y="35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45" name="Freeform 98">
              <a:extLst>
                <a:ext uri="{FF2B5EF4-FFF2-40B4-BE49-F238E27FC236}">
                  <a16:creationId xmlns:a16="http://schemas.microsoft.com/office/drawing/2014/main" id="{78316DAD-DCE1-4651-9719-9A35EF22BA9D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275638" y="4192588"/>
              <a:ext cx="98676" cy="120650"/>
            </a:xfrm>
            <a:custGeom>
              <a:avLst/>
              <a:gdLst/>
              <a:ahLst/>
              <a:cxnLst>
                <a:cxn ang="0">
                  <a:pos x="114" y="78"/>
                </a:cxn>
                <a:cxn ang="0">
                  <a:pos x="57" y="98"/>
                </a:cxn>
                <a:cxn ang="0">
                  <a:pos x="23" y="108"/>
                </a:cxn>
                <a:cxn ang="0">
                  <a:pos x="12" y="128"/>
                </a:cxn>
                <a:cxn ang="0">
                  <a:pos x="5" y="132"/>
                </a:cxn>
                <a:cxn ang="0">
                  <a:pos x="12" y="175"/>
                </a:cxn>
                <a:cxn ang="0">
                  <a:pos x="31" y="189"/>
                </a:cxn>
                <a:cxn ang="0">
                  <a:pos x="56" y="205"/>
                </a:cxn>
                <a:cxn ang="0">
                  <a:pos x="79" y="223"/>
                </a:cxn>
                <a:cxn ang="0">
                  <a:pos x="90" y="235"/>
                </a:cxn>
                <a:cxn ang="0">
                  <a:pos x="115" y="252"/>
                </a:cxn>
                <a:cxn ang="0">
                  <a:pos x="136" y="272"/>
                </a:cxn>
                <a:cxn ang="0">
                  <a:pos x="161" y="308"/>
                </a:cxn>
                <a:cxn ang="0">
                  <a:pos x="173" y="322"/>
                </a:cxn>
                <a:cxn ang="0">
                  <a:pos x="183" y="343"/>
                </a:cxn>
                <a:cxn ang="0">
                  <a:pos x="192" y="367"/>
                </a:cxn>
                <a:cxn ang="0">
                  <a:pos x="199" y="375"/>
                </a:cxn>
                <a:cxn ang="0">
                  <a:pos x="248" y="390"/>
                </a:cxn>
                <a:cxn ang="0">
                  <a:pos x="271" y="406"/>
                </a:cxn>
                <a:cxn ang="0">
                  <a:pos x="297" y="434"/>
                </a:cxn>
                <a:cxn ang="0">
                  <a:pos x="321" y="466"/>
                </a:cxn>
                <a:cxn ang="0">
                  <a:pos x="348" y="511"/>
                </a:cxn>
                <a:cxn ang="0">
                  <a:pos x="359" y="552"/>
                </a:cxn>
                <a:cxn ang="0">
                  <a:pos x="377" y="595"/>
                </a:cxn>
                <a:cxn ang="0">
                  <a:pos x="388" y="632"/>
                </a:cxn>
                <a:cxn ang="0">
                  <a:pos x="403" y="644"/>
                </a:cxn>
                <a:cxn ang="0">
                  <a:pos x="427" y="672"/>
                </a:cxn>
                <a:cxn ang="0">
                  <a:pos x="432" y="675"/>
                </a:cxn>
                <a:cxn ang="0">
                  <a:pos x="446" y="685"/>
                </a:cxn>
                <a:cxn ang="0">
                  <a:pos x="469" y="698"/>
                </a:cxn>
                <a:cxn ang="0">
                  <a:pos x="473" y="704"/>
                </a:cxn>
                <a:cxn ang="0">
                  <a:pos x="493" y="716"/>
                </a:cxn>
                <a:cxn ang="0">
                  <a:pos x="511" y="736"/>
                </a:cxn>
                <a:cxn ang="0">
                  <a:pos x="529" y="746"/>
                </a:cxn>
                <a:cxn ang="0">
                  <a:pos x="542" y="706"/>
                </a:cxn>
                <a:cxn ang="0">
                  <a:pos x="541" y="619"/>
                </a:cxn>
                <a:cxn ang="0">
                  <a:pos x="523" y="518"/>
                </a:cxn>
                <a:cxn ang="0">
                  <a:pos x="519" y="409"/>
                </a:cxn>
                <a:cxn ang="0">
                  <a:pos x="506" y="331"/>
                </a:cxn>
                <a:cxn ang="0">
                  <a:pos x="475" y="307"/>
                </a:cxn>
                <a:cxn ang="0">
                  <a:pos x="463" y="163"/>
                </a:cxn>
                <a:cxn ang="0">
                  <a:pos x="446" y="144"/>
                </a:cxn>
                <a:cxn ang="0">
                  <a:pos x="415" y="120"/>
                </a:cxn>
                <a:cxn ang="0">
                  <a:pos x="357" y="115"/>
                </a:cxn>
                <a:cxn ang="0">
                  <a:pos x="312" y="97"/>
                </a:cxn>
                <a:cxn ang="0">
                  <a:pos x="300" y="82"/>
                </a:cxn>
                <a:cxn ang="0">
                  <a:pos x="277" y="72"/>
                </a:cxn>
                <a:cxn ang="0">
                  <a:pos x="259" y="61"/>
                </a:cxn>
                <a:cxn ang="0">
                  <a:pos x="229" y="33"/>
                </a:cxn>
                <a:cxn ang="0">
                  <a:pos x="192" y="6"/>
                </a:cxn>
                <a:cxn ang="0">
                  <a:pos x="160" y="1"/>
                </a:cxn>
                <a:cxn ang="0">
                  <a:pos x="125" y="18"/>
                </a:cxn>
                <a:cxn ang="0">
                  <a:pos x="120" y="21"/>
                </a:cxn>
              </a:cxnLst>
              <a:rect l="0" t="0" r="r" b="b"/>
              <a:pathLst>
                <a:path w="547" h="746">
                  <a:moveTo>
                    <a:pt x="114" y="24"/>
                  </a:moveTo>
                  <a:lnTo>
                    <a:pt x="114" y="38"/>
                  </a:lnTo>
                  <a:lnTo>
                    <a:pt x="114" y="51"/>
                  </a:lnTo>
                  <a:lnTo>
                    <a:pt x="114" y="64"/>
                  </a:lnTo>
                  <a:lnTo>
                    <a:pt x="114" y="78"/>
                  </a:lnTo>
                  <a:lnTo>
                    <a:pt x="104" y="82"/>
                  </a:lnTo>
                  <a:lnTo>
                    <a:pt x="93" y="87"/>
                  </a:lnTo>
                  <a:lnTo>
                    <a:pt x="79" y="89"/>
                  </a:lnTo>
                  <a:lnTo>
                    <a:pt x="66" y="90"/>
                  </a:lnTo>
                  <a:lnTo>
                    <a:pt x="57" y="98"/>
                  </a:lnTo>
                  <a:lnTo>
                    <a:pt x="47" y="103"/>
                  </a:lnTo>
                  <a:lnTo>
                    <a:pt x="42" y="106"/>
                  </a:lnTo>
                  <a:lnTo>
                    <a:pt x="37" y="107"/>
                  </a:lnTo>
                  <a:lnTo>
                    <a:pt x="30" y="108"/>
                  </a:lnTo>
                  <a:lnTo>
                    <a:pt x="23" y="108"/>
                  </a:lnTo>
                  <a:lnTo>
                    <a:pt x="18" y="115"/>
                  </a:lnTo>
                  <a:lnTo>
                    <a:pt x="18" y="127"/>
                  </a:lnTo>
                  <a:lnTo>
                    <a:pt x="14" y="127"/>
                  </a:lnTo>
                  <a:lnTo>
                    <a:pt x="12" y="127"/>
                  </a:lnTo>
                  <a:lnTo>
                    <a:pt x="12" y="128"/>
                  </a:lnTo>
                  <a:lnTo>
                    <a:pt x="12" y="129"/>
                  </a:lnTo>
                  <a:lnTo>
                    <a:pt x="12" y="130"/>
                  </a:lnTo>
                  <a:lnTo>
                    <a:pt x="11" y="131"/>
                  </a:lnTo>
                  <a:lnTo>
                    <a:pt x="9" y="132"/>
                  </a:lnTo>
                  <a:lnTo>
                    <a:pt x="5" y="132"/>
                  </a:lnTo>
                  <a:lnTo>
                    <a:pt x="4" y="139"/>
                  </a:lnTo>
                  <a:lnTo>
                    <a:pt x="3" y="148"/>
                  </a:lnTo>
                  <a:lnTo>
                    <a:pt x="1" y="158"/>
                  </a:lnTo>
                  <a:lnTo>
                    <a:pt x="0" y="168"/>
                  </a:lnTo>
                  <a:lnTo>
                    <a:pt x="12" y="175"/>
                  </a:lnTo>
                  <a:lnTo>
                    <a:pt x="23" y="180"/>
                  </a:lnTo>
                  <a:lnTo>
                    <a:pt x="24" y="183"/>
                  </a:lnTo>
                  <a:lnTo>
                    <a:pt x="26" y="185"/>
                  </a:lnTo>
                  <a:lnTo>
                    <a:pt x="28" y="187"/>
                  </a:lnTo>
                  <a:lnTo>
                    <a:pt x="31" y="189"/>
                  </a:lnTo>
                  <a:lnTo>
                    <a:pt x="37" y="192"/>
                  </a:lnTo>
                  <a:lnTo>
                    <a:pt x="42" y="193"/>
                  </a:lnTo>
                  <a:lnTo>
                    <a:pt x="53" y="198"/>
                  </a:lnTo>
                  <a:lnTo>
                    <a:pt x="55" y="202"/>
                  </a:lnTo>
                  <a:lnTo>
                    <a:pt x="56" y="205"/>
                  </a:lnTo>
                  <a:lnTo>
                    <a:pt x="57" y="207"/>
                  </a:lnTo>
                  <a:lnTo>
                    <a:pt x="59" y="211"/>
                  </a:lnTo>
                  <a:lnTo>
                    <a:pt x="66" y="215"/>
                  </a:lnTo>
                  <a:lnTo>
                    <a:pt x="72" y="218"/>
                  </a:lnTo>
                  <a:lnTo>
                    <a:pt x="79" y="223"/>
                  </a:lnTo>
                  <a:lnTo>
                    <a:pt x="85" y="226"/>
                  </a:lnTo>
                  <a:lnTo>
                    <a:pt x="87" y="228"/>
                  </a:lnTo>
                  <a:lnTo>
                    <a:pt x="88" y="231"/>
                  </a:lnTo>
                  <a:lnTo>
                    <a:pt x="89" y="233"/>
                  </a:lnTo>
                  <a:lnTo>
                    <a:pt x="90" y="235"/>
                  </a:lnTo>
                  <a:lnTo>
                    <a:pt x="103" y="235"/>
                  </a:lnTo>
                  <a:lnTo>
                    <a:pt x="103" y="237"/>
                  </a:lnTo>
                  <a:lnTo>
                    <a:pt x="106" y="242"/>
                  </a:lnTo>
                  <a:lnTo>
                    <a:pt x="110" y="247"/>
                  </a:lnTo>
                  <a:lnTo>
                    <a:pt x="115" y="252"/>
                  </a:lnTo>
                  <a:lnTo>
                    <a:pt x="120" y="256"/>
                  </a:lnTo>
                  <a:lnTo>
                    <a:pt x="125" y="261"/>
                  </a:lnTo>
                  <a:lnTo>
                    <a:pt x="129" y="264"/>
                  </a:lnTo>
                  <a:lnTo>
                    <a:pt x="132" y="265"/>
                  </a:lnTo>
                  <a:lnTo>
                    <a:pt x="136" y="272"/>
                  </a:lnTo>
                  <a:lnTo>
                    <a:pt x="144" y="282"/>
                  </a:lnTo>
                  <a:lnTo>
                    <a:pt x="153" y="291"/>
                  </a:lnTo>
                  <a:lnTo>
                    <a:pt x="156" y="294"/>
                  </a:lnTo>
                  <a:lnTo>
                    <a:pt x="156" y="307"/>
                  </a:lnTo>
                  <a:lnTo>
                    <a:pt x="161" y="308"/>
                  </a:lnTo>
                  <a:lnTo>
                    <a:pt x="164" y="311"/>
                  </a:lnTo>
                  <a:lnTo>
                    <a:pt x="167" y="314"/>
                  </a:lnTo>
                  <a:lnTo>
                    <a:pt x="168" y="319"/>
                  </a:lnTo>
                  <a:lnTo>
                    <a:pt x="171" y="320"/>
                  </a:lnTo>
                  <a:lnTo>
                    <a:pt x="173" y="322"/>
                  </a:lnTo>
                  <a:lnTo>
                    <a:pt x="175" y="324"/>
                  </a:lnTo>
                  <a:lnTo>
                    <a:pt x="176" y="329"/>
                  </a:lnTo>
                  <a:lnTo>
                    <a:pt x="180" y="337"/>
                  </a:lnTo>
                  <a:lnTo>
                    <a:pt x="181" y="343"/>
                  </a:lnTo>
                  <a:lnTo>
                    <a:pt x="183" y="343"/>
                  </a:lnTo>
                  <a:lnTo>
                    <a:pt x="185" y="346"/>
                  </a:lnTo>
                  <a:lnTo>
                    <a:pt x="186" y="349"/>
                  </a:lnTo>
                  <a:lnTo>
                    <a:pt x="189" y="352"/>
                  </a:lnTo>
                  <a:lnTo>
                    <a:pt x="191" y="361"/>
                  </a:lnTo>
                  <a:lnTo>
                    <a:pt x="192" y="367"/>
                  </a:lnTo>
                  <a:lnTo>
                    <a:pt x="194" y="367"/>
                  </a:lnTo>
                  <a:lnTo>
                    <a:pt x="195" y="368"/>
                  </a:lnTo>
                  <a:lnTo>
                    <a:pt x="196" y="369"/>
                  </a:lnTo>
                  <a:lnTo>
                    <a:pt x="197" y="371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4" y="385"/>
                  </a:lnTo>
                  <a:lnTo>
                    <a:pt x="219" y="386"/>
                  </a:lnTo>
                  <a:lnTo>
                    <a:pt x="233" y="388"/>
                  </a:lnTo>
                  <a:lnTo>
                    <a:pt x="248" y="390"/>
                  </a:lnTo>
                  <a:lnTo>
                    <a:pt x="259" y="391"/>
                  </a:lnTo>
                  <a:lnTo>
                    <a:pt x="260" y="394"/>
                  </a:lnTo>
                  <a:lnTo>
                    <a:pt x="262" y="397"/>
                  </a:lnTo>
                  <a:lnTo>
                    <a:pt x="267" y="401"/>
                  </a:lnTo>
                  <a:lnTo>
                    <a:pt x="271" y="406"/>
                  </a:lnTo>
                  <a:lnTo>
                    <a:pt x="281" y="413"/>
                  </a:lnTo>
                  <a:lnTo>
                    <a:pt x="289" y="415"/>
                  </a:lnTo>
                  <a:lnTo>
                    <a:pt x="291" y="424"/>
                  </a:lnTo>
                  <a:lnTo>
                    <a:pt x="295" y="433"/>
                  </a:lnTo>
                  <a:lnTo>
                    <a:pt x="297" y="434"/>
                  </a:lnTo>
                  <a:lnTo>
                    <a:pt x="300" y="436"/>
                  </a:lnTo>
                  <a:lnTo>
                    <a:pt x="302" y="439"/>
                  </a:lnTo>
                  <a:lnTo>
                    <a:pt x="306" y="444"/>
                  </a:lnTo>
                  <a:lnTo>
                    <a:pt x="314" y="454"/>
                  </a:lnTo>
                  <a:lnTo>
                    <a:pt x="321" y="466"/>
                  </a:lnTo>
                  <a:lnTo>
                    <a:pt x="328" y="478"/>
                  </a:lnTo>
                  <a:lnTo>
                    <a:pt x="335" y="489"/>
                  </a:lnTo>
                  <a:lnTo>
                    <a:pt x="339" y="496"/>
                  </a:lnTo>
                  <a:lnTo>
                    <a:pt x="343" y="500"/>
                  </a:lnTo>
                  <a:lnTo>
                    <a:pt x="348" y="511"/>
                  </a:lnTo>
                  <a:lnTo>
                    <a:pt x="349" y="519"/>
                  </a:lnTo>
                  <a:lnTo>
                    <a:pt x="350" y="525"/>
                  </a:lnTo>
                  <a:lnTo>
                    <a:pt x="353" y="532"/>
                  </a:lnTo>
                  <a:lnTo>
                    <a:pt x="355" y="539"/>
                  </a:lnTo>
                  <a:lnTo>
                    <a:pt x="359" y="552"/>
                  </a:lnTo>
                  <a:lnTo>
                    <a:pt x="360" y="566"/>
                  </a:lnTo>
                  <a:lnTo>
                    <a:pt x="365" y="569"/>
                  </a:lnTo>
                  <a:lnTo>
                    <a:pt x="369" y="576"/>
                  </a:lnTo>
                  <a:lnTo>
                    <a:pt x="374" y="584"/>
                  </a:lnTo>
                  <a:lnTo>
                    <a:pt x="377" y="595"/>
                  </a:lnTo>
                  <a:lnTo>
                    <a:pt x="381" y="605"/>
                  </a:lnTo>
                  <a:lnTo>
                    <a:pt x="383" y="615"/>
                  </a:lnTo>
                  <a:lnTo>
                    <a:pt x="384" y="624"/>
                  </a:lnTo>
                  <a:lnTo>
                    <a:pt x="385" y="631"/>
                  </a:lnTo>
                  <a:lnTo>
                    <a:pt x="388" y="632"/>
                  </a:lnTo>
                  <a:lnTo>
                    <a:pt x="392" y="634"/>
                  </a:lnTo>
                  <a:lnTo>
                    <a:pt x="394" y="636"/>
                  </a:lnTo>
                  <a:lnTo>
                    <a:pt x="396" y="638"/>
                  </a:lnTo>
                  <a:lnTo>
                    <a:pt x="400" y="641"/>
                  </a:lnTo>
                  <a:lnTo>
                    <a:pt x="403" y="644"/>
                  </a:lnTo>
                  <a:lnTo>
                    <a:pt x="403" y="656"/>
                  </a:lnTo>
                  <a:lnTo>
                    <a:pt x="408" y="661"/>
                  </a:lnTo>
                  <a:lnTo>
                    <a:pt x="421" y="661"/>
                  </a:lnTo>
                  <a:lnTo>
                    <a:pt x="427" y="668"/>
                  </a:lnTo>
                  <a:lnTo>
                    <a:pt x="427" y="672"/>
                  </a:lnTo>
                  <a:lnTo>
                    <a:pt x="427" y="673"/>
                  </a:lnTo>
                  <a:lnTo>
                    <a:pt x="429" y="674"/>
                  </a:lnTo>
                  <a:lnTo>
                    <a:pt x="430" y="674"/>
                  </a:lnTo>
                  <a:lnTo>
                    <a:pt x="431" y="674"/>
                  </a:lnTo>
                  <a:lnTo>
                    <a:pt x="432" y="675"/>
                  </a:lnTo>
                  <a:lnTo>
                    <a:pt x="433" y="676"/>
                  </a:lnTo>
                  <a:lnTo>
                    <a:pt x="433" y="679"/>
                  </a:lnTo>
                  <a:lnTo>
                    <a:pt x="439" y="680"/>
                  </a:lnTo>
                  <a:lnTo>
                    <a:pt x="444" y="684"/>
                  </a:lnTo>
                  <a:lnTo>
                    <a:pt x="446" y="685"/>
                  </a:lnTo>
                  <a:lnTo>
                    <a:pt x="449" y="687"/>
                  </a:lnTo>
                  <a:lnTo>
                    <a:pt x="451" y="689"/>
                  </a:lnTo>
                  <a:lnTo>
                    <a:pt x="451" y="692"/>
                  </a:lnTo>
                  <a:lnTo>
                    <a:pt x="463" y="692"/>
                  </a:lnTo>
                  <a:lnTo>
                    <a:pt x="469" y="698"/>
                  </a:lnTo>
                  <a:lnTo>
                    <a:pt x="469" y="702"/>
                  </a:lnTo>
                  <a:lnTo>
                    <a:pt x="470" y="703"/>
                  </a:lnTo>
                  <a:lnTo>
                    <a:pt x="471" y="704"/>
                  </a:lnTo>
                  <a:lnTo>
                    <a:pt x="472" y="704"/>
                  </a:lnTo>
                  <a:lnTo>
                    <a:pt x="473" y="704"/>
                  </a:lnTo>
                  <a:lnTo>
                    <a:pt x="474" y="705"/>
                  </a:lnTo>
                  <a:lnTo>
                    <a:pt x="474" y="706"/>
                  </a:lnTo>
                  <a:lnTo>
                    <a:pt x="475" y="709"/>
                  </a:lnTo>
                  <a:lnTo>
                    <a:pt x="487" y="709"/>
                  </a:lnTo>
                  <a:lnTo>
                    <a:pt x="493" y="716"/>
                  </a:lnTo>
                  <a:lnTo>
                    <a:pt x="496" y="722"/>
                  </a:lnTo>
                  <a:lnTo>
                    <a:pt x="500" y="727"/>
                  </a:lnTo>
                  <a:lnTo>
                    <a:pt x="506" y="732"/>
                  </a:lnTo>
                  <a:lnTo>
                    <a:pt x="511" y="734"/>
                  </a:lnTo>
                  <a:lnTo>
                    <a:pt x="511" y="736"/>
                  </a:lnTo>
                  <a:lnTo>
                    <a:pt x="513" y="739"/>
                  </a:lnTo>
                  <a:lnTo>
                    <a:pt x="516" y="741"/>
                  </a:lnTo>
                  <a:lnTo>
                    <a:pt x="518" y="742"/>
                  </a:lnTo>
                  <a:lnTo>
                    <a:pt x="523" y="745"/>
                  </a:lnTo>
                  <a:lnTo>
                    <a:pt x="529" y="746"/>
                  </a:lnTo>
                  <a:lnTo>
                    <a:pt x="531" y="742"/>
                  </a:lnTo>
                  <a:lnTo>
                    <a:pt x="536" y="737"/>
                  </a:lnTo>
                  <a:lnTo>
                    <a:pt x="539" y="735"/>
                  </a:lnTo>
                  <a:lnTo>
                    <a:pt x="541" y="734"/>
                  </a:lnTo>
                  <a:lnTo>
                    <a:pt x="542" y="706"/>
                  </a:lnTo>
                  <a:lnTo>
                    <a:pt x="546" y="677"/>
                  </a:lnTo>
                  <a:lnTo>
                    <a:pt x="547" y="663"/>
                  </a:lnTo>
                  <a:lnTo>
                    <a:pt x="546" y="648"/>
                  </a:lnTo>
                  <a:lnTo>
                    <a:pt x="545" y="634"/>
                  </a:lnTo>
                  <a:lnTo>
                    <a:pt x="541" y="619"/>
                  </a:lnTo>
                  <a:lnTo>
                    <a:pt x="538" y="599"/>
                  </a:lnTo>
                  <a:lnTo>
                    <a:pt x="536" y="574"/>
                  </a:lnTo>
                  <a:lnTo>
                    <a:pt x="536" y="550"/>
                  </a:lnTo>
                  <a:lnTo>
                    <a:pt x="536" y="530"/>
                  </a:lnTo>
                  <a:lnTo>
                    <a:pt x="523" y="518"/>
                  </a:lnTo>
                  <a:lnTo>
                    <a:pt x="523" y="499"/>
                  </a:lnTo>
                  <a:lnTo>
                    <a:pt x="522" y="477"/>
                  </a:lnTo>
                  <a:lnTo>
                    <a:pt x="521" y="455"/>
                  </a:lnTo>
                  <a:lnTo>
                    <a:pt x="520" y="433"/>
                  </a:lnTo>
                  <a:lnTo>
                    <a:pt x="519" y="409"/>
                  </a:lnTo>
                  <a:lnTo>
                    <a:pt x="518" y="386"/>
                  </a:lnTo>
                  <a:lnTo>
                    <a:pt x="518" y="364"/>
                  </a:lnTo>
                  <a:lnTo>
                    <a:pt x="517" y="343"/>
                  </a:lnTo>
                  <a:lnTo>
                    <a:pt x="512" y="338"/>
                  </a:lnTo>
                  <a:lnTo>
                    <a:pt x="506" y="331"/>
                  </a:lnTo>
                  <a:lnTo>
                    <a:pt x="501" y="324"/>
                  </a:lnTo>
                  <a:lnTo>
                    <a:pt x="499" y="319"/>
                  </a:lnTo>
                  <a:lnTo>
                    <a:pt x="493" y="313"/>
                  </a:lnTo>
                  <a:lnTo>
                    <a:pt x="484" y="310"/>
                  </a:lnTo>
                  <a:lnTo>
                    <a:pt x="475" y="307"/>
                  </a:lnTo>
                  <a:lnTo>
                    <a:pt x="469" y="301"/>
                  </a:lnTo>
                  <a:lnTo>
                    <a:pt x="468" y="270"/>
                  </a:lnTo>
                  <a:lnTo>
                    <a:pt x="467" y="234"/>
                  </a:lnTo>
                  <a:lnTo>
                    <a:pt x="464" y="197"/>
                  </a:lnTo>
                  <a:lnTo>
                    <a:pt x="463" y="163"/>
                  </a:lnTo>
                  <a:lnTo>
                    <a:pt x="459" y="158"/>
                  </a:lnTo>
                  <a:lnTo>
                    <a:pt x="454" y="154"/>
                  </a:lnTo>
                  <a:lnTo>
                    <a:pt x="452" y="149"/>
                  </a:lnTo>
                  <a:lnTo>
                    <a:pt x="451" y="145"/>
                  </a:lnTo>
                  <a:lnTo>
                    <a:pt x="446" y="144"/>
                  </a:lnTo>
                  <a:lnTo>
                    <a:pt x="441" y="141"/>
                  </a:lnTo>
                  <a:lnTo>
                    <a:pt x="436" y="138"/>
                  </a:lnTo>
                  <a:lnTo>
                    <a:pt x="431" y="135"/>
                  </a:lnTo>
                  <a:lnTo>
                    <a:pt x="422" y="127"/>
                  </a:lnTo>
                  <a:lnTo>
                    <a:pt x="415" y="120"/>
                  </a:lnTo>
                  <a:lnTo>
                    <a:pt x="404" y="120"/>
                  </a:lnTo>
                  <a:lnTo>
                    <a:pt x="391" y="120"/>
                  </a:lnTo>
                  <a:lnTo>
                    <a:pt x="377" y="120"/>
                  </a:lnTo>
                  <a:lnTo>
                    <a:pt x="367" y="120"/>
                  </a:lnTo>
                  <a:lnTo>
                    <a:pt x="357" y="115"/>
                  </a:lnTo>
                  <a:lnTo>
                    <a:pt x="341" y="106"/>
                  </a:lnTo>
                  <a:lnTo>
                    <a:pt x="334" y="102"/>
                  </a:lnTo>
                  <a:lnTo>
                    <a:pt x="326" y="99"/>
                  </a:lnTo>
                  <a:lnTo>
                    <a:pt x="318" y="97"/>
                  </a:lnTo>
                  <a:lnTo>
                    <a:pt x="312" y="97"/>
                  </a:lnTo>
                  <a:lnTo>
                    <a:pt x="311" y="92"/>
                  </a:lnTo>
                  <a:lnTo>
                    <a:pt x="309" y="88"/>
                  </a:lnTo>
                  <a:lnTo>
                    <a:pt x="305" y="86"/>
                  </a:lnTo>
                  <a:lnTo>
                    <a:pt x="300" y="84"/>
                  </a:lnTo>
                  <a:lnTo>
                    <a:pt x="300" y="82"/>
                  </a:lnTo>
                  <a:lnTo>
                    <a:pt x="298" y="80"/>
                  </a:lnTo>
                  <a:lnTo>
                    <a:pt x="295" y="78"/>
                  </a:lnTo>
                  <a:lnTo>
                    <a:pt x="291" y="76"/>
                  </a:lnTo>
                  <a:lnTo>
                    <a:pt x="282" y="73"/>
                  </a:lnTo>
                  <a:lnTo>
                    <a:pt x="277" y="72"/>
                  </a:lnTo>
                  <a:lnTo>
                    <a:pt x="276" y="70"/>
                  </a:lnTo>
                  <a:lnTo>
                    <a:pt x="273" y="68"/>
                  </a:lnTo>
                  <a:lnTo>
                    <a:pt x="270" y="66"/>
                  </a:lnTo>
                  <a:lnTo>
                    <a:pt x="267" y="64"/>
                  </a:lnTo>
                  <a:lnTo>
                    <a:pt x="259" y="61"/>
                  </a:lnTo>
                  <a:lnTo>
                    <a:pt x="252" y="60"/>
                  </a:lnTo>
                  <a:lnTo>
                    <a:pt x="250" y="57"/>
                  </a:lnTo>
                  <a:lnTo>
                    <a:pt x="245" y="50"/>
                  </a:lnTo>
                  <a:lnTo>
                    <a:pt x="238" y="42"/>
                  </a:lnTo>
                  <a:lnTo>
                    <a:pt x="229" y="33"/>
                  </a:lnTo>
                  <a:lnTo>
                    <a:pt x="220" y="24"/>
                  </a:lnTo>
                  <a:lnTo>
                    <a:pt x="212" y="16"/>
                  </a:lnTo>
                  <a:lnTo>
                    <a:pt x="206" y="10"/>
                  </a:lnTo>
                  <a:lnTo>
                    <a:pt x="204" y="6"/>
                  </a:lnTo>
                  <a:lnTo>
                    <a:pt x="192" y="6"/>
                  </a:lnTo>
                  <a:lnTo>
                    <a:pt x="191" y="4"/>
                  </a:lnTo>
                  <a:lnTo>
                    <a:pt x="186" y="3"/>
                  </a:lnTo>
                  <a:lnTo>
                    <a:pt x="181" y="2"/>
                  </a:lnTo>
                  <a:lnTo>
                    <a:pt x="174" y="1"/>
                  </a:lnTo>
                  <a:lnTo>
                    <a:pt x="160" y="1"/>
                  </a:lnTo>
                  <a:lnTo>
                    <a:pt x="151" y="0"/>
                  </a:lnTo>
                  <a:lnTo>
                    <a:pt x="141" y="6"/>
                  </a:lnTo>
                  <a:lnTo>
                    <a:pt x="126" y="12"/>
                  </a:lnTo>
                  <a:lnTo>
                    <a:pt x="126" y="15"/>
                  </a:lnTo>
                  <a:lnTo>
                    <a:pt x="125" y="18"/>
                  </a:lnTo>
                  <a:lnTo>
                    <a:pt x="124" y="19"/>
                  </a:lnTo>
                  <a:lnTo>
                    <a:pt x="123" y="19"/>
                  </a:lnTo>
                  <a:lnTo>
                    <a:pt x="122" y="19"/>
                  </a:lnTo>
                  <a:lnTo>
                    <a:pt x="122" y="19"/>
                  </a:lnTo>
                  <a:lnTo>
                    <a:pt x="120" y="21"/>
                  </a:lnTo>
                  <a:lnTo>
                    <a:pt x="120" y="24"/>
                  </a:lnTo>
                  <a:lnTo>
                    <a:pt x="114" y="2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46" name="Freeform 99">
              <a:extLst>
                <a:ext uri="{FF2B5EF4-FFF2-40B4-BE49-F238E27FC236}">
                  <a16:creationId xmlns:a16="http://schemas.microsoft.com/office/drawing/2014/main" id="{E9909410-0886-41F1-B3F6-1EF92B672EE3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720138" y="3538538"/>
              <a:ext cx="260350" cy="185620"/>
            </a:xfrm>
            <a:custGeom>
              <a:avLst/>
              <a:gdLst/>
              <a:ahLst/>
              <a:cxnLst>
                <a:cxn ang="0">
                  <a:pos x="591" y="112"/>
                </a:cxn>
                <a:cxn ang="0">
                  <a:pos x="535" y="179"/>
                </a:cxn>
                <a:cxn ang="0">
                  <a:pos x="430" y="257"/>
                </a:cxn>
                <a:cxn ang="0">
                  <a:pos x="228" y="350"/>
                </a:cxn>
                <a:cxn ang="0">
                  <a:pos x="66" y="407"/>
                </a:cxn>
                <a:cxn ang="0">
                  <a:pos x="10" y="445"/>
                </a:cxn>
                <a:cxn ang="0">
                  <a:pos x="0" y="477"/>
                </a:cxn>
                <a:cxn ang="0">
                  <a:pos x="13" y="516"/>
                </a:cxn>
                <a:cxn ang="0">
                  <a:pos x="110" y="648"/>
                </a:cxn>
                <a:cxn ang="0">
                  <a:pos x="192" y="730"/>
                </a:cxn>
                <a:cxn ang="0">
                  <a:pos x="294" y="807"/>
                </a:cxn>
                <a:cxn ang="0">
                  <a:pos x="389" y="829"/>
                </a:cxn>
                <a:cxn ang="0">
                  <a:pos x="475" y="781"/>
                </a:cxn>
                <a:cxn ang="0">
                  <a:pos x="596" y="639"/>
                </a:cxn>
                <a:cxn ang="0">
                  <a:pos x="681" y="548"/>
                </a:cxn>
                <a:cxn ang="0">
                  <a:pos x="749" y="526"/>
                </a:cxn>
                <a:cxn ang="0">
                  <a:pos x="802" y="564"/>
                </a:cxn>
                <a:cxn ang="0">
                  <a:pos x="813" y="602"/>
                </a:cxn>
                <a:cxn ang="0">
                  <a:pos x="803" y="638"/>
                </a:cxn>
                <a:cxn ang="0">
                  <a:pos x="746" y="705"/>
                </a:cxn>
                <a:cxn ang="0">
                  <a:pos x="679" y="743"/>
                </a:cxn>
                <a:cxn ang="0">
                  <a:pos x="593" y="791"/>
                </a:cxn>
                <a:cxn ang="0">
                  <a:pos x="553" y="844"/>
                </a:cxn>
                <a:cxn ang="0">
                  <a:pos x="556" y="915"/>
                </a:cxn>
                <a:cxn ang="0">
                  <a:pos x="575" y="945"/>
                </a:cxn>
                <a:cxn ang="0">
                  <a:pos x="629" y="1004"/>
                </a:cxn>
                <a:cxn ang="0">
                  <a:pos x="650" y="1049"/>
                </a:cxn>
                <a:cxn ang="0">
                  <a:pos x="681" y="1055"/>
                </a:cxn>
                <a:cxn ang="0">
                  <a:pos x="752" y="1026"/>
                </a:cxn>
                <a:cxn ang="0">
                  <a:pos x="829" y="1001"/>
                </a:cxn>
                <a:cxn ang="0">
                  <a:pos x="878" y="1016"/>
                </a:cxn>
                <a:cxn ang="0">
                  <a:pos x="910" y="1075"/>
                </a:cxn>
                <a:cxn ang="0">
                  <a:pos x="947" y="1119"/>
                </a:cxn>
                <a:cxn ang="0">
                  <a:pos x="1005" y="1145"/>
                </a:cxn>
                <a:cxn ang="0">
                  <a:pos x="1139" y="1160"/>
                </a:cxn>
                <a:cxn ang="0">
                  <a:pos x="1338" y="1139"/>
                </a:cxn>
                <a:cxn ang="0">
                  <a:pos x="1373" y="1123"/>
                </a:cxn>
                <a:cxn ang="0">
                  <a:pos x="1395" y="1117"/>
                </a:cxn>
                <a:cxn ang="0">
                  <a:pos x="1384" y="1038"/>
                </a:cxn>
                <a:cxn ang="0">
                  <a:pos x="1359" y="978"/>
                </a:cxn>
                <a:cxn ang="0">
                  <a:pos x="1305" y="922"/>
                </a:cxn>
                <a:cxn ang="0">
                  <a:pos x="1178" y="850"/>
                </a:cxn>
                <a:cxn ang="0">
                  <a:pos x="1136" y="823"/>
                </a:cxn>
                <a:cxn ang="0">
                  <a:pos x="1115" y="796"/>
                </a:cxn>
                <a:cxn ang="0">
                  <a:pos x="1195" y="778"/>
                </a:cxn>
                <a:cxn ang="0">
                  <a:pos x="1420" y="768"/>
                </a:cxn>
                <a:cxn ang="0">
                  <a:pos x="1389" y="718"/>
                </a:cxn>
                <a:cxn ang="0">
                  <a:pos x="1273" y="624"/>
                </a:cxn>
                <a:cxn ang="0">
                  <a:pos x="1188" y="543"/>
                </a:cxn>
                <a:cxn ang="0">
                  <a:pos x="1144" y="444"/>
                </a:cxn>
                <a:cxn ang="0">
                  <a:pos x="1101" y="368"/>
                </a:cxn>
                <a:cxn ang="0">
                  <a:pos x="1041" y="325"/>
                </a:cxn>
                <a:cxn ang="0">
                  <a:pos x="1019" y="287"/>
                </a:cxn>
                <a:cxn ang="0">
                  <a:pos x="1002" y="138"/>
                </a:cxn>
                <a:cxn ang="0">
                  <a:pos x="979" y="70"/>
                </a:cxn>
                <a:cxn ang="0">
                  <a:pos x="937" y="35"/>
                </a:cxn>
                <a:cxn ang="0">
                  <a:pos x="811" y="30"/>
                </a:cxn>
                <a:cxn ang="0">
                  <a:pos x="740" y="19"/>
                </a:cxn>
                <a:cxn ang="0">
                  <a:pos x="691" y="0"/>
                </a:cxn>
                <a:cxn ang="0">
                  <a:pos x="658" y="18"/>
                </a:cxn>
                <a:cxn ang="0">
                  <a:pos x="626" y="37"/>
                </a:cxn>
              </a:cxnLst>
              <a:rect l="0" t="0" r="r" b="b"/>
              <a:pathLst>
                <a:path w="1421" h="1160">
                  <a:moveTo>
                    <a:pt x="619" y="50"/>
                  </a:moveTo>
                  <a:lnTo>
                    <a:pt x="613" y="66"/>
                  </a:lnTo>
                  <a:lnTo>
                    <a:pt x="608" y="81"/>
                  </a:lnTo>
                  <a:lnTo>
                    <a:pt x="600" y="97"/>
                  </a:lnTo>
                  <a:lnTo>
                    <a:pt x="591" y="112"/>
                  </a:lnTo>
                  <a:lnTo>
                    <a:pt x="582" y="126"/>
                  </a:lnTo>
                  <a:lnTo>
                    <a:pt x="572" y="139"/>
                  </a:lnTo>
                  <a:lnTo>
                    <a:pt x="561" y="153"/>
                  </a:lnTo>
                  <a:lnTo>
                    <a:pt x="548" y="166"/>
                  </a:lnTo>
                  <a:lnTo>
                    <a:pt x="535" y="179"/>
                  </a:lnTo>
                  <a:lnTo>
                    <a:pt x="522" y="191"/>
                  </a:lnTo>
                  <a:lnTo>
                    <a:pt x="508" y="203"/>
                  </a:lnTo>
                  <a:lnTo>
                    <a:pt x="494" y="214"/>
                  </a:lnTo>
                  <a:lnTo>
                    <a:pt x="462" y="237"/>
                  </a:lnTo>
                  <a:lnTo>
                    <a:pt x="430" y="257"/>
                  </a:lnTo>
                  <a:lnTo>
                    <a:pt x="397" y="276"/>
                  </a:lnTo>
                  <a:lnTo>
                    <a:pt x="362" y="293"/>
                  </a:lnTo>
                  <a:lnTo>
                    <a:pt x="328" y="309"/>
                  </a:lnTo>
                  <a:lnTo>
                    <a:pt x="294" y="325"/>
                  </a:lnTo>
                  <a:lnTo>
                    <a:pt x="228" y="350"/>
                  </a:lnTo>
                  <a:lnTo>
                    <a:pt x="168" y="373"/>
                  </a:lnTo>
                  <a:lnTo>
                    <a:pt x="134" y="384"/>
                  </a:lnTo>
                  <a:lnTo>
                    <a:pt x="100" y="395"/>
                  </a:lnTo>
                  <a:lnTo>
                    <a:pt x="83" y="401"/>
                  </a:lnTo>
                  <a:lnTo>
                    <a:pt x="66" y="407"/>
                  </a:lnTo>
                  <a:lnTo>
                    <a:pt x="50" y="414"/>
                  </a:lnTo>
                  <a:lnTo>
                    <a:pt x="37" y="422"/>
                  </a:lnTo>
                  <a:lnTo>
                    <a:pt x="25" y="431"/>
                  </a:lnTo>
                  <a:lnTo>
                    <a:pt x="15" y="441"/>
                  </a:lnTo>
                  <a:lnTo>
                    <a:pt x="10" y="445"/>
                  </a:lnTo>
                  <a:lnTo>
                    <a:pt x="7" y="451"/>
                  </a:lnTo>
                  <a:lnTo>
                    <a:pt x="4" y="456"/>
                  </a:lnTo>
                  <a:lnTo>
                    <a:pt x="1" y="463"/>
                  </a:lnTo>
                  <a:lnTo>
                    <a:pt x="0" y="470"/>
                  </a:lnTo>
                  <a:lnTo>
                    <a:pt x="0" y="477"/>
                  </a:lnTo>
                  <a:lnTo>
                    <a:pt x="0" y="483"/>
                  </a:lnTo>
                  <a:lnTo>
                    <a:pt x="2" y="491"/>
                  </a:lnTo>
                  <a:lnTo>
                    <a:pt x="5" y="499"/>
                  </a:lnTo>
                  <a:lnTo>
                    <a:pt x="8" y="508"/>
                  </a:lnTo>
                  <a:lnTo>
                    <a:pt x="13" y="516"/>
                  </a:lnTo>
                  <a:lnTo>
                    <a:pt x="18" y="526"/>
                  </a:lnTo>
                  <a:lnTo>
                    <a:pt x="49" y="570"/>
                  </a:lnTo>
                  <a:lnTo>
                    <a:pt x="80" y="610"/>
                  </a:lnTo>
                  <a:lnTo>
                    <a:pt x="95" y="629"/>
                  </a:lnTo>
                  <a:lnTo>
                    <a:pt x="110" y="648"/>
                  </a:lnTo>
                  <a:lnTo>
                    <a:pt x="125" y="665"/>
                  </a:lnTo>
                  <a:lnTo>
                    <a:pt x="142" y="682"/>
                  </a:lnTo>
                  <a:lnTo>
                    <a:pt x="158" y="699"/>
                  </a:lnTo>
                  <a:lnTo>
                    <a:pt x="174" y="714"/>
                  </a:lnTo>
                  <a:lnTo>
                    <a:pt x="192" y="730"/>
                  </a:lnTo>
                  <a:lnTo>
                    <a:pt x="210" y="745"/>
                  </a:lnTo>
                  <a:lnTo>
                    <a:pt x="230" y="761"/>
                  </a:lnTo>
                  <a:lnTo>
                    <a:pt x="250" y="776"/>
                  </a:lnTo>
                  <a:lnTo>
                    <a:pt x="272" y="791"/>
                  </a:lnTo>
                  <a:lnTo>
                    <a:pt x="294" y="807"/>
                  </a:lnTo>
                  <a:lnTo>
                    <a:pt x="314" y="818"/>
                  </a:lnTo>
                  <a:lnTo>
                    <a:pt x="333" y="826"/>
                  </a:lnTo>
                  <a:lnTo>
                    <a:pt x="352" y="830"/>
                  </a:lnTo>
                  <a:lnTo>
                    <a:pt x="371" y="831"/>
                  </a:lnTo>
                  <a:lnTo>
                    <a:pt x="389" y="829"/>
                  </a:lnTo>
                  <a:lnTo>
                    <a:pt x="407" y="824"/>
                  </a:lnTo>
                  <a:lnTo>
                    <a:pt x="424" y="817"/>
                  </a:lnTo>
                  <a:lnTo>
                    <a:pt x="441" y="807"/>
                  </a:lnTo>
                  <a:lnTo>
                    <a:pt x="458" y="795"/>
                  </a:lnTo>
                  <a:lnTo>
                    <a:pt x="475" y="781"/>
                  </a:lnTo>
                  <a:lnTo>
                    <a:pt x="491" y="767"/>
                  </a:lnTo>
                  <a:lnTo>
                    <a:pt x="507" y="750"/>
                  </a:lnTo>
                  <a:lnTo>
                    <a:pt x="537" y="714"/>
                  </a:lnTo>
                  <a:lnTo>
                    <a:pt x="567" y="677"/>
                  </a:lnTo>
                  <a:lnTo>
                    <a:pt x="596" y="639"/>
                  </a:lnTo>
                  <a:lnTo>
                    <a:pt x="625" y="605"/>
                  </a:lnTo>
                  <a:lnTo>
                    <a:pt x="640" y="588"/>
                  </a:lnTo>
                  <a:lnTo>
                    <a:pt x="653" y="574"/>
                  </a:lnTo>
                  <a:lnTo>
                    <a:pt x="668" y="560"/>
                  </a:lnTo>
                  <a:lnTo>
                    <a:pt x="681" y="548"/>
                  </a:lnTo>
                  <a:lnTo>
                    <a:pt x="695" y="539"/>
                  </a:lnTo>
                  <a:lnTo>
                    <a:pt x="708" y="531"/>
                  </a:lnTo>
                  <a:lnTo>
                    <a:pt x="723" y="527"/>
                  </a:lnTo>
                  <a:lnTo>
                    <a:pt x="736" y="525"/>
                  </a:lnTo>
                  <a:lnTo>
                    <a:pt x="749" y="526"/>
                  </a:lnTo>
                  <a:lnTo>
                    <a:pt x="763" y="530"/>
                  </a:lnTo>
                  <a:lnTo>
                    <a:pt x="777" y="538"/>
                  </a:lnTo>
                  <a:lnTo>
                    <a:pt x="791" y="550"/>
                  </a:lnTo>
                  <a:lnTo>
                    <a:pt x="797" y="557"/>
                  </a:lnTo>
                  <a:lnTo>
                    <a:pt x="802" y="564"/>
                  </a:lnTo>
                  <a:lnTo>
                    <a:pt x="806" y="571"/>
                  </a:lnTo>
                  <a:lnTo>
                    <a:pt x="810" y="578"/>
                  </a:lnTo>
                  <a:lnTo>
                    <a:pt x="812" y="586"/>
                  </a:lnTo>
                  <a:lnTo>
                    <a:pt x="813" y="594"/>
                  </a:lnTo>
                  <a:lnTo>
                    <a:pt x="813" y="602"/>
                  </a:lnTo>
                  <a:lnTo>
                    <a:pt x="813" y="608"/>
                  </a:lnTo>
                  <a:lnTo>
                    <a:pt x="812" y="616"/>
                  </a:lnTo>
                  <a:lnTo>
                    <a:pt x="810" y="624"/>
                  </a:lnTo>
                  <a:lnTo>
                    <a:pt x="806" y="632"/>
                  </a:lnTo>
                  <a:lnTo>
                    <a:pt x="803" y="638"/>
                  </a:lnTo>
                  <a:lnTo>
                    <a:pt x="795" y="653"/>
                  </a:lnTo>
                  <a:lnTo>
                    <a:pt x="785" y="667"/>
                  </a:lnTo>
                  <a:lnTo>
                    <a:pt x="773" y="681"/>
                  </a:lnTo>
                  <a:lnTo>
                    <a:pt x="759" y="693"/>
                  </a:lnTo>
                  <a:lnTo>
                    <a:pt x="746" y="705"/>
                  </a:lnTo>
                  <a:lnTo>
                    <a:pt x="731" y="715"/>
                  </a:lnTo>
                  <a:lnTo>
                    <a:pt x="718" y="725"/>
                  </a:lnTo>
                  <a:lnTo>
                    <a:pt x="704" y="733"/>
                  </a:lnTo>
                  <a:lnTo>
                    <a:pt x="690" y="739"/>
                  </a:lnTo>
                  <a:lnTo>
                    <a:pt x="679" y="743"/>
                  </a:lnTo>
                  <a:lnTo>
                    <a:pt x="660" y="751"/>
                  </a:lnTo>
                  <a:lnTo>
                    <a:pt x="641" y="759"/>
                  </a:lnTo>
                  <a:lnTo>
                    <a:pt x="624" y="769"/>
                  </a:lnTo>
                  <a:lnTo>
                    <a:pt x="608" y="779"/>
                  </a:lnTo>
                  <a:lnTo>
                    <a:pt x="593" y="791"/>
                  </a:lnTo>
                  <a:lnTo>
                    <a:pt x="580" y="805"/>
                  </a:lnTo>
                  <a:lnTo>
                    <a:pt x="566" y="819"/>
                  </a:lnTo>
                  <a:lnTo>
                    <a:pt x="556" y="834"/>
                  </a:lnTo>
                  <a:lnTo>
                    <a:pt x="554" y="838"/>
                  </a:lnTo>
                  <a:lnTo>
                    <a:pt x="553" y="844"/>
                  </a:lnTo>
                  <a:lnTo>
                    <a:pt x="552" y="850"/>
                  </a:lnTo>
                  <a:lnTo>
                    <a:pt x="551" y="858"/>
                  </a:lnTo>
                  <a:lnTo>
                    <a:pt x="552" y="876"/>
                  </a:lnTo>
                  <a:lnTo>
                    <a:pt x="553" y="896"/>
                  </a:lnTo>
                  <a:lnTo>
                    <a:pt x="556" y="915"/>
                  </a:lnTo>
                  <a:lnTo>
                    <a:pt x="561" y="931"/>
                  </a:lnTo>
                  <a:lnTo>
                    <a:pt x="564" y="936"/>
                  </a:lnTo>
                  <a:lnTo>
                    <a:pt x="567" y="942"/>
                  </a:lnTo>
                  <a:lnTo>
                    <a:pt x="571" y="944"/>
                  </a:lnTo>
                  <a:lnTo>
                    <a:pt x="575" y="945"/>
                  </a:lnTo>
                  <a:lnTo>
                    <a:pt x="577" y="950"/>
                  </a:lnTo>
                  <a:lnTo>
                    <a:pt x="585" y="959"/>
                  </a:lnTo>
                  <a:lnTo>
                    <a:pt x="595" y="970"/>
                  </a:lnTo>
                  <a:lnTo>
                    <a:pt x="606" y="982"/>
                  </a:lnTo>
                  <a:lnTo>
                    <a:pt x="629" y="1004"/>
                  </a:lnTo>
                  <a:lnTo>
                    <a:pt x="640" y="1014"/>
                  </a:lnTo>
                  <a:lnTo>
                    <a:pt x="641" y="1026"/>
                  </a:lnTo>
                  <a:lnTo>
                    <a:pt x="643" y="1036"/>
                  </a:lnTo>
                  <a:lnTo>
                    <a:pt x="645" y="1043"/>
                  </a:lnTo>
                  <a:lnTo>
                    <a:pt x="650" y="1049"/>
                  </a:lnTo>
                  <a:lnTo>
                    <a:pt x="654" y="1054"/>
                  </a:lnTo>
                  <a:lnTo>
                    <a:pt x="660" y="1056"/>
                  </a:lnTo>
                  <a:lnTo>
                    <a:pt x="667" y="1057"/>
                  </a:lnTo>
                  <a:lnTo>
                    <a:pt x="673" y="1057"/>
                  </a:lnTo>
                  <a:lnTo>
                    <a:pt x="681" y="1055"/>
                  </a:lnTo>
                  <a:lnTo>
                    <a:pt x="690" y="1052"/>
                  </a:lnTo>
                  <a:lnTo>
                    <a:pt x="699" y="1049"/>
                  </a:lnTo>
                  <a:lnTo>
                    <a:pt x="709" y="1045"/>
                  </a:lnTo>
                  <a:lnTo>
                    <a:pt x="729" y="1036"/>
                  </a:lnTo>
                  <a:lnTo>
                    <a:pt x="752" y="1026"/>
                  </a:lnTo>
                  <a:lnTo>
                    <a:pt x="774" y="1016"/>
                  </a:lnTo>
                  <a:lnTo>
                    <a:pt x="796" y="1007"/>
                  </a:lnTo>
                  <a:lnTo>
                    <a:pt x="807" y="1004"/>
                  </a:lnTo>
                  <a:lnTo>
                    <a:pt x="819" y="1002"/>
                  </a:lnTo>
                  <a:lnTo>
                    <a:pt x="829" y="1001"/>
                  </a:lnTo>
                  <a:lnTo>
                    <a:pt x="840" y="1001"/>
                  </a:lnTo>
                  <a:lnTo>
                    <a:pt x="850" y="1002"/>
                  </a:lnTo>
                  <a:lnTo>
                    <a:pt x="859" y="1004"/>
                  </a:lnTo>
                  <a:lnTo>
                    <a:pt x="869" y="1010"/>
                  </a:lnTo>
                  <a:lnTo>
                    <a:pt x="878" y="1016"/>
                  </a:lnTo>
                  <a:lnTo>
                    <a:pt x="885" y="1025"/>
                  </a:lnTo>
                  <a:lnTo>
                    <a:pt x="892" y="1035"/>
                  </a:lnTo>
                  <a:lnTo>
                    <a:pt x="899" y="1048"/>
                  </a:lnTo>
                  <a:lnTo>
                    <a:pt x="906" y="1064"/>
                  </a:lnTo>
                  <a:lnTo>
                    <a:pt x="910" y="1075"/>
                  </a:lnTo>
                  <a:lnTo>
                    <a:pt x="916" y="1085"/>
                  </a:lnTo>
                  <a:lnTo>
                    <a:pt x="921" y="1095"/>
                  </a:lnTo>
                  <a:lnTo>
                    <a:pt x="929" y="1104"/>
                  </a:lnTo>
                  <a:lnTo>
                    <a:pt x="938" y="1112"/>
                  </a:lnTo>
                  <a:lnTo>
                    <a:pt x="947" y="1119"/>
                  </a:lnTo>
                  <a:lnTo>
                    <a:pt x="957" y="1126"/>
                  </a:lnTo>
                  <a:lnTo>
                    <a:pt x="968" y="1132"/>
                  </a:lnTo>
                  <a:lnTo>
                    <a:pt x="979" y="1137"/>
                  </a:lnTo>
                  <a:lnTo>
                    <a:pt x="992" y="1142"/>
                  </a:lnTo>
                  <a:lnTo>
                    <a:pt x="1005" y="1145"/>
                  </a:lnTo>
                  <a:lnTo>
                    <a:pt x="1018" y="1148"/>
                  </a:lnTo>
                  <a:lnTo>
                    <a:pt x="1046" y="1154"/>
                  </a:lnTo>
                  <a:lnTo>
                    <a:pt x="1076" y="1157"/>
                  </a:lnTo>
                  <a:lnTo>
                    <a:pt x="1108" y="1160"/>
                  </a:lnTo>
                  <a:lnTo>
                    <a:pt x="1139" y="1160"/>
                  </a:lnTo>
                  <a:lnTo>
                    <a:pt x="1171" y="1158"/>
                  </a:lnTo>
                  <a:lnTo>
                    <a:pt x="1204" y="1156"/>
                  </a:lnTo>
                  <a:lnTo>
                    <a:pt x="1267" y="1150"/>
                  </a:lnTo>
                  <a:lnTo>
                    <a:pt x="1326" y="1142"/>
                  </a:lnTo>
                  <a:lnTo>
                    <a:pt x="1338" y="1139"/>
                  </a:lnTo>
                  <a:lnTo>
                    <a:pt x="1347" y="1137"/>
                  </a:lnTo>
                  <a:lnTo>
                    <a:pt x="1354" y="1133"/>
                  </a:lnTo>
                  <a:lnTo>
                    <a:pt x="1361" y="1129"/>
                  </a:lnTo>
                  <a:lnTo>
                    <a:pt x="1367" y="1126"/>
                  </a:lnTo>
                  <a:lnTo>
                    <a:pt x="1373" y="1123"/>
                  </a:lnTo>
                  <a:lnTo>
                    <a:pt x="1380" y="1122"/>
                  </a:lnTo>
                  <a:lnTo>
                    <a:pt x="1389" y="1120"/>
                  </a:lnTo>
                  <a:lnTo>
                    <a:pt x="1389" y="1118"/>
                  </a:lnTo>
                  <a:lnTo>
                    <a:pt x="1391" y="1118"/>
                  </a:lnTo>
                  <a:lnTo>
                    <a:pt x="1395" y="1117"/>
                  </a:lnTo>
                  <a:lnTo>
                    <a:pt x="1397" y="1117"/>
                  </a:lnTo>
                  <a:lnTo>
                    <a:pt x="1396" y="1103"/>
                  </a:lnTo>
                  <a:lnTo>
                    <a:pt x="1395" y="1084"/>
                  </a:lnTo>
                  <a:lnTo>
                    <a:pt x="1390" y="1061"/>
                  </a:lnTo>
                  <a:lnTo>
                    <a:pt x="1384" y="1038"/>
                  </a:lnTo>
                  <a:lnTo>
                    <a:pt x="1381" y="1026"/>
                  </a:lnTo>
                  <a:lnTo>
                    <a:pt x="1377" y="1013"/>
                  </a:lnTo>
                  <a:lnTo>
                    <a:pt x="1371" y="1001"/>
                  </a:lnTo>
                  <a:lnTo>
                    <a:pt x="1365" y="989"/>
                  </a:lnTo>
                  <a:lnTo>
                    <a:pt x="1359" y="978"/>
                  </a:lnTo>
                  <a:lnTo>
                    <a:pt x="1352" y="966"/>
                  </a:lnTo>
                  <a:lnTo>
                    <a:pt x="1344" y="956"/>
                  </a:lnTo>
                  <a:lnTo>
                    <a:pt x="1335" y="946"/>
                  </a:lnTo>
                  <a:lnTo>
                    <a:pt x="1320" y="934"/>
                  </a:lnTo>
                  <a:lnTo>
                    <a:pt x="1305" y="922"/>
                  </a:lnTo>
                  <a:lnTo>
                    <a:pt x="1288" y="910"/>
                  </a:lnTo>
                  <a:lnTo>
                    <a:pt x="1272" y="900"/>
                  </a:lnTo>
                  <a:lnTo>
                    <a:pt x="1238" y="881"/>
                  </a:lnTo>
                  <a:lnTo>
                    <a:pt x="1207" y="864"/>
                  </a:lnTo>
                  <a:lnTo>
                    <a:pt x="1178" y="850"/>
                  </a:lnTo>
                  <a:lnTo>
                    <a:pt x="1156" y="838"/>
                  </a:lnTo>
                  <a:lnTo>
                    <a:pt x="1147" y="833"/>
                  </a:lnTo>
                  <a:lnTo>
                    <a:pt x="1140" y="827"/>
                  </a:lnTo>
                  <a:lnTo>
                    <a:pt x="1138" y="825"/>
                  </a:lnTo>
                  <a:lnTo>
                    <a:pt x="1136" y="823"/>
                  </a:lnTo>
                  <a:lnTo>
                    <a:pt x="1134" y="820"/>
                  </a:lnTo>
                  <a:lnTo>
                    <a:pt x="1134" y="817"/>
                  </a:lnTo>
                  <a:lnTo>
                    <a:pt x="1124" y="810"/>
                  </a:lnTo>
                  <a:lnTo>
                    <a:pt x="1115" y="804"/>
                  </a:lnTo>
                  <a:lnTo>
                    <a:pt x="1115" y="796"/>
                  </a:lnTo>
                  <a:lnTo>
                    <a:pt x="1130" y="795"/>
                  </a:lnTo>
                  <a:lnTo>
                    <a:pt x="1146" y="791"/>
                  </a:lnTo>
                  <a:lnTo>
                    <a:pt x="1161" y="787"/>
                  </a:lnTo>
                  <a:lnTo>
                    <a:pt x="1178" y="782"/>
                  </a:lnTo>
                  <a:lnTo>
                    <a:pt x="1195" y="778"/>
                  </a:lnTo>
                  <a:lnTo>
                    <a:pt x="1211" y="773"/>
                  </a:lnTo>
                  <a:lnTo>
                    <a:pt x="1229" y="771"/>
                  </a:lnTo>
                  <a:lnTo>
                    <a:pt x="1246" y="771"/>
                  </a:lnTo>
                  <a:lnTo>
                    <a:pt x="1421" y="773"/>
                  </a:lnTo>
                  <a:lnTo>
                    <a:pt x="1420" y="768"/>
                  </a:lnTo>
                  <a:lnTo>
                    <a:pt x="1419" y="761"/>
                  </a:lnTo>
                  <a:lnTo>
                    <a:pt x="1416" y="753"/>
                  </a:lnTo>
                  <a:lnTo>
                    <a:pt x="1412" y="747"/>
                  </a:lnTo>
                  <a:lnTo>
                    <a:pt x="1402" y="733"/>
                  </a:lnTo>
                  <a:lnTo>
                    <a:pt x="1389" y="718"/>
                  </a:lnTo>
                  <a:lnTo>
                    <a:pt x="1373" y="703"/>
                  </a:lnTo>
                  <a:lnTo>
                    <a:pt x="1355" y="687"/>
                  </a:lnTo>
                  <a:lnTo>
                    <a:pt x="1335" y="672"/>
                  </a:lnTo>
                  <a:lnTo>
                    <a:pt x="1315" y="656"/>
                  </a:lnTo>
                  <a:lnTo>
                    <a:pt x="1273" y="624"/>
                  </a:lnTo>
                  <a:lnTo>
                    <a:pt x="1234" y="591"/>
                  </a:lnTo>
                  <a:lnTo>
                    <a:pt x="1216" y="576"/>
                  </a:lnTo>
                  <a:lnTo>
                    <a:pt x="1200" y="559"/>
                  </a:lnTo>
                  <a:lnTo>
                    <a:pt x="1194" y="551"/>
                  </a:lnTo>
                  <a:lnTo>
                    <a:pt x="1188" y="543"/>
                  </a:lnTo>
                  <a:lnTo>
                    <a:pt x="1182" y="536"/>
                  </a:lnTo>
                  <a:lnTo>
                    <a:pt x="1178" y="528"/>
                  </a:lnTo>
                  <a:lnTo>
                    <a:pt x="1166" y="500"/>
                  </a:lnTo>
                  <a:lnTo>
                    <a:pt x="1155" y="471"/>
                  </a:lnTo>
                  <a:lnTo>
                    <a:pt x="1144" y="444"/>
                  </a:lnTo>
                  <a:lnTo>
                    <a:pt x="1133" y="417"/>
                  </a:lnTo>
                  <a:lnTo>
                    <a:pt x="1127" y="404"/>
                  </a:lnTo>
                  <a:lnTo>
                    <a:pt x="1120" y="392"/>
                  </a:lnTo>
                  <a:lnTo>
                    <a:pt x="1111" y="381"/>
                  </a:lnTo>
                  <a:lnTo>
                    <a:pt x="1101" y="368"/>
                  </a:lnTo>
                  <a:lnTo>
                    <a:pt x="1091" y="358"/>
                  </a:lnTo>
                  <a:lnTo>
                    <a:pt x="1077" y="347"/>
                  </a:lnTo>
                  <a:lnTo>
                    <a:pt x="1063" y="338"/>
                  </a:lnTo>
                  <a:lnTo>
                    <a:pt x="1047" y="329"/>
                  </a:lnTo>
                  <a:lnTo>
                    <a:pt x="1041" y="325"/>
                  </a:lnTo>
                  <a:lnTo>
                    <a:pt x="1035" y="319"/>
                  </a:lnTo>
                  <a:lnTo>
                    <a:pt x="1029" y="312"/>
                  </a:lnTo>
                  <a:lnTo>
                    <a:pt x="1025" y="305"/>
                  </a:lnTo>
                  <a:lnTo>
                    <a:pt x="1022" y="297"/>
                  </a:lnTo>
                  <a:lnTo>
                    <a:pt x="1019" y="287"/>
                  </a:lnTo>
                  <a:lnTo>
                    <a:pt x="1016" y="277"/>
                  </a:lnTo>
                  <a:lnTo>
                    <a:pt x="1015" y="266"/>
                  </a:lnTo>
                  <a:lnTo>
                    <a:pt x="1009" y="216"/>
                  </a:lnTo>
                  <a:lnTo>
                    <a:pt x="1005" y="164"/>
                  </a:lnTo>
                  <a:lnTo>
                    <a:pt x="1002" y="138"/>
                  </a:lnTo>
                  <a:lnTo>
                    <a:pt x="996" y="114"/>
                  </a:lnTo>
                  <a:lnTo>
                    <a:pt x="993" y="102"/>
                  </a:lnTo>
                  <a:lnTo>
                    <a:pt x="989" y="90"/>
                  </a:lnTo>
                  <a:lnTo>
                    <a:pt x="985" y="80"/>
                  </a:lnTo>
                  <a:lnTo>
                    <a:pt x="979" y="70"/>
                  </a:lnTo>
                  <a:lnTo>
                    <a:pt x="973" y="61"/>
                  </a:lnTo>
                  <a:lnTo>
                    <a:pt x="965" y="54"/>
                  </a:lnTo>
                  <a:lnTo>
                    <a:pt x="957" y="46"/>
                  </a:lnTo>
                  <a:lnTo>
                    <a:pt x="947" y="40"/>
                  </a:lnTo>
                  <a:lnTo>
                    <a:pt x="937" y="35"/>
                  </a:lnTo>
                  <a:lnTo>
                    <a:pt x="925" y="31"/>
                  </a:lnTo>
                  <a:lnTo>
                    <a:pt x="911" y="29"/>
                  </a:lnTo>
                  <a:lnTo>
                    <a:pt x="897" y="29"/>
                  </a:lnTo>
                  <a:lnTo>
                    <a:pt x="856" y="29"/>
                  </a:lnTo>
                  <a:lnTo>
                    <a:pt x="811" y="30"/>
                  </a:lnTo>
                  <a:lnTo>
                    <a:pt x="788" y="29"/>
                  </a:lnTo>
                  <a:lnTo>
                    <a:pt x="767" y="27"/>
                  </a:lnTo>
                  <a:lnTo>
                    <a:pt x="757" y="25"/>
                  </a:lnTo>
                  <a:lnTo>
                    <a:pt x="748" y="22"/>
                  </a:lnTo>
                  <a:lnTo>
                    <a:pt x="740" y="19"/>
                  </a:lnTo>
                  <a:lnTo>
                    <a:pt x="734" y="14"/>
                  </a:lnTo>
                  <a:lnTo>
                    <a:pt x="720" y="8"/>
                  </a:lnTo>
                  <a:lnTo>
                    <a:pt x="709" y="3"/>
                  </a:lnTo>
                  <a:lnTo>
                    <a:pt x="699" y="1"/>
                  </a:lnTo>
                  <a:lnTo>
                    <a:pt x="691" y="0"/>
                  </a:lnTo>
                  <a:lnTo>
                    <a:pt x="683" y="1"/>
                  </a:lnTo>
                  <a:lnTo>
                    <a:pt x="677" y="2"/>
                  </a:lnTo>
                  <a:lnTo>
                    <a:pt x="671" y="6"/>
                  </a:lnTo>
                  <a:lnTo>
                    <a:pt x="667" y="9"/>
                  </a:lnTo>
                  <a:lnTo>
                    <a:pt x="658" y="18"/>
                  </a:lnTo>
                  <a:lnTo>
                    <a:pt x="649" y="27"/>
                  </a:lnTo>
                  <a:lnTo>
                    <a:pt x="644" y="31"/>
                  </a:lnTo>
                  <a:lnTo>
                    <a:pt x="639" y="35"/>
                  </a:lnTo>
                  <a:lnTo>
                    <a:pt x="633" y="36"/>
                  </a:lnTo>
                  <a:lnTo>
                    <a:pt x="626" y="37"/>
                  </a:lnTo>
                  <a:lnTo>
                    <a:pt x="626" y="42"/>
                  </a:lnTo>
                  <a:lnTo>
                    <a:pt x="619" y="5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47" name="Freeform 100">
              <a:extLst>
                <a:ext uri="{FF2B5EF4-FFF2-40B4-BE49-F238E27FC236}">
                  <a16:creationId xmlns:a16="http://schemas.microsoft.com/office/drawing/2014/main" id="{55AED9B0-5F18-456A-B73A-442FBDBA7D2F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210550" y="3789363"/>
              <a:ext cx="116453" cy="80963"/>
            </a:xfrm>
            <a:custGeom>
              <a:avLst/>
              <a:gdLst/>
              <a:ahLst/>
              <a:cxnLst>
                <a:cxn ang="0">
                  <a:pos x="32" y="25"/>
                </a:cxn>
                <a:cxn ang="0">
                  <a:pos x="27" y="30"/>
                </a:cxn>
                <a:cxn ang="0">
                  <a:pos x="12" y="54"/>
                </a:cxn>
                <a:cxn ang="0">
                  <a:pos x="8" y="68"/>
                </a:cxn>
                <a:cxn ang="0">
                  <a:pos x="3" y="82"/>
                </a:cxn>
                <a:cxn ang="0">
                  <a:pos x="0" y="136"/>
                </a:cxn>
                <a:cxn ang="0">
                  <a:pos x="9" y="156"/>
                </a:cxn>
                <a:cxn ang="0">
                  <a:pos x="15" y="192"/>
                </a:cxn>
                <a:cxn ang="0">
                  <a:pos x="20" y="211"/>
                </a:cxn>
                <a:cxn ang="0">
                  <a:pos x="32" y="265"/>
                </a:cxn>
                <a:cxn ang="0">
                  <a:pos x="63" y="337"/>
                </a:cxn>
                <a:cxn ang="0">
                  <a:pos x="75" y="352"/>
                </a:cxn>
                <a:cxn ang="0">
                  <a:pos x="86" y="362"/>
                </a:cxn>
                <a:cxn ang="0">
                  <a:pos x="113" y="401"/>
                </a:cxn>
                <a:cxn ang="0">
                  <a:pos x="152" y="417"/>
                </a:cxn>
                <a:cxn ang="0">
                  <a:pos x="171" y="421"/>
                </a:cxn>
                <a:cxn ang="0">
                  <a:pos x="227" y="415"/>
                </a:cxn>
                <a:cxn ang="0">
                  <a:pos x="256" y="406"/>
                </a:cxn>
                <a:cxn ang="0">
                  <a:pos x="314" y="411"/>
                </a:cxn>
                <a:cxn ang="0">
                  <a:pos x="323" y="404"/>
                </a:cxn>
                <a:cxn ang="0">
                  <a:pos x="345" y="414"/>
                </a:cxn>
                <a:cxn ang="0">
                  <a:pos x="362" y="429"/>
                </a:cxn>
                <a:cxn ang="0">
                  <a:pos x="375" y="437"/>
                </a:cxn>
                <a:cxn ang="0">
                  <a:pos x="386" y="439"/>
                </a:cxn>
                <a:cxn ang="0">
                  <a:pos x="397" y="444"/>
                </a:cxn>
                <a:cxn ang="0">
                  <a:pos x="407" y="456"/>
                </a:cxn>
                <a:cxn ang="0">
                  <a:pos x="453" y="491"/>
                </a:cxn>
                <a:cxn ang="0">
                  <a:pos x="491" y="498"/>
                </a:cxn>
                <a:cxn ang="0">
                  <a:pos x="570" y="507"/>
                </a:cxn>
                <a:cxn ang="0">
                  <a:pos x="629" y="500"/>
                </a:cxn>
                <a:cxn ang="0">
                  <a:pos x="642" y="472"/>
                </a:cxn>
                <a:cxn ang="0">
                  <a:pos x="636" y="452"/>
                </a:cxn>
                <a:cxn ang="0">
                  <a:pos x="588" y="404"/>
                </a:cxn>
                <a:cxn ang="0">
                  <a:pos x="549" y="366"/>
                </a:cxn>
                <a:cxn ang="0">
                  <a:pos x="526" y="313"/>
                </a:cxn>
                <a:cxn ang="0">
                  <a:pos x="514" y="233"/>
                </a:cxn>
                <a:cxn ang="0">
                  <a:pos x="496" y="219"/>
                </a:cxn>
                <a:cxn ang="0">
                  <a:pos x="483" y="199"/>
                </a:cxn>
                <a:cxn ang="0">
                  <a:pos x="462" y="182"/>
                </a:cxn>
                <a:cxn ang="0">
                  <a:pos x="454" y="174"/>
                </a:cxn>
                <a:cxn ang="0">
                  <a:pos x="423" y="161"/>
                </a:cxn>
                <a:cxn ang="0">
                  <a:pos x="419" y="153"/>
                </a:cxn>
                <a:cxn ang="0">
                  <a:pos x="415" y="145"/>
                </a:cxn>
                <a:cxn ang="0">
                  <a:pos x="392" y="132"/>
                </a:cxn>
                <a:cxn ang="0">
                  <a:pos x="386" y="130"/>
                </a:cxn>
                <a:cxn ang="0">
                  <a:pos x="363" y="115"/>
                </a:cxn>
                <a:cxn ang="0">
                  <a:pos x="353" y="101"/>
                </a:cxn>
                <a:cxn ang="0">
                  <a:pos x="347" y="97"/>
                </a:cxn>
                <a:cxn ang="0">
                  <a:pos x="327" y="82"/>
                </a:cxn>
                <a:cxn ang="0">
                  <a:pos x="304" y="65"/>
                </a:cxn>
                <a:cxn ang="0">
                  <a:pos x="294" y="56"/>
                </a:cxn>
                <a:cxn ang="0">
                  <a:pos x="288" y="54"/>
                </a:cxn>
                <a:cxn ang="0">
                  <a:pos x="272" y="43"/>
                </a:cxn>
                <a:cxn ang="0">
                  <a:pos x="265" y="33"/>
                </a:cxn>
                <a:cxn ang="0">
                  <a:pos x="239" y="31"/>
                </a:cxn>
                <a:cxn ang="0">
                  <a:pos x="176" y="44"/>
                </a:cxn>
                <a:cxn ang="0">
                  <a:pos x="146" y="43"/>
                </a:cxn>
                <a:cxn ang="0">
                  <a:pos x="128" y="38"/>
                </a:cxn>
                <a:cxn ang="0">
                  <a:pos x="121" y="18"/>
                </a:cxn>
                <a:cxn ang="0">
                  <a:pos x="98" y="8"/>
                </a:cxn>
                <a:cxn ang="0">
                  <a:pos x="94" y="1"/>
                </a:cxn>
              </a:cxnLst>
              <a:rect l="0" t="0" r="r" b="b"/>
              <a:pathLst>
                <a:path w="642" h="507">
                  <a:moveTo>
                    <a:pt x="60" y="8"/>
                  </a:moveTo>
                  <a:lnTo>
                    <a:pt x="46" y="15"/>
                  </a:lnTo>
                  <a:lnTo>
                    <a:pt x="37" y="20"/>
                  </a:lnTo>
                  <a:lnTo>
                    <a:pt x="32" y="25"/>
                  </a:lnTo>
                  <a:lnTo>
                    <a:pt x="30" y="27"/>
                  </a:lnTo>
                  <a:lnTo>
                    <a:pt x="29" y="29"/>
                  </a:lnTo>
                  <a:lnTo>
                    <a:pt x="28" y="30"/>
                  </a:lnTo>
                  <a:lnTo>
                    <a:pt x="27" y="30"/>
                  </a:lnTo>
                  <a:lnTo>
                    <a:pt x="22" y="30"/>
                  </a:lnTo>
                  <a:lnTo>
                    <a:pt x="15" y="38"/>
                  </a:lnTo>
                  <a:lnTo>
                    <a:pt x="15" y="53"/>
                  </a:lnTo>
                  <a:lnTo>
                    <a:pt x="12" y="54"/>
                  </a:lnTo>
                  <a:lnTo>
                    <a:pt x="10" y="55"/>
                  </a:lnTo>
                  <a:lnTo>
                    <a:pt x="9" y="58"/>
                  </a:lnTo>
                  <a:lnTo>
                    <a:pt x="8" y="62"/>
                  </a:lnTo>
                  <a:lnTo>
                    <a:pt x="8" y="68"/>
                  </a:lnTo>
                  <a:lnTo>
                    <a:pt x="8" y="75"/>
                  </a:lnTo>
                  <a:lnTo>
                    <a:pt x="6" y="76"/>
                  </a:lnTo>
                  <a:lnTo>
                    <a:pt x="4" y="78"/>
                  </a:lnTo>
                  <a:lnTo>
                    <a:pt x="3" y="82"/>
                  </a:lnTo>
                  <a:lnTo>
                    <a:pt x="3" y="86"/>
                  </a:lnTo>
                  <a:lnTo>
                    <a:pt x="1" y="97"/>
                  </a:lnTo>
                  <a:lnTo>
                    <a:pt x="1" y="111"/>
                  </a:lnTo>
                  <a:lnTo>
                    <a:pt x="0" y="136"/>
                  </a:lnTo>
                  <a:lnTo>
                    <a:pt x="0" y="151"/>
                  </a:lnTo>
                  <a:lnTo>
                    <a:pt x="3" y="152"/>
                  </a:lnTo>
                  <a:lnTo>
                    <a:pt x="7" y="153"/>
                  </a:lnTo>
                  <a:lnTo>
                    <a:pt x="9" y="156"/>
                  </a:lnTo>
                  <a:lnTo>
                    <a:pt x="11" y="161"/>
                  </a:lnTo>
                  <a:lnTo>
                    <a:pt x="13" y="170"/>
                  </a:lnTo>
                  <a:lnTo>
                    <a:pt x="13" y="181"/>
                  </a:lnTo>
                  <a:lnTo>
                    <a:pt x="15" y="192"/>
                  </a:lnTo>
                  <a:lnTo>
                    <a:pt x="16" y="202"/>
                  </a:lnTo>
                  <a:lnTo>
                    <a:pt x="17" y="206"/>
                  </a:lnTo>
                  <a:lnTo>
                    <a:pt x="18" y="209"/>
                  </a:lnTo>
                  <a:lnTo>
                    <a:pt x="20" y="211"/>
                  </a:lnTo>
                  <a:lnTo>
                    <a:pt x="22" y="211"/>
                  </a:lnTo>
                  <a:lnTo>
                    <a:pt x="23" y="227"/>
                  </a:lnTo>
                  <a:lnTo>
                    <a:pt x="27" y="246"/>
                  </a:lnTo>
                  <a:lnTo>
                    <a:pt x="32" y="265"/>
                  </a:lnTo>
                  <a:lnTo>
                    <a:pt x="38" y="279"/>
                  </a:lnTo>
                  <a:lnTo>
                    <a:pt x="42" y="290"/>
                  </a:lnTo>
                  <a:lnTo>
                    <a:pt x="52" y="314"/>
                  </a:lnTo>
                  <a:lnTo>
                    <a:pt x="63" y="337"/>
                  </a:lnTo>
                  <a:lnTo>
                    <a:pt x="68" y="347"/>
                  </a:lnTo>
                  <a:lnTo>
                    <a:pt x="70" y="348"/>
                  </a:lnTo>
                  <a:lnTo>
                    <a:pt x="73" y="350"/>
                  </a:lnTo>
                  <a:lnTo>
                    <a:pt x="75" y="352"/>
                  </a:lnTo>
                  <a:lnTo>
                    <a:pt x="76" y="355"/>
                  </a:lnTo>
                  <a:lnTo>
                    <a:pt x="78" y="357"/>
                  </a:lnTo>
                  <a:lnTo>
                    <a:pt x="82" y="361"/>
                  </a:lnTo>
                  <a:lnTo>
                    <a:pt x="86" y="362"/>
                  </a:lnTo>
                  <a:lnTo>
                    <a:pt x="90" y="363"/>
                  </a:lnTo>
                  <a:lnTo>
                    <a:pt x="90" y="377"/>
                  </a:lnTo>
                  <a:lnTo>
                    <a:pt x="98" y="385"/>
                  </a:lnTo>
                  <a:lnTo>
                    <a:pt x="113" y="401"/>
                  </a:lnTo>
                  <a:lnTo>
                    <a:pt x="128" y="415"/>
                  </a:lnTo>
                  <a:lnTo>
                    <a:pt x="140" y="415"/>
                  </a:lnTo>
                  <a:lnTo>
                    <a:pt x="151" y="415"/>
                  </a:lnTo>
                  <a:lnTo>
                    <a:pt x="152" y="417"/>
                  </a:lnTo>
                  <a:lnTo>
                    <a:pt x="154" y="418"/>
                  </a:lnTo>
                  <a:lnTo>
                    <a:pt x="156" y="419"/>
                  </a:lnTo>
                  <a:lnTo>
                    <a:pt x="161" y="420"/>
                  </a:lnTo>
                  <a:lnTo>
                    <a:pt x="171" y="421"/>
                  </a:lnTo>
                  <a:lnTo>
                    <a:pt x="182" y="422"/>
                  </a:lnTo>
                  <a:lnTo>
                    <a:pt x="205" y="423"/>
                  </a:lnTo>
                  <a:lnTo>
                    <a:pt x="219" y="423"/>
                  </a:lnTo>
                  <a:lnTo>
                    <a:pt x="227" y="415"/>
                  </a:lnTo>
                  <a:lnTo>
                    <a:pt x="234" y="408"/>
                  </a:lnTo>
                  <a:lnTo>
                    <a:pt x="240" y="422"/>
                  </a:lnTo>
                  <a:lnTo>
                    <a:pt x="248" y="414"/>
                  </a:lnTo>
                  <a:lnTo>
                    <a:pt x="256" y="406"/>
                  </a:lnTo>
                  <a:lnTo>
                    <a:pt x="263" y="400"/>
                  </a:lnTo>
                  <a:lnTo>
                    <a:pt x="284" y="411"/>
                  </a:lnTo>
                  <a:lnTo>
                    <a:pt x="299" y="411"/>
                  </a:lnTo>
                  <a:lnTo>
                    <a:pt x="314" y="411"/>
                  </a:lnTo>
                  <a:lnTo>
                    <a:pt x="315" y="409"/>
                  </a:lnTo>
                  <a:lnTo>
                    <a:pt x="316" y="406"/>
                  </a:lnTo>
                  <a:lnTo>
                    <a:pt x="319" y="405"/>
                  </a:lnTo>
                  <a:lnTo>
                    <a:pt x="323" y="404"/>
                  </a:lnTo>
                  <a:lnTo>
                    <a:pt x="329" y="404"/>
                  </a:lnTo>
                  <a:lnTo>
                    <a:pt x="336" y="403"/>
                  </a:lnTo>
                  <a:lnTo>
                    <a:pt x="344" y="411"/>
                  </a:lnTo>
                  <a:lnTo>
                    <a:pt x="345" y="414"/>
                  </a:lnTo>
                  <a:lnTo>
                    <a:pt x="348" y="418"/>
                  </a:lnTo>
                  <a:lnTo>
                    <a:pt x="352" y="422"/>
                  </a:lnTo>
                  <a:lnTo>
                    <a:pt x="356" y="425"/>
                  </a:lnTo>
                  <a:lnTo>
                    <a:pt x="362" y="429"/>
                  </a:lnTo>
                  <a:lnTo>
                    <a:pt x="366" y="431"/>
                  </a:lnTo>
                  <a:lnTo>
                    <a:pt x="371" y="433"/>
                  </a:lnTo>
                  <a:lnTo>
                    <a:pt x="374" y="433"/>
                  </a:lnTo>
                  <a:lnTo>
                    <a:pt x="375" y="437"/>
                  </a:lnTo>
                  <a:lnTo>
                    <a:pt x="376" y="438"/>
                  </a:lnTo>
                  <a:lnTo>
                    <a:pt x="378" y="439"/>
                  </a:lnTo>
                  <a:lnTo>
                    <a:pt x="381" y="439"/>
                  </a:lnTo>
                  <a:lnTo>
                    <a:pt x="386" y="439"/>
                  </a:lnTo>
                  <a:lnTo>
                    <a:pt x="393" y="438"/>
                  </a:lnTo>
                  <a:lnTo>
                    <a:pt x="393" y="441"/>
                  </a:lnTo>
                  <a:lnTo>
                    <a:pt x="395" y="442"/>
                  </a:lnTo>
                  <a:lnTo>
                    <a:pt x="397" y="444"/>
                  </a:lnTo>
                  <a:lnTo>
                    <a:pt x="401" y="447"/>
                  </a:lnTo>
                  <a:lnTo>
                    <a:pt x="403" y="449"/>
                  </a:lnTo>
                  <a:lnTo>
                    <a:pt x="405" y="452"/>
                  </a:lnTo>
                  <a:lnTo>
                    <a:pt x="407" y="456"/>
                  </a:lnTo>
                  <a:lnTo>
                    <a:pt x="407" y="461"/>
                  </a:lnTo>
                  <a:lnTo>
                    <a:pt x="423" y="461"/>
                  </a:lnTo>
                  <a:lnTo>
                    <a:pt x="438" y="476"/>
                  </a:lnTo>
                  <a:lnTo>
                    <a:pt x="453" y="491"/>
                  </a:lnTo>
                  <a:lnTo>
                    <a:pt x="463" y="492"/>
                  </a:lnTo>
                  <a:lnTo>
                    <a:pt x="472" y="495"/>
                  </a:lnTo>
                  <a:lnTo>
                    <a:pt x="481" y="497"/>
                  </a:lnTo>
                  <a:lnTo>
                    <a:pt x="491" y="498"/>
                  </a:lnTo>
                  <a:lnTo>
                    <a:pt x="512" y="502"/>
                  </a:lnTo>
                  <a:lnTo>
                    <a:pt x="533" y="505"/>
                  </a:lnTo>
                  <a:lnTo>
                    <a:pt x="551" y="506"/>
                  </a:lnTo>
                  <a:lnTo>
                    <a:pt x="570" y="507"/>
                  </a:lnTo>
                  <a:lnTo>
                    <a:pt x="601" y="507"/>
                  </a:lnTo>
                  <a:lnTo>
                    <a:pt x="622" y="505"/>
                  </a:lnTo>
                  <a:lnTo>
                    <a:pt x="624" y="504"/>
                  </a:lnTo>
                  <a:lnTo>
                    <a:pt x="629" y="500"/>
                  </a:lnTo>
                  <a:lnTo>
                    <a:pt x="633" y="496"/>
                  </a:lnTo>
                  <a:lnTo>
                    <a:pt x="637" y="489"/>
                  </a:lnTo>
                  <a:lnTo>
                    <a:pt x="641" y="481"/>
                  </a:lnTo>
                  <a:lnTo>
                    <a:pt x="642" y="472"/>
                  </a:lnTo>
                  <a:lnTo>
                    <a:pt x="642" y="468"/>
                  </a:lnTo>
                  <a:lnTo>
                    <a:pt x="641" y="462"/>
                  </a:lnTo>
                  <a:lnTo>
                    <a:pt x="640" y="457"/>
                  </a:lnTo>
                  <a:lnTo>
                    <a:pt x="636" y="452"/>
                  </a:lnTo>
                  <a:lnTo>
                    <a:pt x="629" y="441"/>
                  </a:lnTo>
                  <a:lnTo>
                    <a:pt x="616" y="429"/>
                  </a:lnTo>
                  <a:lnTo>
                    <a:pt x="603" y="418"/>
                  </a:lnTo>
                  <a:lnTo>
                    <a:pt x="588" y="404"/>
                  </a:lnTo>
                  <a:lnTo>
                    <a:pt x="574" y="392"/>
                  </a:lnTo>
                  <a:lnTo>
                    <a:pt x="560" y="380"/>
                  </a:lnTo>
                  <a:lnTo>
                    <a:pt x="555" y="373"/>
                  </a:lnTo>
                  <a:lnTo>
                    <a:pt x="549" y="366"/>
                  </a:lnTo>
                  <a:lnTo>
                    <a:pt x="545" y="360"/>
                  </a:lnTo>
                  <a:lnTo>
                    <a:pt x="540" y="353"/>
                  </a:lnTo>
                  <a:lnTo>
                    <a:pt x="533" y="333"/>
                  </a:lnTo>
                  <a:lnTo>
                    <a:pt x="526" y="313"/>
                  </a:lnTo>
                  <a:lnTo>
                    <a:pt x="521" y="295"/>
                  </a:lnTo>
                  <a:lnTo>
                    <a:pt x="518" y="278"/>
                  </a:lnTo>
                  <a:lnTo>
                    <a:pt x="515" y="251"/>
                  </a:lnTo>
                  <a:lnTo>
                    <a:pt x="514" y="233"/>
                  </a:lnTo>
                  <a:lnTo>
                    <a:pt x="510" y="232"/>
                  </a:lnTo>
                  <a:lnTo>
                    <a:pt x="506" y="229"/>
                  </a:lnTo>
                  <a:lnTo>
                    <a:pt x="500" y="225"/>
                  </a:lnTo>
                  <a:lnTo>
                    <a:pt x="496" y="219"/>
                  </a:lnTo>
                  <a:lnTo>
                    <a:pt x="491" y="212"/>
                  </a:lnTo>
                  <a:lnTo>
                    <a:pt x="487" y="207"/>
                  </a:lnTo>
                  <a:lnTo>
                    <a:pt x="485" y="202"/>
                  </a:lnTo>
                  <a:lnTo>
                    <a:pt x="483" y="199"/>
                  </a:lnTo>
                  <a:lnTo>
                    <a:pt x="476" y="191"/>
                  </a:lnTo>
                  <a:lnTo>
                    <a:pt x="468" y="183"/>
                  </a:lnTo>
                  <a:lnTo>
                    <a:pt x="466" y="183"/>
                  </a:lnTo>
                  <a:lnTo>
                    <a:pt x="462" y="182"/>
                  </a:lnTo>
                  <a:lnTo>
                    <a:pt x="460" y="181"/>
                  </a:lnTo>
                  <a:lnTo>
                    <a:pt x="458" y="179"/>
                  </a:lnTo>
                  <a:lnTo>
                    <a:pt x="455" y="177"/>
                  </a:lnTo>
                  <a:lnTo>
                    <a:pt x="454" y="174"/>
                  </a:lnTo>
                  <a:lnTo>
                    <a:pt x="453" y="171"/>
                  </a:lnTo>
                  <a:lnTo>
                    <a:pt x="453" y="169"/>
                  </a:lnTo>
                  <a:lnTo>
                    <a:pt x="438" y="164"/>
                  </a:lnTo>
                  <a:lnTo>
                    <a:pt x="423" y="161"/>
                  </a:lnTo>
                  <a:lnTo>
                    <a:pt x="423" y="156"/>
                  </a:lnTo>
                  <a:lnTo>
                    <a:pt x="422" y="154"/>
                  </a:lnTo>
                  <a:lnTo>
                    <a:pt x="421" y="153"/>
                  </a:lnTo>
                  <a:lnTo>
                    <a:pt x="419" y="153"/>
                  </a:lnTo>
                  <a:lnTo>
                    <a:pt x="418" y="153"/>
                  </a:lnTo>
                  <a:lnTo>
                    <a:pt x="416" y="152"/>
                  </a:lnTo>
                  <a:lnTo>
                    <a:pt x="415" y="150"/>
                  </a:lnTo>
                  <a:lnTo>
                    <a:pt x="415" y="145"/>
                  </a:lnTo>
                  <a:lnTo>
                    <a:pt x="404" y="142"/>
                  </a:lnTo>
                  <a:lnTo>
                    <a:pt x="393" y="139"/>
                  </a:lnTo>
                  <a:lnTo>
                    <a:pt x="392" y="134"/>
                  </a:lnTo>
                  <a:lnTo>
                    <a:pt x="392" y="132"/>
                  </a:lnTo>
                  <a:lnTo>
                    <a:pt x="391" y="131"/>
                  </a:lnTo>
                  <a:lnTo>
                    <a:pt x="389" y="131"/>
                  </a:lnTo>
                  <a:lnTo>
                    <a:pt x="387" y="131"/>
                  </a:lnTo>
                  <a:lnTo>
                    <a:pt x="386" y="130"/>
                  </a:lnTo>
                  <a:lnTo>
                    <a:pt x="385" y="127"/>
                  </a:lnTo>
                  <a:lnTo>
                    <a:pt x="385" y="123"/>
                  </a:lnTo>
                  <a:lnTo>
                    <a:pt x="370" y="123"/>
                  </a:lnTo>
                  <a:lnTo>
                    <a:pt x="363" y="115"/>
                  </a:lnTo>
                  <a:lnTo>
                    <a:pt x="355" y="107"/>
                  </a:lnTo>
                  <a:lnTo>
                    <a:pt x="355" y="104"/>
                  </a:lnTo>
                  <a:lnTo>
                    <a:pt x="354" y="102"/>
                  </a:lnTo>
                  <a:lnTo>
                    <a:pt x="353" y="101"/>
                  </a:lnTo>
                  <a:lnTo>
                    <a:pt x="352" y="101"/>
                  </a:lnTo>
                  <a:lnTo>
                    <a:pt x="349" y="101"/>
                  </a:lnTo>
                  <a:lnTo>
                    <a:pt x="348" y="100"/>
                  </a:lnTo>
                  <a:lnTo>
                    <a:pt x="347" y="97"/>
                  </a:lnTo>
                  <a:lnTo>
                    <a:pt x="347" y="93"/>
                  </a:lnTo>
                  <a:lnTo>
                    <a:pt x="333" y="93"/>
                  </a:lnTo>
                  <a:lnTo>
                    <a:pt x="330" y="87"/>
                  </a:lnTo>
                  <a:lnTo>
                    <a:pt x="327" y="82"/>
                  </a:lnTo>
                  <a:lnTo>
                    <a:pt x="323" y="76"/>
                  </a:lnTo>
                  <a:lnTo>
                    <a:pt x="316" y="72"/>
                  </a:lnTo>
                  <a:lnTo>
                    <a:pt x="309" y="68"/>
                  </a:lnTo>
                  <a:lnTo>
                    <a:pt x="304" y="65"/>
                  </a:lnTo>
                  <a:lnTo>
                    <a:pt x="298" y="63"/>
                  </a:lnTo>
                  <a:lnTo>
                    <a:pt x="295" y="63"/>
                  </a:lnTo>
                  <a:lnTo>
                    <a:pt x="294" y="58"/>
                  </a:lnTo>
                  <a:lnTo>
                    <a:pt x="294" y="56"/>
                  </a:lnTo>
                  <a:lnTo>
                    <a:pt x="293" y="55"/>
                  </a:lnTo>
                  <a:lnTo>
                    <a:pt x="290" y="55"/>
                  </a:lnTo>
                  <a:lnTo>
                    <a:pt x="289" y="55"/>
                  </a:lnTo>
                  <a:lnTo>
                    <a:pt x="288" y="54"/>
                  </a:lnTo>
                  <a:lnTo>
                    <a:pt x="287" y="52"/>
                  </a:lnTo>
                  <a:lnTo>
                    <a:pt x="287" y="47"/>
                  </a:lnTo>
                  <a:lnTo>
                    <a:pt x="280" y="46"/>
                  </a:lnTo>
                  <a:lnTo>
                    <a:pt x="272" y="43"/>
                  </a:lnTo>
                  <a:lnTo>
                    <a:pt x="269" y="40"/>
                  </a:lnTo>
                  <a:lnTo>
                    <a:pt x="267" y="38"/>
                  </a:lnTo>
                  <a:lnTo>
                    <a:pt x="265" y="35"/>
                  </a:lnTo>
                  <a:lnTo>
                    <a:pt x="265" y="33"/>
                  </a:lnTo>
                  <a:lnTo>
                    <a:pt x="249" y="33"/>
                  </a:lnTo>
                  <a:lnTo>
                    <a:pt x="248" y="31"/>
                  </a:lnTo>
                  <a:lnTo>
                    <a:pt x="245" y="31"/>
                  </a:lnTo>
                  <a:lnTo>
                    <a:pt x="239" y="31"/>
                  </a:lnTo>
                  <a:lnTo>
                    <a:pt x="232" y="34"/>
                  </a:lnTo>
                  <a:lnTo>
                    <a:pt x="215" y="37"/>
                  </a:lnTo>
                  <a:lnTo>
                    <a:pt x="197" y="40"/>
                  </a:lnTo>
                  <a:lnTo>
                    <a:pt x="176" y="44"/>
                  </a:lnTo>
                  <a:lnTo>
                    <a:pt x="160" y="46"/>
                  </a:lnTo>
                  <a:lnTo>
                    <a:pt x="153" y="45"/>
                  </a:lnTo>
                  <a:lnTo>
                    <a:pt x="147" y="44"/>
                  </a:lnTo>
                  <a:lnTo>
                    <a:pt x="146" y="43"/>
                  </a:lnTo>
                  <a:lnTo>
                    <a:pt x="144" y="42"/>
                  </a:lnTo>
                  <a:lnTo>
                    <a:pt x="144" y="39"/>
                  </a:lnTo>
                  <a:lnTo>
                    <a:pt x="143" y="38"/>
                  </a:lnTo>
                  <a:lnTo>
                    <a:pt x="128" y="38"/>
                  </a:lnTo>
                  <a:lnTo>
                    <a:pt x="128" y="23"/>
                  </a:lnTo>
                  <a:lnTo>
                    <a:pt x="125" y="23"/>
                  </a:lnTo>
                  <a:lnTo>
                    <a:pt x="123" y="20"/>
                  </a:lnTo>
                  <a:lnTo>
                    <a:pt x="121" y="18"/>
                  </a:lnTo>
                  <a:lnTo>
                    <a:pt x="118" y="15"/>
                  </a:lnTo>
                  <a:lnTo>
                    <a:pt x="114" y="10"/>
                  </a:lnTo>
                  <a:lnTo>
                    <a:pt x="113" y="8"/>
                  </a:lnTo>
                  <a:lnTo>
                    <a:pt x="98" y="8"/>
                  </a:lnTo>
                  <a:lnTo>
                    <a:pt x="97" y="5"/>
                  </a:lnTo>
                  <a:lnTo>
                    <a:pt x="97" y="4"/>
                  </a:lnTo>
                  <a:lnTo>
                    <a:pt x="95" y="1"/>
                  </a:lnTo>
                  <a:lnTo>
                    <a:pt x="94" y="1"/>
                  </a:lnTo>
                  <a:lnTo>
                    <a:pt x="88" y="0"/>
                  </a:lnTo>
                  <a:lnTo>
                    <a:pt x="83" y="0"/>
                  </a:lnTo>
                  <a:lnTo>
                    <a:pt x="60" y="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48" name="Freeform 101">
              <a:extLst>
                <a:ext uri="{FF2B5EF4-FFF2-40B4-BE49-F238E27FC236}">
                  <a16:creationId xmlns:a16="http://schemas.microsoft.com/office/drawing/2014/main" id="{AE987038-6903-4CD1-997C-21747A390AA0}"/>
                </a:ext>
              </a:extLst>
            </p:cNvPr>
            <p:cNvSpPr>
              <a:spLocks noChangeAspect="1"/>
            </p:cNvSpPr>
            <p:nvPr/>
          </p:nvSpPr>
          <p:spPr bwMode="gray">
            <a:xfrm rot="355651">
              <a:off x="8470900" y="3392488"/>
              <a:ext cx="154603" cy="101600"/>
            </a:xfrm>
            <a:custGeom>
              <a:avLst/>
              <a:gdLst/>
              <a:ahLst/>
              <a:cxnLst>
                <a:cxn ang="0">
                  <a:pos x="445" y="130"/>
                </a:cxn>
                <a:cxn ang="0">
                  <a:pos x="422" y="82"/>
                </a:cxn>
                <a:cxn ang="0">
                  <a:pos x="403" y="61"/>
                </a:cxn>
                <a:cxn ang="0">
                  <a:pos x="380" y="48"/>
                </a:cxn>
                <a:cxn ang="0">
                  <a:pos x="268" y="36"/>
                </a:cxn>
                <a:cxn ang="0">
                  <a:pos x="167" y="35"/>
                </a:cxn>
                <a:cxn ang="0">
                  <a:pos x="81" y="44"/>
                </a:cxn>
                <a:cxn ang="0">
                  <a:pos x="29" y="63"/>
                </a:cxn>
                <a:cxn ang="0">
                  <a:pos x="25" y="121"/>
                </a:cxn>
                <a:cxn ang="0">
                  <a:pos x="10" y="190"/>
                </a:cxn>
                <a:cxn ang="0">
                  <a:pos x="8" y="309"/>
                </a:cxn>
                <a:cxn ang="0">
                  <a:pos x="20" y="384"/>
                </a:cxn>
                <a:cxn ang="0">
                  <a:pos x="29" y="404"/>
                </a:cxn>
                <a:cxn ang="0">
                  <a:pos x="42" y="427"/>
                </a:cxn>
                <a:cxn ang="0">
                  <a:pos x="72" y="443"/>
                </a:cxn>
                <a:cxn ang="0">
                  <a:pos x="108" y="459"/>
                </a:cxn>
                <a:cxn ang="0">
                  <a:pos x="163" y="498"/>
                </a:cxn>
                <a:cxn ang="0">
                  <a:pos x="197" y="524"/>
                </a:cxn>
                <a:cxn ang="0">
                  <a:pos x="229" y="544"/>
                </a:cxn>
                <a:cxn ang="0">
                  <a:pos x="283" y="546"/>
                </a:cxn>
                <a:cxn ang="0">
                  <a:pos x="314" y="507"/>
                </a:cxn>
                <a:cxn ang="0">
                  <a:pos x="318" y="427"/>
                </a:cxn>
                <a:cxn ang="0">
                  <a:pos x="348" y="393"/>
                </a:cxn>
                <a:cxn ang="0">
                  <a:pos x="364" y="390"/>
                </a:cxn>
                <a:cxn ang="0">
                  <a:pos x="448" y="431"/>
                </a:cxn>
                <a:cxn ang="0">
                  <a:pos x="459" y="451"/>
                </a:cxn>
                <a:cxn ang="0">
                  <a:pos x="474" y="486"/>
                </a:cxn>
                <a:cxn ang="0">
                  <a:pos x="512" y="528"/>
                </a:cxn>
                <a:cxn ang="0">
                  <a:pos x="543" y="564"/>
                </a:cxn>
                <a:cxn ang="0">
                  <a:pos x="562" y="585"/>
                </a:cxn>
                <a:cxn ang="0">
                  <a:pos x="573" y="600"/>
                </a:cxn>
                <a:cxn ang="0">
                  <a:pos x="600" y="621"/>
                </a:cxn>
                <a:cxn ang="0">
                  <a:pos x="620" y="632"/>
                </a:cxn>
                <a:cxn ang="0">
                  <a:pos x="651" y="532"/>
                </a:cxn>
                <a:cxn ang="0">
                  <a:pos x="666" y="440"/>
                </a:cxn>
                <a:cxn ang="0">
                  <a:pos x="685" y="388"/>
                </a:cxn>
                <a:cxn ang="0">
                  <a:pos x="704" y="331"/>
                </a:cxn>
                <a:cxn ang="0">
                  <a:pos x="726" y="282"/>
                </a:cxn>
                <a:cxn ang="0">
                  <a:pos x="775" y="211"/>
                </a:cxn>
                <a:cxn ang="0">
                  <a:pos x="792" y="192"/>
                </a:cxn>
                <a:cxn ang="0">
                  <a:pos x="832" y="151"/>
                </a:cxn>
                <a:cxn ang="0">
                  <a:pos x="857" y="126"/>
                </a:cxn>
                <a:cxn ang="0">
                  <a:pos x="851" y="96"/>
                </a:cxn>
                <a:cxn ang="0">
                  <a:pos x="791" y="77"/>
                </a:cxn>
                <a:cxn ang="0">
                  <a:pos x="713" y="46"/>
                </a:cxn>
                <a:cxn ang="0">
                  <a:pos x="700" y="17"/>
                </a:cxn>
                <a:cxn ang="0">
                  <a:pos x="658" y="0"/>
                </a:cxn>
                <a:cxn ang="0">
                  <a:pos x="614" y="15"/>
                </a:cxn>
                <a:cxn ang="0">
                  <a:pos x="586" y="25"/>
                </a:cxn>
                <a:cxn ang="0">
                  <a:pos x="544" y="54"/>
                </a:cxn>
                <a:cxn ang="0">
                  <a:pos x="516" y="84"/>
                </a:cxn>
                <a:cxn ang="0">
                  <a:pos x="512" y="112"/>
                </a:cxn>
                <a:cxn ang="0">
                  <a:pos x="506" y="124"/>
                </a:cxn>
              </a:cxnLst>
              <a:rect l="0" t="0" r="r" b="b"/>
              <a:pathLst>
                <a:path w="859" h="632">
                  <a:moveTo>
                    <a:pt x="495" y="134"/>
                  </a:moveTo>
                  <a:lnTo>
                    <a:pt x="485" y="134"/>
                  </a:lnTo>
                  <a:lnTo>
                    <a:pt x="476" y="136"/>
                  </a:lnTo>
                  <a:lnTo>
                    <a:pt x="466" y="138"/>
                  </a:lnTo>
                  <a:lnTo>
                    <a:pt x="457" y="138"/>
                  </a:lnTo>
                  <a:lnTo>
                    <a:pt x="445" y="130"/>
                  </a:lnTo>
                  <a:lnTo>
                    <a:pt x="440" y="121"/>
                  </a:lnTo>
                  <a:lnTo>
                    <a:pt x="436" y="109"/>
                  </a:lnTo>
                  <a:lnTo>
                    <a:pt x="431" y="96"/>
                  </a:lnTo>
                  <a:lnTo>
                    <a:pt x="428" y="87"/>
                  </a:lnTo>
                  <a:lnTo>
                    <a:pt x="425" y="85"/>
                  </a:lnTo>
                  <a:lnTo>
                    <a:pt x="422" y="82"/>
                  </a:lnTo>
                  <a:lnTo>
                    <a:pt x="420" y="78"/>
                  </a:lnTo>
                  <a:lnTo>
                    <a:pt x="419" y="75"/>
                  </a:lnTo>
                  <a:lnTo>
                    <a:pt x="414" y="71"/>
                  </a:lnTo>
                  <a:lnTo>
                    <a:pt x="411" y="70"/>
                  </a:lnTo>
                  <a:lnTo>
                    <a:pt x="407" y="65"/>
                  </a:lnTo>
                  <a:lnTo>
                    <a:pt x="403" y="61"/>
                  </a:lnTo>
                  <a:lnTo>
                    <a:pt x="402" y="58"/>
                  </a:lnTo>
                  <a:lnTo>
                    <a:pt x="399" y="57"/>
                  </a:lnTo>
                  <a:lnTo>
                    <a:pt x="397" y="56"/>
                  </a:lnTo>
                  <a:lnTo>
                    <a:pt x="393" y="53"/>
                  </a:lnTo>
                  <a:lnTo>
                    <a:pt x="390" y="51"/>
                  </a:lnTo>
                  <a:lnTo>
                    <a:pt x="380" y="48"/>
                  </a:lnTo>
                  <a:lnTo>
                    <a:pt x="368" y="44"/>
                  </a:lnTo>
                  <a:lnTo>
                    <a:pt x="355" y="38"/>
                  </a:lnTo>
                  <a:lnTo>
                    <a:pt x="348" y="34"/>
                  </a:lnTo>
                  <a:lnTo>
                    <a:pt x="277" y="34"/>
                  </a:lnTo>
                  <a:lnTo>
                    <a:pt x="274" y="35"/>
                  </a:lnTo>
                  <a:lnTo>
                    <a:pt x="268" y="36"/>
                  </a:lnTo>
                  <a:lnTo>
                    <a:pt x="259" y="36"/>
                  </a:lnTo>
                  <a:lnTo>
                    <a:pt x="248" y="37"/>
                  </a:lnTo>
                  <a:lnTo>
                    <a:pt x="227" y="37"/>
                  </a:lnTo>
                  <a:lnTo>
                    <a:pt x="214" y="37"/>
                  </a:lnTo>
                  <a:lnTo>
                    <a:pt x="191" y="36"/>
                  </a:lnTo>
                  <a:lnTo>
                    <a:pt x="167" y="35"/>
                  </a:lnTo>
                  <a:lnTo>
                    <a:pt x="153" y="34"/>
                  </a:lnTo>
                  <a:lnTo>
                    <a:pt x="141" y="34"/>
                  </a:lnTo>
                  <a:lnTo>
                    <a:pt x="131" y="35"/>
                  </a:lnTo>
                  <a:lnTo>
                    <a:pt x="122" y="37"/>
                  </a:lnTo>
                  <a:lnTo>
                    <a:pt x="102" y="39"/>
                  </a:lnTo>
                  <a:lnTo>
                    <a:pt x="81" y="44"/>
                  </a:lnTo>
                  <a:lnTo>
                    <a:pt x="60" y="48"/>
                  </a:lnTo>
                  <a:lnTo>
                    <a:pt x="42" y="51"/>
                  </a:lnTo>
                  <a:lnTo>
                    <a:pt x="41" y="53"/>
                  </a:lnTo>
                  <a:lnTo>
                    <a:pt x="37" y="56"/>
                  </a:lnTo>
                  <a:lnTo>
                    <a:pt x="33" y="59"/>
                  </a:lnTo>
                  <a:lnTo>
                    <a:pt x="29" y="63"/>
                  </a:lnTo>
                  <a:lnTo>
                    <a:pt x="29" y="71"/>
                  </a:lnTo>
                  <a:lnTo>
                    <a:pt x="28" y="74"/>
                  </a:lnTo>
                  <a:lnTo>
                    <a:pt x="27" y="80"/>
                  </a:lnTo>
                  <a:lnTo>
                    <a:pt x="26" y="88"/>
                  </a:lnTo>
                  <a:lnTo>
                    <a:pt x="26" y="100"/>
                  </a:lnTo>
                  <a:lnTo>
                    <a:pt x="25" y="121"/>
                  </a:lnTo>
                  <a:lnTo>
                    <a:pt x="25" y="134"/>
                  </a:lnTo>
                  <a:lnTo>
                    <a:pt x="24" y="136"/>
                  </a:lnTo>
                  <a:lnTo>
                    <a:pt x="20" y="144"/>
                  </a:lnTo>
                  <a:lnTo>
                    <a:pt x="18" y="154"/>
                  </a:lnTo>
                  <a:lnTo>
                    <a:pt x="15" y="167"/>
                  </a:lnTo>
                  <a:lnTo>
                    <a:pt x="10" y="190"/>
                  </a:lnTo>
                  <a:lnTo>
                    <a:pt x="8" y="206"/>
                  </a:lnTo>
                  <a:lnTo>
                    <a:pt x="7" y="226"/>
                  </a:lnTo>
                  <a:lnTo>
                    <a:pt x="5" y="248"/>
                  </a:lnTo>
                  <a:lnTo>
                    <a:pt x="1" y="270"/>
                  </a:lnTo>
                  <a:lnTo>
                    <a:pt x="0" y="293"/>
                  </a:lnTo>
                  <a:lnTo>
                    <a:pt x="8" y="309"/>
                  </a:lnTo>
                  <a:lnTo>
                    <a:pt x="9" y="326"/>
                  </a:lnTo>
                  <a:lnTo>
                    <a:pt x="13" y="344"/>
                  </a:lnTo>
                  <a:lnTo>
                    <a:pt x="16" y="362"/>
                  </a:lnTo>
                  <a:lnTo>
                    <a:pt x="17" y="381"/>
                  </a:lnTo>
                  <a:lnTo>
                    <a:pt x="19" y="382"/>
                  </a:lnTo>
                  <a:lnTo>
                    <a:pt x="20" y="384"/>
                  </a:lnTo>
                  <a:lnTo>
                    <a:pt x="20" y="386"/>
                  </a:lnTo>
                  <a:lnTo>
                    <a:pt x="22" y="390"/>
                  </a:lnTo>
                  <a:lnTo>
                    <a:pt x="23" y="395"/>
                  </a:lnTo>
                  <a:lnTo>
                    <a:pt x="25" y="402"/>
                  </a:lnTo>
                  <a:lnTo>
                    <a:pt x="27" y="403"/>
                  </a:lnTo>
                  <a:lnTo>
                    <a:pt x="29" y="404"/>
                  </a:lnTo>
                  <a:lnTo>
                    <a:pt x="29" y="408"/>
                  </a:lnTo>
                  <a:lnTo>
                    <a:pt x="29" y="410"/>
                  </a:lnTo>
                  <a:lnTo>
                    <a:pt x="34" y="414"/>
                  </a:lnTo>
                  <a:lnTo>
                    <a:pt x="38" y="417"/>
                  </a:lnTo>
                  <a:lnTo>
                    <a:pt x="42" y="419"/>
                  </a:lnTo>
                  <a:lnTo>
                    <a:pt x="42" y="427"/>
                  </a:lnTo>
                  <a:lnTo>
                    <a:pt x="48" y="429"/>
                  </a:lnTo>
                  <a:lnTo>
                    <a:pt x="55" y="431"/>
                  </a:lnTo>
                  <a:lnTo>
                    <a:pt x="57" y="436"/>
                  </a:lnTo>
                  <a:lnTo>
                    <a:pt x="63" y="439"/>
                  </a:lnTo>
                  <a:lnTo>
                    <a:pt x="68" y="442"/>
                  </a:lnTo>
                  <a:lnTo>
                    <a:pt x="72" y="443"/>
                  </a:lnTo>
                  <a:lnTo>
                    <a:pt x="84" y="443"/>
                  </a:lnTo>
                  <a:lnTo>
                    <a:pt x="87" y="447"/>
                  </a:lnTo>
                  <a:lnTo>
                    <a:pt x="91" y="450"/>
                  </a:lnTo>
                  <a:lnTo>
                    <a:pt x="95" y="451"/>
                  </a:lnTo>
                  <a:lnTo>
                    <a:pt x="101" y="452"/>
                  </a:lnTo>
                  <a:lnTo>
                    <a:pt x="108" y="459"/>
                  </a:lnTo>
                  <a:lnTo>
                    <a:pt x="118" y="465"/>
                  </a:lnTo>
                  <a:lnTo>
                    <a:pt x="122" y="470"/>
                  </a:lnTo>
                  <a:lnTo>
                    <a:pt x="132" y="478"/>
                  </a:lnTo>
                  <a:lnTo>
                    <a:pt x="144" y="487"/>
                  </a:lnTo>
                  <a:lnTo>
                    <a:pt x="151" y="495"/>
                  </a:lnTo>
                  <a:lnTo>
                    <a:pt x="163" y="498"/>
                  </a:lnTo>
                  <a:lnTo>
                    <a:pt x="166" y="503"/>
                  </a:lnTo>
                  <a:lnTo>
                    <a:pt x="171" y="507"/>
                  </a:lnTo>
                  <a:lnTo>
                    <a:pt x="178" y="511"/>
                  </a:lnTo>
                  <a:lnTo>
                    <a:pt x="185" y="515"/>
                  </a:lnTo>
                  <a:lnTo>
                    <a:pt x="189" y="524"/>
                  </a:lnTo>
                  <a:lnTo>
                    <a:pt x="197" y="524"/>
                  </a:lnTo>
                  <a:lnTo>
                    <a:pt x="201" y="528"/>
                  </a:lnTo>
                  <a:lnTo>
                    <a:pt x="208" y="534"/>
                  </a:lnTo>
                  <a:lnTo>
                    <a:pt x="214" y="538"/>
                  </a:lnTo>
                  <a:lnTo>
                    <a:pt x="218" y="540"/>
                  </a:lnTo>
                  <a:lnTo>
                    <a:pt x="226" y="540"/>
                  </a:lnTo>
                  <a:lnTo>
                    <a:pt x="229" y="544"/>
                  </a:lnTo>
                  <a:lnTo>
                    <a:pt x="235" y="548"/>
                  </a:lnTo>
                  <a:lnTo>
                    <a:pt x="240" y="552"/>
                  </a:lnTo>
                  <a:lnTo>
                    <a:pt x="244" y="553"/>
                  </a:lnTo>
                  <a:lnTo>
                    <a:pt x="256" y="552"/>
                  </a:lnTo>
                  <a:lnTo>
                    <a:pt x="269" y="548"/>
                  </a:lnTo>
                  <a:lnTo>
                    <a:pt x="283" y="546"/>
                  </a:lnTo>
                  <a:lnTo>
                    <a:pt x="294" y="545"/>
                  </a:lnTo>
                  <a:lnTo>
                    <a:pt x="302" y="536"/>
                  </a:lnTo>
                  <a:lnTo>
                    <a:pt x="311" y="536"/>
                  </a:lnTo>
                  <a:lnTo>
                    <a:pt x="314" y="532"/>
                  </a:lnTo>
                  <a:lnTo>
                    <a:pt x="314" y="519"/>
                  </a:lnTo>
                  <a:lnTo>
                    <a:pt x="314" y="507"/>
                  </a:lnTo>
                  <a:lnTo>
                    <a:pt x="316" y="504"/>
                  </a:lnTo>
                  <a:lnTo>
                    <a:pt x="316" y="496"/>
                  </a:lnTo>
                  <a:lnTo>
                    <a:pt x="317" y="484"/>
                  </a:lnTo>
                  <a:lnTo>
                    <a:pt x="318" y="470"/>
                  </a:lnTo>
                  <a:lnTo>
                    <a:pt x="318" y="443"/>
                  </a:lnTo>
                  <a:lnTo>
                    <a:pt x="318" y="427"/>
                  </a:lnTo>
                  <a:lnTo>
                    <a:pt x="327" y="423"/>
                  </a:lnTo>
                  <a:lnTo>
                    <a:pt x="331" y="414"/>
                  </a:lnTo>
                  <a:lnTo>
                    <a:pt x="335" y="407"/>
                  </a:lnTo>
                  <a:lnTo>
                    <a:pt x="344" y="402"/>
                  </a:lnTo>
                  <a:lnTo>
                    <a:pt x="345" y="398"/>
                  </a:lnTo>
                  <a:lnTo>
                    <a:pt x="348" y="393"/>
                  </a:lnTo>
                  <a:lnTo>
                    <a:pt x="352" y="393"/>
                  </a:lnTo>
                  <a:lnTo>
                    <a:pt x="358" y="393"/>
                  </a:lnTo>
                  <a:lnTo>
                    <a:pt x="361" y="393"/>
                  </a:lnTo>
                  <a:lnTo>
                    <a:pt x="363" y="392"/>
                  </a:lnTo>
                  <a:lnTo>
                    <a:pt x="364" y="391"/>
                  </a:lnTo>
                  <a:lnTo>
                    <a:pt x="364" y="390"/>
                  </a:lnTo>
                  <a:lnTo>
                    <a:pt x="398" y="390"/>
                  </a:lnTo>
                  <a:lnTo>
                    <a:pt x="404" y="394"/>
                  </a:lnTo>
                  <a:lnTo>
                    <a:pt x="420" y="407"/>
                  </a:lnTo>
                  <a:lnTo>
                    <a:pt x="436" y="418"/>
                  </a:lnTo>
                  <a:lnTo>
                    <a:pt x="445" y="423"/>
                  </a:lnTo>
                  <a:lnTo>
                    <a:pt x="448" y="431"/>
                  </a:lnTo>
                  <a:lnTo>
                    <a:pt x="451" y="432"/>
                  </a:lnTo>
                  <a:lnTo>
                    <a:pt x="455" y="436"/>
                  </a:lnTo>
                  <a:lnTo>
                    <a:pt x="456" y="439"/>
                  </a:lnTo>
                  <a:lnTo>
                    <a:pt x="457" y="440"/>
                  </a:lnTo>
                  <a:lnTo>
                    <a:pt x="458" y="446"/>
                  </a:lnTo>
                  <a:lnTo>
                    <a:pt x="459" y="451"/>
                  </a:lnTo>
                  <a:lnTo>
                    <a:pt x="462" y="457"/>
                  </a:lnTo>
                  <a:lnTo>
                    <a:pt x="465" y="462"/>
                  </a:lnTo>
                  <a:lnTo>
                    <a:pt x="468" y="468"/>
                  </a:lnTo>
                  <a:lnTo>
                    <a:pt x="471" y="474"/>
                  </a:lnTo>
                  <a:lnTo>
                    <a:pt x="473" y="480"/>
                  </a:lnTo>
                  <a:lnTo>
                    <a:pt x="474" y="486"/>
                  </a:lnTo>
                  <a:lnTo>
                    <a:pt x="481" y="494"/>
                  </a:lnTo>
                  <a:lnTo>
                    <a:pt x="490" y="507"/>
                  </a:lnTo>
                  <a:lnTo>
                    <a:pt x="496" y="514"/>
                  </a:lnTo>
                  <a:lnTo>
                    <a:pt x="502" y="520"/>
                  </a:lnTo>
                  <a:lnTo>
                    <a:pt x="506" y="525"/>
                  </a:lnTo>
                  <a:lnTo>
                    <a:pt x="512" y="528"/>
                  </a:lnTo>
                  <a:lnTo>
                    <a:pt x="516" y="536"/>
                  </a:lnTo>
                  <a:lnTo>
                    <a:pt x="519" y="545"/>
                  </a:lnTo>
                  <a:lnTo>
                    <a:pt x="533" y="557"/>
                  </a:lnTo>
                  <a:lnTo>
                    <a:pt x="535" y="558"/>
                  </a:lnTo>
                  <a:lnTo>
                    <a:pt x="540" y="561"/>
                  </a:lnTo>
                  <a:lnTo>
                    <a:pt x="543" y="564"/>
                  </a:lnTo>
                  <a:lnTo>
                    <a:pt x="546" y="568"/>
                  </a:lnTo>
                  <a:lnTo>
                    <a:pt x="551" y="576"/>
                  </a:lnTo>
                  <a:lnTo>
                    <a:pt x="553" y="582"/>
                  </a:lnTo>
                  <a:lnTo>
                    <a:pt x="556" y="583"/>
                  </a:lnTo>
                  <a:lnTo>
                    <a:pt x="560" y="584"/>
                  </a:lnTo>
                  <a:lnTo>
                    <a:pt x="562" y="585"/>
                  </a:lnTo>
                  <a:lnTo>
                    <a:pt x="565" y="587"/>
                  </a:lnTo>
                  <a:lnTo>
                    <a:pt x="567" y="590"/>
                  </a:lnTo>
                  <a:lnTo>
                    <a:pt x="569" y="593"/>
                  </a:lnTo>
                  <a:lnTo>
                    <a:pt x="570" y="596"/>
                  </a:lnTo>
                  <a:lnTo>
                    <a:pt x="570" y="599"/>
                  </a:lnTo>
                  <a:lnTo>
                    <a:pt x="573" y="600"/>
                  </a:lnTo>
                  <a:lnTo>
                    <a:pt x="576" y="602"/>
                  </a:lnTo>
                  <a:lnTo>
                    <a:pt x="581" y="604"/>
                  </a:lnTo>
                  <a:lnTo>
                    <a:pt x="584" y="607"/>
                  </a:lnTo>
                  <a:lnTo>
                    <a:pt x="591" y="615"/>
                  </a:lnTo>
                  <a:lnTo>
                    <a:pt x="595" y="620"/>
                  </a:lnTo>
                  <a:lnTo>
                    <a:pt x="600" y="621"/>
                  </a:lnTo>
                  <a:lnTo>
                    <a:pt x="605" y="623"/>
                  </a:lnTo>
                  <a:lnTo>
                    <a:pt x="608" y="625"/>
                  </a:lnTo>
                  <a:lnTo>
                    <a:pt x="610" y="626"/>
                  </a:lnTo>
                  <a:lnTo>
                    <a:pt x="611" y="630"/>
                  </a:lnTo>
                  <a:lnTo>
                    <a:pt x="612" y="632"/>
                  </a:lnTo>
                  <a:lnTo>
                    <a:pt x="620" y="632"/>
                  </a:lnTo>
                  <a:lnTo>
                    <a:pt x="624" y="622"/>
                  </a:lnTo>
                  <a:lnTo>
                    <a:pt x="633" y="602"/>
                  </a:lnTo>
                  <a:lnTo>
                    <a:pt x="641" y="583"/>
                  </a:lnTo>
                  <a:lnTo>
                    <a:pt x="646" y="574"/>
                  </a:lnTo>
                  <a:lnTo>
                    <a:pt x="646" y="545"/>
                  </a:lnTo>
                  <a:lnTo>
                    <a:pt x="651" y="532"/>
                  </a:lnTo>
                  <a:lnTo>
                    <a:pt x="655" y="517"/>
                  </a:lnTo>
                  <a:lnTo>
                    <a:pt x="657" y="501"/>
                  </a:lnTo>
                  <a:lnTo>
                    <a:pt x="658" y="486"/>
                  </a:lnTo>
                  <a:lnTo>
                    <a:pt x="660" y="470"/>
                  </a:lnTo>
                  <a:lnTo>
                    <a:pt x="662" y="455"/>
                  </a:lnTo>
                  <a:lnTo>
                    <a:pt x="666" y="440"/>
                  </a:lnTo>
                  <a:lnTo>
                    <a:pt x="670" y="427"/>
                  </a:lnTo>
                  <a:lnTo>
                    <a:pt x="671" y="419"/>
                  </a:lnTo>
                  <a:lnTo>
                    <a:pt x="673" y="411"/>
                  </a:lnTo>
                  <a:lnTo>
                    <a:pt x="677" y="403"/>
                  </a:lnTo>
                  <a:lnTo>
                    <a:pt x="681" y="395"/>
                  </a:lnTo>
                  <a:lnTo>
                    <a:pt x="685" y="388"/>
                  </a:lnTo>
                  <a:lnTo>
                    <a:pt x="688" y="380"/>
                  </a:lnTo>
                  <a:lnTo>
                    <a:pt x="690" y="372"/>
                  </a:lnTo>
                  <a:lnTo>
                    <a:pt x="691" y="364"/>
                  </a:lnTo>
                  <a:lnTo>
                    <a:pt x="700" y="360"/>
                  </a:lnTo>
                  <a:lnTo>
                    <a:pt x="703" y="345"/>
                  </a:lnTo>
                  <a:lnTo>
                    <a:pt x="704" y="331"/>
                  </a:lnTo>
                  <a:lnTo>
                    <a:pt x="708" y="322"/>
                  </a:lnTo>
                  <a:lnTo>
                    <a:pt x="713" y="309"/>
                  </a:lnTo>
                  <a:lnTo>
                    <a:pt x="720" y="302"/>
                  </a:lnTo>
                  <a:lnTo>
                    <a:pt x="721" y="295"/>
                  </a:lnTo>
                  <a:lnTo>
                    <a:pt x="723" y="288"/>
                  </a:lnTo>
                  <a:lnTo>
                    <a:pt x="726" y="282"/>
                  </a:lnTo>
                  <a:lnTo>
                    <a:pt x="729" y="275"/>
                  </a:lnTo>
                  <a:lnTo>
                    <a:pt x="737" y="261"/>
                  </a:lnTo>
                  <a:lnTo>
                    <a:pt x="747" y="248"/>
                  </a:lnTo>
                  <a:lnTo>
                    <a:pt x="757" y="235"/>
                  </a:lnTo>
                  <a:lnTo>
                    <a:pt x="767" y="222"/>
                  </a:lnTo>
                  <a:lnTo>
                    <a:pt x="775" y="211"/>
                  </a:lnTo>
                  <a:lnTo>
                    <a:pt x="780" y="201"/>
                  </a:lnTo>
                  <a:lnTo>
                    <a:pt x="782" y="200"/>
                  </a:lnTo>
                  <a:lnTo>
                    <a:pt x="784" y="200"/>
                  </a:lnTo>
                  <a:lnTo>
                    <a:pt x="786" y="198"/>
                  </a:lnTo>
                  <a:lnTo>
                    <a:pt x="787" y="197"/>
                  </a:lnTo>
                  <a:lnTo>
                    <a:pt x="792" y="192"/>
                  </a:lnTo>
                  <a:lnTo>
                    <a:pt x="796" y="189"/>
                  </a:lnTo>
                  <a:lnTo>
                    <a:pt x="803" y="178"/>
                  </a:lnTo>
                  <a:lnTo>
                    <a:pt x="809" y="168"/>
                  </a:lnTo>
                  <a:lnTo>
                    <a:pt x="822" y="163"/>
                  </a:lnTo>
                  <a:lnTo>
                    <a:pt x="825" y="158"/>
                  </a:lnTo>
                  <a:lnTo>
                    <a:pt x="832" y="151"/>
                  </a:lnTo>
                  <a:lnTo>
                    <a:pt x="841" y="145"/>
                  </a:lnTo>
                  <a:lnTo>
                    <a:pt x="847" y="142"/>
                  </a:lnTo>
                  <a:lnTo>
                    <a:pt x="851" y="138"/>
                  </a:lnTo>
                  <a:lnTo>
                    <a:pt x="851" y="134"/>
                  </a:lnTo>
                  <a:lnTo>
                    <a:pt x="853" y="130"/>
                  </a:lnTo>
                  <a:lnTo>
                    <a:pt x="857" y="126"/>
                  </a:lnTo>
                  <a:lnTo>
                    <a:pt x="859" y="125"/>
                  </a:lnTo>
                  <a:lnTo>
                    <a:pt x="859" y="104"/>
                  </a:lnTo>
                  <a:lnTo>
                    <a:pt x="858" y="104"/>
                  </a:lnTo>
                  <a:lnTo>
                    <a:pt x="855" y="102"/>
                  </a:lnTo>
                  <a:lnTo>
                    <a:pt x="852" y="100"/>
                  </a:lnTo>
                  <a:lnTo>
                    <a:pt x="851" y="96"/>
                  </a:lnTo>
                  <a:lnTo>
                    <a:pt x="842" y="92"/>
                  </a:lnTo>
                  <a:lnTo>
                    <a:pt x="834" y="92"/>
                  </a:lnTo>
                  <a:lnTo>
                    <a:pt x="825" y="84"/>
                  </a:lnTo>
                  <a:lnTo>
                    <a:pt x="815" y="82"/>
                  </a:lnTo>
                  <a:lnTo>
                    <a:pt x="805" y="80"/>
                  </a:lnTo>
                  <a:lnTo>
                    <a:pt x="791" y="77"/>
                  </a:lnTo>
                  <a:lnTo>
                    <a:pt x="773" y="76"/>
                  </a:lnTo>
                  <a:lnTo>
                    <a:pt x="754" y="75"/>
                  </a:lnTo>
                  <a:lnTo>
                    <a:pt x="737" y="75"/>
                  </a:lnTo>
                  <a:lnTo>
                    <a:pt x="724" y="65"/>
                  </a:lnTo>
                  <a:lnTo>
                    <a:pt x="713" y="58"/>
                  </a:lnTo>
                  <a:lnTo>
                    <a:pt x="713" y="46"/>
                  </a:lnTo>
                  <a:lnTo>
                    <a:pt x="710" y="45"/>
                  </a:lnTo>
                  <a:lnTo>
                    <a:pt x="709" y="44"/>
                  </a:lnTo>
                  <a:lnTo>
                    <a:pt x="708" y="40"/>
                  </a:lnTo>
                  <a:lnTo>
                    <a:pt x="708" y="37"/>
                  </a:lnTo>
                  <a:lnTo>
                    <a:pt x="704" y="28"/>
                  </a:lnTo>
                  <a:lnTo>
                    <a:pt x="700" y="17"/>
                  </a:lnTo>
                  <a:lnTo>
                    <a:pt x="691" y="13"/>
                  </a:lnTo>
                  <a:lnTo>
                    <a:pt x="691" y="4"/>
                  </a:lnTo>
                  <a:lnTo>
                    <a:pt x="687" y="0"/>
                  </a:lnTo>
                  <a:lnTo>
                    <a:pt x="679" y="0"/>
                  </a:lnTo>
                  <a:lnTo>
                    <a:pt x="669" y="0"/>
                  </a:lnTo>
                  <a:lnTo>
                    <a:pt x="658" y="0"/>
                  </a:lnTo>
                  <a:lnTo>
                    <a:pt x="650" y="0"/>
                  </a:lnTo>
                  <a:lnTo>
                    <a:pt x="637" y="8"/>
                  </a:lnTo>
                  <a:lnTo>
                    <a:pt x="629" y="8"/>
                  </a:lnTo>
                  <a:lnTo>
                    <a:pt x="622" y="10"/>
                  </a:lnTo>
                  <a:lnTo>
                    <a:pt x="617" y="13"/>
                  </a:lnTo>
                  <a:lnTo>
                    <a:pt x="614" y="15"/>
                  </a:lnTo>
                  <a:lnTo>
                    <a:pt x="611" y="16"/>
                  </a:lnTo>
                  <a:lnTo>
                    <a:pt x="608" y="17"/>
                  </a:lnTo>
                  <a:lnTo>
                    <a:pt x="603" y="17"/>
                  </a:lnTo>
                  <a:lnTo>
                    <a:pt x="600" y="25"/>
                  </a:lnTo>
                  <a:lnTo>
                    <a:pt x="593" y="25"/>
                  </a:lnTo>
                  <a:lnTo>
                    <a:pt x="586" y="25"/>
                  </a:lnTo>
                  <a:lnTo>
                    <a:pt x="580" y="32"/>
                  </a:lnTo>
                  <a:lnTo>
                    <a:pt x="572" y="36"/>
                  </a:lnTo>
                  <a:lnTo>
                    <a:pt x="564" y="40"/>
                  </a:lnTo>
                  <a:lnTo>
                    <a:pt x="557" y="42"/>
                  </a:lnTo>
                  <a:lnTo>
                    <a:pt x="553" y="46"/>
                  </a:lnTo>
                  <a:lnTo>
                    <a:pt x="544" y="54"/>
                  </a:lnTo>
                  <a:lnTo>
                    <a:pt x="538" y="59"/>
                  </a:lnTo>
                  <a:lnTo>
                    <a:pt x="533" y="63"/>
                  </a:lnTo>
                  <a:lnTo>
                    <a:pt x="527" y="66"/>
                  </a:lnTo>
                  <a:lnTo>
                    <a:pt x="524" y="67"/>
                  </a:lnTo>
                  <a:lnTo>
                    <a:pt x="524" y="80"/>
                  </a:lnTo>
                  <a:lnTo>
                    <a:pt x="516" y="84"/>
                  </a:lnTo>
                  <a:lnTo>
                    <a:pt x="516" y="94"/>
                  </a:lnTo>
                  <a:lnTo>
                    <a:pt x="516" y="104"/>
                  </a:lnTo>
                  <a:lnTo>
                    <a:pt x="514" y="105"/>
                  </a:lnTo>
                  <a:lnTo>
                    <a:pt x="513" y="106"/>
                  </a:lnTo>
                  <a:lnTo>
                    <a:pt x="513" y="109"/>
                  </a:lnTo>
                  <a:lnTo>
                    <a:pt x="512" y="112"/>
                  </a:lnTo>
                  <a:lnTo>
                    <a:pt x="512" y="117"/>
                  </a:lnTo>
                  <a:lnTo>
                    <a:pt x="512" y="121"/>
                  </a:lnTo>
                  <a:lnTo>
                    <a:pt x="509" y="122"/>
                  </a:lnTo>
                  <a:lnTo>
                    <a:pt x="507" y="122"/>
                  </a:lnTo>
                  <a:lnTo>
                    <a:pt x="507" y="123"/>
                  </a:lnTo>
                  <a:lnTo>
                    <a:pt x="506" y="124"/>
                  </a:lnTo>
                  <a:lnTo>
                    <a:pt x="505" y="126"/>
                  </a:lnTo>
                  <a:lnTo>
                    <a:pt x="503" y="129"/>
                  </a:lnTo>
                  <a:lnTo>
                    <a:pt x="499" y="131"/>
                  </a:lnTo>
                  <a:lnTo>
                    <a:pt x="495" y="13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262626"/>
                </a:solidFill>
              </a:endParaRPr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CAE08106-A052-4386-BAD4-B9FAF0A23323}"/>
                </a:ext>
              </a:extLst>
            </p:cNvPr>
            <p:cNvSpPr/>
            <p:nvPr/>
          </p:nvSpPr>
          <p:spPr>
            <a:xfrm>
              <a:off x="8146558" y="3936999"/>
              <a:ext cx="534385" cy="522758"/>
            </a:xfrm>
            <a:prstGeom prst="ellipse">
              <a:avLst/>
            </a:prstGeom>
            <a:solidFill>
              <a:schemeClr val="accent4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800" b="1" dirty="0">
                  <a:solidFill>
                    <a:srgbClr val="FFFFFF"/>
                  </a:solidFill>
                </a:rPr>
                <a:t>47%</a:t>
              </a:r>
              <a:endParaRPr lang="el-GR" sz="800" b="1" dirty="0">
                <a:solidFill>
                  <a:srgbClr val="FFFFFF"/>
                </a:solidFill>
              </a:endParaRP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54000C52-6037-4909-AAAF-DC6BB9C34738}"/>
                </a:ext>
              </a:extLst>
            </p:cNvPr>
            <p:cNvSpPr/>
            <p:nvPr/>
          </p:nvSpPr>
          <p:spPr>
            <a:xfrm>
              <a:off x="7086601" y="3413124"/>
              <a:ext cx="561543" cy="522758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28575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800" b="1" dirty="0"/>
                <a:t>42%</a:t>
              </a:r>
              <a:endParaRPr lang="el-GR" sz="800" b="1" dirty="0"/>
            </a:p>
          </p:txBody>
        </p:sp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B927AB7D-E648-4EA8-B0CF-4E996116AB49}"/>
                </a:ext>
              </a:extLst>
            </p:cNvPr>
            <p:cNvSpPr/>
            <p:nvPr/>
          </p:nvSpPr>
          <p:spPr>
            <a:xfrm>
              <a:off x="8064500" y="3052763"/>
              <a:ext cx="587823" cy="522758"/>
            </a:xfrm>
            <a:prstGeom prst="ellipse">
              <a:avLst/>
            </a:prstGeom>
            <a:solidFill>
              <a:schemeClr val="accent3"/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en-US" sz="800" b="1" dirty="0">
                  <a:solidFill>
                    <a:srgbClr val="FFFFFF"/>
                  </a:solidFill>
                </a:rPr>
                <a:t>11%</a:t>
              </a:r>
              <a:endParaRPr lang="el-GR" sz="800" b="1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816529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85508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68" name="think-cell Slide" r:id="rId30" imgW="216" imgH="216" progId="TCLayout.ActiveDocument.1">
                  <p:embed/>
                </p:oleObj>
              </mc:Choice>
              <mc:Fallback>
                <p:oleObj name="think-cell Slide" r:id="rId30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10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26E747-FD94-4552-8F91-A7D37DB875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PMR (December 2020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77012" y="1124076"/>
            <a:ext cx="11246241" cy="276999"/>
          </a:xfrm>
        </p:spPr>
        <p:txBody>
          <a:bodyPr/>
          <a:lstStyle/>
          <a:p>
            <a:r>
              <a:rPr lang="en-US" dirty="0"/>
              <a:t>Awareness of therapies for </a:t>
            </a:r>
            <a:r>
              <a:rPr lang="en-US" dirty="0" err="1"/>
              <a:t>Behcet</a:t>
            </a:r>
            <a:r>
              <a:rPr lang="en-US" dirty="0"/>
              <a:t> disease</a:t>
            </a:r>
            <a:endParaRPr lang="el-G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7012" y="237000"/>
            <a:ext cx="11437620" cy="773799"/>
          </a:xfrm>
        </p:spPr>
        <p:txBody>
          <a:bodyPr/>
          <a:lstStyle/>
          <a:p>
            <a:r>
              <a:rPr lang="en-US" dirty="0"/>
              <a:t>AZA, Colchicine and MTX record the highest spontaneous awarenes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77013" y="6552000"/>
            <a:ext cx="7560000" cy="123111"/>
          </a:xfrm>
        </p:spPr>
        <p:txBody>
          <a:bodyPr/>
          <a:lstStyle/>
          <a:p>
            <a:r>
              <a:rPr lang="en-US" dirty="0"/>
              <a:t>IQVIA • Genesis • Market Research on </a:t>
            </a:r>
            <a:r>
              <a:rPr lang="en-US" dirty="0" err="1"/>
              <a:t>Behcet</a:t>
            </a:r>
            <a:r>
              <a:rPr lang="en-US" dirty="0"/>
              <a:t> disease • December 2020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DD4F7A9-DCAF-44DC-B5D5-3C628DB44A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5896681"/>
            <a:ext cx="11246241" cy="332399"/>
          </a:xfrm>
        </p:spPr>
        <p:txBody>
          <a:bodyPr/>
          <a:lstStyle/>
          <a:p>
            <a:r>
              <a:rPr lang="en-US" dirty="0"/>
              <a:t>Base: n=100 physicians</a:t>
            </a:r>
          </a:p>
          <a:p>
            <a:r>
              <a:rPr lang="en-US" dirty="0"/>
              <a:t>Q14a) Which therapies for </a:t>
            </a:r>
            <a:r>
              <a:rPr lang="en-US" dirty="0" err="1"/>
              <a:t>Behcet</a:t>
            </a:r>
            <a:r>
              <a:rPr lang="en-US" dirty="0"/>
              <a:t> disease are you aware of? </a:t>
            </a:r>
            <a:r>
              <a:rPr lang="en-US" b="1" dirty="0"/>
              <a:t>- </a:t>
            </a:r>
            <a:r>
              <a:rPr lang="en-US" b="1" dirty="0" err="1"/>
              <a:t>spont</a:t>
            </a:r>
            <a:endParaRPr lang="el-GR" dirty="0"/>
          </a:p>
          <a:p>
            <a:r>
              <a:rPr lang="en-US" dirty="0"/>
              <a:t>Q14b) I will read you some therapies for </a:t>
            </a:r>
            <a:r>
              <a:rPr lang="en-US" dirty="0" err="1"/>
              <a:t>Behcet</a:t>
            </a:r>
            <a:r>
              <a:rPr lang="en-US" dirty="0"/>
              <a:t> disease and I would like you to tell me which ones you are aware of </a:t>
            </a:r>
            <a:r>
              <a:rPr lang="en-US" b="1" dirty="0"/>
              <a:t>-prompted</a:t>
            </a:r>
            <a:endParaRPr lang="el-GR" dirty="0">
              <a:effectLst/>
            </a:endParaRPr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3D76B1F3-663C-497B-867E-364BE4F11C4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56935278"/>
              </p:ext>
            </p:extLst>
          </p:nvPr>
        </p:nvGraphicFramePr>
        <p:xfrm>
          <a:off x="2574925" y="1951038"/>
          <a:ext cx="4621213" cy="3517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2"/>
          </a:graphicData>
        </a:graphic>
      </p:graphicFrame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98D0FDA7-CAEF-4301-8774-1890707CFBD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938339" y="3422650"/>
            <a:ext cx="506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84B71FE-67E6-40BB-85C8-A640DBFE746E}" type="datetime'''B''''''''io''lo''''''''''''g''''''i''''''''''''cs'''''''''''">
              <a:rPr lang="en-US" altLang="en-US" sz="1000" smtClean="0">
                <a:solidFill>
                  <a:schemeClr val="tx1"/>
                </a:solidFill>
              </a:rPr>
              <a:pPr/>
              <a:t>Biologics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6C4231EC-2006-4D73-85F6-8D63B52D30A7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085013" y="3003550"/>
            <a:ext cx="287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E055180-7B14-4FE1-A1EF-01031592D830}" type="datetime'''''''''''''''''''''99''''''''''''%'''''''''''''''''''">
              <a:rPr lang="el-GR" altLang="en-US" sz="1000" b="1" smtClean="0">
                <a:solidFill>
                  <a:schemeClr val="tx1"/>
                </a:solidFill>
              </a:rPr>
              <a:pPr/>
              <a:t>99%</a:t>
            </a:fld>
            <a:endParaRPr lang="el-GR" sz="10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87" name="Text Placeholder 2">
            <a:extLst>
              <a:ext uri="{FF2B5EF4-FFF2-40B4-BE49-F238E27FC236}">
                <a16:creationId xmlns:a16="http://schemas.microsoft.com/office/drawing/2014/main" id="{00D539A1-8672-4357-B4C8-8CFF78BC226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121525" y="2584450"/>
            <a:ext cx="357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6D092CE-F701-4D93-A743-0C935D783638}" type="datetime'''1''''''''''''''''''''''''''''''''''''''0''''''''''''0''%'">
              <a:rPr lang="el-GR" altLang="en-US" sz="1000" b="1" smtClean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+mn-lt"/>
              </a:rPr>
              <a:pPr/>
              <a:t>100%</a:t>
            </a:fld>
            <a:endParaRPr lang="el-GR" sz="10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7D8D342B-34A3-4CA7-B546-126460463B7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198689" y="2165350"/>
            <a:ext cx="2460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40988DD-931F-4116-A380-1DA66E72DCE3}" type="datetime'''''''''''''''''''''''''''''A''''''''''''''Z''''A'''''">
              <a:rPr lang="en-US" altLang="en-US" sz="1000" smtClean="0">
                <a:solidFill>
                  <a:schemeClr val="tx1"/>
                </a:solidFill>
              </a:rPr>
              <a:pPr/>
              <a:t>AZA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86" name="Text Placeholder 2">
            <a:extLst>
              <a:ext uri="{FF2B5EF4-FFF2-40B4-BE49-F238E27FC236}">
                <a16:creationId xmlns:a16="http://schemas.microsoft.com/office/drawing/2014/main" id="{83A69C33-970B-456A-A514-15D878FDD1C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860550" y="2584450"/>
            <a:ext cx="5842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4E27DBA-A702-41AD-BD53-ABF6B9B39C7B}" type="datetime'C''''''o''lc''''''''h''''''ic''''''i''n''''e'''''''''''">
              <a:rPr lang="en-US" altLang="en-US" sz="1000" smtClean="0">
                <a:solidFill>
                  <a:schemeClr val="tx1"/>
                </a:solidFill>
              </a:rPr>
              <a:pPr/>
              <a:t>Colchicine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69" name="Text Placeholder 2">
            <a:extLst>
              <a:ext uri="{FF2B5EF4-FFF2-40B4-BE49-F238E27FC236}">
                <a16:creationId xmlns:a16="http://schemas.microsoft.com/office/drawing/2014/main" id="{BCA07322-23C3-4C0C-8852-88B17EEB74B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978650" y="3422650"/>
            <a:ext cx="287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BBD2892-4016-4337-A6F6-DFB576AA3715}" type="datetime'9''''''''6''''''''''''''''''''''%'''''''">
              <a:rPr lang="el-GR" altLang="en-US" sz="1000" b="1" smtClean="0">
                <a:solidFill>
                  <a:schemeClr val="tx1"/>
                </a:solidFill>
              </a:rPr>
              <a:pPr/>
              <a:t>96%</a:t>
            </a:fld>
            <a:endParaRPr lang="el-GR" sz="10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2A80110A-DEF8-44C7-8CF2-D273014C0D0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176463" y="3003550"/>
            <a:ext cx="2682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FE7B063-C928-47EC-A3C6-C8348803C4B6}" type="datetime'M''''''''TX'''''''''''''''''''''''''''''''''''''''''''''''''''">
              <a:rPr lang="en-US" altLang="en-US" sz="1000" smtClean="0">
                <a:solidFill>
                  <a:schemeClr val="tx1"/>
                </a:solidFill>
              </a:rPr>
              <a:pPr/>
              <a:t>MTX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CD0BF5F-1E5F-4E38-B6B9-899FDD7F9BE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708149" y="3841750"/>
            <a:ext cx="7366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D2123CF-5D19-46AD-AF75-9595293720A1}" type="datetime'Pr''e''''''''''''''d''n''''''i''so''''''l''o''''n''''''''''e'">
              <a:rPr lang="en-US" altLang="en-US" sz="1000" smtClean="0">
                <a:solidFill>
                  <a:schemeClr val="tx1"/>
                </a:solidFill>
              </a:rPr>
              <a:pPr/>
              <a:t>Prednisolone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79" name="Rectangle 178">
            <a:extLst>
              <a:ext uri="{FF2B5EF4-FFF2-40B4-BE49-F238E27FC236}">
                <a16:creationId xmlns:a16="http://schemas.microsoft.com/office/drawing/2014/main" id="{52FE6DC4-3615-4210-94EA-3E082286DDDE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2576513" y="4679950"/>
            <a:ext cx="217488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01E435D-A27D-4321-835D-5DB38AE8CAD3}" type="datetime'''1%'''''''''''">
              <a:rPr lang="el-GR" altLang="en-US" sz="1000" smtClean="0">
                <a:solidFill>
                  <a:schemeClr val="bg1"/>
                </a:solidFill>
                <a:cs typeface="Arial" panose="020B0604020202020204" pitchFamily="34" charset="0"/>
              </a:rPr>
              <a:pPr/>
              <a:t>1%</a:t>
            </a:fld>
            <a:endParaRPr lang="el-GR" sz="10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77" name="Text Placeholder 2">
            <a:extLst>
              <a:ext uri="{FF2B5EF4-FFF2-40B4-BE49-F238E27FC236}">
                <a16:creationId xmlns:a16="http://schemas.microsoft.com/office/drawing/2014/main" id="{6CEDAC24-AA97-480D-8044-EE9EE02D3E3A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349375" y="4679950"/>
            <a:ext cx="10953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84934A1D-4896-41CB-A237-DCEF24C9D883}" type="datetime'M''''''''et''''hyl''''pr''''''''e''''dn''i''''so''lo''''ne'''">
              <a:rPr lang="en-US" altLang="en-US" sz="1000" smtClean="0">
                <a:solidFill>
                  <a:schemeClr val="tx1"/>
                </a:solidFill>
              </a:rPr>
              <a:pPr/>
              <a:t>Methylprednisolone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82" name="Text Placeholder 2">
            <a:extLst>
              <a:ext uri="{FF2B5EF4-FFF2-40B4-BE49-F238E27FC236}">
                <a16:creationId xmlns:a16="http://schemas.microsoft.com/office/drawing/2014/main" id="{2ABF9CA6-8651-422E-A61C-A5CA5B1AB2E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138988" y="2165350"/>
            <a:ext cx="357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C3D14BF-B10F-4C62-8F2E-E80EDAF058BE}" type="datetime'''1''''''''''''0''''''''''''''''''''''''''''''0''%'">
              <a:rPr lang="el-GR" altLang="en-US" sz="1000" b="1" smtClean="0">
                <a:solidFill>
                  <a:schemeClr val="tx1"/>
                </a:solidFill>
              </a:rPr>
              <a:pPr/>
              <a:t>100%</a:t>
            </a:fld>
            <a:endParaRPr lang="el-GR" sz="10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B96593DC-2E75-4856-9828-C3D3185950B6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2549525" y="5099050"/>
            <a:ext cx="217488" cy="152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C767FFB-9B86-478D-AD6A-4F1FC76A5712}" type="datetime'''0''''''''%'''''''''''''">
              <a:rPr lang="el-GR" altLang="en-US" sz="1000" smtClean="0">
                <a:solidFill>
                  <a:schemeClr val="bg1"/>
                </a:solidFill>
                <a:cs typeface="Arial" panose="020B0604020202020204" pitchFamily="34" charset="0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0%</a:t>
            </a:fld>
            <a:endParaRPr lang="el-GR" sz="1000" dirty="0" err="1">
              <a:solidFill>
                <a:schemeClr val="bg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F05AB2F-48FB-4F90-B359-998D2F55CA3A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127250" y="5099050"/>
            <a:ext cx="3175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AA3E55CA-090F-4FA4-B3E9-9AFA76F672E6}" type="datetime'''''''''''C''''''''''''''''''y''c''''''''''''''''''lo'''">
              <a:rPr lang="en-US" altLang="en-US" sz="1000" smtClean="0">
                <a:solidFill>
                  <a:schemeClr val="tx1"/>
                </a:solidFill>
              </a:rPr>
              <a:pPr/>
              <a:t>Cyclo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463B52CE-AF33-4630-92B6-B270C2B7E0EE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138988" y="3841750"/>
            <a:ext cx="357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3B5A17E-9EC0-42FE-B005-FB2E154082D3}" type="datetime'''''''1''''''''''''''''''''''''''''''0''0''''%'">
              <a:rPr lang="el-GR" altLang="en-US" sz="1000" b="1" smtClean="0">
                <a:solidFill>
                  <a:schemeClr val="tx1"/>
                </a:solidFill>
              </a:rPr>
              <a:pPr/>
              <a:t>100%</a:t>
            </a:fld>
            <a:endParaRPr lang="el-GR" sz="10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9EDF1585-788B-40C8-B4D2-C2A8EDF1D9B4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978650" y="4679950"/>
            <a:ext cx="287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6AEF77C-A4F7-4FAB-AF2A-FBA6A1ADD2A3}" type="datetime'''''9''''''''6''''''''''''''''''''''''''''''%'''">
              <a:rPr lang="el-GR" altLang="en-US" sz="1000" b="1" smtClean="0">
                <a:solidFill>
                  <a:schemeClr val="tx1"/>
                </a:solidFill>
              </a:rPr>
              <a:pPr/>
              <a:t>96%</a:t>
            </a:fld>
            <a:endParaRPr lang="el-GR" sz="10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B18E6EE-6C16-457A-AF7C-ECD13DE1E351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978650" y="5099050"/>
            <a:ext cx="287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2BFC68A1-CDE4-4EA7-AB0A-13426FB5DE1A}" type="datetime'9''''''''''''''''''''''''''6%'''''''''''">
              <a:rPr lang="el-GR" altLang="en-US" sz="1000" b="1" smtClean="0">
                <a:solidFill>
                  <a:schemeClr val="tx1"/>
                </a:solidFill>
              </a:rPr>
              <a:pPr/>
              <a:t>96%</a:t>
            </a:fld>
            <a:endParaRPr lang="el-GR" sz="10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4A310977-248F-417A-BA87-6C4F3F20993D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782762" y="4260850"/>
            <a:ext cx="6619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4D1C8E0-9C78-4D7F-937B-2D7F1661B6CA}" type="datetime'''''''''''''''''C''''''''''yc''''''''lo''s''''''''''''porin'''">
              <a:rPr lang="en-US" altLang="en-US" sz="1000" smtClean="0">
                <a:solidFill>
                  <a:schemeClr val="tx1"/>
                </a:solidFill>
              </a:rPr>
              <a:pPr/>
              <a:t>Cyclosporin</a:t>
            </a:fld>
            <a:endParaRPr lang="el-GR" sz="10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52C2938-F912-412F-A2CE-017E076DF2FC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134225" y="4260850"/>
            <a:ext cx="3571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3977418-7CDC-4A29-AC9B-A918952CE83C}" type="datetime'''''''''''''''''''''1''0''''''''''''''''''''''''''0''%'">
              <a:rPr lang="el-GR" altLang="en-US" sz="1000" b="1" smtClean="0">
                <a:solidFill>
                  <a:schemeClr val="tx1"/>
                </a:solidFill>
              </a:rPr>
              <a:pPr/>
              <a:t>100%</a:t>
            </a:fld>
            <a:endParaRPr lang="el-GR" sz="10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9E153722-9DD2-4682-B310-CF74500CB513}"/>
              </a:ext>
            </a:extLst>
          </p:cNvPr>
          <p:cNvSpPr txBox="1"/>
          <p:nvPr/>
        </p:nvSpPr>
        <p:spPr>
          <a:xfrm>
            <a:off x="10118725" y="5775325"/>
            <a:ext cx="1604963" cy="246063"/>
          </a:xfrm>
          <a:prstGeom prst="rect">
            <a:avLst/>
          </a:prstGeom>
          <a:noFill/>
          <a:ln>
            <a:noFill/>
          </a:ln>
        </p:spPr>
        <p:txBody>
          <a:bodyPr wrap="square" rIns="36000" rtlCol="0">
            <a:spAutoFit/>
          </a:bodyPr>
          <a:lstStyle/>
          <a:p>
            <a:r>
              <a:rPr lang="en-US" sz="1000" b="1" dirty="0">
                <a:solidFill>
                  <a:srgbClr val="000000"/>
                </a:solidFill>
                <a:latin typeface="Arial"/>
              </a:rPr>
              <a:t>X%: Total spontaneous</a:t>
            </a:r>
            <a:endParaRPr lang="el-GR" sz="1000" b="1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EE018192-4F80-4451-BB94-FA05151CB365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9290050" y="5829300"/>
            <a:ext cx="179388" cy="1333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D2C41B70-25FB-48B3-A427-CE24C2370DA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6823075" y="5829300"/>
            <a:ext cx="179388" cy="1333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B44F8E3F-5DE8-4227-BF76-CF473CA0CBD0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7886700" y="5829300"/>
            <a:ext cx="179388" cy="1333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EA2A44F9-239C-41A2-AFB8-C35861776654}"/>
              </a:ext>
            </a:extLst>
          </p:cNvPr>
          <p:cNvSpPr/>
          <p:nvPr>
            <p:custDataLst>
              <p:tags r:id="rId26"/>
            </p:custDataLst>
          </p:nvPr>
        </p:nvSpPr>
        <p:spPr bwMode="auto">
          <a:xfrm>
            <a:off x="7053263" y="5824538"/>
            <a:ext cx="73183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AF98AA82-8699-4C09-AC0E-F5571FDB47A9}" type="datetime'''Fi''''r''''''''s''t'' ''''''''''''me''''''n''''t''io''n'''''">
              <a:rPr lang="en-US" altLang="en-US" sz="1000" smtClean="0">
                <a:solidFill>
                  <a:schemeClr val="tx1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First mention</a:t>
            </a:fld>
            <a:endParaRPr lang="el-GR" sz="10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3C653F6C-6100-48A6-9F77-715A8BD7BDDB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8116888" y="5824538"/>
            <a:ext cx="10715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9E2802D-0DA0-43B9-8412-2F3C558D3448}" type="datetime'O''th''e''''''''''r'''''''''' s''p''on''ta''''neo''u''''s'''''">
              <a:rPr lang="en-US" altLang="en-US" sz="1000" smtClean="0">
                <a:solidFill>
                  <a:schemeClr val="tx1"/>
                </a:solidFill>
                <a:cs typeface="Arial" panose="020B0604020202020204" pitchFamily="34" charset="0"/>
              </a:rPr>
              <a:pPr>
                <a:spcBef>
                  <a:spcPct val="0"/>
                </a:spcBef>
                <a:spcAft>
                  <a:spcPct val="0"/>
                </a:spcAft>
              </a:pPr>
              <a:t>Other spontaneous</a:t>
            </a:fld>
            <a:endParaRPr lang="el-GR" sz="10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CB5335A8-8B1F-4E03-A7C1-C600BEDF323A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9520238" y="5824538"/>
            <a:ext cx="547688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479FA20-26F2-4F43-929A-C1D045F6C861}" type="datetime'''''''''''''P''''r''''o''m''''''''''''''pt''e''''''''d'">
              <a:rPr lang="en-US" altLang="en-US" sz="1000" smtClean="0">
                <a:solidFill>
                  <a:schemeClr val="tx1"/>
                </a:solidFill>
                <a:cs typeface="Arial" panose="020B0604020202020204" pitchFamily="34" charset="0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Prompted</a:t>
            </a:fld>
            <a:endParaRPr lang="el-GR" sz="1000" dirty="0" err="1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69724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12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37" name="think-cell Slide" r:id="rId14" imgW="216" imgH="216" progId="TCLayout.ActiveDocument.1">
                  <p:embed/>
                </p:oleObj>
              </mc:Choice>
              <mc:Fallback>
                <p:oleObj name="think-cell Slide" r:id="rId14" imgW="216" imgH="216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1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D26E747-FD94-4552-8F91-A7D37DB875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PMR (December 2020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77012" y="1124076"/>
            <a:ext cx="11246241" cy="276999"/>
          </a:xfrm>
        </p:spPr>
        <p:txBody>
          <a:bodyPr/>
          <a:lstStyle/>
          <a:p>
            <a:r>
              <a:rPr lang="en-US" dirty="0"/>
              <a:t>Awareness of new therapies for </a:t>
            </a:r>
            <a:r>
              <a:rPr lang="en-US" dirty="0" err="1"/>
              <a:t>Behcet</a:t>
            </a:r>
            <a:r>
              <a:rPr lang="en-US" dirty="0"/>
              <a:t> disease</a:t>
            </a:r>
            <a:endParaRPr lang="el-GR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77012" y="237000"/>
            <a:ext cx="11437620" cy="773799"/>
          </a:xfrm>
        </p:spPr>
        <p:txBody>
          <a:bodyPr/>
          <a:lstStyle/>
          <a:p>
            <a:r>
              <a:rPr lang="en-US" dirty="0"/>
              <a:t>39% of physicians are aware of </a:t>
            </a:r>
            <a:r>
              <a:rPr lang="en-US" dirty="0" err="1"/>
              <a:t>Apremilast</a:t>
            </a:r>
            <a:r>
              <a:rPr lang="en-US" dirty="0"/>
              <a:t>; higher awareness among hospital based physicians (51%)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77013" y="6552000"/>
            <a:ext cx="7560000" cy="123111"/>
          </a:xfrm>
        </p:spPr>
        <p:txBody>
          <a:bodyPr/>
          <a:lstStyle/>
          <a:p>
            <a:r>
              <a:rPr lang="en-US" dirty="0"/>
              <a:t>IQVIA • Genesis • Market Research on </a:t>
            </a:r>
            <a:r>
              <a:rPr lang="en-US" dirty="0" err="1"/>
              <a:t>Behcet</a:t>
            </a:r>
            <a:r>
              <a:rPr lang="en-US" dirty="0"/>
              <a:t> disease • December 2020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DD4F7A9-DCAF-44DC-B5D5-3C628DB44A3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7012" y="6007481"/>
            <a:ext cx="11246241" cy="221599"/>
          </a:xfrm>
        </p:spPr>
        <p:txBody>
          <a:bodyPr/>
          <a:lstStyle/>
          <a:p>
            <a:r>
              <a:rPr lang="en-US" dirty="0"/>
              <a:t>Base: n=100 physicians</a:t>
            </a:r>
          </a:p>
          <a:p>
            <a:r>
              <a:rPr lang="en-US" dirty="0"/>
              <a:t>QD1) Are you aware of new therapies for </a:t>
            </a:r>
            <a:r>
              <a:rPr lang="en-US" dirty="0" err="1"/>
              <a:t>Behcet</a:t>
            </a:r>
            <a:r>
              <a:rPr lang="en-US" dirty="0"/>
              <a:t> disease? </a:t>
            </a:r>
            <a:r>
              <a:rPr lang="en-US" b="1" dirty="0"/>
              <a:t>- </a:t>
            </a:r>
            <a:r>
              <a:rPr lang="en-US" b="1" dirty="0" err="1"/>
              <a:t>spont</a:t>
            </a:r>
            <a:endParaRPr lang="el-GR" dirty="0"/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86B70046-DC9C-46B8-A797-4F2928F1481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75695733"/>
              </p:ext>
            </p:extLst>
          </p:nvPr>
        </p:nvGraphicFramePr>
        <p:xfrm>
          <a:off x="2497138" y="1766888"/>
          <a:ext cx="3486150" cy="34655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136" name="Text Placeholder 2">
            <a:extLst>
              <a:ext uri="{FF2B5EF4-FFF2-40B4-BE49-F238E27FC236}">
                <a16:creationId xmlns:a16="http://schemas.microsoft.com/office/drawing/2014/main" id="{21543A17-6A38-47AA-98E5-20826B08345F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3803650" y="2184400"/>
            <a:ext cx="287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4529D65-FB7D-4133-BC5D-46A7F3D7DF88}" type="datetime'''''''''''''''''''3''''''9''''''%'''''''''''''">
              <a:rPr lang="el-GR" altLang="en-US" sz="1000" smtClean="0">
                <a:solidFill>
                  <a:schemeClr val="bg1"/>
                </a:solidFill>
                <a:ea typeface="+mj-ea"/>
                <a:cs typeface="+mj-cs"/>
              </a:rPr>
              <a:pPr/>
              <a:t>39%</a:t>
            </a:fld>
            <a:endParaRPr lang="el-GR" sz="1000" dirty="0">
              <a:solidFill>
                <a:schemeClr val="bg1"/>
              </a:solidFill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4CA75A88-F4CC-4C46-9F37-7FA27A7C94E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78013" y="3009900"/>
            <a:ext cx="50641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6B1B370-C15F-4D2F-97AD-E3D67AECA50C}" type="datetime'B''''''''''''''i''''''ol''og''i''''''c''''''''s''''''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Biologics</a:t>
            </a:fld>
            <a:endParaRPr lang="el-GR" sz="10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730AD2B2-2730-4E9C-9FE7-13082DDD6A8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385888" y="2184400"/>
            <a:ext cx="9985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366BBA6-CD2B-4492-952D-3B1BF103521B}" type="datetime'''A''''p''''r''em''''ilas''''''t''''''/''''Ote''z''l''''a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Apremilast/Otezla</a:t>
            </a:fld>
            <a:endParaRPr lang="el-GR" sz="10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C461E9D9-6277-4B07-97A2-AED8CEC69D8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3241675" y="3009900"/>
            <a:ext cx="28733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025357D-1A30-4C38-A415-E770D5E8A275}" type="datetime'''''''''''''''''''''''''''''''''2''''''''''3%'''''">
              <a:rPr lang="el-GR" altLang="en-US" sz="1000" smtClean="0">
                <a:solidFill>
                  <a:schemeClr val="bg1"/>
                </a:solidFill>
                <a:ea typeface="+mj-ea"/>
                <a:cs typeface="+mj-cs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endParaRPr lang="el-GR" sz="1000" dirty="0">
              <a:solidFill>
                <a:schemeClr val="bg1"/>
              </a:solidFill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2465E50A-BA7A-4DCC-A06A-FC7CF16BEA6F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8963" y="4659313"/>
            <a:ext cx="17954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1DAF967-CDAA-4037-ABE6-D467276942CD}" type="datetime'''''''I a''m'' n''ot awa''re ''of n''ew th''e''r''ap''''ies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I am not aware of new therapies</a:t>
            </a:fld>
            <a:endParaRPr lang="el-GR" sz="10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145" name="Text Placeholder 2">
            <a:extLst>
              <a:ext uri="{FF2B5EF4-FFF2-40B4-BE49-F238E27FC236}">
                <a16:creationId xmlns:a16="http://schemas.microsoft.com/office/drawing/2014/main" id="{C9A96543-A20B-493C-8342-F7C888978D4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489200" y="3835400"/>
            <a:ext cx="217488" cy="152400"/>
          </a:xfrm>
          <a:prstGeom prst="rect">
            <a:avLst/>
          </a:prstGeom>
          <a:solidFill>
            <a:schemeClr val="accent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235EFD7-8043-4C74-B7EC-6C9D8A332C6F}" type="datetime'''''''''''''''''''''''''''''1''''''''''''%'''">
              <a:rPr lang="el-GR" altLang="en-US" sz="1000" smtClean="0">
                <a:solidFill>
                  <a:schemeClr val="bg1"/>
                </a:solidFill>
                <a:ea typeface="+mj-ea"/>
                <a:cs typeface="+mj-cs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endParaRPr lang="el-GR" sz="1000" dirty="0">
              <a:solidFill>
                <a:schemeClr val="bg1"/>
              </a:solidFill>
              <a:latin typeface="+mn-lt"/>
              <a:ea typeface="+mj-ea"/>
              <a:cs typeface="+mj-cs"/>
              <a:sym typeface="+mn-lt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8A6299D8-CD1F-4208-9AF0-C13EE4B13F2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604963" y="3835400"/>
            <a:ext cx="779463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3204E85-87AB-4427-9213-F6D6A8B5B8EC}" type="datetime'JA''K'''' ''''''''''In''''h''i''''bitors'''">
              <a:rPr lang="en-US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JAK Inhibitors</a:t>
            </a:fld>
            <a:endParaRPr lang="el-GR" sz="10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150" name="Text Placeholder 2">
            <a:extLst>
              <a:ext uri="{FF2B5EF4-FFF2-40B4-BE49-F238E27FC236}">
                <a16:creationId xmlns:a16="http://schemas.microsoft.com/office/drawing/2014/main" id="{A8C74802-C323-4608-B187-1F07DF30F27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4097338" y="4659313"/>
            <a:ext cx="287338" cy="152400"/>
          </a:xfrm>
          <a:prstGeom prst="rect">
            <a:avLst/>
          </a:prstGeom>
          <a:solidFill>
            <a:schemeClr val="bg1"/>
          </a:solidFill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4BB8F1-528D-4B53-962D-75777C08B24B}" type="datetime'''''''''''''''''''''''''''''48''''''''''''''''''%'">
              <a:rPr lang="el-GR" altLang="en-US" sz="1000" smtClean="0">
                <a:solidFill>
                  <a:schemeClr val="tx1"/>
                </a:solidFill>
                <a:ea typeface="+mj-ea"/>
                <a:cs typeface="+mj-cs"/>
              </a:rPr>
              <a:pPr/>
              <a:t>48%</a:t>
            </a:fld>
            <a:endParaRPr lang="el-GR" sz="1000" dirty="0">
              <a:solidFill>
                <a:schemeClr val="tx1"/>
              </a:solidFill>
              <a:latin typeface="+mn-lt"/>
              <a:ea typeface="+mj-ea"/>
              <a:cs typeface="+mj-cs"/>
              <a:sym typeface="+mn-lt"/>
            </a:endParaRPr>
          </a:p>
        </p:txBody>
      </p:sp>
      <p:graphicFrame>
        <p:nvGraphicFramePr>
          <p:cNvPr id="180" name="Table 179">
            <a:extLst>
              <a:ext uri="{FF2B5EF4-FFF2-40B4-BE49-F238E27FC236}">
                <a16:creationId xmlns:a16="http://schemas.microsoft.com/office/drawing/2014/main" id="{48E83970-8B1B-406E-9032-FD44FD2E02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9968981"/>
              </p:ext>
            </p:extLst>
          </p:nvPr>
        </p:nvGraphicFramePr>
        <p:xfrm>
          <a:off x="6346371" y="1827155"/>
          <a:ext cx="3378732" cy="78256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44683">
                  <a:extLst>
                    <a:ext uri="{9D8B030D-6E8A-4147-A177-3AD203B41FA5}">
                      <a16:colId xmlns:a16="http://schemas.microsoft.com/office/drawing/2014/main" val="1340341387"/>
                    </a:ext>
                  </a:extLst>
                </a:gridCol>
                <a:gridCol w="844683">
                  <a:extLst>
                    <a:ext uri="{9D8B030D-6E8A-4147-A177-3AD203B41FA5}">
                      <a16:colId xmlns:a16="http://schemas.microsoft.com/office/drawing/2014/main" val="2271210268"/>
                    </a:ext>
                  </a:extLst>
                </a:gridCol>
                <a:gridCol w="844683">
                  <a:extLst>
                    <a:ext uri="{9D8B030D-6E8A-4147-A177-3AD203B41FA5}">
                      <a16:colId xmlns:a16="http://schemas.microsoft.com/office/drawing/2014/main" val="2311071528"/>
                    </a:ext>
                  </a:extLst>
                </a:gridCol>
                <a:gridCol w="844683">
                  <a:extLst>
                    <a:ext uri="{9D8B030D-6E8A-4147-A177-3AD203B41FA5}">
                      <a16:colId xmlns:a16="http://schemas.microsoft.com/office/drawing/2014/main" val="2568103855"/>
                    </a:ext>
                  </a:extLst>
                </a:gridCol>
              </a:tblGrid>
              <a:tr h="39128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Attica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Rest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Hospital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rivate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2085406"/>
                  </a:ext>
                </a:extLst>
              </a:tr>
              <a:tr h="391284"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7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l-G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168500"/>
                  </a:ext>
                </a:extLst>
              </a:tr>
            </a:tbl>
          </a:graphicData>
        </a:graphic>
      </p:graphicFrame>
      <p:cxnSp>
        <p:nvCxnSpPr>
          <p:cNvPr id="183" name="Straight Arrow Connector 182">
            <a:extLst>
              <a:ext uri="{FF2B5EF4-FFF2-40B4-BE49-F238E27FC236}">
                <a16:creationId xmlns:a16="http://schemas.microsoft.com/office/drawing/2014/main" id="{C92BBC7C-D45B-4868-9707-E0033A11D17F}"/>
              </a:ext>
            </a:extLst>
          </p:cNvPr>
          <p:cNvCxnSpPr>
            <a:cxnSpLocks/>
          </p:cNvCxnSpPr>
          <p:nvPr/>
        </p:nvCxnSpPr>
        <p:spPr>
          <a:xfrm>
            <a:off x="5507224" y="2223513"/>
            <a:ext cx="643812" cy="0"/>
          </a:xfrm>
          <a:prstGeom prst="straightConnector1">
            <a:avLst/>
          </a:prstGeom>
          <a:ln w="95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llout: Line 14">
            <a:extLst>
              <a:ext uri="{FF2B5EF4-FFF2-40B4-BE49-F238E27FC236}">
                <a16:creationId xmlns:a16="http://schemas.microsoft.com/office/drawing/2014/main" id="{05391DDD-1585-4854-A1BB-071253E074C4}"/>
              </a:ext>
            </a:extLst>
          </p:cNvPr>
          <p:cNvSpPr/>
          <p:nvPr/>
        </p:nvSpPr>
        <p:spPr>
          <a:xfrm>
            <a:off x="6694713" y="3162300"/>
            <a:ext cx="2155373" cy="2070100"/>
          </a:xfrm>
          <a:prstGeom prst="borderCallout1">
            <a:avLst>
              <a:gd name="adj1" fmla="val 18750"/>
              <a:gd name="adj2" fmla="val -8333"/>
              <a:gd name="adj3" fmla="val -4098"/>
              <a:gd name="adj4" fmla="val -96665"/>
            </a:avLst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t" anchorCtr="0"/>
          <a:lstStyle/>
          <a:p>
            <a:pPr algn="l"/>
            <a:endParaRPr lang="el-GR" sz="1200" dirty="0" err="1"/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4F22EE88-8F2A-40E7-B4F9-92EBE11784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2078724"/>
              </p:ext>
            </p:extLst>
          </p:nvPr>
        </p:nvGraphicFramePr>
        <p:xfrm>
          <a:off x="6857020" y="3291297"/>
          <a:ext cx="1840667" cy="1828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31627">
                  <a:extLst>
                    <a:ext uri="{9D8B030D-6E8A-4147-A177-3AD203B41FA5}">
                      <a16:colId xmlns:a16="http://schemas.microsoft.com/office/drawing/2014/main" val="3968267031"/>
                    </a:ext>
                  </a:extLst>
                </a:gridCol>
                <a:gridCol w="609040">
                  <a:extLst>
                    <a:ext uri="{9D8B030D-6E8A-4147-A177-3AD203B41FA5}">
                      <a16:colId xmlns:a16="http://schemas.microsoft.com/office/drawing/2014/main" val="872812187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u="none" strike="noStrike" dirty="0">
                          <a:effectLst/>
                        </a:rPr>
                        <a:t>Biologics: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100" u="none" strike="noStrike">
                          <a:effectLst/>
                        </a:rPr>
                        <a:t>10%</a:t>
                      </a:r>
                      <a:endParaRPr lang="el-GR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891907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u="none" strike="noStrike" dirty="0" err="1">
                          <a:effectLst/>
                        </a:rPr>
                        <a:t>RoActemra</a:t>
                      </a:r>
                      <a:r>
                        <a:rPr lang="en-US" sz="1100" u="none" strike="noStrike" dirty="0">
                          <a:effectLst/>
                        </a:rPr>
                        <a:t>: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>
                          <a:effectLst/>
                        </a:rPr>
                        <a:t>5</a:t>
                      </a:r>
                      <a:r>
                        <a:rPr lang="el-GR" sz="1100" u="none" strike="noStrike" dirty="0">
                          <a:effectLst/>
                        </a:rPr>
                        <a:t>%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26009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u="none" strike="noStrike" dirty="0">
                          <a:effectLst/>
                        </a:rPr>
                        <a:t>Humira: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100" u="none" strike="noStrike" dirty="0">
                          <a:effectLst/>
                        </a:rPr>
                        <a:t>4%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941970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u="none" strike="noStrike" dirty="0" err="1">
                          <a:effectLst/>
                        </a:rPr>
                        <a:t>Cosentyx</a:t>
                      </a:r>
                      <a:r>
                        <a:rPr lang="en-US" sz="1100" u="none" strike="noStrike" dirty="0">
                          <a:effectLst/>
                        </a:rPr>
                        <a:t>: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100" u="none" strike="noStrike" dirty="0">
                          <a:effectLst/>
                        </a:rPr>
                        <a:t>1%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70544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u="none" strike="noStrike" dirty="0">
                          <a:effectLst/>
                        </a:rPr>
                        <a:t>Anti-TNF: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100" u="none" strike="noStrike" dirty="0">
                          <a:effectLst/>
                        </a:rPr>
                        <a:t>1%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907542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u="none" strike="noStrike" dirty="0">
                          <a:effectLst/>
                        </a:rPr>
                        <a:t>Biosimilars: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100" u="none" strike="noStrike" dirty="0">
                          <a:effectLst/>
                        </a:rPr>
                        <a:t>1%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07958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u="none" strike="noStrike" dirty="0">
                          <a:effectLst/>
                        </a:rPr>
                        <a:t>JAK Inhibitors: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100" u="none" strike="noStrike" dirty="0">
                          <a:effectLst/>
                        </a:rPr>
                        <a:t>1%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67958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u="none" strike="noStrike" dirty="0">
                          <a:effectLst/>
                        </a:rPr>
                        <a:t>Remicade: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100" u="none" strike="noStrike" dirty="0">
                          <a:effectLst/>
                        </a:rPr>
                        <a:t>1%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576349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u="none" strike="noStrike" dirty="0">
                          <a:effectLst/>
                        </a:rPr>
                        <a:t>IL 17: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100" u="none" strike="noStrike" dirty="0">
                          <a:effectLst/>
                        </a:rPr>
                        <a:t>1%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15299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n-US" sz="1100" u="none" strike="noStrike" dirty="0">
                          <a:effectLst/>
                        </a:rPr>
                        <a:t>IL 23: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2000" marR="7620" marT="7620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l-GR" sz="1100" u="none" strike="noStrike" dirty="0">
                          <a:effectLst/>
                        </a:rPr>
                        <a:t>1%</a:t>
                      </a:r>
                      <a:endParaRPr lang="el-GR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17137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027605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7336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33" name="think-cell Slide" r:id="rId26" imgW="216" imgH="216" progId="TCLayout.ActiveDocument.1">
                  <p:embed/>
                </p:oleObj>
              </mc:Choice>
              <mc:Fallback>
                <p:oleObj name="think-cell Slide" r:id="rId26" imgW="216" imgH="216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477013" y="6397157"/>
            <a:ext cx="7560000" cy="110800"/>
          </a:xfrm>
        </p:spPr>
        <p:txBody>
          <a:bodyPr/>
          <a:lstStyle/>
          <a:p>
            <a:r>
              <a:rPr lang="en-US" dirty="0"/>
              <a:t>Source: IQVIA PMR (December 2020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Key findings</a:t>
            </a:r>
            <a:endParaRPr lang="el-GR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77012" y="237000"/>
            <a:ext cx="11373612" cy="773799"/>
          </a:xfrm>
        </p:spPr>
        <p:txBody>
          <a:bodyPr vert="horz"/>
          <a:lstStyle/>
          <a:p>
            <a:r>
              <a:rPr lang="en-US" dirty="0"/>
              <a:t>~820 pts with </a:t>
            </a:r>
            <a:r>
              <a:rPr lang="en-US" dirty="0" err="1"/>
              <a:t>Behcet</a:t>
            </a:r>
            <a:r>
              <a:rPr lang="en-US" dirty="0"/>
              <a:t> disease in Greece; almost all receive therapy; spontaneous awareness of </a:t>
            </a:r>
            <a:r>
              <a:rPr lang="en-US" dirty="0" err="1"/>
              <a:t>Otezla’s</a:t>
            </a:r>
            <a:r>
              <a:rPr lang="en-US" dirty="0"/>
              <a:t> new indication equals 39% </a:t>
            </a:r>
            <a:endParaRPr lang="el-GR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IQVIA • Genesis • Market Research on </a:t>
            </a:r>
            <a:r>
              <a:rPr lang="en-US" dirty="0" err="1"/>
              <a:t>Behcet</a:t>
            </a:r>
            <a:r>
              <a:rPr lang="en-US" dirty="0"/>
              <a:t> disease • December 2020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6A7D0E6-EC35-4B75-A5C4-6568D159A32B}"/>
              </a:ext>
            </a:extLst>
          </p:cNvPr>
          <p:cNvSpPr/>
          <p:nvPr/>
        </p:nvSpPr>
        <p:spPr>
          <a:xfrm>
            <a:off x="362431" y="1586791"/>
            <a:ext cx="3685032" cy="134796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lvl="0">
              <a:lnSpc>
                <a:spcPct val="90000"/>
              </a:lnSpc>
              <a:spcBef>
                <a:spcPts val="400"/>
              </a:spcBef>
              <a:defRPr/>
            </a:pPr>
            <a:r>
              <a:rPr lang="en-US" sz="1400" b="1" dirty="0">
                <a:solidFill>
                  <a:schemeClr val="bg1"/>
                </a:solidFill>
              </a:rPr>
              <a:t>~ 820 patients with </a:t>
            </a:r>
            <a:r>
              <a:rPr lang="en-US" sz="1400" b="1" dirty="0" err="1">
                <a:solidFill>
                  <a:schemeClr val="bg1"/>
                </a:solidFill>
              </a:rPr>
              <a:t>Behcet</a:t>
            </a:r>
            <a:r>
              <a:rPr lang="en-US" sz="1400" b="1" dirty="0">
                <a:solidFill>
                  <a:schemeClr val="bg1"/>
                </a:solidFill>
              </a:rPr>
              <a:t> disease in Greece</a:t>
            </a:r>
          </a:p>
          <a:p>
            <a:pPr lvl="0">
              <a:lnSpc>
                <a:spcPct val="90000"/>
              </a:lnSpc>
              <a:spcBef>
                <a:spcPts val="400"/>
              </a:spcBef>
              <a:defRPr/>
            </a:pPr>
            <a:r>
              <a:rPr lang="en-US" sz="1400" b="1" dirty="0">
                <a:solidFill>
                  <a:schemeClr val="bg1"/>
                </a:solidFill>
              </a:rPr>
              <a:t>62% are treated by Hospital based </a:t>
            </a:r>
            <a:r>
              <a:rPr lang="en-US" sz="1400" b="1" dirty="0" err="1">
                <a:solidFill>
                  <a:schemeClr val="bg1"/>
                </a:solidFill>
              </a:rPr>
              <a:t>Rheumas</a:t>
            </a:r>
            <a:endParaRPr lang="el-GR" sz="1400" b="1" dirty="0">
              <a:solidFill>
                <a:schemeClr val="bg1"/>
              </a:solidFill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el-GR" sz="1200" dirty="0" err="1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691AD39-26E7-42C8-B287-5BCD796B4B51}"/>
              </a:ext>
            </a:extLst>
          </p:cNvPr>
          <p:cNvSpPr/>
          <p:nvPr/>
        </p:nvSpPr>
        <p:spPr>
          <a:xfrm>
            <a:off x="4513263" y="1554331"/>
            <a:ext cx="3240087" cy="4513093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bIns="91440" rtlCol="0" anchor="t"/>
          <a:lstStyle/>
          <a:p>
            <a:pPr lvl="0" algn="ctr"/>
            <a:r>
              <a:rPr lang="en-US" sz="1600" b="1" dirty="0">
                <a:solidFill>
                  <a:schemeClr val="accent1"/>
                </a:solidFill>
                <a:ea typeface="ＭＳ Ｐゴシック" charset="-128"/>
              </a:rPr>
              <a:t>Severity of diseas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A001286-7685-4540-BDF8-619E6C3697CC}"/>
              </a:ext>
            </a:extLst>
          </p:cNvPr>
          <p:cNvSpPr/>
          <p:nvPr/>
        </p:nvSpPr>
        <p:spPr>
          <a:xfrm>
            <a:off x="362431" y="3004407"/>
            <a:ext cx="3656679" cy="3090006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bIns="91440" rtlCol="0" anchor="t"/>
          <a:lstStyle/>
          <a:p>
            <a:pPr lvl="0" algn="ctr"/>
            <a:endParaRPr lang="en-US" sz="1600" b="1" dirty="0">
              <a:solidFill>
                <a:schemeClr val="accent2"/>
              </a:solidFill>
              <a:ea typeface="ＭＳ Ｐゴシック" charset="-128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D9813BB7-780E-433D-9562-9A55893918BE}"/>
              </a:ext>
            </a:extLst>
          </p:cNvPr>
          <p:cNvSpPr/>
          <p:nvPr/>
        </p:nvSpPr>
        <p:spPr>
          <a:xfrm>
            <a:off x="1609725" y="2329104"/>
            <a:ext cx="2409825" cy="57708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ea typeface="ＭＳ Ｐゴシック" charset="-128"/>
              </a:rPr>
              <a:t>9% </a:t>
            </a:r>
            <a:r>
              <a:rPr lang="en-US" sz="1050" dirty="0">
                <a:ea typeface="ＭＳ Ｐゴシック" charset="-128"/>
              </a:rPr>
              <a:t>of patients are </a:t>
            </a:r>
            <a:r>
              <a:rPr lang="en-US" sz="1050" b="1" dirty="0">
                <a:ea typeface="ＭＳ Ｐゴシック" charset="-128"/>
              </a:rPr>
              <a:t>&lt;</a:t>
            </a:r>
            <a:r>
              <a:rPr lang="en-US" sz="1050" b="1" dirty="0">
                <a:solidFill>
                  <a:schemeClr val="accent1"/>
                </a:solidFill>
                <a:ea typeface="ＭＳ Ｐゴシック" charset="-128"/>
              </a:rPr>
              <a:t>18 </a:t>
            </a:r>
            <a:r>
              <a:rPr lang="en-US" sz="1050" b="1" dirty="0" err="1">
                <a:solidFill>
                  <a:schemeClr val="accent1"/>
                </a:solidFill>
                <a:ea typeface="ＭＳ Ｐゴシック" charset="-128"/>
              </a:rPr>
              <a:t>yo</a:t>
            </a:r>
            <a:endParaRPr lang="en-US" sz="1050" b="1" dirty="0">
              <a:solidFill>
                <a:schemeClr val="accent1"/>
              </a:solidFill>
              <a:ea typeface="ＭＳ Ｐゴシック" charset="-128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050" b="1" dirty="0">
                <a:solidFill>
                  <a:schemeClr val="accent1"/>
                </a:solidFill>
                <a:ea typeface="ＭＳ Ｐゴシック" charset="-128"/>
              </a:rPr>
              <a:t>32% </a:t>
            </a:r>
            <a:r>
              <a:rPr lang="en-US" sz="1050" dirty="0">
                <a:ea typeface="ＭＳ Ｐゴシック" charset="-128"/>
              </a:rPr>
              <a:t>of patients are </a:t>
            </a:r>
            <a:r>
              <a:rPr lang="en-US" sz="1050" b="1" dirty="0">
                <a:solidFill>
                  <a:schemeClr val="accent1"/>
                </a:solidFill>
                <a:ea typeface="ＭＳ Ｐゴシック" charset="-128"/>
              </a:rPr>
              <a:t>new diagnosis </a:t>
            </a:r>
            <a:r>
              <a:rPr lang="en-US" sz="1050" dirty="0">
                <a:ea typeface="ＭＳ Ｐゴシック" charset="-128"/>
              </a:rPr>
              <a:t>the last 12 month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88A58AA-11D5-4045-90A5-41DB92BD8929}"/>
              </a:ext>
            </a:extLst>
          </p:cNvPr>
          <p:cNvSpPr/>
          <p:nvPr/>
        </p:nvSpPr>
        <p:spPr>
          <a:xfrm>
            <a:off x="8053387" y="1542750"/>
            <a:ext cx="3240087" cy="3089575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bIns="91440" rtlCol="0" anchor="t"/>
          <a:lstStyle/>
          <a:p>
            <a:pPr lvl="0" algn="ctr"/>
            <a:r>
              <a:rPr lang="en-US" sz="1600" b="1" dirty="0">
                <a:solidFill>
                  <a:schemeClr val="accent4"/>
                </a:solidFill>
                <a:ea typeface="ＭＳ Ｐゴシック" charset="-128"/>
              </a:rPr>
              <a:t>Pharmaceutical Treatment</a:t>
            </a:r>
          </a:p>
        </p:txBody>
      </p:sp>
      <p:graphicFrame>
        <p:nvGraphicFramePr>
          <p:cNvPr id="74" name="Chart 73">
            <a:extLst>
              <a:ext uri="{FF2B5EF4-FFF2-40B4-BE49-F238E27FC236}">
                <a16:creationId xmlns:a16="http://schemas.microsoft.com/office/drawing/2014/main" id="{65A405E7-88B7-4445-8209-01844071BB3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45193142"/>
              </p:ext>
            </p:extLst>
          </p:nvPr>
        </p:nvGraphicFramePr>
        <p:xfrm>
          <a:off x="5924550" y="4302125"/>
          <a:ext cx="1579563" cy="1763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61" name="Rectangle 60">
            <a:extLst>
              <a:ext uri="{FF2B5EF4-FFF2-40B4-BE49-F238E27FC236}">
                <a16:creationId xmlns:a16="http://schemas.microsoft.com/office/drawing/2014/main" id="{CEC71AC1-1C3C-48F9-8030-38A3D69A783D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6599238" y="5022850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5A674A-445F-4FCA-991E-7987AC95A090}" type="datetime'''''3''''''''''''''''''3''''%'''''''''''''''''''''''''">
              <a:rPr lang="el-GR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33%</a:t>
            </a:fld>
            <a:endParaRPr lang="el-GR" sz="9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2" name="Text Placeholder 2">
            <a:extLst>
              <a:ext uri="{FF2B5EF4-FFF2-40B4-BE49-F238E27FC236}">
                <a16:creationId xmlns:a16="http://schemas.microsoft.com/office/drawing/2014/main" id="{05719991-B7D2-49CD-9346-3F308756F3B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276850" y="4416425"/>
            <a:ext cx="6540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E949631-D27B-401D-930E-1975905904E2}" type="datetime'M''o''u''''''''''''t''''''''''''''h'''' ulc''e''''''r''''s'''">
              <a:rPr lang="en-US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Mouth ulcers</a:t>
            </a:fld>
            <a:endParaRPr lang="el-GR" sz="9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F19DF002-164D-453A-ACE1-CA92A17DEDFD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149850" y="5414963"/>
            <a:ext cx="7810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E46960E-3ED7-4D8F-B1A5-AE628D495927}" type="datetime'''''''''''V''a''''sc''ul''''a''''r'''' at''ta''''ck'''''''">
              <a:rPr lang="en-US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Vascular attack</a:t>
            </a:fld>
            <a:endParaRPr lang="el-GR" sz="9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12E7B795-809D-4493-B687-2FF3AE9B80F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883150" y="4616450"/>
            <a:ext cx="10477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106B69F-3A1C-476F-9A98-C722928DA2BF}" type="datetime'''''''Inf''e''c''''tio''''n'' of ''th''''e j''oi''n''ts'">
              <a:rPr lang="en-US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Infection of the joints</a:t>
            </a:fld>
            <a:endParaRPr lang="el-GR" sz="9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8AE9DE3F-B609-47FB-BDFE-06E9DD6C9C7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232400" y="4816475"/>
            <a:ext cx="698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B7196A4-2D9F-4A74-8EEA-CB01CAA4DE89}" type="datetime'''G''e''''''ni''''tal'''''''''''''''''''''''' ul''c''e''''rs'">
              <a:rPr lang="en-US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Genital ulcers</a:t>
            </a:fld>
            <a:endParaRPr lang="el-GR" sz="9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6C5D8901-B531-447D-9FDF-C039708825E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232400" y="5815013"/>
            <a:ext cx="69850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DC696721-D4CB-4ECC-93EC-266FEDDE2CC7}" type="datetime'''C''NS i''''''n''''''f''''ec''''''''''t''i''''''o''''n'''''''">
              <a:rPr lang="en-US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CNS infection</a:t>
            </a:fld>
            <a:endParaRPr lang="el-GR" sz="9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00937D16-1FF1-4C6B-A42F-370116ED9E29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946650" y="5214938"/>
            <a:ext cx="9842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DA77105-3714-4443-9D14-CFF14C59CC25}" type="datetime'''''In''''''''f''ect''ion'''''' ''of'' ''t''''''h''e sk''''in'">
              <a:rPr lang="en-US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Infection of the skin</a:t>
            </a:fld>
            <a:endParaRPr lang="el-GR" sz="9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392971E9-8334-4972-B849-EDD91080D7F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276850" y="5016500"/>
            <a:ext cx="6540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EBE3263-9303-4A2C-B3ED-2B9CA1F9A0F5}" type="datetime'Eye'''' i''''n''''''''''''f''''''''''''''''e''c''''t''io''n'''">
              <a:rPr lang="en-US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Eye infection</a:t>
            </a:fld>
            <a:endParaRPr lang="el-GR" sz="9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AA3A601E-478F-46C1-A232-FBA1EA58FC9C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679950" y="5614988"/>
            <a:ext cx="1250950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4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•"/>
              <a:defRPr sz="120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–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chemeClr val="tx1"/>
              </a:buClr>
              <a:buSzPct val="80000"/>
              <a:buFont typeface="Arial"/>
              <a:buChar char="»"/>
              <a:defRPr sz="1050" b="0" i="0" kern="1200">
                <a:solidFill>
                  <a:schemeClr val="bg2">
                    <a:lumMod val="10000"/>
                  </a:schemeClr>
                </a:solidFill>
                <a:latin typeface="+mj-lt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F301D38D-3667-49C4-85DE-8E90B3800A89}" type="datetime'''Ga''s''tr''o''''intes''ti''''na''''l i''nf''ec''ti''o''''n'">
              <a:rPr lang="en-US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Gastrointestinal infection</a:t>
            </a:fld>
            <a:endParaRPr lang="el-GR" sz="900" dirty="0">
              <a:solidFill>
                <a:schemeClr val="tx1"/>
              </a:solidFill>
              <a:ea typeface="+mj-ea"/>
              <a:cs typeface="+mj-cs"/>
              <a:sym typeface="+mj-lt"/>
            </a:endParaRP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E1DAF408-5650-46A9-B565-6AE3DA324FD4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7446963" y="4422775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7DF583-DE4A-4DD6-B01F-B57811C911FF}" type="datetime'''''''8''''''''''''''''''''''3''''''''''''''''''%'''''''">
              <a:rPr lang="el-GR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83%</a:t>
            </a:fld>
            <a:endParaRPr lang="el-GR" sz="9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6EE749A-5560-4582-B49A-6F363CE530B6}"/>
              </a:ext>
            </a:extLst>
          </p:cNvPr>
          <p:cNvSpPr/>
          <p:nvPr>
            <p:custDataLst>
              <p:tags r:id="rId15"/>
            </p:custDataLst>
          </p:nvPr>
        </p:nvSpPr>
        <p:spPr bwMode="gray">
          <a:xfrm>
            <a:off x="6881813" y="4622800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A2A8E57-672D-4EF0-8561-19C71E8E4945}" type="datetime'''''''5''''0''''''''''''''''''''''''''''''''''''%'''''''''">
              <a:rPr lang="el-GR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50%</a:t>
            </a:fld>
            <a:endParaRPr lang="el-GR" sz="9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583FE400-3DBE-4A9D-93BA-0137D05AA391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6719888" y="4822825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5E6EE87-91E5-409E-BF40-740E39851BD3}" type="datetime'''''''''''''''''''''''''40''''''''''''''''''%'''''''''''''">
              <a:rPr lang="el-GR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40%</a:t>
            </a:fld>
            <a:endParaRPr lang="el-GR" sz="9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AFF0EA50-E4B4-4BF4-848C-0C700A9ADEEA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6557963" y="5221288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7754067-212D-4BB1-89B1-42209F407E51}" type="datetime'''''''''''3''''1''''''''''''''''%'''''''''''''''''''''''''''''">
              <a:rPr lang="el-GR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31%</a:t>
            </a:fld>
            <a:endParaRPr lang="el-GR" sz="9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B5DBCB07-57B5-4015-962C-69D62E578A50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6275388" y="5421313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3CADDAA-5B7C-4F4A-856D-C458822C3E68}" type="datetime'''''''''''''14''''''''''''''%'''''''">
              <a:rPr lang="el-GR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14%</a:t>
            </a:fld>
            <a:endParaRPr lang="el-GR" sz="9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9EE564A0-C747-456C-B721-2DA22AF85A96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6194425" y="5621338"/>
            <a:ext cx="2603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6C70770-ADD5-415A-9409-DFC0AA68DEF4}" type="datetime'''''''''''''''''1''0''''''''''''''''''''''''''''''''%'''''''">
              <a:rPr lang="el-GR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10%</a:t>
            </a:fld>
            <a:endParaRPr lang="el-GR" sz="9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A6A4AB9-CD9D-4DEB-A3B4-559F0234FAE8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>
            <a:off x="6154738" y="5821363"/>
            <a:ext cx="196850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5875" tIns="0" rIns="15875" bIns="0" numCol="1" spcCol="0" rtlCol="0" anchor="ctr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6472E73-D915-41CE-8A34-4CD07F275DF3}" type="datetime'''''''''''''''''''''7''''''''''''''''''''%'''''''''">
              <a:rPr lang="el-GR" altLang="en-US" sz="900" smtClean="0">
                <a:solidFill>
                  <a:schemeClr val="tx1"/>
                </a:solidFill>
                <a:ea typeface="+mj-ea"/>
                <a:cs typeface="+mj-cs"/>
              </a:rPr>
              <a:pPr/>
              <a:t>7%</a:t>
            </a:fld>
            <a:endParaRPr lang="el-GR" sz="900" dirty="0" err="1">
              <a:solidFill>
                <a:schemeClr val="tx1"/>
              </a:solidFill>
              <a:latin typeface="+mj-lt"/>
              <a:ea typeface="+mj-ea"/>
              <a:cs typeface="+mj-cs"/>
              <a:sym typeface="+mj-lt"/>
            </a:endParaRPr>
          </a:p>
        </p:txBody>
      </p:sp>
      <p:graphicFrame>
        <p:nvGraphicFramePr>
          <p:cNvPr id="103" name="Chart 102">
            <a:extLst>
              <a:ext uri="{FF2B5EF4-FFF2-40B4-BE49-F238E27FC236}">
                <a16:creationId xmlns:a16="http://schemas.microsoft.com/office/drawing/2014/main" id="{D9036ABB-E9FF-4932-843A-D021D6D4FA2D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481904066"/>
              </p:ext>
            </p:extLst>
          </p:nvPr>
        </p:nvGraphicFramePr>
        <p:xfrm>
          <a:off x="5057775" y="2025650"/>
          <a:ext cx="2300288" cy="1822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68" name="Rectangle 67">
            <a:extLst>
              <a:ext uri="{FF2B5EF4-FFF2-40B4-BE49-F238E27FC236}">
                <a16:creationId xmlns:a16="http://schemas.microsoft.com/office/drawing/2014/main" id="{BD80A6EA-2A2F-4C2E-8938-5432C6929527}"/>
              </a:ext>
            </a:extLst>
          </p:cNvPr>
          <p:cNvSpPr/>
          <p:nvPr>
            <p:custDataLst>
              <p:tags r:id="rId22"/>
            </p:custDataLst>
          </p:nvPr>
        </p:nvSpPr>
        <p:spPr bwMode="auto">
          <a:xfrm>
            <a:off x="4973638" y="3514725"/>
            <a:ext cx="5889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F1762EB-2B7A-4BCE-AC18-EF4AA457B691}" type="datetime'Mo''''''d''''e''''''ra''''t''''''''e'''''''">
              <a:rPr lang="en-US" altLang="en-US" sz="1100" smtClean="0">
                <a:solidFill>
                  <a:schemeClr val="tx1"/>
                </a:solidFill>
              </a:rPr>
              <a:pPr/>
              <a:t>Moderate</a:t>
            </a:fld>
            <a:endParaRPr lang="el-GR" sz="11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E66716DE-0708-4AB0-8A19-A5AF844D101C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7075488" y="2640013"/>
            <a:ext cx="25717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CA8EEBD-A234-48E8-B0F6-BEF99C94535F}" type="datetime'''''''M''i''''''''''''''''''''''''''''''''l''''''d'''''">
              <a:rPr lang="en-US" altLang="en-US" sz="1100" smtClean="0">
                <a:solidFill>
                  <a:schemeClr val="tx1"/>
                </a:solidFill>
              </a:rPr>
              <a:pPr/>
              <a:t>Mild</a:t>
            </a:fld>
            <a:endParaRPr lang="el-GR" sz="11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1011315-520C-41F0-BDB8-E37606024B4F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5362575" y="2014538"/>
            <a:ext cx="4429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6751A4E8-344C-40F6-BE32-680B61FABD02}" type="datetime'''''''S''e''''''ve''''r''''''''''''e'">
              <a:rPr lang="en-US" altLang="en-US" sz="1100" smtClean="0">
                <a:solidFill>
                  <a:schemeClr val="tx1"/>
                </a:solidFill>
              </a:rPr>
              <a:pPr/>
              <a:t>Severe</a:t>
            </a:fld>
            <a:endParaRPr lang="el-GR" sz="11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3429E81-8ACE-49CF-AB65-DCBC043A5475}"/>
              </a:ext>
            </a:extLst>
          </p:cNvPr>
          <p:cNvSpPr/>
          <p:nvPr/>
        </p:nvSpPr>
        <p:spPr>
          <a:xfrm>
            <a:off x="8053387" y="2055601"/>
            <a:ext cx="31933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ea typeface="ＭＳ Ｐゴシック" charset="-128"/>
              </a:rPr>
              <a:t>Almost all patients received therapy for </a:t>
            </a:r>
            <a:r>
              <a:rPr lang="en-US" sz="1200" dirty="0" err="1">
                <a:ea typeface="ＭＳ Ｐゴシック" charset="-128"/>
              </a:rPr>
              <a:t>Behcet</a:t>
            </a:r>
            <a:r>
              <a:rPr lang="en-US" sz="1200" dirty="0">
                <a:ea typeface="ＭＳ Ｐゴシック" charset="-128"/>
              </a:rPr>
              <a:t> disease the last 12 months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dirty="0">
                <a:ea typeface="ＭＳ Ｐゴシック" charset="-128"/>
              </a:rPr>
              <a:t>The top3 most preferred therapies and combo schemes are presented below: 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733FE792-B2A8-4815-A1F1-82244B0EC1CD}"/>
              </a:ext>
            </a:extLst>
          </p:cNvPr>
          <p:cNvSpPr/>
          <p:nvPr/>
        </p:nvSpPr>
        <p:spPr>
          <a:xfrm>
            <a:off x="8304292" y="2887182"/>
            <a:ext cx="27478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b="1" dirty="0">
                <a:solidFill>
                  <a:schemeClr val="accent2"/>
                </a:solidFill>
                <a:ea typeface="ＭＳ Ｐゴシック" charset="-128"/>
              </a:rPr>
              <a:t>Colchicine: 61% of physicians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25231B9B-4656-446E-8B77-A28B9E457C48}"/>
              </a:ext>
            </a:extLst>
          </p:cNvPr>
          <p:cNvSpPr/>
          <p:nvPr/>
        </p:nvSpPr>
        <p:spPr>
          <a:xfrm>
            <a:off x="8304292" y="3172257"/>
            <a:ext cx="221246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b="1" dirty="0">
                <a:solidFill>
                  <a:schemeClr val="accent1"/>
                </a:solidFill>
                <a:ea typeface="ＭＳ Ｐゴシック" charset="-128"/>
              </a:rPr>
              <a:t>AZA: 60% of physicians</a:t>
            </a: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71610904-97C2-4BA3-BA97-630837DA4A29}"/>
              </a:ext>
            </a:extLst>
          </p:cNvPr>
          <p:cNvSpPr/>
          <p:nvPr/>
        </p:nvSpPr>
        <p:spPr>
          <a:xfrm>
            <a:off x="8304292" y="3457332"/>
            <a:ext cx="280878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b="1" dirty="0" err="1">
                <a:solidFill>
                  <a:schemeClr val="accent6"/>
                </a:solidFill>
                <a:ea typeface="ＭＳ Ｐゴシック" charset="-128"/>
              </a:rPr>
              <a:t>Prednizone</a:t>
            </a:r>
            <a:r>
              <a:rPr lang="en-US" sz="1400" b="1" dirty="0">
                <a:solidFill>
                  <a:schemeClr val="accent6"/>
                </a:solidFill>
                <a:ea typeface="ＭＳ Ｐゴシック" charset="-128"/>
              </a:rPr>
              <a:t>: 57% of physicians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7BFC966C-24B8-4FF9-BE61-42B697C0799D}"/>
              </a:ext>
            </a:extLst>
          </p:cNvPr>
          <p:cNvSpPr/>
          <p:nvPr/>
        </p:nvSpPr>
        <p:spPr>
          <a:xfrm>
            <a:off x="8044565" y="4708254"/>
            <a:ext cx="3240087" cy="1359171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2880" tIns="182880" bIns="91440" rtlCol="0" anchor="t"/>
          <a:lstStyle/>
          <a:p>
            <a:pPr lvl="0" algn="ctr"/>
            <a:r>
              <a:rPr lang="en-US" sz="1600" b="1" dirty="0">
                <a:solidFill>
                  <a:schemeClr val="accent4"/>
                </a:solidFill>
                <a:ea typeface="ＭＳ Ｐゴシック" charset="-128"/>
              </a:rPr>
              <a:t>Awareness of new therapies</a:t>
            </a: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0447B6CB-DB46-4628-83AB-3DF84EC02FF5}"/>
              </a:ext>
            </a:extLst>
          </p:cNvPr>
          <p:cNvSpPr/>
          <p:nvPr/>
        </p:nvSpPr>
        <p:spPr>
          <a:xfrm>
            <a:off x="8304292" y="3742407"/>
            <a:ext cx="277031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b="1" dirty="0">
                <a:solidFill>
                  <a:schemeClr val="accent4"/>
                </a:solidFill>
                <a:ea typeface="ＭＳ Ｐゴシック" charset="-128"/>
              </a:rPr>
              <a:t>AZA/</a:t>
            </a:r>
            <a:r>
              <a:rPr lang="en-US" sz="1400" b="1" dirty="0" err="1">
                <a:solidFill>
                  <a:schemeClr val="accent4"/>
                </a:solidFill>
                <a:ea typeface="ＭＳ Ｐゴシック" charset="-128"/>
              </a:rPr>
              <a:t>Predn</a:t>
            </a:r>
            <a:r>
              <a:rPr lang="en-US" sz="1400" b="1" dirty="0">
                <a:solidFill>
                  <a:schemeClr val="accent4"/>
                </a:solidFill>
                <a:ea typeface="ＭＳ Ｐゴシック" charset="-128"/>
              </a:rPr>
              <a:t>: 28% of physician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6BBEF6A-CE86-4A07-A3B2-2FCD98137BA7}"/>
              </a:ext>
            </a:extLst>
          </p:cNvPr>
          <p:cNvSpPr/>
          <p:nvPr/>
        </p:nvSpPr>
        <p:spPr>
          <a:xfrm>
            <a:off x="8304292" y="4027482"/>
            <a:ext cx="285847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b="1" dirty="0">
                <a:solidFill>
                  <a:schemeClr val="accent3"/>
                </a:solidFill>
                <a:ea typeface="ＭＳ Ｐゴシック" charset="-128"/>
              </a:rPr>
              <a:t>AZA/</a:t>
            </a:r>
            <a:r>
              <a:rPr lang="en-US" sz="1400" b="1" dirty="0" err="1">
                <a:solidFill>
                  <a:schemeClr val="accent3"/>
                </a:solidFill>
                <a:ea typeface="ＭＳ Ｐゴシック" charset="-128"/>
              </a:rPr>
              <a:t>Colch</a:t>
            </a:r>
            <a:r>
              <a:rPr lang="en-US" sz="1400" b="1" dirty="0">
                <a:solidFill>
                  <a:schemeClr val="accent3"/>
                </a:solidFill>
                <a:ea typeface="ＭＳ Ｐゴシック" charset="-128"/>
              </a:rPr>
              <a:t>: 22% of physicians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9FD27CE-7C4B-425F-AB57-8280D7490902}"/>
              </a:ext>
            </a:extLst>
          </p:cNvPr>
          <p:cNvSpPr/>
          <p:nvPr/>
        </p:nvSpPr>
        <p:spPr>
          <a:xfrm>
            <a:off x="8304292" y="4312559"/>
            <a:ext cx="277992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b="1" dirty="0" err="1">
                <a:solidFill>
                  <a:schemeClr val="bg2">
                    <a:lumMod val="75000"/>
                  </a:schemeClr>
                </a:solidFill>
                <a:ea typeface="ＭＳ Ｐゴシック" charset="-128"/>
              </a:rPr>
              <a:t>Predn</a:t>
            </a:r>
            <a:r>
              <a:rPr lang="en-US" sz="1400" b="1" dirty="0">
                <a:solidFill>
                  <a:schemeClr val="bg2">
                    <a:lumMod val="75000"/>
                  </a:schemeClr>
                </a:solidFill>
                <a:ea typeface="ＭＳ Ｐゴシック" charset="-128"/>
              </a:rPr>
              <a:t>/MTX: 17% of physician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0F02D76-8B3C-4EDA-8211-16DBF86A35CD}"/>
              </a:ext>
            </a:extLst>
          </p:cNvPr>
          <p:cNvSpPr/>
          <p:nvPr/>
        </p:nvSpPr>
        <p:spPr>
          <a:xfrm>
            <a:off x="5592662" y="3903038"/>
            <a:ext cx="12907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en-US" sz="1600" b="1" dirty="0">
                <a:solidFill>
                  <a:schemeClr val="accent2"/>
                </a:solidFill>
                <a:ea typeface="ＭＳ Ｐゴシック" charset="-128"/>
              </a:rPr>
              <a:t>Symptom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7FB2167-AA5B-418B-8E82-D95E4871E4A3}"/>
              </a:ext>
            </a:extLst>
          </p:cNvPr>
          <p:cNvSpPr/>
          <p:nvPr/>
        </p:nvSpPr>
        <p:spPr>
          <a:xfrm>
            <a:off x="377587" y="3036669"/>
            <a:ext cx="3725660" cy="6232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50" b="1" dirty="0"/>
              <a:t>9 hospitals </a:t>
            </a:r>
            <a:r>
              <a:rPr lang="en-US" sz="1150" dirty="0"/>
              <a:t>are responsible for the management of </a:t>
            </a:r>
            <a:r>
              <a:rPr lang="en-US" sz="1150" b="1" dirty="0"/>
              <a:t>50% of total hospital based treated patients with </a:t>
            </a:r>
            <a:r>
              <a:rPr lang="en-US" sz="1150" b="1" dirty="0" err="1"/>
              <a:t>Behcet’s</a:t>
            </a:r>
            <a:r>
              <a:rPr lang="en-US" sz="1150" b="1" dirty="0"/>
              <a:t> disease </a:t>
            </a:r>
            <a:endParaRPr lang="el-GR" sz="1150" b="1" dirty="0"/>
          </a:p>
        </p:txBody>
      </p:sp>
      <p:graphicFrame>
        <p:nvGraphicFramePr>
          <p:cNvPr id="96" name="Table 95">
            <a:extLst>
              <a:ext uri="{FF2B5EF4-FFF2-40B4-BE49-F238E27FC236}">
                <a16:creationId xmlns:a16="http://schemas.microsoft.com/office/drawing/2014/main" id="{F5844A37-9C11-4A6C-A5EB-8147F73B77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0829613"/>
              </p:ext>
            </p:extLst>
          </p:nvPr>
        </p:nvGraphicFramePr>
        <p:xfrm>
          <a:off x="930456" y="3658785"/>
          <a:ext cx="2748033" cy="1440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480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06917">
                <a:tc>
                  <a:txBody>
                    <a:bodyPr/>
                    <a:lstStyle/>
                    <a:p>
                      <a:pPr marL="0" indent="0" algn="ctr" fontAlgn="b">
                        <a:buFont typeface="Arial" panose="020B0604020202020204" pitchFamily="34" charset="0"/>
                        <a:buNone/>
                      </a:pPr>
                      <a:r>
                        <a:rPr lang="en-US" sz="1100" b="1" u="sng" strike="noStrike" dirty="0">
                          <a:effectLst/>
                        </a:rPr>
                        <a:t>Hospital</a:t>
                      </a:r>
                      <a:r>
                        <a:rPr lang="en-US" sz="1100" b="1" u="sng" strike="noStrike" baseline="0" dirty="0">
                          <a:effectLst/>
                        </a:rPr>
                        <a:t> treating 50% of patients</a:t>
                      </a:r>
                    </a:p>
                    <a:p>
                      <a:pPr marL="0" indent="0" algn="ctr" fontAlgn="b">
                        <a:buFont typeface="Arial" panose="020B0604020202020204" pitchFamily="34" charset="0"/>
                        <a:buNone/>
                      </a:pPr>
                      <a:endParaRPr lang="en-US" sz="200" b="1" u="sng" strike="noStrike" dirty="0">
                        <a:effectLst/>
                      </a:endParaRP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900" u="none" strike="noStrike" dirty="0">
                          <a:effectLst/>
                        </a:rPr>
                        <a:t>Γ.Ν.ΛΑΙΚΟ ΑΘΗΝΩΝ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900" u="none" strike="noStrike" dirty="0">
                          <a:effectLst/>
                        </a:rPr>
                        <a:t>Γ.Π.Ν. ΕΥΑΓΓΕΛΙΣΜΟΣ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900" u="none" strike="noStrike" dirty="0">
                          <a:effectLst/>
                        </a:rPr>
                        <a:t>Γ.Π.Ν.ΑΣΚΛΗΠΙΕΙΟ ΒΟΥΛΑΣ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900" u="none" strike="noStrike" dirty="0">
                          <a:effectLst/>
                        </a:rPr>
                        <a:t>Π.Γ.Ν. ΠΑΤΡΩΝ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900" u="none" strike="noStrike" dirty="0">
                          <a:effectLst/>
                        </a:rPr>
                        <a:t>Γ.Ν.ΓΕΝΝΗΜΑΤΑΣ ΑΘΗΝΩΝ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900" u="none" strike="noStrike" dirty="0">
                          <a:effectLst/>
                        </a:rPr>
                        <a:t>Γ.Ν.ΙΠΠΟΚΡΑΤΕΙΟ ΘΕΣΣΑΛΟΝΙΚΗΣ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900" u="none" strike="noStrike" dirty="0">
                          <a:effectLst/>
                        </a:rPr>
                        <a:t>Π.Γ.Ν.ΗΡΑΚΛΕΙΟΥ ΠΑΓΝΗ</a:t>
                      </a:r>
                    </a:p>
                    <a:p>
                      <a:pPr marL="171450" indent="-1714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el-GR" sz="900" u="none" strike="noStrike" dirty="0">
                          <a:effectLst/>
                        </a:rPr>
                        <a:t>Π.Γ.Ν.ΙΩΑΝΝΙΝΩΝ</a:t>
                      </a:r>
                    </a:p>
                    <a:p>
                      <a:pPr marL="171450" marR="0" lvl="0" indent="-17145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l-GR" sz="900" u="none" strike="noStrike" dirty="0">
                          <a:effectLst/>
                        </a:rPr>
                        <a:t>ΕΥΡΩΚΛΙΝΙΚΗ ΑΘΗΝΩΝ</a:t>
                      </a:r>
                    </a:p>
                  </a:txBody>
                  <a:tcPr marL="14400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7" name="Rectangle 96">
            <a:extLst>
              <a:ext uri="{FF2B5EF4-FFF2-40B4-BE49-F238E27FC236}">
                <a16:creationId xmlns:a16="http://schemas.microsoft.com/office/drawing/2014/main" id="{FAA9F61C-9B83-4111-A874-7B1309A0CB3D}"/>
              </a:ext>
            </a:extLst>
          </p:cNvPr>
          <p:cNvSpPr/>
          <p:nvPr/>
        </p:nvSpPr>
        <p:spPr>
          <a:xfrm>
            <a:off x="385201" y="5094903"/>
            <a:ext cx="3725660" cy="9771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50" b="1" dirty="0"/>
              <a:t>60% of private based </a:t>
            </a:r>
            <a:r>
              <a:rPr lang="en-US" sz="1150" dirty="0" err="1"/>
              <a:t>Rheumas</a:t>
            </a:r>
            <a:r>
              <a:rPr lang="en-US" sz="1150" dirty="0"/>
              <a:t> </a:t>
            </a:r>
            <a:r>
              <a:rPr lang="en-US" sz="1150" b="1" dirty="0"/>
              <a:t>treat patients with </a:t>
            </a:r>
            <a:r>
              <a:rPr lang="en-US" sz="1150" b="1" dirty="0" err="1"/>
              <a:t>Behcet’s</a:t>
            </a:r>
            <a:r>
              <a:rPr lang="en-US" sz="1150" b="1" dirty="0"/>
              <a:t> disease (110 </a:t>
            </a:r>
            <a:r>
              <a:rPr lang="en-US" sz="1150" b="1" dirty="0" err="1"/>
              <a:t>Rheumas</a:t>
            </a:r>
            <a:r>
              <a:rPr lang="en-US" sz="1150" b="1" dirty="0"/>
              <a:t> out of 182)</a:t>
            </a:r>
          </a:p>
          <a:p>
            <a:pPr marL="265113" defTabSz="447675">
              <a:buFont typeface="Arial" panose="020B0604020202020204" pitchFamily="34" charset="0"/>
              <a:buChar char="•"/>
            </a:pPr>
            <a:r>
              <a:rPr lang="en-US" sz="1150" b="1" dirty="0"/>
              <a:t>	17%</a:t>
            </a:r>
            <a:r>
              <a:rPr lang="en-US" sz="1150" dirty="0"/>
              <a:t>  (30 physicians) of private based </a:t>
            </a:r>
            <a:r>
              <a:rPr lang="en-US" sz="1150" dirty="0" err="1"/>
              <a:t>Rheumas</a:t>
            </a:r>
            <a:r>
              <a:rPr lang="en-US" sz="1150" dirty="0"/>
              <a:t> are responsible for the </a:t>
            </a:r>
            <a:r>
              <a:rPr lang="en-US" sz="1150" b="1" dirty="0"/>
              <a:t>treatment of half patients</a:t>
            </a:r>
            <a:endParaRPr lang="el-GR" sz="1150" b="1" dirty="0"/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36B7219B-045A-4243-A1E2-62EDE585F4F9}"/>
              </a:ext>
            </a:extLst>
          </p:cNvPr>
          <p:cNvSpPr/>
          <p:nvPr/>
        </p:nvSpPr>
        <p:spPr>
          <a:xfrm>
            <a:off x="8221880" y="5153025"/>
            <a:ext cx="29679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1200" b="1" dirty="0">
                <a:ea typeface="ＭＳ Ｐゴシック" charset="-128"/>
              </a:rPr>
              <a:t>39% </a:t>
            </a:r>
            <a:r>
              <a:rPr lang="en-US" sz="1200" dirty="0">
                <a:ea typeface="ＭＳ Ｐゴシック" charset="-128"/>
              </a:rPr>
              <a:t>of patients are </a:t>
            </a:r>
            <a:r>
              <a:rPr lang="en-US" sz="1200" b="1" dirty="0">
                <a:ea typeface="ＭＳ Ｐゴシック" charset="-128"/>
              </a:rPr>
              <a:t>aware of </a:t>
            </a:r>
            <a:r>
              <a:rPr lang="en-US" sz="1200" b="1" dirty="0" err="1">
                <a:ea typeface="ＭＳ Ｐゴシック" charset="-128"/>
              </a:rPr>
              <a:t>Otezla’s</a:t>
            </a:r>
            <a:r>
              <a:rPr lang="en-US" sz="1200" b="1" dirty="0">
                <a:ea typeface="ＭＳ Ｐゴシック" charset="-128"/>
              </a:rPr>
              <a:t> new indication </a:t>
            </a:r>
            <a:r>
              <a:rPr lang="en-US" sz="1200" dirty="0">
                <a:ea typeface="ＭＳ Ｐゴシック" charset="-128"/>
              </a:rPr>
              <a:t>at spontaneous level</a:t>
            </a:r>
          </a:p>
          <a:p>
            <a:pPr marL="361950" lvl="1" indent="-171450">
              <a:buFont typeface="Arial" panose="020B0604020202020204" pitchFamily="34" charset="0"/>
              <a:buChar char="•"/>
            </a:pPr>
            <a:r>
              <a:rPr lang="en-US" sz="1200" dirty="0">
                <a:ea typeface="ＭＳ Ｐゴシック" charset="-128"/>
              </a:rPr>
              <a:t>higher awareness among hospital based physicians: 51%</a:t>
            </a:r>
          </a:p>
        </p:txBody>
      </p:sp>
    </p:spTree>
    <p:extLst>
      <p:ext uri="{BB962C8B-B14F-4D97-AF65-F5344CB8AC3E}">
        <p14:creationId xmlns:p14="http://schemas.microsoft.com/office/powerpoint/2010/main" val="28518121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8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2&quot;&gt;&lt;elem m_fUsage=&quot;2.00973790000000018807E+00&quot;&gt;&lt;m_msothmcolidx val=&quot;0&quot;/&gt;&lt;m_rgb r=&quot;DB&quot; g=&quot;44&quot; b=&quot;48&quot;/&gt;&lt;m_nBrightness tagver0=&quot;26206&quot; tagname0=&quot;m_nBrightnessUNRECOGNIZED&quot; val=&quot;0&quot;/&gt;&lt;/elem&gt;&lt;elem m_fUsage=&quot;1.55610000000000003872E+00&quot;&gt;&lt;m_msothmcolidx val=&quot;0&quot;/&gt;&lt;m_rgb r=&quot;FF&quot; g=&quot;CF&quot; b=&quot;32&quot;/&gt;&lt;m_nBrightness tagver0=&quot;26206&quot; tagname0=&quot;m_nBrightnessUNRECOGNIZED&quot; val=&quot;0&quot;/&gt;&lt;/elem&gt;&lt;elem m_fUsage=&quot;1.19742048900000019884E+00&quot;&gt;&lt;m_msothmcolidx val=&quot;0&quot;/&gt;&lt;m_rgb r=&quot;AE&quot; g=&quot;25&quot; b=&quot;73&quot;/&gt;&lt;m_nBrightness tagver0=&quot;26206&quot; tagname0=&quot;m_nBrightnessUNRECOGNIZED&quot; val=&quot;0&quot;/&gt;&lt;/elem&gt;&lt;elem m_fUsage=&quot;1.12256675111754877783E+00&quot;&gt;&lt;m_msothmcolidx val=&quot;0&quot;/&gt;&lt;m_rgb r=&quot;C1&quot; g=&quot;70&quot; b=&quot;00&quot;/&gt;&lt;m_nBrightness tagver0=&quot;26206&quot; tagname0=&quot;m_nBrightnessUNRECOGNIZED&quot; val=&quot;0&quot;/&gt;&lt;/elem&gt;&lt;elem m_fUsage=&quot;7.62096356615478476293E-01&quot;&gt;&lt;m_msothmcolidx val=&quot;0&quot;/&gt;&lt;m_rgb r=&quot;7F&quot; g=&quot;9E&quot; b=&quot;AF&quot;/&gt;&lt;m_nBrightness tagver0=&quot;26206&quot; tagname0=&quot;m_nBrightnessUNRECOGNIZED&quot; val=&quot;0&quot;/&gt;&lt;/elem&gt;&lt;elem m_fUsage=&quot;7.29000000000000092371E-01&quot;&gt;&lt;m_msothmcolidx val=&quot;0&quot;/&gt;&lt;m_rgb r=&quot;FA&quot; g=&quot;C1&quot; b=&quot;58&quot;/&gt;&lt;m_nBrightness tagver0=&quot;26206&quot; tagname0=&quot;m_nBrightnessUNRECOGNIZED&quot; val=&quot;0&quot;/&gt;&lt;/elem&gt;&lt;elem m_fUsage=&quot;6.59235134549610135579E-01&quot;&gt;&lt;m_msothmcolidx val=&quot;0&quot;/&gt;&lt;m_rgb r=&quot;F8&quot; g=&quot;FC&quot; b=&quot;54&quot;/&gt;&lt;m_nBrightness tagver0=&quot;26206&quot; tagname0=&quot;m_nBrightnessUNRECOGNIZED&quot; val=&quot;0&quot;/&gt;&lt;/elem&gt;&lt;elem m_fUsage=&quot;5.90490000000000181402E-01&quot;&gt;&lt;m_msothmcolidx val=&quot;0&quot;/&gt;&lt;m_rgb r=&quot;FF&quot; g=&quot;AA&quot; b=&quot;2B&quot;/&gt;&lt;m_nBrightness tagver0=&quot;26206&quot; tagname0=&quot;m_nBrightnessUNRECOGNIZED&quot; val=&quot;0&quot;/&gt;&lt;/elem&gt;&lt;elem m_fUsage=&quot;3.17663361431551716230E-01&quot;&gt;&lt;m_msothmcolidx val=&quot;0&quot;/&gt;&lt;m_rgb r=&quot;D4&quot; g=&quot;DF&quot; b=&quot;E4&quot;/&gt;&lt;m_nBrightness tagver0=&quot;26206&quot; tagname0=&quot;m_nBrightnessUNRECOGNIZED&quot; val=&quot;0&quot;/&gt;&lt;/elem&gt;&lt;elem m_fUsage=&quot;2.82429536481000165171E-01&quot;&gt;&lt;m_msothmcolidx val=&quot;0&quot;/&gt;&lt;m_rgb r=&quot;19&quot; g=&quot;7D&quot; b=&quot;C8&quot;/&gt;&lt;m_nBrightness tagver0=&quot;26206&quot; tagname0=&quot;m_nBrightnessUNRECOGNIZED&quot; val=&quot;0&quot;/&gt;&lt;/elem&gt;&lt;elem m_fUsage=&quot;1.85302018885184188735E-01&quot;&gt;&lt;m_msothmcolidx val=&quot;0&quot;/&gt;&lt;m_rgb r=&quot;16&quot; g=&quot;21&quot; b=&quot;6E&quot;/&gt;&lt;m_nBrightness tagver0=&quot;26206&quot; tagname0=&quot;m_nBrightnessUNRECOGNIZED&quot; val=&quot;0&quot;/&gt;&lt;/elem&gt;&lt;elem m_fUsage=&quot;6.46108188922667886489E-02&quot;&gt;&lt;m_msothmcolidx val=&quot;0&quot;/&gt;&lt;m_rgb r=&quot;00&quot; g=&quot;A3&quot; b=&quot;E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oAbdYmT52Y_FXFEh37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oAbdYmT52Y_FXFEh37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5C5rtO87CDgulxDgV0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HEGsi4Ov4q2C0nI0C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ekDGpoMRpPt3gCNohAW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oAbdYmT52Y_FXFEh37w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c04sOGPoCEf7ihZmDwL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UXuu8pZ5vdDTnUv4w4s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jz826t5r1R._SyPfhJ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k3TiUt1tQLN13l6yosH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SyFYWPDHBcO68PX3W_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4FkbRTr9unvtD0KsvI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4Pwb8t.hkdh.fI8.V0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YUSsFdDmwlC_wdY5ohg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T0ccMgVC91eWrptP3t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zGgzZKP0.bqcj2o7rZ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Fjh4KU0GGgWQ3dXT3WK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w0Qc.DgpNMlA_kd2RK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UKldjzxJKnxF28k8G1C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vgUAiFiUVAKAWDDP6h3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iX69RkW8jqhHonvBo9X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FdxxdXFHzhZ2UfkYT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CaA7ajUfHYIKVixcqj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yDeYN.YQAHIlHKUp8UG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SBnXOT0ls2XXB3Eb6dW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MopZAU6u4ORkVmZjYo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30.BTuT8Rd.2158Ox3O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MwZvWzv4RWYMynJJ_zs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zUYoToY3ujVKbgI_vZ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d8l_XgjwuiGTVNRl3JW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gBOkkPoIBrX_zshQR5L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oAbdYmT52Y_FXFEh37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CXiF22eNHoTKVbtECDb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kFL_cb29ov4FCKhHVMb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K5k5Q9jasZGNwuHVii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qrpIP8Q71l2WzFkcCT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6RSOYQSMlJmhizq3Jk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oAbdYmT52Y_FXFEh37w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O0GvH830uam8vWbOkYJ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MGDXj2qJKRpB5fXkyy2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8h_5gdCmxbhyovTaxcE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UAnKLWTkR05857B00E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Ft5VsfSqS569W46o1dt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rkeI8wXC.XzQt4kpqCq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mL8SvXLDpt9GarUFoM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scpM2kRbGmursuVwlVw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NwSPCInSwGW9.nNCSt1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4iuA6Id9o9c2MiUuO49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GuocrwYoQuVTO4BtzY.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BKOkLzJ8UWpq8B351w4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NMDFp190NyV5owDFAle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mawdDgahVtKZOr7bVk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yJQ_UbZDWktIFiOPaf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Mmes.665Vm_pMWcCH7s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uMOBuzt6iyhlmpDiEpa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_JLlfm6MfQvmUqEO6I3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aDp7jMWjDGxH_hhjN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RDs0qP5NgazcWuNnb9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IDmr091UbEpM0qOXV99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4jyc7OHQvYhkDaU6bH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V.dWSCkyOcuBQ2W_yZV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LK69YfbRNyz3l3AU06k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xESnYzvV8X7Ma2DXT0w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OK_jBFJJlRCKc_WAGLO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_YdFAi2UMbo.rrqIXtwX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3ib_I9oCtLhTbl1OIUp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BTITVahccmcuIGbIIt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t" anchorCtr="0"/>
      <a:lstStyle>
        <a:defPPr algn="l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lIns="0" tIns="0" rIns="0" bIns="0" rtlCol="0">
        <a:spAutoFit/>
      </a:bodyPr>
      <a:lstStyle>
        <a:defPPr indent="-171450" algn="l">
          <a:lnSpc>
            <a:spcPct val="90000"/>
          </a:lnSpc>
          <a:spcBef>
            <a:spcPts val="400"/>
          </a:spcBef>
          <a:buFont typeface="Arial" panose="020B0604020202020204" pitchFamily="34" charset="0"/>
          <a:buChar char="•"/>
          <a:defRPr sz="12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C6F045F7-BA6A-41BB-8BA5-45666DE6E50E}" vid="{F4C31C11-16F3-4016-960E-113C4237ABB0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_IQVIA Widescreen_Template</Template>
  <TotalTime>13315</TotalTime>
  <Words>1104</Words>
  <Application>Microsoft Office PowerPoint</Application>
  <PresentationFormat>Widescreen</PresentationFormat>
  <Paragraphs>250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Arial Narrow</vt:lpstr>
      <vt:lpstr>Calibri</vt:lpstr>
      <vt:lpstr>Wingdings</vt:lpstr>
      <vt:lpstr>IQVIATemplate_WS_2017</vt:lpstr>
      <vt:lpstr>think-cell Slide</vt:lpstr>
      <vt:lpstr>150 Rheumatologists all over Greece participated in the survey (40% of total Rheumatologists)</vt:lpstr>
      <vt:lpstr>42 out of 56 Hospitals (75% response rate) with Rheumatologists participated in the survey</vt:lpstr>
      <vt:lpstr>The estimated number of patients with Behcet disease treated by Rheumas is ~820; 62% of patients are treated in Hospital sector</vt:lpstr>
      <vt:lpstr>AZA, Colchicine and MTX record the highest spontaneous awareness</vt:lpstr>
      <vt:lpstr>39% of physicians are aware of Apremilast; higher awareness among hospital based physicians (51%)</vt:lpstr>
      <vt:lpstr>~820 pts with Behcet disease in Greece; almost all receive therapy; spontaneous awareness of Otezla’s new indication equals 39%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roslav Dvořák</dc:creator>
  <cp:lastModifiedBy>Fatira Voula</cp:lastModifiedBy>
  <cp:revision>611</cp:revision>
  <cp:lastPrinted>2020-07-15T08:56:18Z</cp:lastPrinted>
  <dcterms:created xsi:type="dcterms:W3CDTF">2017-11-22T21:40:24Z</dcterms:created>
  <dcterms:modified xsi:type="dcterms:W3CDTF">2021-02-12T14:53:46Z</dcterms:modified>
</cp:coreProperties>
</file>